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svg" ContentType="image/sv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tiff" ContentType="image/tiff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heme/theme3.xml" ContentType="application/vnd.openxmlformats-officedocument.theme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heme/theme4.xml" ContentType="application/vnd.openxmlformats-officedocument.theme+xml"/>
  <Override PartName="/ppt/slideLayouts/slideLayout27.xml" ContentType="application/vnd.openxmlformats-officedocument.presentationml.slideLayout+xml"/>
  <Override PartName="/ppt/theme/theme5.xml" ContentType="application/vnd.openxmlformats-officedocument.theme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heme/theme6.xml" ContentType="application/vnd.openxmlformats-officedocument.theme+xml"/>
  <Override PartName="/ppt/theme/theme7.xml" ContentType="application/vnd.openxmlformats-officedocument.theme+xml"/>
  <Override PartName="/ppt/theme/theme8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tags/tag319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tags/tag322.xml" ContentType="application/vnd.openxmlformats-officedocument.presentationml.tags+xml"/>
  <Override PartName="/ppt/tags/tag323.xml" ContentType="application/vnd.openxmlformats-officedocument.presentationml.tags+xml"/>
  <Override PartName="/ppt/tags/tag324.xml" ContentType="application/vnd.openxmlformats-officedocument.presentationml.tags+xml"/>
  <Override PartName="/ppt/tags/tag325.xml" ContentType="application/vnd.openxmlformats-officedocument.presentationml.tags+xml"/>
  <Override PartName="/ppt/tags/tag326.xml" ContentType="application/vnd.openxmlformats-officedocument.presentationml.tags+xml"/>
  <Override PartName="/ppt/tags/tag327.xml" ContentType="application/vnd.openxmlformats-officedocument.presentationml.tags+xml"/>
  <Override PartName="/ppt/tags/tag328.xml" ContentType="application/vnd.openxmlformats-officedocument.presentationml.tags+xml"/>
  <Override PartName="/ppt/tags/tag329.xml" ContentType="application/vnd.openxmlformats-officedocument.presentationml.tags+xml"/>
  <Override PartName="/ppt/tags/tag330.xml" ContentType="application/vnd.openxmlformats-officedocument.presentationml.tags+xml"/>
  <Override PartName="/ppt/tags/tag331.xml" ContentType="application/vnd.openxmlformats-officedocument.presentationml.tags+xml"/>
  <Override PartName="/ppt/tags/tag332.xml" ContentType="application/vnd.openxmlformats-officedocument.presentationml.tags+xml"/>
  <Override PartName="/ppt/tags/tag333.xml" ContentType="application/vnd.openxmlformats-officedocument.presentationml.tags+xml"/>
  <Override PartName="/ppt/tags/tag334.xml" ContentType="application/vnd.openxmlformats-officedocument.presentationml.tags+xml"/>
  <Override PartName="/ppt/tags/tag335.xml" ContentType="application/vnd.openxmlformats-officedocument.presentationml.tags+xml"/>
  <Override PartName="/ppt/tags/tag336.xml" ContentType="application/vnd.openxmlformats-officedocument.presentationml.tags+xml"/>
  <Override PartName="/ppt/tags/tag337.xml" ContentType="application/vnd.openxmlformats-officedocument.presentationml.tags+xml"/>
  <Override PartName="/ppt/tags/tag338.xml" ContentType="application/vnd.openxmlformats-officedocument.presentationml.tags+xml"/>
  <Override PartName="/ppt/tags/tag339.xml" ContentType="application/vnd.openxmlformats-officedocument.presentationml.tags+xml"/>
  <Override PartName="/ppt/tags/tag340.xml" ContentType="application/vnd.openxmlformats-officedocument.presentationml.tags+xml"/>
  <Override PartName="/ppt/tags/tag341.xml" ContentType="application/vnd.openxmlformats-officedocument.presentationml.tags+xml"/>
  <Override PartName="/ppt/tags/tag342.xml" ContentType="application/vnd.openxmlformats-officedocument.presentationml.tags+xml"/>
  <Override PartName="/ppt/tags/tag343.xml" ContentType="application/vnd.openxmlformats-officedocument.presentationml.tags+xml"/>
  <Override PartName="/ppt/tags/tag344.xml" ContentType="application/vnd.openxmlformats-officedocument.presentationml.tags+xml"/>
  <Override PartName="/ppt/tags/tag345.xml" ContentType="application/vnd.openxmlformats-officedocument.presentationml.tags+xml"/>
  <Override PartName="/ppt/tags/tag346.xml" ContentType="application/vnd.openxmlformats-officedocument.presentationml.tags+xml"/>
  <Override PartName="/ppt/tags/tag347.xml" ContentType="application/vnd.openxmlformats-officedocument.presentationml.tags+xml"/>
  <Override PartName="/ppt/tags/tag348.xml" ContentType="application/vnd.openxmlformats-officedocument.presentationml.tags+xml"/>
  <Override PartName="/ppt/tags/tag349.xml" ContentType="application/vnd.openxmlformats-officedocument.presentationml.tags+xml"/>
  <Override PartName="/ppt/tags/tag350.xml" ContentType="application/vnd.openxmlformats-officedocument.presentationml.tags+xml"/>
  <Override PartName="/ppt/tags/tag351.xml" ContentType="application/vnd.openxmlformats-officedocument.presentationml.tags+xml"/>
  <Override PartName="/ppt/tags/tag352.xml" ContentType="application/vnd.openxmlformats-officedocument.presentationml.tags+xml"/>
  <Override PartName="/ppt/tags/tag353.xml" ContentType="application/vnd.openxmlformats-officedocument.presentationml.tags+xml"/>
  <Override PartName="/ppt/tags/tag354.xml" ContentType="application/vnd.openxmlformats-officedocument.presentationml.tags+xml"/>
  <Override PartName="/ppt/tags/tag355.xml" ContentType="application/vnd.openxmlformats-officedocument.presentationml.tags+xml"/>
  <Override PartName="/ppt/tags/tag356.xml" ContentType="application/vnd.openxmlformats-officedocument.presentationml.tags+xml"/>
  <Override PartName="/ppt/tags/tag357.xml" ContentType="application/vnd.openxmlformats-officedocument.presentationml.tags+xml"/>
  <Override PartName="/ppt/tags/tag358.xml" ContentType="application/vnd.openxmlformats-officedocument.presentationml.tags+xml"/>
  <Override PartName="/ppt/tags/tag359.xml" ContentType="application/vnd.openxmlformats-officedocument.presentationml.tags+xml"/>
  <Override PartName="/ppt/tags/tag360.xml" ContentType="application/vnd.openxmlformats-officedocument.presentationml.tags+xml"/>
  <Override PartName="/ppt/tags/tag361.xml" ContentType="application/vnd.openxmlformats-officedocument.presentationml.tags+xml"/>
  <Override PartName="/ppt/tags/tag362.xml" ContentType="application/vnd.openxmlformats-officedocument.presentationml.tags+xml"/>
  <Override PartName="/ppt/tags/tag363.xml" ContentType="application/vnd.openxmlformats-officedocument.presentationml.tags+xml"/>
  <Override PartName="/ppt/tags/tag364.xml" ContentType="application/vnd.openxmlformats-officedocument.presentationml.tags+xml"/>
  <Override PartName="/ppt/tags/tag365.xml" ContentType="application/vnd.openxmlformats-officedocument.presentationml.tags+xml"/>
  <Override PartName="/ppt/tags/tag366.xml" ContentType="application/vnd.openxmlformats-officedocument.presentationml.tags+xml"/>
  <Override PartName="/ppt/tags/tag367.xml" ContentType="application/vnd.openxmlformats-officedocument.presentationml.tags+xml"/>
  <Override PartName="/ppt/tags/tag368.xml" ContentType="application/vnd.openxmlformats-officedocument.presentationml.tags+xml"/>
  <Override PartName="/ppt/tags/tag369.xml" ContentType="application/vnd.openxmlformats-officedocument.presentationml.tags+xml"/>
  <Override PartName="/ppt/tags/tag370.xml" ContentType="application/vnd.openxmlformats-officedocument.presentationml.tags+xml"/>
  <Override PartName="/ppt/tags/tag371.xml" ContentType="application/vnd.openxmlformats-officedocument.presentationml.tags+xml"/>
  <Override PartName="/ppt/tags/tag372.xml" ContentType="application/vnd.openxmlformats-officedocument.presentationml.tags+xml"/>
  <Override PartName="/ppt/tags/tag373.xml" ContentType="application/vnd.openxmlformats-officedocument.presentationml.tags+xml"/>
  <Override PartName="/ppt/tags/tag374.xml" ContentType="application/vnd.openxmlformats-officedocument.presentationml.tags+xml"/>
  <Override PartName="/ppt/tags/tag375.xml" ContentType="application/vnd.openxmlformats-officedocument.presentationml.tags+xml"/>
  <Override PartName="/ppt/tags/tag376.xml" ContentType="application/vnd.openxmlformats-officedocument.presentationml.tags+xml"/>
  <Override PartName="/ppt/tags/tag377.xml" ContentType="application/vnd.openxmlformats-officedocument.presentationml.tags+xml"/>
  <Override PartName="/ppt/tags/tag378.xml" ContentType="application/vnd.openxmlformats-officedocument.presentationml.tags+xml"/>
  <Override PartName="/ppt/tags/tag379.xml" ContentType="application/vnd.openxmlformats-officedocument.presentationml.tags+xml"/>
  <Override PartName="/ppt/tags/tag380.xml" ContentType="application/vnd.openxmlformats-officedocument.presentationml.tags+xml"/>
  <Override PartName="/ppt/tags/tag381.xml" ContentType="application/vnd.openxmlformats-officedocument.presentationml.tags+xml"/>
  <Override PartName="/ppt/tags/tag382.xml" ContentType="application/vnd.openxmlformats-officedocument.presentationml.tags+xml"/>
  <Override PartName="/ppt/tags/tag383.xml" ContentType="application/vnd.openxmlformats-officedocument.presentationml.tags+xml"/>
  <Override PartName="/ppt/tags/tag384.xml" ContentType="application/vnd.openxmlformats-officedocument.presentationml.tags+xml"/>
  <Override PartName="/ppt/tags/tag385.xml" ContentType="application/vnd.openxmlformats-officedocument.presentationml.tags+xml"/>
  <Override PartName="/ppt/tags/tag386.xml" ContentType="application/vnd.openxmlformats-officedocument.presentationml.tags+xml"/>
  <Override PartName="/ppt/tags/tag387.xml" ContentType="application/vnd.openxmlformats-officedocument.presentationml.tags+xml"/>
  <Override PartName="/ppt/tags/tag388.xml" ContentType="application/vnd.openxmlformats-officedocument.presentationml.tags+xml"/>
  <Override PartName="/ppt/tags/tag389.xml" ContentType="application/vnd.openxmlformats-officedocument.presentationml.tags+xml"/>
  <Override PartName="/ppt/tags/tag390.xml" ContentType="application/vnd.openxmlformats-officedocument.presentationml.tags+xml"/>
  <Override PartName="/ppt/tags/tag391.xml" ContentType="application/vnd.openxmlformats-officedocument.presentationml.tags+xml"/>
  <Override PartName="/ppt/tags/tag392.xml" ContentType="application/vnd.openxmlformats-officedocument.presentationml.tags+xml"/>
  <Override PartName="/ppt/tags/tag393.xml" ContentType="application/vnd.openxmlformats-officedocument.presentationml.tags+xml"/>
  <Override PartName="/ppt/tags/tag394.xml" ContentType="application/vnd.openxmlformats-officedocument.presentationml.tags+xml"/>
  <Override PartName="/ppt/tags/tag395.xml" ContentType="application/vnd.openxmlformats-officedocument.presentationml.tags+xml"/>
  <Override PartName="/ppt/tags/tag396.xml" ContentType="application/vnd.openxmlformats-officedocument.presentationml.tags+xml"/>
  <Override PartName="/ppt/tags/tag397.xml" ContentType="application/vnd.openxmlformats-officedocument.presentationml.tags+xml"/>
  <Override PartName="/ppt/notesSlides/notesSlide4.xml" ContentType="application/vnd.openxmlformats-officedocument.presentationml.notesSlide+xml"/>
  <Override PartName="/ppt/tags/tag398.xml" ContentType="application/vnd.openxmlformats-officedocument.presentationml.tags+xml"/>
  <Override PartName="/ppt/tags/tag399.xml" ContentType="application/vnd.openxmlformats-officedocument.presentationml.tags+xml"/>
  <Override PartName="/ppt/tags/tag400.xml" ContentType="application/vnd.openxmlformats-officedocument.presentationml.tags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tags/tag401.xml" ContentType="application/vnd.openxmlformats-officedocument.presentationml.tags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tags/tag402.xml" ContentType="application/vnd.openxmlformats-officedocument.presentationml.tags+xml"/>
  <Override PartName="/ppt/notesSlides/notesSlide18.xml" ContentType="application/vnd.openxmlformats-officedocument.presentationml.notesSlide+xml"/>
  <Override PartName="/ppt/tags/tag403.xml" ContentType="application/vnd.openxmlformats-officedocument.presentationml.tags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ppt/notesSlides/notesSlide35.xml" ContentType="application/vnd.openxmlformats-officedocument.presentationml.notesSlide+xml"/>
  <Override PartName="/ppt/notesSlides/notesSlide36.xml" ContentType="application/vnd.openxmlformats-officedocument.presentationml.notesSlide+xml"/>
  <Override PartName="/ppt/notesSlides/notesSlide37.xml" ContentType="application/vnd.openxmlformats-officedocument.presentationml.notesSlide+xml"/>
  <Override PartName="/ppt/notesSlides/notesSlide38.xml" ContentType="application/vnd.openxmlformats-officedocument.presentationml.notesSlide+xml"/>
  <Override PartName="/ppt/notesSlides/notesSlide39.xml" ContentType="application/vnd.openxmlformats-officedocument.presentationml.notesSlide+xml"/>
  <Override PartName="/ppt/notesSlides/notesSlide40.xml" ContentType="application/vnd.openxmlformats-officedocument.presentationml.notesSlide+xml"/>
  <Override PartName="/ppt/notesSlides/notesSlide41.xml" ContentType="application/vnd.openxmlformats-officedocument.presentationml.notesSlide+xml"/>
  <Override PartName="/ppt/notesSlides/notesSlide42.xml" ContentType="application/vnd.openxmlformats-officedocument.presentationml.notesSlide+xml"/>
  <Override PartName="/ppt/notesSlides/notesSlide43.xml" ContentType="application/vnd.openxmlformats-officedocument.presentationml.notesSlide+xml"/>
  <Override PartName="/ppt/notesSlides/notesSlide44.xml" ContentType="application/vnd.openxmlformats-officedocument.presentationml.notesSlide+xml"/>
  <Override PartName="/ppt/notesSlides/notesSlide45.xml" ContentType="application/vnd.openxmlformats-officedocument.presentationml.notesSlide+xml"/>
  <Override PartName="/ppt/notesSlides/notesSlide46.xml" ContentType="application/vnd.openxmlformats-officedocument.presentationml.notesSlide+xml"/>
  <Override PartName="/ppt/notesSlides/notesSlide47.xml" ContentType="application/vnd.openxmlformats-officedocument.presentationml.notesSlide+xml"/>
  <Override PartName="/ppt/notesSlides/notesSlide48.xml" ContentType="application/vnd.openxmlformats-officedocument.presentationml.notesSlide+xml"/>
  <Override PartName="/ppt/notesSlides/notesSlide49.xml" ContentType="application/vnd.openxmlformats-officedocument.presentationml.notesSlide+xml"/>
  <Override PartName="/ppt/notesSlides/notesSlide50.xml" ContentType="application/vnd.openxmlformats-officedocument.presentationml.notesSlide+xml"/>
  <Override PartName="/ppt/notesSlides/notesSlide51.xml" ContentType="application/vnd.openxmlformats-officedocument.presentationml.notesSlide+xml"/>
  <Override PartName="/ppt/notesSlides/notesSlide52.xml" ContentType="application/vnd.openxmlformats-officedocument.presentationml.notesSlide+xml"/>
  <Override PartName="/ppt/notesSlides/notesSlide53.xml" ContentType="application/vnd.openxmlformats-officedocument.presentationml.notesSlide+xml"/>
  <Override PartName="/ppt/notesSlides/notesSlide54.xml" ContentType="application/vnd.openxmlformats-officedocument.presentationml.notesSlide+xml"/>
  <Override PartName="/ppt/notesSlides/notesSlide55.xml" ContentType="application/vnd.openxmlformats-officedocument.presentationml.notesSlide+xml"/>
  <Override PartName="/ppt/notesSlides/notesSlide56.xml" ContentType="application/vnd.openxmlformats-officedocument.presentationml.notesSlide+xml"/>
  <Override PartName="/ppt/notesSlides/notesSlide5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media/image3.svg" ContentType="image/svg+xml"/>
  <Override PartName="/ppt/media/image30.svg" ContentType="image/svg+xml"/>
  <Override PartName="/ppt/media/image156.svg" ContentType="image/svg+xml"/>
  <Override PartName="/ppt/media/image158.svg" ContentType="image/svg+xml"/>
  <Override PartName="/ppt/media/image160.svg" ContentType="image/svg+xml"/>
  <Override PartName="/ppt/media/image162.svg" ContentType="image/svg+xml"/>
  <Override PartName="/ppt/media/image164.svg" ContentType="image/svg+xml"/>
  <Override PartName="/ppt/media/image166.svg" ContentType="image/svg+xml"/>
  <Override PartName="/ppt/media/image168.svg" ContentType="image/svg+xml"/>
  <Override PartName="/ppt/media/image170.svg" ContentType="image/svg+xml"/>
  <Override PartName="/ppt/media/image171.svg" ContentType="image/svg+xml"/>
  <Override PartName="/ppt/media/image173.svg" ContentType="image/svg+xml"/>
  <Override PartName="/ppt/media/image175.svg" ContentType="image/svg+xml"/>
  <Override PartName="/ppt/media/image177.svg" ContentType="image/svg+xml"/>
  <Override PartName="/ppt/media/image179.svg" ContentType="image/svg+xml"/>
  <Override PartName="/ppt/media/image181.svg" ContentType="image/svg+xml"/>
  <Override PartName="/ppt/media/image183.svg" ContentType="image/svg+xml"/>
  <Override PartName="/ppt/media/image185.svg" ContentType="image/svg+xml"/>
  <Override PartName="/ppt/media/image187.svg" ContentType="image/svg+xml"/>
  <Override PartName="/ppt/media/image189.svg" ContentType="image/svg+xml"/>
  <Override PartName="/ppt/media/image191.svg" ContentType="image/svg+xml"/>
  <Override PartName="/ppt/media/image193.svg" ContentType="image/svg+xml"/>
  <Override PartName="/ppt/media/image195.svg" ContentType="image/svg+xml"/>
  <Override PartName="/ppt/media/image197.svg" ContentType="image/svg+xml"/>
  <Override PartName="/ppt/media/image199.svg" ContentType="image/svg+xml"/>
  <Override PartName="/ppt/media/image201.svg" ContentType="image/svg+xml"/>
  <Override PartName="/ppt/media/image203.svg" ContentType="image/svg+xml"/>
  <Override PartName="/ppt/media/image205.svg" ContentType="image/svg+xml"/>
  <Override PartName="/ppt/media/image207.svg" ContentType="image/svg+xml"/>
  <Override PartName="/ppt/media/image209.svg" ContentType="image/svg+xml"/>
  <Override PartName="/ppt/media/image211.svg" ContentType="image/svg+xml"/>
  <Override PartName="/ppt/media/image213.svg" ContentType="image/svg+xml"/>
  <Override PartName="/ppt/media/image215.svg" ContentType="image/svg+xml"/>
  <Override PartName="/ppt/media/image217.svg" ContentType="image/svg+xml"/>
  <Override PartName="/ppt/media/image219.svg" ContentType="image/svg+xml"/>
  <Override PartName="/ppt/media/image221.svg" ContentType="image/svg+xml"/>
  <Override PartName="/ppt/media/image223.svg" ContentType="image/svg+xml"/>
  <Override PartName="/ppt/media/image225.svg" ContentType="image/svg+xml"/>
  <Override PartName="/ppt/media/image227.svg" ContentType="image/svg+xml"/>
  <Override PartName="/ppt/media/image229.svg" ContentType="image/svg+xml"/>
  <Override PartName="/ppt/media/image231.svg" ContentType="image/svg+xml"/>
  <Override PartName="/ppt/media/image233.svg" ContentType="image/svg+xml"/>
  <Override PartName="/ppt/media/image235.svg" ContentType="image/svg+xml"/>
  <Override PartName="/ppt/media/image237.svg" ContentType="image/svg+xml"/>
  <Override PartName="/ppt/media/image239.svg" ContentType="image/svg+xml"/>
  <Override PartName="/ppt/media/image241.svg" ContentType="image/svg+xml"/>
  <Override PartName="/ppt/media/image243.svg" ContentType="image/svg+xml"/>
  <Override PartName="/ppt/media/image245.svg" ContentType="image/svg+xml"/>
  <Override PartName="/ppt/media/image247.svg" ContentType="image/svg+xml"/>
  <Override PartName="/ppt/media/image248.svg" ContentType="image/svg+xml"/>
  <Override PartName="/ppt/media/image249.svg" ContentType="image/svg+xml"/>
  <Override PartName="/ppt/media/image250.svg" ContentType="image/svg+xml"/>
  <Override PartName="/ppt/media/image251.svg" ContentType="image/svg+xml"/>
  <Override PartName="/ppt/media/image252.svg" ContentType="image/svg+xml"/>
  <Override PartName="/ppt/media/image253.svg" ContentType="image/svg+xml"/>
  <Override PartName="/ppt/media/image255.svg" ContentType="image/svg+xml"/>
  <Override PartName="/ppt/media/image42.svg" ContentType="image/svg+xml"/>
  <Override PartName="/ppt/media/image44.svg" ContentType="image/svg+xml"/>
  <Override PartName="/ppt/media/image46.svg" ContentType="image/svg+xml"/>
  <Override PartName="/ppt/media/image48.svg" ContentType="image/svg+xml"/>
  <Override PartName="/ppt/media/image50.svg" ContentType="image/svg+xml"/>
  <Override PartName="/ppt/media/image520.svg" ContentType="image/svg+xml"/>
  <Override PartName="/ppt/media/image53.svg" ContentType="image/svg+xml"/>
  <Override PartName="/ppt/media/image54.svg" ContentType="image/svg+xml"/>
  <Override PartName="/ppt/media/image58.svg" ContentType="image/svg+xml"/>
  <Override PartName="/ppt/media/image60.svg" ContentType="image/svg+xml"/>
  <Override PartName="/ppt/media/image62.svg" ContentType="image/svg+xml"/>
  <Override PartName="/ppt/media/image64.svg" ContentType="image/svg+xml"/>
  <Override PartName="/ppt/media/image66.svg" ContentType="image/svg+xml"/>
  <Override PartName="/ppt/media/image68.svg" ContentType="image/svg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741" r:id="rId1"/>
    <p:sldMasterId id="2147483976" r:id="rId2"/>
    <p:sldMasterId id="2147484003" r:id="rId3"/>
    <p:sldMasterId id="2147484185" r:id="rId4"/>
    <p:sldMasterId id="2147484214" r:id="rId5"/>
    <p:sldMasterId id="2147484274" r:id="rId6"/>
  </p:sldMasterIdLst>
  <p:notesMasterIdLst>
    <p:notesMasterId r:id="rId69"/>
  </p:notesMasterIdLst>
  <p:handoutMasterIdLst>
    <p:handoutMasterId r:id="rId70"/>
  </p:handoutMasterIdLst>
  <p:sldIdLst>
    <p:sldId id="2147311118" r:id="rId7"/>
    <p:sldId id="2147311117" r:id="rId8"/>
    <p:sldId id="661" r:id="rId9"/>
    <p:sldId id="2147311202" r:id="rId10"/>
    <p:sldId id="2147311121" r:id="rId11"/>
    <p:sldId id="2147311204" r:id="rId12"/>
    <p:sldId id="2147311203" r:id="rId13"/>
    <p:sldId id="2147311201" r:id="rId14"/>
    <p:sldId id="2147311072" r:id="rId15"/>
    <p:sldId id="2147311205" r:id="rId16"/>
    <p:sldId id="2147311129" r:id="rId17"/>
    <p:sldId id="2147311130" r:id="rId18"/>
    <p:sldId id="2147311132" r:id="rId19"/>
    <p:sldId id="2147311225" r:id="rId20"/>
    <p:sldId id="2147311211" r:id="rId21"/>
    <p:sldId id="2147311230" r:id="rId22"/>
    <p:sldId id="2147311136" r:id="rId23"/>
    <p:sldId id="2147311212" r:id="rId24"/>
    <p:sldId id="2147311213" r:id="rId25"/>
    <p:sldId id="2147311224" r:id="rId26"/>
    <p:sldId id="2147311216" r:id="rId27"/>
    <p:sldId id="2147311138" r:id="rId28"/>
    <p:sldId id="2147311221" r:id="rId29"/>
    <p:sldId id="2147311217" r:id="rId30"/>
    <p:sldId id="2147311140" r:id="rId31"/>
    <p:sldId id="2147311215" r:id="rId32"/>
    <p:sldId id="2147311214" r:id="rId33"/>
    <p:sldId id="2147311226" r:id="rId34"/>
    <p:sldId id="2147311218" r:id="rId35"/>
    <p:sldId id="2147311142" r:id="rId36"/>
    <p:sldId id="2147311143" r:id="rId37"/>
    <p:sldId id="2147311144" r:id="rId38"/>
    <p:sldId id="2147311145" r:id="rId39"/>
    <p:sldId id="2147311219" r:id="rId40"/>
    <p:sldId id="2147311149" r:id="rId41"/>
    <p:sldId id="2147311222" r:id="rId42"/>
    <p:sldId id="2147311223" r:id="rId43"/>
    <p:sldId id="2147311150" r:id="rId44"/>
    <p:sldId id="2147311151" r:id="rId45"/>
    <p:sldId id="2147311152" r:id="rId46"/>
    <p:sldId id="2147311153" r:id="rId47"/>
    <p:sldId id="2147311154" r:id="rId48"/>
    <p:sldId id="2147311155" r:id="rId49"/>
    <p:sldId id="2147311156" r:id="rId50"/>
    <p:sldId id="2147311157" r:id="rId51"/>
    <p:sldId id="2147311158" r:id="rId52"/>
    <p:sldId id="2147311159" r:id="rId53"/>
    <p:sldId id="2147311220" r:id="rId54"/>
    <p:sldId id="2147311163" r:id="rId55"/>
    <p:sldId id="2147311165" r:id="rId56"/>
    <p:sldId id="2147311166" r:id="rId57"/>
    <p:sldId id="2147311167" r:id="rId58"/>
    <p:sldId id="2147311168" r:id="rId59"/>
    <p:sldId id="2147311169" r:id="rId60"/>
    <p:sldId id="2147311170" r:id="rId61"/>
    <p:sldId id="2147311179" r:id="rId62"/>
    <p:sldId id="2147311210" r:id="rId63"/>
    <p:sldId id="2147311207" r:id="rId64"/>
    <p:sldId id="2147311227" r:id="rId65"/>
    <p:sldId id="2147311231" r:id="rId66"/>
    <p:sldId id="2147311228" r:id="rId67"/>
    <p:sldId id="2147311229" r:id="rId68"/>
  </p:sldIdLst>
  <p:sldSz cx="12192000" cy="6858000"/>
  <p:notesSz cx="7315200" cy="123444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888" userDrawn="1">
          <p15:clr>
            <a:srgbClr val="A4A3A4"/>
          </p15:clr>
        </p15:guide>
        <p15:guide id="2" pos="2304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ichelle Howell" initials="MH" lastIdx="4" clrIdx="0">
    <p:extLst>
      <p:ext uri="{19B8F6BF-5375-455C-9EA6-DF929625EA0E}">
        <p15:presenceInfo xmlns:p15="http://schemas.microsoft.com/office/powerpoint/2012/main" userId="Michelle Howell" providerId="None"/>
      </p:ext>
    </p:extLst>
  </p:cmAuthor>
  <p:cmAuthor id="2" name="Michael Brown" initials="MB" lastIdx="1" clrIdx="1">
    <p:extLst>
      <p:ext uri="{19B8F6BF-5375-455C-9EA6-DF929625EA0E}">
        <p15:presenceInfo xmlns:p15="http://schemas.microsoft.com/office/powerpoint/2012/main" userId="S::m.brown@oracle.com::9611c3fc-a28a-4027-bdb3-0b1c7b600d28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84534"/>
    <a:srgbClr val="C74634"/>
    <a:srgbClr val="315357"/>
    <a:srgbClr val="312D2A"/>
    <a:srgbClr val="572B16"/>
    <a:srgbClr val="1E3224"/>
    <a:srgbClr val="1A2F3F"/>
    <a:srgbClr val="2C5266"/>
    <a:srgbClr val="56764F"/>
    <a:srgbClr val="394E3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073A0DAA-6AF3-43AB-8588-CEC1D06C72B9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0167" autoAdjust="0"/>
    <p:restoredTop sz="59859" autoAdjust="0"/>
  </p:normalViewPr>
  <p:slideViewPr>
    <p:cSldViewPr snapToGrid="0" showGuides="1">
      <p:cViewPr varScale="1">
        <p:scale>
          <a:sx n="58" d="100"/>
          <a:sy n="58" d="100"/>
        </p:scale>
        <p:origin x="1411" y="62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-23827"/>
    </p:cViewPr>
    <p:sldLst>
      <p:sld r:id="rId1" collapse="1"/>
    </p:sldLst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64" d="100"/>
        <a:sy n="164" d="100"/>
      </p:scale>
      <p:origin x="0" y="-5028"/>
    </p:cViewPr>
  </p:sorterViewPr>
  <p:notesViewPr>
    <p:cSldViewPr snapToGrid="0" showGuides="1">
      <p:cViewPr varScale="1">
        <p:scale>
          <a:sx n="50" d="100"/>
          <a:sy n="50" d="100"/>
        </p:scale>
        <p:origin x="2804" y="44"/>
      </p:cViewPr>
      <p:guideLst>
        <p:guide orient="horz" pos="3888"/>
        <p:guide pos="2304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slide" Target="slides/slide20.xml"/><Relationship Id="rId39" Type="http://schemas.openxmlformats.org/officeDocument/2006/relationships/slide" Target="slides/slide33.xml"/><Relationship Id="rId21" Type="http://schemas.openxmlformats.org/officeDocument/2006/relationships/slide" Target="slides/slide15.xml"/><Relationship Id="rId34" Type="http://schemas.openxmlformats.org/officeDocument/2006/relationships/slide" Target="slides/slide28.xml"/><Relationship Id="rId42" Type="http://schemas.openxmlformats.org/officeDocument/2006/relationships/slide" Target="slides/slide36.xml"/><Relationship Id="rId47" Type="http://schemas.openxmlformats.org/officeDocument/2006/relationships/slide" Target="slides/slide41.xml"/><Relationship Id="rId50" Type="http://schemas.openxmlformats.org/officeDocument/2006/relationships/slide" Target="slides/slide44.xml"/><Relationship Id="rId55" Type="http://schemas.openxmlformats.org/officeDocument/2006/relationships/slide" Target="slides/slide49.xml"/><Relationship Id="rId63" Type="http://schemas.openxmlformats.org/officeDocument/2006/relationships/slide" Target="slides/slide57.xml"/><Relationship Id="rId68" Type="http://schemas.openxmlformats.org/officeDocument/2006/relationships/slide" Target="slides/slide62.xml"/><Relationship Id="rId7" Type="http://schemas.openxmlformats.org/officeDocument/2006/relationships/slide" Target="slides/slide1.xml"/><Relationship Id="rId71" Type="http://schemas.openxmlformats.org/officeDocument/2006/relationships/commentAuthors" Target="commentAuthor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0.xml"/><Relationship Id="rId29" Type="http://schemas.openxmlformats.org/officeDocument/2006/relationships/slide" Target="slides/slide23.xml"/><Relationship Id="rId11" Type="http://schemas.openxmlformats.org/officeDocument/2006/relationships/slide" Target="slides/slide5.xml"/><Relationship Id="rId24" Type="http://schemas.openxmlformats.org/officeDocument/2006/relationships/slide" Target="slides/slide18.xml"/><Relationship Id="rId32" Type="http://schemas.openxmlformats.org/officeDocument/2006/relationships/slide" Target="slides/slide26.xml"/><Relationship Id="rId37" Type="http://schemas.openxmlformats.org/officeDocument/2006/relationships/slide" Target="slides/slide31.xml"/><Relationship Id="rId40" Type="http://schemas.openxmlformats.org/officeDocument/2006/relationships/slide" Target="slides/slide34.xml"/><Relationship Id="rId45" Type="http://schemas.openxmlformats.org/officeDocument/2006/relationships/slide" Target="slides/slide39.xml"/><Relationship Id="rId53" Type="http://schemas.openxmlformats.org/officeDocument/2006/relationships/slide" Target="slides/slide47.xml"/><Relationship Id="rId58" Type="http://schemas.openxmlformats.org/officeDocument/2006/relationships/slide" Target="slides/slide52.xml"/><Relationship Id="rId66" Type="http://schemas.openxmlformats.org/officeDocument/2006/relationships/slide" Target="slides/slide60.xml"/><Relationship Id="rId74" Type="http://schemas.openxmlformats.org/officeDocument/2006/relationships/theme" Target="theme/theme1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9.xml"/><Relationship Id="rId23" Type="http://schemas.openxmlformats.org/officeDocument/2006/relationships/slide" Target="slides/slide17.xml"/><Relationship Id="rId28" Type="http://schemas.openxmlformats.org/officeDocument/2006/relationships/slide" Target="slides/slide22.xml"/><Relationship Id="rId36" Type="http://schemas.openxmlformats.org/officeDocument/2006/relationships/slide" Target="slides/slide30.xml"/><Relationship Id="rId49" Type="http://schemas.openxmlformats.org/officeDocument/2006/relationships/slide" Target="slides/slide43.xml"/><Relationship Id="rId57" Type="http://schemas.openxmlformats.org/officeDocument/2006/relationships/slide" Target="slides/slide51.xml"/><Relationship Id="rId61" Type="http://schemas.openxmlformats.org/officeDocument/2006/relationships/slide" Target="slides/slide55.xml"/><Relationship Id="rId10" Type="http://schemas.openxmlformats.org/officeDocument/2006/relationships/slide" Target="slides/slide4.xml"/><Relationship Id="rId19" Type="http://schemas.openxmlformats.org/officeDocument/2006/relationships/slide" Target="slides/slide13.xml"/><Relationship Id="rId31" Type="http://schemas.openxmlformats.org/officeDocument/2006/relationships/slide" Target="slides/slide25.xml"/><Relationship Id="rId44" Type="http://schemas.openxmlformats.org/officeDocument/2006/relationships/slide" Target="slides/slide38.xml"/><Relationship Id="rId52" Type="http://schemas.openxmlformats.org/officeDocument/2006/relationships/slide" Target="slides/slide46.xml"/><Relationship Id="rId60" Type="http://schemas.openxmlformats.org/officeDocument/2006/relationships/slide" Target="slides/slide54.xml"/><Relationship Id="rId65" Type="http://schemas.openxmlformats.org/officeDocument/2006/relationships/slide" Target="slides/slide59.xml"/><Relationship Id="rId73" Type="http://schemas.openxmlformats.org/officeDocument/2006/relationships/viewProps" Target="viewProps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slide" Target="slides/slide16.xml"/><Relationship Id="rId27" Type="http://schemas.openxmlformats.org/officeDocument/2006/relationships/slide" Target="slides/slide21.xml"/><Relationship Id="rId30" Type="http://schemas.openxmlformats.org/officeDocument/2006/relationships/slide" Target="slides/slide24.xml"/><Relationship Id="rId35" Type="http://schemas.openxmlformats.org/officeDocument/2006/relationships/slide" Target="slides/slide29.xml"/><Relationship Id="rId43" Type="http://schemas.openxmlformats.org/officeDocument/2006/relationships/slide" Target="slides/slide37.xml"/><Relationship Id="rId48" Type="http://schemas.openxmlformats.org/officeDocument/2006/relationships/slide" Target="slides/slide42.xml"/><Relationship Id="rId56" Type="http://schemas.openxmlformats.org/officeDocument/2006/relationships/slide" Target="slides/slide50.xml"/><Relationship Id="rId64" Type="http://schemas.openxmlformats.org/officeDocument/2006/relationships/slide" Target="slides/slide58.xml"/><Relationship Id="rId69" Type="http://schemas.openxmlformats.org/officeDocument/2006/relationships/notesMaster" Target="notesMasters/notesMaster1.xml"/><Relationship Id="rId8" Type="http://schemas.openxmlformats.org/officeDocument/2006/relationships/slide" Target="slides/slide2.xml"/><Relationship Id="rId51" Type="http://schemas.openxmlformats.org/officeDocument/2006/relationships/slide" Target="slides/slide45.xml"/><Relationship Id="rId72" Type="http://schemas.openxmlformats.org/officeDocument/2006/relationships/presProps" Target="presProps.xml"/><Relationship Id="rId3" Type="http://schemas.openxmlformats.org/officeDocument/2006/relationships/slideMaster" Target="slideMasters/slideMaster3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slide" Target="slides/slide19.xml"/><Relationship Id="rId33" Type="http://schemas.openxmlformats.org/officeDocument/2006/relationships/slide" Target="slides/slide27.xml"/><Relationship Id="rId38" Type="http://schemas.openxmlformats.org/officeDocument/2006/relationships/slide" Target="slides/slide32.xml"/><Relationship Id="rId46" Type="http://schemas.openxmlformats.org/officeDocument/2006/relationships/slide" Target="slides/slide40.xml"/><Relationship Id="rId59" Type="http://schemas.openxmlformats.org/officeDocument/2006/relationships/slide" Target="slides/slide53.xml"/><Relationship Id="rId67" Type="http://schemas.openxmlformats.org/officeDocument/2006/relationships/slide" Target="slides/slide61.xml"/><Relationship Id="rId20" Type="http://schemas.openxmlformats.org/officeDocument/2006/relationships/slide" Target="slides/slide14.xml"/><Relationship Id="rId41" Type="http://schemas.openxmlformats.org/officeDocument/2006/relationships/slide" Target="slides/slide35.xml"/><Relationship Id="rId54" Type="http://schemas.openxmlformats.org/officeDocument/2006/relationships/slide" Target="slides/slide48.xml"/><Relationship Id="rId62" Type="http://schemas.openxmlformats.org/officeDocument/2006/relationships/slide" Target="slides/slide56.xml"/><Relationship Id="rId70" Type="http://schemas.openxmlformats.org/officeDocument/2006/relationships/handoutMaster" Target="handoutMasters/handoutMaster1.xml"/><Relationship Id="rId75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/Relationships>
</file>

<file path=ppt/_rels/viewProps.xml.rels><?xml version="1.0" encoding="UTF-8" standalone="yes"?>
<Relationships xmlns="http://schemas.openxmlformats.org/package/2006/relationships"><Relationship Id="rId1" Type="http://schemas.openxmlformats.org/officeDocument/2006/relationships/slide" Target="slides/slide22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6554425A-3696-4DFB-B808-D2B88F3EB7C0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2" y="1"/>
            <a:ext cx="3169919" cy="619364"/>
          </a:xfrm>
          <a:prstGeom prst="rect">
            <a:avLst/>
          </a:prstGeom>
        </p:spPr>
        <p:txBody>
          <a:bodyPr vert="horz" lIns="112299" tIns="56150" rIns="112299" bIns="56150" rtlCol="0"/>
          <a:lstStyle>
            <a:lvl1pPr algn="l">
              <a:defRPr sz="1600"/>
            </a:lvl1pPr>
          </a:lstStyle>
          <a:p>
            <a:endParaRPr lang="en-US" dirty="0">
              <a:latin typeface="Oracle Sans Tab" panose="020B0503020204020204" pitchFamily="34" charset="0"/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F51457F-2D60-4187-92B7-C5BBED78E963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4143589" y="1"/>
            <a:ext cx="3169919" cy="619364"/>
          </a:xfrm>
          <a:prstGeom prst="rect">
            <a:avLst/>
          </a:prstGeom>
        </p:spPr>
        <p:txBody>
          <a:bodyPr vert="horz" lIns="112299" tIns="56150" rIns="112299" bIns="56150" rtlCol="0"/>
          <a:lstStyle>
            <a:lvl1pPr algn="r">
              <a:defRPr sz="1600"/>
            </a:lvl1pPr>
          </a:lstStyle>
          <a:p>
            <a:fld id="{320DD655-51D6-466D-8D72-5C78765FC630}" type="datetimeFigureOut">
              <a:rPr lang="en-US" smtClean="0">
                <a:latin typeface="Oracle Sans Tab" panose="020B0503020204020204" pitchFamily="34" charset="0"/>
              </a:rPr>
              <a:t>2/20/2024</a:t>
            </a:fld>
            <a:endParaRPr lang="en-US" dirty="0">
              <a:latin typeface="Oracle Sans Tab" panose="020B0503020204020204" pitchFamily="34" charset="0"/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3FA8CCD-D5C0-4680-BEFC-52889AACDB6E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2" y="11725038"/>
            <a:ext cx="3169919" cy="619362"/>
          </a:xfrm>
          <a:prstGeom prst="rect">
            <a:avLst/>
          </a:prstGeom>
        </p:spPr>
        <p:txBody>
          <a:bodyPr vert="horz" lIns="112299" tIns="56150" rIns="112299" bIns="56150" rtlCol="0" anchor="b"/>
          <a:lstStyle>
            <a:lvl1pPr algn="l">
              <a:defRPr sz="1600"/>
            </a:lvl1pPr>
          </a:lstStyle>
          <a:p>
            <a:endParaRPr lang="en-US" dirty="0">
              <a:latin typeface="Oracle Sans Tab" panose="020B0503020204020204" pitchFamily="34" charset="0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E50B35B-8976-44A2-B80D-FC8BD07A167F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4143589" y="11725038"/>
            <a:ext cx="3169919" cy="619362"/>
          </a:xfrm>
          <a:prstGeom prst="rect">
            <a:avLst/>
          </a:prstGeom>
        </p:spPr>
        <p:txBody>
          <a:bodyPr vert="horz" lIns="112299" tIns="56150" rIns="112299" bIns="56150" rtlCol="0" anchor="b"/>
          <a:lstStyle>
            <a:lvl1pPr algn="r">
              <a:defRPr sz="1600"/>
            </a:lvl1pPr>
          </a:lstStyle>
          <a:p>
            <a:fld id="{9D34DC6F-9D14-4548-8221-51EE6F5B6657}" type="slidenum">
              <a:rPr lang="en-US" smtClean="0">
                <a:latin typeface="Oracle Sans Tab" panose="020B0503020204020204" pitchFamily="34" charset="0"/>
              </a:rPr>
              <a:t>‹#›</a:t>
            </a:fld>
            <a:endParaRPr lang="en-US" dirty="0">
              <a:latin typeface="Oracle Sans Tab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6012783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2" y="1"/>
            <a:ext cx="3169919" cy="619364"/>
          </a:xfrm>
          <a:prstGeom prst="rect">
            <a:avLst/>
          </a:prstGeom>
        </p:spPr>
        <p:txBody>
          <a:bodyPr vert="horz" lIns="112299" tIns="56150" rIns="112299" bIns="56150" rtlCol="0"/>
          <a:lstStyle>
            <a:lvl1pPr algn="l">
              <a:defRPr sz="1600">
                <a:latin typeface="Oracle Sans Tab" panose="020B0503020204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143589" y="1"/>
            <a:ext cx="3169919" cy="619364"/>
          </a:xfrm>
          <a:prstGeom prst="rect">
            <a:avLst/>
          </a:prstGeom>
        </p:spPr>
        <p:txBody>
          <a:bodyPr vert="horz" lIns="112299" tIns="56150" rIns="112299" bIns="56150" rtlCol="0"/>
          <a:lstStyle>
            <a:lvl1pPr algn="r">
              <a:defRPr sz="1600">
                <a:latin typeface="Oracle Sans Tab" panose="020B0503020204020204" pitchFamily="34" charset="0"/>
              </a:defRPr>
            </a:lvl1pPr>
          </a:lstStyle>
          <a:p>
            <a:fld id="{4F9C25BA-F9B0-4418-8CA0-3A9DF1256BA5}" type="datetimeFigureOut">
              <a:rPr lang="en-US" smtClean="0"/>
              <a:pPr/>
              <a:t>2/20/2024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-44450" y="1543050"/>
            <a:ext cx="7404100" cy="41656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112299" tIns="56150" rIns="112299" bIns="5615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31520" y="5940742"/>
            <a:ext cx="5852160" cy="4860608"/>
          </a:xfrm>
          <a:prstGeom prst="rect">
            <a:avLst/>
          </a:prstGeom>
          <a:noFill/>
        </p:spPr>
        <p:txBody>
          <a:bodyPr vert="horz" lIns="0" tIns="0" rIns="0" bIns="0" rtlCol="0">
            <a:noAutofit/>
          </a:bodyPr>
          <a:lstStyle/>
          <a:p>
            <a:pPr marR="0" lvl="0" indent="0" fontAlgn="auto">
              <a:lnSpc>
                <a:spcPct val="95000"/>
              </a:lnSpc>
              <a:spcBef>
                <a:spcPts val="736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</a:pPr>
            <a:r>
              <a:rPr lang="en-US" dirty="0"/>
              <a:t>Edit Master text styles</a:t>
            </a:r>
          </a:p>
          <a:p>
            <a:pPr marL="449199" marR="0" lvl="1" indent="-224599" fontAlgn="auto">
              <a:lnSpc>
                <a:spcPct val="95000"/>
              </a:lnSpc>
              <a:spcBef>
                <a:spcPts val="736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tabLst/>
            </a:pPr>
            <a:r>
              <a:rPr lang="en-US" dirty="0"/>
              <a:t>Second level</a:t>
            </a:r>
          </a:p>
          <a:p>
            <a:pPr marL="898397" marR="0" lvl="2" indent="-224599" fontAlgn="auto">
              <a:lnSpc>
                <a:spcPct val="95000"/>
              </a:lnSpc>
              <a:spcBef>
                <a:spcPts val="491"/>
              </a:spcBef>
              <a:spcAft>
                <a:spcPts val="0"/>
              </a:spcAft>
              <a:buClrTx/>
              <a:buSzPct val="120000"/>
              <a:buFont typeface="System Font Regular"/>
              <a:buChar char="-"/>
              <a:tabLst/>
            </a:pPr>
            <a:r>
              <a:rPr lang="en-US" dirty="0"/>
              <a:t>Third level</a:t>
            </a:r>
          </a:p>
          <a:p>
            <a:pPr marL="1347596" marR="0" lvl="3" indent="-224599" fontAlgn="auto">
              <a:lnSpc>
                <a:spcPct val="95000"/>
              </a:lnSpc>
              <a:spcBef>
                <a:spcPts val="491"/>
              </a:spcBef>
              <a:spcAft>
                <a:spcPts val="0"/>
              </a:spcAft>
              <a:buClrTx/>
              <a:buSzPct val="100000"/>
              <a:buFont typeface="System Font Regular"/>
              <a:buChar char="◦"/>
              <a:tabLst/>
            </a:pPr>
            <a:r>
              <a:rPr lang="en-US" dirty="0"/>
              <a:t>Fourth level</a:t>
            </a:r>
          </a:p>
          <a:p>
            <a:pPr marL="1796796" marR="0" lvl="4" indent="-224599" fontAlgn="auto">
              <a:lnSpc>
                <a:spcPct val="95000"/>
              </a:lnSpc>
              <a:spcBef>
                <a:spcPts val="491"/>
              </a:spcBef>
              <a:spcAft>
                <a:spcPts val="0"/>
              </a:spcAft>
              <a:buClrTx/>
              <a:buSzTx/>
              <a:buFont typeface="System Font Regular"/>
              <a:buChar char="•"/>
              <a:tabLst/>
            </a:pPr>
            <a:r>
              <a:rPr lang="en-US" dirty="0"/>
              <a:t>Fifth leve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143589" y="11725038"/>
            <a:ext cx="3169919" cy="619362"/>
          </a:xfrm>
          <a:prstGeom prst="rect">
            <a:avLst/>
          </a:prstGeom>
        </p:spPr>
        <p:txBody>
          <a:bodyPr vert="horz" lIns="112299" tIns="56150" rIns="112299" bIns="56150" rtlCol="0" anchor="b"/>
          <a:lstStyle>
            <a:lvl1pPr algn="r">
              <a:defRPr sz="1600">
                <a:latin typeface="Oracle Sans Tab" panose="020B0503020204020204" pitchFamily="34" charset="0"/>
              </a:defRPr>
            </a:lvl1pPr>
          </a:lstStyle>
          <a:p>
            <a:fld id="{9EDC5964-3162-43B5-B1EC-63C8D166D7D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2" y="11725038"/>
            <a:ext cx="3169919" cy="619362"/>
          </a:xfrm>
          <a:prstGeom prst="rect">
            <a:avLst/>
          </a:prstGeom>
        </p:spPr>
        <p:txBody>
          <a:bodyPr vert="horz" lIns="112299" tIns="56150" rIns="112299" bIns="56150" rtlCol="0" anchor="b"/>
          <a:lstStyle>
            <a:lvl1pPr algn="l">
              <a:defRPr sz="1600">
                <a:latin typeface="Oracle Sans Tab" panose="020B0503020204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8497169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lang="en-US" sz="1200" b="0" i="0" kern="1200">
        <a:solidFill>
          <a:schemeClr val="tx1"/>
        </a:solidFill>
        <a:latin typeface="Oracle Sans Tab" panose="020B0503020204020204" pitchFamily="34" charset="0"/>
        <a:ea typeface="+mn-ea"/>
        <a:cs typeface="Oracle Sans Tab" panose="020B0503020204020204" pitchFamily="34" charset="0"/>
      </a:defRPr>
    </a:lvl1pPr>
    <a:lvl2pPr marL="457200" algn="l" defTabSz="914400" rtl="0" eaLnBrk="1" latinLnBrk="0" hangingPunct="1">
      <a:defRPr lang="en-US" sz="1200" b="0" i="0" kern="1200">
        <a:solidFill>
          <a:schemeClr val="tx1"/>
        </a:solidFill>
        <a:latin typeface="Oracle Sans Tab" panose="020B0503020204020204" pitchFamily="34" charset="0"/>
        <a:ea typeface="+mn-ea"/>
        <a:cs typeface="Oracle Sans Tab" panose="020B0503020204020204" pitchFamily="34" charset="0"/>
      </a:defRPr>
    </a:lvl2pPr>
    <a:lvl3pPr marL="914400" algn="l" defTabSz="914400" rtl="0" eaLnBrk="1" latinLnBrk="0" hangingPunct="1">
      <a:defRPr lang="en-US" sz="1100" kern="1200">
        <a:solidFill>
          <a:schemeClr val="tx1"/>
        </a:solidFill>
        <a:latin typeface="Oracle Sans Tab Light" panose="020B0403020204020204" pitchFamily="34" charset="0"/>
        <a:ea typeface="+mn-ea"/>
        <a:cs typeface="Oracle Sans Tab Light" panose="020B0403020204020204" pitchFamily="34" charset="0"/>
      </a:defRPr>
    </a:lvl3pPr>
    <a:lvl4pPr marL="1371600" algn="l" defTabSz="914400" rtl="0" eaLnBrk="1" latinLnBrk="0" hangingPunct="1">
      <a:defRPr lang="en-US" sz="1050" kern="1200">
        <a:solidFill>
          <a:schemeClr val="tx1"/>
        </a:solidFill>
        <a:latin typeface="Oracle Sans Tab Light" panose="020B0403020204020204" pitchFamily="34" charset="0"/>
        <a:ea typeface="+mn-ea"/>
        <a:cs typeface="Oracle Sans Tab Light" panose="020B0403020204020204" pitchFamily="34" charset="0"/>
      </a:defRPr>
    </a:lvl4pPr>
    <a:lvl5pPr marL="1828800" algn="l" defTabSz="914400" rtl="0" eaLnBrk="1" latinLnBrk="0" hangingPunct="1">
      <a:defRPr lang="en-US" sz="1000" kern="1200">
        <a:solidFill>
          <a:schemeClr val="tx1"/>
        </a:solidFill>
        <a:latin typeface="Oracle Sans Tab Light" panose="020B0403020204020204" pitchFamily="34" charset="0"/>
        <a:ea typeface="+mn-ea"/>
        <a:cs typeface="Oracle Sans Tab Light" panose="020B0403020204020204" pitchFamily="34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400.xml"/><Relationship Id="rId2" Type="http://schemas.openxmlformats.org/officeDocument/2006/relationships/tags" Target="../tags/tag399.xml"/><Relationship Id="rId1" Type="http://schemas.openxmlformats.org/officeDocument/2006/relationships/tags" Target="../tags/tag398.xml"/><Relationship Id="rId5" Type="http://schemas.openxmlformats.org/officeDocument/2006/relationships/slide" Target="../slides/slide5.xml"/><Relationship Id="rId4" Type="http://schemas.openxmlformats.org/officeDocument/2006/relationships/notesMaster" Target="../notesMasters/notesMaster1.xml"/></Relationships>
</file>

<file path=ppt/notesSlides/_rels/notesSlide4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4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4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_rels/notesSlide4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8.xml"/><Relationship Id="rId1" Type="http://schemas.openxmlformats.org/officeDocument/2006/relationships/notesMaster" Target="../notesMasters/notesMaster1.xml"/></Relationships>
</file>

<file path=ppt/notesSlides/_rels/notesSlide4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9.xml"/><Relationship Id="rId1" Type="http://schemas.openxmlformats.org/officeDocument/2006/relationships/notesMaster" Target="../notesMasters/notesMaster1.xml"/></Relationships>
</file>

<file path=ppt/notesSlides/_rels/notesSlide4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0.xml"/><Relationship Id="rId1" Type="http://schemas.openxmlformats.org/officeDocument/2006/relationships/notesMaster" Target="../notesMasters/notesMaster1.xml"/></Relationships>
</file>

<file path=ppt/notesSlides/_rels/notesSlide4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1.xml"/><Relationship Id="rId1" Type="http://schemas.openxmlformats.org/officeDocument/2006/relationships/notesMaster" Target="../notesMasters/notesMaster1.xml"/></Relationships>
</file>

<file path=ppt/notesSlides/_rels/notesSlide4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2.xml"/><Relationship Id="rId1" Type="http://schemas.openxmlformats.org/officeDocument/2006/relationships/notesMaster" Target="../notesMasters/notesMaster1.xml"/></Relationships>
</file>

<file path=ppt/notesSlides/_rels/notesSlide4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3.xml"/><Relationship Id="rId1" Type="http://schemas.openxmlformats.org/officeDocument/2006/relationships/notesMaster" Target="../notesMasters/notesMaster1.xml"/></Relationships>
</file>

<file path=ppt/notesSlides/_rels/notesSlide4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5.xml"/><Relationship Id="rId1" Type="http://schemas.openxmlformats.org/officeDocument/2006/relationships/notesMaster" Target="../notesMasters/notesMaster1.xml"/></Relationships>
</file>

<file path=ppt/notesSlides/_rels/notesSlide5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6.xml"/><Relationship Id="rId1" Type="http://schemas.openxmlformats.org/officeDocument/2006/relationships/notesMaster" Target="../notesMasters/notesMaster1.xml"/></Relationships>
</file>

<file path=ppt/notesSlides/_rels/notesSlide5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7.xml"/><Relationship Id="rId1" Type="http://schemas.openxmlformats.org/officeDocument/2006/relationships/notesMaster" Target="../notesMasters/notesMaster1.xml"/></Relationships>
</file>

<file path=ppt/notesSlides/_rels/notesSlide5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8.xml"/><Relationship Id="rId1" Type="http://schemas.openxmlformats.org/officeDocument/2006/relationships/notesMaster" Target="../notesMasters/notesMaster1.xml"/></Relationships>
</file>

<file path=ppt/notesSlides/_rels/notesSlide5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9.xml"/><Relationship Id="rId1" Type="http://schemas.openxmlformats.org/officeDocument/2006/relationships/notesMaster" Target="../notesMasters/notesMaster1.xml"/></Relationships>
</file>

<file path=ppt/notesSlides/_rels/notesSlide5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0.xml"/><Relationship Id="rId1" Type="http://schemas.openxmlformats.org/officeDocument/2006/relationships/notesMaster" Target="../notesMasters/notesMaster1.xml"/></Relationships>
</file>

<file path=ppt/notesSlides/_rels/notesSlide5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1.xml"/><Relationship Id="rId1" Type="http://schemas.openxmlformats.org/officeDocument/2006/relationships/notesMaster" Target="../notesMasters/notesMaster1.xml"/></Relationships>
</file>

<file path=ppt/notesSlides/_rels/notesSlide5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2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t-BR" dirty="0" smtClean="0"/>
              <a:t> 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DC5964-3162-43B5-B1EC-63C8D166D7D3}" type="slidenum">
              <a:rPr lang="en-US" smtClean="0"/>
              <a:pPr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4355882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Tx/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DC5964-3162-43B5-B1EC-63C8D166D7D3}" type="slidenum">
              <a:rPr lang="en-US" smtClean="0"/>
              <a:pPr/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8749983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DC5964-3162-43B5-B1EC-63C8D166D7D3}" type="slidenum">
              <a:rPr lang="en-US" smtClean="0"/>
              <a:pPr/>
              <a:t>1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0028094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2588" y="381000"/>
            <a:ext cx="4572000" cy="25733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C72D9AE-7182-4680-8F79-479C4181FF0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5F5F5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5F5F5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2314067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DC5964-3162-43B5-B1EC-63C8D166D7D3}" type="slidenum">
              <a:rPr lang="en-US" smtClean="0"/>
              <a:pPr/>
              <a:t>1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1537899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DC5964-3162-43B5-B1EC-63C8D166D7D3}" type="slidenum">
              <a:rPr lang="en-US" smtClean="0"/>
              <a:pPr/>
              <a:t>1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330806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200" b="0" i="0" u="none" strike="noStrike" kern="1200" dirty="0">
              <a:solidFill>
                <a:schemeClr val="tx1"/>
              </a:solidFill>
              <a:effectLst/>
              <a:latin typeface="Oracle Sans Tab" panose="020B0503020204020204" pitchFamily="34" charset="0"/>
              <a:ea typeface="+mn-ea"/>
              <a:cs typeface="Oracle Sans Tab" panose="020B0503020204020204" pitchFamily="34" charset="0"/>
            </a:endParaRP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EDC5964-3162-43B5-B1EC-63C8D166D7D3}" type="slidenum">
              <a:rPr kumimoji="0" lang="en-US" sz="1600" b="0" i="0" u="none" strike="noStrike" kern="1200" cap="none" spc="0" normalizeH="0" baseline="0" noProof="0" smtClean="0">
                <a:ln>
                  <a:noFill/>
                </a:ln>
                <a:solidFill>
                  <a:srgbClr val="312D2A"/>
                </a:solidFill>
                <a:effectLst/>
                <a:uLnTx/>
                <a:uFillTx/>
                <a:latin typeface="Oracle Sans Tab" panose="020B050302020402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312D2A"/>
              </a:solidFill>
              <a:effectLst/>
              <a:uLnTx/>
              <a:uFillTx/>
              <a:latin typeface="Oracle Sans Tab" panose="020B0503020204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07533531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DC5964-3162-43B5-B1EC-63C8D166D7D3}" type="slidenum">
              <a:rPr lang="en-US" smtClean="0"/>
              <a:pPr/>
              <a:t>2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29360451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EDC5964-3162-43B5-B1EC-63C8D166D7D3}" type="slidenum">
              <a:rPr lang="en-US" smtClean="0"/>
              <a:pPr/>
              <a:t>2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41152266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5" name="Notes Placeholder 4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lvl="1" indent="-114300">
              <a:lnSpc>
                <a:spcPct val="100000"/>
              </a:lnSpc>
              <a:buNone/>
            </a:pP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312D2A"/>
                </a:solidFill>
                <a:effectLst/>
                <a:uLnTx/>
                <a:uFillTx/>
                <a:latin typeface="Oracle Sans Tab" panose="020B0503020204020204" pitchFamily="34" charset="0"/>
                <a:ea typeface="+mn-ea"/>
                <a:cs typeface="+mn-cs"/>
              </a:rPr>
              <a:t>Prepare for Oracle Database Cloud Services 2021 Specialist   </a:t>
            </a:r>
            <a:fld id="{963E620A-D5E6-4D96-8560-94089551481C}" type="slidenum">
              <a:rPr kumimoji="0" lang="en-US" sz="1600" b="0" i="0" u="none" strike="noStrike" kern="1200" cap="none" spc="0" normalizeH="0" baseline="0" noProof="0" smtClean="0">
                <a:ln>
                  <a:noFill/>
                </a:ln>
                <a:solidFill>
                  <a:srgbClr val="312D2A"/>
                </a:solidFill>
                <a:effectLst/>
                <a:uLnTx/>
                <a:uFillTx/>
                <a:latin typeface="Oracle Sans Tab" panose="020B0503020204020204" pitchFamily="34" charset="0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</a:t>
            </a:fld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312D2A"/>
              </a:solidFill>
              <a:effectLst/>
              <a:uLnTx/>
              <a:uFillTx/>
              <a:latin typeface="Oracle Sans Tab" panose="020B0503020204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53741769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 sz="1800" dirty="0">
              <a:effectLst/>
              <a:latin typeface="Oracle Sans" panose="020B050302020402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 sz="1800" dirty="0">
              <a:effectLst/>
              <a:latin typeface="Oracle Sans" panose="020B050302020402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 sz="1800" dirty="0">
              <a:effectLst/>
              <a:latin typeface="Helvetica Neue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marL="0" indent="0" algn="l">
              <a:buFont typeface="Arial" panose="020B0604020202020204" pitchFamily="34" charset="0"/>
              <a:buNone/>
            </a:pPr>
            <a:endParaRPr lang="en-US" b="0" i="0" dirty="0">
              <a:solidFill>
                <a:srgbClr val="161513"/>
              </a:solidFill>
              <a:effectLst/>
              <a:latin typeface="OracleSansVF"/>
            </a:endParaRPr>
          </a:p>
          <a:p>
            <a:pPr marL="0" indent="0">
              <a:buFont typeface="+mj-lt"/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EDC5964-3162-43B5-B1EC-63C8D166D7D3}" type="slidenum">
              <a:rPr lang="en-US" smtClean="0"/>
              <a:t>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4441726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EDC5964-3162-43B5-B1EC-63C8D166D7D3}" type="slidenum">
              <a:rPr lang="en-US" smtClean="0"/>
              <a:pPr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33130675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EDC5964-3162-43B5-B1EC-63C8D166D7D3}" type="slidenum">
              <a:rPr lang="en-US" smtClean="0"/>
              <a:pPr/>
              <a:t>2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35984601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DC5964-3162-43B5-B1EC-63C8D166D7D3}" type="slidenum">
              <a:rPr lang="en-US" smtClean="0"/>
              <a:pPr/>
              <a:t>2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28301469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EDC5964-3162-43B5-B1EC-63C8D166D7D3}" type="slidenum">
              <a:rPr lang="en-US" smtClean="0"/>
              <a:pPr/>
              <a:t>2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93484951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200" b="0" i="0" kern="1200" dirty="0">
              <a:solidFill>
                <a:schemeClr val="tx1"/>
              </a:solidFill>
              <a:effectLst/>
              <a:latin typeface="Oracle Sans Tab" panose="020B0503020204020204" pitchFamily="34" charset="0"/>
              <a:ea typeface="+mn-ea"/>
              <a:cs typeface="Oracle Sans Tab" panose="020B050302020402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EDC5964-3162-43B5-B1EC-63C8D166D7D3}" type="slidenum">
              <a:rPr lang="en-US" smtClean="0"/>
              <a:pPr/>
              <a:t>2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90778341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97EC860-FC93-C341-AF98-CDCB253DCA49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30434664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EDC5964-3162-43B5-B1EC-63C8D166D7D3}" type="slidenum">
              <a:rPr lang="en-US" smtClean="0"/>
              <a:pPr/>
              <a:t>2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50702004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t-BR" dirty="0" smtClean="0"/>
              <a:t> 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DC5964-3162-43B5-B1EC-63C8D166D7D3}" type="slidenum">
              <a:rPr lang="en-US" smtClean="0"/>
              <a:pPr/>
              <a:t>3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70665482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t-BR" dirty="0" smtClean="0"/>
              <a:t> 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DC5964-3162-43B5-B1EC-63C8D166D7D3}" type="slidenum">
              <a:rPr lang="en-US" smtClean="0"/>
              <a:pPr/>
              <a:t>3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87255111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s-ES" sz="1800" dirty="0" smtClean="0">
              <a:effectLst/>
              <a:latin typeface="Helvetica Neue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s-ES" sz="1800" dirty="0" smtClean="0">
              <a:effectLst/>
              <a:latin typeface="Helvetica Neue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 sz="1800" dirty="0">
              <a:effectLst/>
              <a:latin typeface="Helvetica Neue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marL="0" indent="0" algn="l">
              <a:buFont typeface="Arial" panose="020B0604020202020204" pitchFamily="34" charset="0"/>
              <a:buNone/>
            </a:pPr>
            <a:endParaRPr lang="en-US" b="0" i="0" dirty="0">
              <a:solidFill>
                <a:srgbClr val="161513"/>
              </a:solidFill>
              <a:effectLst/>
              <a:latin typeface="OracleSansVF"/>
            </a:endParaRPr>
          </a:p>
          <a:p>
            <a:pPr marL="0" indent="0">
              <a:buFont typeface="+mj-lt"/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EDC5964-3162-43B5-B1EC-63C8D166D7D3}" type="slidenum">
              <a:rPr lang="en-US" smtClean="0"/>
              <a:t>3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00885900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EDC5964-3162-43B5-B1EC-63C8D166D7D3}" type="slidenum">
              <a:rPr lang="en-US" smtClean="0"/>
              <a:pPr/>
              <a:t>3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8298792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EDC5964-3162-43B5-B1EC-63C8D166D7D3}" type="slidenum">
              <a:rPr lang="en-US" smtClean="0"/>
              <a:pPr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7475557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 typeface="+mj-lt"/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EDC5964-3162-43B5-B1EC-63C8D166D7D3}" type="slidenum">
              <a:rPr lang="en-US" smtClean="0"/>
              <a:t>3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69754138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EDC5964-3162-43B5-B1EC-63C8D166D7D3}" type="slidenum">
              <a:rPr lang="en-US" smtClean="0"/>
              <a:pPr/>
              <a:t>3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4008386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EDC5964-3162-43B5-B1EC-63C8D166D7D3}" type="slidenum">
              <a:rPr lang="en-US" smtClean="0"/>
              <a:pPr/>
              <a:t>3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79449815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EDC5964-3162-43B5-B1EC-63C8D166D7D3}" type="slidenum">
              <a:rPr lang="en-US" smtClean="0"/>
              <a:pPr/>
              <a:t>3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0102008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EDC5964-3162-43B5-B1EC-63C8D166D7D3}" type="slidenum">
              <a:rPr lang="en-US" smtClean="0"/>
              <a:pPr/>
              <a:t>3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1159748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EDC5964-3162-43B5-B1EC-63C8D166D7D3}" type="slidenum">
              <a:rPr lang="en-US" smtClean="0"/>
              <a:pPr/>
              <a:t>4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96840514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EDC5964-3162-43B5-B1EC-63C8D166D7D3}" type="slidenum">
              <a:rPr lang="en-US" smtClean="0"/>
              <a:pPr/>
              <a:t>4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36422204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EDC5964-3162-43B5-B1EC-63C8D166D7D3}" type="slidenum">
              <a:rPr lang="en-US" smtClean="0"/>
              <a:pPr/>
              <a:t>4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81063747"/>
      </p:ext>
    </p:extLst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EDC5964-3162-43B5-B1EC-63C8D166D7D3}" type="slidenum">
              <a:rPr lang="en-US" smtClean="0"/>
              <a:pPr/>
              <a:t>4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63347667"/>
      </p:ext>
    </p:extLst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EDC5964-3162-43B5-B1EC-63C8D166D7D3}" type="slidenum">
              <a:rPr lang="en-US" smtClean="0"/>
              <a:pPr/>
              <a:t>4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3023837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  <p:custDataLst>
              <p:tags r:id="rId1"/>
            </p:custDataLst>
          </p:nvPr>
        </p:nvSpPr>
        <p:spPr>
          <a:xfrm>
            <a:off x="382588" y="381000"/>
            <a:ext cx="4572000" cy="25733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  <p:custDataLst>
              <p:tags r:id="rId2"/>
            </p:custDataLst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  <p:custDataLst>
              <p:tags r:id="rId3"/>
            </p:custDataLst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C72D9AE-7182-4680-8F79-479C4181FF0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29429692"/>
      </p:ext>
    </p:extLst>
  </p:cSld>
  <p:clrMapOvr>
    <a:masterClrMapping/>
  </p:clrMapOvr>
</p:notes>
</file>

<file path=ppt/notesSlides/notesSlide4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EDC5964-3162-43B5-B1EC-63C8D166D7D3}" type="slidenum">
              <a:rPr lang="en-US" smtClean="0"/>
              <a:pPr/>
              <a:t>4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75625487"/>
      </p:ext>
    </p:extLst>
  </p:cSld>
  <p:clrMapOvr>
    <a:masterClrMapping/>
  </p:clrMapOvr>
</p:notes>
</file>

<file path=ppt/notesSlides/notesSlide4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EDC5964-3162-43B5-B1EC-63C8D166D7D3}" type="slidenum">
              <a:rPr lang="en-US" smtClean="0"/>
              <a:pPr/>
              <a:t>4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49494424"/>
      </p:ext>
    </p:extLst>
  </p:cSld>
  <p:clrMapOvr>
    <a:masterClrMapping/>
  </p:clrMapOvr>
</p:notes>
</file>

<file path=ppt/notesSlides/notesSlide4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EDC5964-3162-43B5-B1EC-63C8D166D7D3}" type="slidenum">
              <a:rPr lang="en-US" smtClean="0"/>
              <a:pPr/>
              <a:t>4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65442559"/>
      </p:ext>
    </p:extLst>
  </p:cSld>
  <p:clrMapOvr>
    <a:masterClrMapping/>
  </p:clrMapOvr>
</p:notes>
</file>

<file path=ppt/notesSlides/notesSlide4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EDC5964-3162-43B5-B1EC-63C8D166D7D3}" type="slidenum">
              <a:rPr lang="en-US" smtClean="0"/>
              <a:pPr/>
              <a:t>4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4810507"/>
      </p:ext>
    </p:extLst>
  </p:cSld>
  <p:clrMapOvr>
    <a:masterClrMapping/>
  </p:clrMapOvr>
</p:notes>
</file>

<file path=ppt/notesSlides/notesSlide4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  <a:p>
            <a:endParaRPr lang="en-US" sz="1200" b="0" i="0" kern="1200" dirty="0">
              <a:solidFill>
                <a:schemeClr val="tx1"/>
              </a:solidFill>
              <a:effectLst/>
              <a:ea typeface="+mn-ea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5150869-5894-C143-BD56-C02A1532E401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9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13387383"/>
      </p:ext>
    </p:extLst>
  </p:cSld>
  <p:clrMapOvr>
    <a:masterClrMapping/>
  </p:clrMapOvr>
</p:notes>
</file>

<file path=ppt/notesSlides/notesSlide4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EDC5964-3162-43B5-B1EC-63C8D166D7D3}" type="slidenum">
              <a:rPr lang="en-US" smtClean="0"/>
              <a:pPr/>
              <a:t>5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93897852"/>
      </p:ext>
    </p:extLst>
  </p:cSld>
  <p:clrMapOvr>
    <a:masterClrMapping/>
  </p:clrMapOvr>
</p:notes>
</file>

<file path=ppt/notesSlides/notesSlide4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EDC5964-3162-43B5-B1EC-63C8D166D7D3}" type="slidenum">
              <a:rPr lang="en-US" smtClean="0"/>
              <a:pPr/>
              <a:t>5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88355152"/>
      </p:ext>
    </p:extLst>
  </p:cSld>
  <p:clrMapOvr>
    <a:masterClrMapping/>
  </p:clrMapOvr>
</p:notes>
</file>

<file path=ppt/notesSlides/notesSlide4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92163" y="285750"/>
            <a:ext cx="3419475" cy="19240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140349" indent="-140349"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748528">
              <a:defRPr/>
            </a:pPr>
            <a:fld id="{8C72D9AE-7182-4680-8F79-479C4181FF08}" type="slidenum">
              <a:rPr lang="en-US" sz="1000">
                <a:solidFill>
                  <a:srgbClr val="58595B"/>
                </a:solidFill>
                <a:latin typeface="Calibri"/>
              </a:rPr>
              <a:pPr defTabSz="748528">
                <a:defRPr/>
              </a:pPr>
              <a:t>52</a:t>
            </a:fld>
            <a:endParaRPr lang="en-US" sz="1000" dirty="0">
              <a:solidFill>
                <a:srgbClr val="58595B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929274714"/>
      </p:ext>
    </p:extLst>
  </p:cSld>
  <p:clrMapOvr>
    <a:masterClrMapping/>
  </p:clrMapOvr>
</p:notes>
</file>

<file path=ppt/notesSlides/notesSlide4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92163" y="285750"/>
            <a:ext cx="3419475" cy="19240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140349" indent="-140349"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748528">
              <a:defRPr/>
            </a:pPr>
            <a:fld id="{8C72D9AE-7182-4680-8F79-479C4181FF08}" type="slidenum">
              <a:rPr lang="en-US" sz="1000">
                <a:solidFill>
                  <a:srgbClr val="58595B"/>
                </a:solidFill>
                <a:latin typeface="Calibri"/>
              </a:rPr>
              <a:pPr defTabSz="748528">
                <a:defRPr/>
              </a:pPr>
              <a:t>53</a:t>
            </a:fld>
            <a:endParaRPr lang="en-US" sz="1000" dirty="0">
              <a:solidFill>
                <a:srgbClr val="58595B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511397485"/>
      </p:ext>
    </p:extLst>
  </p:cSld>
  <p:clrMapOvr>
    <a:masterClrMapping/>
  </p:clrMapOvr>
</p:notes>
</file>

<file path=ppt/notesSlides/notesSlide4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92163" y="285750"/>
            <a:ext cx="3419475" cy="19240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748528">
              <a:defRPr/>
            </a:pPr>
            <a:fld id="{8C72D9AE-7182-4680-8F79-479C4181FF08}" type="slidenum">
              <a:rPr lang="en-US" sz="1000">
                <a:solidFill>
                  <a:srgbClr val="58595B"/>
                </a:solidFill>
                <a:latin typeface="Calibri"/>
              </a:rPr>
              <a:pPr defTabSz="748528">
                <a:defRPr/>
              </a:pPr>
              <a:t>54</a:t>
            </a:fld>
            <a:endParaRPr lang="en-US" sz="1000" dirty="0">
              <a:solidFill>
                <a:srgbClr val="58595B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44568630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EDC5964-3162-43B5-B1EC-63C8D166D7D3}" type="slidenum">
              <a:rPr lang="en-US" smtClean="0"/>
              <a:pPr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04184449"/>
      </p:ext>
    </p:extLst>
  </p:cSld>
  <p:clrMapOvr>
    <a:masterClrMapping/>
  </p:clrMapOvr>
</p:notes>
</file>

<file path=ppt/notesSlides/notesSlide5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92163" y="285750"/>
            <a:ext cx="3419475" cy="19240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f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748528">
              <a:defRPr/>
            </a:pPr>
            <a:fld id="{8C72D9AE-7182-4680-8F79-479C4181FF08}" type="slidenum">
              <a:rPr lang="en-US" sz="1000">
                <a:solidFill>
                  <a:srgbClr val="58595B"/>
                </a:solidFill>
                <a:latin typeface="Calibri"/>
              </a:rPr>
              <a:pPr defTabSz="748528">
                <a:defRPr/>
              </a:pPr>
              <a:t>55</a:t>
            </a:fld>
            <a:endParaRPr lang="en-US" sz="1000" dirty="0">
              <a:solidFill>
                <a:srgbClr val="58595B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4043576138"/>
      </p:ext>
    </p:extLst>
  </p:cSld>
  <p:clrMapOvr>
    <a:masterClrMapping/>
  </p:clrMapOvr>
</p:notes>
</file>

<file path=ppt/notesSlides/notesSlide5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DC5964-3162-43B5-B1EC-63C8D166D7D3}" type="slidenum">
              <a:rPr lang="en-US" smtClean="0"/>
              <a:pPr/>
              <a:t>5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42487386"/>
      </p:ext>
    </p:extLst>
  </p:cSld>
  <p:clrMapOvr>
    <a:masterClrMapping/>
  </p:clrMapOvr>
</p:notes>
</file>

<file path=ppt/notesSlides/notesSlide5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EDC5964-3162-43B5-B1EC-63C8D166D7D3}" type="slidenum">
              <a:rPr lang="en-US" smtClean="0"/>
              <a:pPr/>
              <a:t>5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7030186"/>
      </p:ext>
    </p:extLst>
  </p:cSld>
  <p:clrMapOvr>
    <a:masterClrMapping/>
  </p:clrMapOvr>
</p:notes>
</file>

<file path=ppt/notesSlides/notesSlide5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Let us know how we can help you get the most out of your Oracle Databases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EDC5964-3162-43B5-B1EC-63C8D166D7D3}" type="slidenum">
              <a:rPr kumimoji="0" lang="en-US" sz="1600" b="0" i="0" u="none" strike="noStrike" kern="1200" cap="none" spc="0" normalizeH="0" baseline="0" noProof="0" smtClean="0">
                <a:ln>
                  <a:noFill/>
                </a:ln>
                <a:solidFill>
                  <a:srgbClr val="312D2A"/>
                </a:solidFill>
                <a:effectLst/>
                <a:uLnTx/>
                <a:uFillTx/>
                <a:latin typeface="Oracle Sans Tab" panose="020B050302020402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8</a:t>
            </a:fld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312D2A"/>
              </a:solidFill>
              <a:effectLst/>
              <a:uLnTx/>
              <a:uFillTx/>
              <a:latin typeface="Oracle Sans Tab" panose="020B0503020204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97530854"/>
      </p:ext>
    </p:extLst>
  </p:cSld>
  <p:clrMapOvr>
    <a:masterClrMapping/>
  </p:clrMapOvr>
</p:notes>
</file>

<file path=ppt/notesSlides/notesSlide5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EDC5964-3162-43B5-B1EC-63C8D166D7D3}" type="slidenum">
              <a:rPr kumimoji="0" lang="en-US" sz="1600" b="0" i="0" u="none" strike="noStrike" kern="1200" cap="none" spc="0" normalizeH="0" baseline="0" noProof="0" smtClean="0">
                <a:ln>
                  <a:noFill/>
                </a:ln>
                <a:solidFill>
                  <a:srgbClr val="312D2A"/>
                </a:solidFill>
                <a:effectLst/>
                <a:uLnTx/>
                <a:uFillTx/>
                <a:latin typeface="Oracle Sans Tab" panose="020B050302020402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9</a:t>
            </a:fld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312D2A"/>
              </a:solidFill>
              <a:effectLst/>
              <a:uLnTx/>
              <a:uFillTx/>
              <a:latin typeface="Oracle Sans Tab" panose="020B0503020204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88920337"/>
      </p:ext>
    </p:extLst>
  </p:cSld>
  <p:clrMapOvr>
    <a:masterClrMapping/>
  </p:clrMapOvr>
</p:notes>
</file>

<file path=ppt/notesSlides/notesSlide5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EDC5964-3162-43B5-B1EC-63C8D166D7D3}" type="slidenum">
              <a:rPr kumimoji="0" lang="en-US" sz="1600" b="0" i="0" u="none" strike="noStrike" kern="1200" cap="none" spc="0" normalizeH="0" baseline="0" noProof="0" smtClean="0">
                <a:ln>
                  <a:noFill/>
                </a:ln>
                <a:solidFill>
                  <a:srgbClr val="312D2A"/>
                </a:solidFill>
                <a:effectLst/>
                <a:uLnTx/>
                <a:uFillTx/>
                <a:latin typeface="Oracle Sans Tab" panose="020B050302020402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0</a:t>
            </a:fld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312D2A"/>
              </a:solidFill>
              <a:effectLst/>
              <a:uLnTx/>
              <a:uFillTx/>
              <a:latin typeface="Oracle Sans Tab" panose="020B0503020204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43458316"/>
      </p:ext>
    </p:extLst>
  </p:cSld>
  <p:clrMapOvr>
    <a:masterClrMapping/>
  </p:clrMapOvr>
</p:notes>
</file>

<file path=ppt/notesSlides/notesSlide5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EDC5964-3162-43B5-B1EC-63C8D166D7D3}" type="slidenum">
              <a:rPr lang="en-US" smtClean="0"/>
              <a:pPr/>
              <a:t>6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62172589"/>
      </p:ext>
    </p:extLst>
  </p:cSld>
  <p:clrMapOvr>
    <a:masterClrMapping/>
  </p:clrMapOvr>
</p:notes>
</file>

<file path=ppt/notesSlides/notesSlide5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EDC5964-3162-43B5-B1EC-63C8D166D7D3}" type="slidenum">
              <a:rPr lang="en-US" smtClean="0"/>
              <a:pPr/>
              <a:t>6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8313456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EDC5964-3162-43B5-B1EC-63C8D166D7D3}" type="slidenum">
              <a:rPr lang="en-US" smtClean="0"/>
              <a:pPr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562321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DC5964-3162-43B5-B1EC-63C8D166D7D3}" type="slidenum">
              <a:rPr lang="en-US" smtClean="0"/>
              <a:pPr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5866267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EDC5964-3162-43B5-B1EC-63C8D166D7D3}" type="slidenum">
              <a:rPr lang="en-US" smtClean="0"/>
              <a:pPr/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4652711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DC5964-3162-43B5-B1EC-63C8D166D7D3}" type="slidenum">
              <a:rPr lang="en-US" smtClean="0"/>
              <a:pPr/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4334899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6.png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4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4.xml"/><Relationship Id="rId5" Type="http://schemas.openxmlformats.org/officeDocument/2006/relationships/image" Target="../media/image8.jpeg"/><Relationship Id="rId4" Type="http://schemas.openxmlformats.org/officeDocument/2006/relationships/image" Target="../media/image6.svg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4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1.emf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6.png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ght - Title 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Cloud">
            <a:extLst>
              <a:ext uri="{FF2B5EF4-FFF2-40B4-BE49-F238E27FC236}">
                <a16:creationId xmlns:a16="http://schemas.microsoft.com/office/drawing/2014/main" id="{14698CB0-77BC-6148-8112-EFC83C0F580B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705731" y="269359"/>
            <a:ext cx="5080369" cy="1559442"/>
          </a:xfrm>
          <a:prstGeom prst="rect">
            <a:avLst/>
          </a:prstGeom>
        </p:spPr>
      </p:pic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07A30E9B-4EB7-4882-9E42-67210E9CC0B4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771525" y="1600200"/>
            <a:ext cx="10677525" cy="4507992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35CB6F3B-CCE4-4193-8EAA-C4A6D27C7DA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Tit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58AA26E-E9A4-4CE1-9157-28062D2322ED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smtClean="0"/>
              <a:t>Copyright © 2024, Oracle and/or its affiliates. All rights reserved   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FB3DA01-00EF-4B14-8325-24C1135260F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345D60D9-5372-5F40-9443-0F9AE5BDC3C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775670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ark - Thank You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Abstract Illustration">
            <a:extLst>
              <a:ext uri="{FF2B5EF4-FFF2-40B4-BE49-F238E27FC236}">
                <a16:creationId xmlns:a16="http://schemas.microsoft.com/office/drawing/2014/main" id="{49F92AE8-C0F0-CF4B-B569-964245B00416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ltGray">
          <a:xfrm>
            <a:off x="6096000" y="4898"/>
            <a:ext cx="6096000" cy="6858000"/>
          </a:xfrm>
          <a:prstGeom prst="rect">
            <a:avLst/>
          </a:prstGeom>
        </p:spPr>
      </p:pic>
      <p:pic>
        <p:nvPicPr>
          <p:cNvPr id="26" name="OTag">
            <a:extLst>
              <a:ext uri="{FF2B5EF4-FFF2-40B4-BE49-F238E27FC236}">
                <a16:creationId xmlns:a16="http://schemas.microsoft.com/office/drawing/2014/main" id="{42D6F87D-23AA-1D42-BDBA-F6833AC9A0E3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83112" y="6355080"/>
            <a:ext cx="502920" cy="502920"/>
          </a:xfrm>
          <a:prstGeom prst="rect">
            <a:avLst/>
          </a:prstGeom>
        </p:spPr>
      </p:pic>
      <p:sp>
        <p:nvSpPr>
          <p:cNvPr id="3" name="Thank youi">
            <a:extLst>
              <a:ext uri="{FF2B5EF4-FFF2-40B4-BE49-F238E27FC236}">
                <a16:creationId xmlns:a16="http://schemas.microsoft.com/office/drawing/2014/main" id="{1F390879-C7C7-4224-97BB-1C165BFB5AA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68875" y="3483973"/>
            <a:ext cx="5029200" cy="822960"/>
          </a:xfrm>
          <a:noFill/>
        </p:spPr>
        <p:txBody>
          <a:bodyPr vert="horz" lIns="0" tIns="0" rIns="0" bIns="0" rtlCol="0" anchor="b" anchorCtr="0">
            <a:noAutofit/>
          </a:bodyPr>
          <a:lstStyle>
            <a:lvl1pPr>
              <a:defRPr lang="en-US" sz="3200" b="0">
                <a:latin typeface="+mj-lt"/>
                <a:cs typeface="Oracle Sans Tab" panose="020B0503020204020204" pitchFamily="34" charset="0"/>
              </a:defRPr>
            </a:lvl1pPr>
          </a:lstStyle>
          <a:p>
            <a:pPr marL="0" marR="0" lvl="0" indent="0" fontAlgn="t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System Font Regular"/>
              <a:tabLst/>
            </a:pPr>
            <a:r>
              <a:rPr lang="en-US" dirty="0"/>
              <a:t>Thank you</a:t>
            </a:r>
          </a:p>
        </p:txBody>
      </p:sp>
      <p:cxnSp>
        <p:nvCxnSpPr>
          <p:cNvPr id="17" name="Accent Mark">
            <a:extLst>
              <a:ext uri="{FF2B5EF4-FFF2-40B4-BE49-F238E27FC236}">
                <a16:creationId xmlns:a16="http://schemas.microsoft.com/office/drawing/2014/main" id="{067F8F82-B054-48B8-A81C-65FC099A0B9D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CxnSpPr>
            <a:cxnSpLocks/>
          </p:cNvCxnSpPr>
          <p:nvPr userDrawn="1"/>
        </p:nvCxnSpPr>
        <p:spPr>
          <a:xfrm flipH="1">
            <a:off x="768350" y="4508728"/>
            <a:ext cx="301752" cy="0"/>
          </a:xfrm>
          <a:prstGeom prst="line">
            <a:avLst/>
          </a:prstGeom>
          <a:ln w="38100" cap="flat">
            <a:solidFill>
              <a:srgbClr val="D39F5D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Field">
            <a:extLst>
              <a:ext uri="{FF2B5EF4-FFF2-40B4-BE49-F238E27FC236}">
                <a16:creationId xmlns:a16="http://schemas.microsoft.com/office/drawing/2014/main" id="{F273E805-B8FF-F84B-99E6-4636F8BD3EBF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762000" y="4773585"/>
            <a:ext cx="5029200" cy="266291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Field 2">
            <a:extLst>
              <a:ext uri="{FF2B5EF4-FFF2-40B4-BE49-F238E27FC236}">
                <a16:creationId xmlns:a16="http://schemas.microsoft.com/office/drawing/2014/main" id="{283762D0-0D31-A347-AD9E-095398CD17C5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762000" y="5111178"/>
            <a:ext cx="5029200" cy="895181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8DBDF9E-BB65-47CA-AE22-65479E3B2B11}"/>
              </a:ext>
            </a:extLst>
          </p:cNvPr>
          <p:cNvSpPr>
            <a:spLocks noGrp="1"/>
          </p:cNvSpPr>
          <p:nvPr>
            <p:ph type="dt" sz="half" idx="38"/>
          </p:nvPr>
        </p:nvSpPr>
        <p:spPr>
          <a:xfrm>
            <a:off x="6873138" y="6425604"/>
            <a:ext cx="2743200" cy="363500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36FFAC2-A591-4775-8C17-E779B8580987}"/>
              </a:ext>
            </a:extLst>
          </p:cNvPr>
          <p:cNvSpPr>
            <a:spLocks noGrp="1"/>
          </p:cNvSpPr>
          <p:nvPr>
            <p:ph type="ftr" sz="quarter" idx="39"/>
          </p:nvPr>
        </p:nvSpPr>
        <p:spPr/>
        <p:txBody>
          <a:bodyPr/>
          <a:lstStyle/>
          <a:p>
            <a:r>
              <a:rPr lang="en-US" smtClean="0"/>
              <a:t>Copyright © 2024, Oracle and/or its affiliates. All rights reserved   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05CE80B-FDBC-4834-99C6-9621F96B934D}"/>
              </a:ext>
            </a:extLst>
          </p:cNvPr>
          <p:cNvSpPr>
            <a:spLocks noGrp="1"/>
          </p:cNvSpPr>
          <p:nvPr>
            <p:ph type="sldNum" sz="quarter" idx="40"/>
          </p:nvPr>
        </p:nvSpPr>
        <p:spPr/>
        <p:txBody>
          <a:bodyPr/>
          <a:lstStyle/>
          <a:p>
            <a:fld id="{345D60D9-5372-5F40-9443-0F9AE5BDC3C8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12" r="54785"/>
          <a:stretch/>
        </p:blipFill>
        <p:spPr>
          <a:xfrm>
            <a:off x="6087979" y="0"/>
            <a:ext cx="610402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314467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ark - Divider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OTag">
            <a:extLst>
              <a:ext uri="{FF2B5EF4-FFF2-40B4-BE49-F238E27FC236}">
                <a16:creationId xmlns:a16="http://schemas.microsoft.com/office/drawing/2014/main" id="{82323826-2F7C-DC44-94F9-0225962BEA89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83112" y="6355080"/>
            <a:ext cx="502920" cy="502920"/>
          </a:xfrm>
          <a:prstGeom prst="rect">
            <a:avLst/>
          </a:prstGeom>
        </p:spPr>
      </p:pic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638588-07BC-4F98-97FA-975AE1443B6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Copyright © 2024, Oracle and/or its affiliates. All rights reserved   </a:t>
            </a:r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848B57A4-1EA3-47FA-AD37-31BB82676BA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5D60D9-5372-5F40-9443-0F9AE5BDC3C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C543FCF3-AE26-4DE7-A6C3-3940B3E78E3F}"/>
              </a:ext>
            </a:extLst>
          </p:cNvPr>
          <p:cNvSpPr/>
          <p:nvPr userDrawn="1"/>
        </p:nvSpPr>
        <p:spPr>
          <a:xfrm>
            <a:off x="783878" y="3804904"/>
            <a:ext cx="301752" cy="45719"/>
          </a:xfrm>
          <a:prstGeom prst="rect">
            <a:avLst/>
          </a:prstGeom>
          <a:solidFill>
            <a:srgbClr val="D39F5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Title 5">
            <a:extLst>
              <a:ext uri="{FF2B5EF4-FFF2-40B4-BE49-F238E27FC236}">
                <a16:creationId xmlns:a16="http://schemas.microsoft.com/office/drawing/2014/main" id="{7856B97A-8557-4DB6-9175-7EBD0C8937D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68871" y="2337132"/>
            <a:ext cx="10158984" cy="1280160"/>
          </a:xfrm>
          <a:noFill/>
        </p:spPr>
        <p:txBody>
          <a:bodyPr vert="horz" wrap="square" lIns="0" tIns="0" rIns="0" bIns="0" rtlCol="0" anchor="b">
            <a:noAutofit/>
          </a:bodyPr>
          <a:lstStyle>
            <a:lvl1pPr>
              <a:lnSpc>
                <a:spcPct val="95000"/>
              </a:lnSpc>
              <a:defRPr lang="en-US" sz="4000" b="0" dirty="0">
                <a:latin typeface="+mj-lt"/>
              </a:defRPr>
            </a:lvl1pPr>
          </a:lstStyle>
          <a:p>
            <a:pPr lvl="0">
              <a:lnSpc>
                <a:spcPct val="100000"/>
              </a:lnSpc>
            </a:pPr>
            <a:r>
              <a:rPr lang="en-US" dirty="0"/>
              <a:t>Click to add divider title (up to 2 lines)</a:t>
            </a:r>
          </a:p>
        </p:txBody>
      </p:sp>
      <p:sp>
        <p:nvSpPr>
          <p:cNvPr id="10" name="Subhead">
            <a:extLst>
              <a:ext uri="{FF2B5EF4-FFF2-40B4-BE49-F238E27FC236}">
                <a16:creationId xmlns:a16="http://schemas.microsoft.com/office/drawing/2014/main" id="{E9558DCD-9619-43EF-806C-010C13A11164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776689" y="4135193"/>
            <a:ext cx="10158984" cy="681251"/>
          </a:xfrm>
          <a:prstGeom prst="rect">
            <a:avLst/>
          </a:prstGeom>
          <a:noFill/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5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Subhead goes here</a:t>
            </a:r>
          </a:p>
        </p:txBody>
      </p:sp>
    </p:spTree>
    <p:extLst>
      <p:ext uri="{BB962C8B-B14F-4D97-AF65-F5344CB8AC3E}">
        <p14:creationId xmlns:p14="http://schemas.microsoft.com/office/powerpoint/2010/main" val="255700816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ight -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Cloud">
            <a:extLst>
              <a:ext uri="{FF2B5EF4-FFF2-40B4-BE49-F238E27FC236}">
                <a16:creationId xmlns:a16="http://schemas.microsoft.com/office/drawing/2014/main" id="{A52109B5-4152-894B-9BF6-17B5458CC9C7}"/>
              </a:ext>
              <a:ext uri="{C183D7F6-B498-43B3-948B-1728B52AA6E4}">
                <adec:decorative xmlns=""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705731" y="269359"/>
            <a:ext cx="5080369" cy="1559442"/>
          </a:xfrm>
          <a:prstGeom prst="rect">
            <a:avLst/>
          </a:prstGeom>
        </p:spPr>
      </p:pic>
      <p:sp>
        <p:nvSpPr>
          <p:cNvPr id="4" name="Title 3">
            <a:extLst>
              <a:ext uri="{FF2B5EF4-FFF2-40B4-BE49-F238E27FC236}">
                <a16:creationId xmlns:a16="http://schemas.microsoft.com/office/drawing/2014/main" id="{F5090641-BB3E-479D-A754-1B2B6F37AEB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Tit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0DAEFA0-C12C-4365-A532-D29F819542E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Copyright © 2024, Oracle and/or its affiliates. All rights reserved   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E6038FD-33E0-4C25-AC00-13FEB177A4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5D60D9-5372-5F40-9443-0F9AE5BDC3C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770143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Database Dark - Title">
    <p:bg>
      <p:bgPr>
        <a:solidFill>
          <a:srgbClr val="2A2F2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OTag">
            <a:extLst>
              <a:ext uri="{FF2B5EF4-FFF2-40B4-BE49-F238E27FC236}">
                <a16:creationId xmlns:a16="http://schemas.microsoft.com/office/drawing/2014/main" id="{7BFEFC66-2347-E947-A49E-DD43E74CCC27}"/>
              </a:ext>
              <a:ext uri="{C183D7F6-B498-43B3-948B-1728B52AA6E4}">
                <adec:decorative xmlns=""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83112" y="6355080"/>
            <a:ext cx="502920" cy="502920"/>
          </a:xfrm>
          <a:prstGeom prst="rect">
            <a:avLst/>
          </a:prstGeom>
        </p:spPr>
      </p:pic>
      <p:pic>
        <p:nvPicPr>
          <p:cNvPr id="14" name="Oracle Logo" descr="Oracle Logo">
            <a:extLst>
              <a:ext uri="{FF2B5EF4-FFF2-40B4-BE49-F238E27FC236}">
                <a16:creationId xmlns:a16="http://schemas.microsoft.com/office/drawing/2014/main" id="{90869BEA-7CC8-4176-A565-8203484F77D7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4"/>
              </a:ext>
            </a:extLst>
          </a:blip>
          <a:stretch>
            <a:fillRect/>
          </a:stretch>
        </p:blipFill>
        <p:spPr bwMode="invGray">
          <a:xfrm>
            <a:off x="944949" y="1132368"/>
            <a:ext cx="1524893" cy="320039"/>
          </a:xfrm>
          <a:prstGeom prst="rect">
            <a:avLst/>
          </a:prstGeom>
        </p:spPr>
      </p:pic>
      <p:sp>
        <p:nvSpPr>
          <p:cNvPr id="24" name="Title">
            <a:extLst>
              <a:ext uri="{FF2B5EF4-FFF2-40B4-BE49-F238E27FC236}">
                <a16:creationId xmlns:a16="http://schemas.microsoft.com/office/drawing/2014/main" id="{461BB5F1-8825-7944-96EB-8445317513F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018030" y="2148840"/>
            <a:ext cx="10158984" cy="1280160"/>
          </a:xfrm>
          <a:noFill/>
        </p:spPr>
        <p:txBody>
          <a:bodyPr vert="horz" wrap="square" lIns="0" tIns="0" rIns="0" bIns="91440" rtlCol="0" anchor="b">
            <a:noAutofit/>
          </a:bodyPr>
          <a:lstStyle>
            <a:lvl1pPr>
              <a:defRPr lang="en-US" sz="4000" b="0">
                <a:latin typeface="+mj-lt"/>
              </a:defRPr>
            </a:lvl1pPr>
          </a:lstStyle>
          <a:p>
            <a:pPr lvl="0">
              <a:lnSpc>
                <a:spcPct val="100000"/>
              </a:lnSpc>
            </a:pPr>
            <a:r>
              <a:rPr lang="en-US"/>
              <a:t>Database (up to two lines) </a:t>
            </a:r>
            <a:br>
              <a:rPr lang="en-US"/>
            </a:br>
            <a:r>
              <a:rPr lang="en-US"/>
              <a:t>Georgia Regular 40pt</a:t>
            </a:r>
          </a:p>
        </p:txBody>
      </p:sp>
      <p:sp>
        <p:nvSpPr>
          <p:cNvPr id="25" name="Subhead">
            <a:extLst>
              <a:ext uri="{FF2B5EF4-FFF2-40B4-BE49-F238E27FC236}">
                <a16:creationId xmlns:a16="http://schemas.microsoft.com/office/drawing/2014/main" id="{DE85AE1C-733D-7244-A6DA-C3ADBC76ED0C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1018030" y="3519553"/>
            <a:ext cx="10158984" cy="341247"/>
          </a:xfrm>
          <a:prstGeom prst="rect">
            <a:avLst/>
          </a:prstGeom>
          <a:noFill/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defRPr sz="2400" b="0">
                <a:solidFill>
                  <a:srgbClr val="99ADAE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lang="en-US"/>
              <a:t>Subhead goes here on one line</a:t>
            </a:r>
          </a:p>
        </p:txBody>
      </p:sp>
      <p:sp>
        <p:nvSpPr>
          <p:cNvPr id="11" name="Text Field">
            <a:extLst>
              <a:ext uri="{FF2B5EF4-FFF2-40B4-BE49-F238E27FC236}">
                <a16:creationId xmlns:a16="http://schemas.microsoft.com/office/drawing/2014/main" id="{5096A149-B6C9-A04E-A2B0-54CCFAA42526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1018030" y="4544568"/>
            <a:ext cx="5077970" cy="266291"/>
          </a:xfrm>
          <a:prstGeom prst="rect">
            <a:avLst/>
          </a:prstGeom>
          <a:noFill/>
        </p:spPr>
        <p:txBody>
          <a:bodyPr>
            <a:noAutofit/>
          </a:bodyPr>
          <a:lstStyle>
            <a:lvl1pPr>
              <a:defRPr b="1"/>
            </a:lvl1pPr>
          </a:lstStyle>
          <a:p>
            <a:pPr lvl="0"/>
            <a:r>
              <a:rPr lang="en-US"/>
              <a:t>Name</a:t>
            </a:r>
          </a:p>
        </p:txBody>
      </p:sp>
      <p:sp>
        <p:nvSpPr>
          <p:cNvPr id="10" name="Text Field 2">
            <a:extLst>
              <a:ext uri="{FF2B5EF4-FFF2-40B4-BE49-F238E27FC236}">
                <a16:creationId xmlns:a16="http://schemas.microsoft.com/office/drawing/2014/main" id="{A57492F9-1AD2-9346-9BB6-C0CF36DEF5ED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1018030" y="4882896"/>
            <a:ext cx="5077970" cy="895181"/>
          </a:xfrm>
          <a:prstGeom prst="rect">
            <a:avLst/>
          </a:prstGeom>
          <a:noFill/>
        </p:spPr>
        <p:txBody>
          <a:bodyPr>
            <a:noAutofit/>
          </a:bodyPr>
          <a:lstStyle>
            <a:lvl1pPr>
              <a:defRPr/>
            </a:lvl1pPr>
          </a:lstStyle>
          <a:p>
            <a:pPr lvl="0"/>
            <a:r>
              <a:rPr lang="en-US"/>
              <a:t>Presenter’s Title</a:t>
            </a:r>
          </a:p>
          <a:p>
            <a:pPr lvl="0"/>
            <a:r>
              <a:rPr lang="en-US"/>
              <a:t>Organization, Division or Business Unit</a:t>
            </a:r>
          </a:p>
          <a:p>
            <a:pPr lvl="0"/>
            <a:r>
              <a:rPr lang="en-US"/>
              <a:t>Month 00, 2019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9A7B6FC1-B09E-452F-B386-FFE592CD500D}"/>
              </a:ext>
            </a:extLst>
          </p:cNvPr>
          <p:cNvPicPr preferRelativeResize="0"/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92024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8994203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p15="http://schemas.microsoft.com/office/powerpoint/2012/main" xmlns:a14="http://schemas.microsoft.com/office/drawing/2010/main"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ight - Title 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Cloud">
            <a:extLst>
              <a:ext uri="{FF2B5EF4-FFF2-40B4-BE49-F238E27FC236}">
                <a16:creationId xmlns:a16="http://schemas.microsoft.com/office/drawing/2014/main" id="{14698CB0-77BC-6148-8112-EFC83C0F580B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705731" y="269359"/>
            <a:ext cx="5080369" cy="1559442"/>
          </a:xfrm>
          <a:prstGeom prst="rect">
            <a:avLst/>
          </a:prstGeom>
        </p:spPr>
      </p:pic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07A30E9B-4EB7-4882-9E42-67210E9CC0B4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771525" y="1600200"/>
            <a:ext cx="10677525" cy="4507992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35CB6F3B-CCE4-4193-8EAA-C4A6D27C7DA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Title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2131DBF8-F618-4198-88BA-FD1569B2979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58AA26E-E9A4-4CE1-9157-28062D2322ED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smtClean="0"/>
              <a:t>Copyright © 2024, Oracle and/or its affiliates. All rights reserved   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FB3DA01-00EF-4B14-8325-24C1135260F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345D60D9-5372-5F40-9443-0F9AE5BDC3C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053863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ight - Title/Subtitle 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Cloud">
            <a:extLst>
              <a:ext uri="{FF2B5EF4-FFF2-40B4-BE49-F238E27FC236}">
                <a16:creationId xmlns:a16="http://schemas.microsoft.com/office/drawing/2014/main" id="{C4B9D6C0-2524-2D47-8A0E-258A2FB7DE57}"/>
              </a:ext>
              <a:ext uri="{C183D7F6-B498-43B3-948B-1728B52AA6E4}">
                <adec:decorative xmlns=""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05731" y="269359"/>
            <a:ext cx="5080369" cy="1559442"/>
          </a:xfrm>
          <a:prstGeom prst="rect">
            <a:avLst/>
          </a:prstGeom>
        </p:spPr>
      </p:pic>
      <p:sp>
        <p:nvSpPr>
          <p:cNvPr id="3" name="Subtitle">
            <a:extLst>
              <a:ext uri="{FF2B5EF4-FFF2-40B4-BE49-F238E27FC236}">
                <a16:creationId xmlns:a16="http://schemas.microsoft.com/office/drawing/2014/main" id="{46A3BF75-E03A-3149-A8B6-C22593F32B6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66763" y="1014709"/>
            <a:ext cx="10671048" cy="330540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>
              <a:spcAft>
                <a:spcPct val="0"/>
              </a:spcAft>
              <a:buNone/>
              <a:defRPr sz="2000" b="0" i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6" name="Content">
            <a:extLst>
              <a:ext uri="{FF2B5EF4-FFF2-40B4-BE49-F238E27FC236}">
                <a16:creationId xmlns:a16="http://schemas.microsoft.com/office/drawing/2014/main" id="{238CEDEE-F37B-4496-9270-0479A31C9762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766763" y="1600201"/>
            <a:ext cx="10671175" cy="450691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EE4D9CD-CDC4-4642-8CDA-7351404FC2D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8C5C278-52DE-4C8A-933B-1109B3282E51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E2CE12F3-375D-4B05-A71D-DA14DF8ADB8E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smtClean="0"/>
              <a:t>Copyright © 2024, Oracle and/or its affiliates. All rights reserved   </a:t>
            </a:r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7A59FA82-C146-45DF-AE7B-4B5698706BEA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345D60D9-5372-5F40-9443-0F9AE5BDC3C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346818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p15="http://schemas.microsoft.com/office/powerpoint/2012/main" xmlns:a14="http://schemas.microsoft.com/office/drawing/2010/main"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ight - Title/Subtitle 3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Cloud">
            <a:extLst>
              <a:ext uri="{FF2B5EF4-FFF2-40B4-BE49-F238E27FC236}">
                <a16:creationId xmlns:a16="http://schemas.microsoft.com/office/drawing/2014/main" id="{D922B281-CE8B-4E47-889A-38B9D11BA0A8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705731" y="269359"/>
            <a:ext cx="5080369" cy="1559442"/>
          </a:xfrm>
          <a:prstGeom prst="rect">
            <a:avLst/>
          </a:prstGeom>
        </p:spPr>
      </p:pic>
      <p:sp>
        <p:nvSpPr>
          <p:cNvPr id="3" name="Subtitle">
            <a:extLst>
              <a:ext uri="{FF2B5EF4-FFF2-40B4-BE49-F238E27FC236}">
                <a16:creationId xmlns:a16="http://schemas.microsoft.com/office/drawing/2014/main" id="{46A3BF75-E03A-3149-A8B6-C22593F32B6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66763" y="1014984"/>
            <a:ext cx="10671048" cy="330540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>
              <a:spcAft>
                <a:spcPts val="0"/>
              </a:spcAft>
              <a:buNone/>
              <a:defRPr sz="2000" b="0" i="0">
                <a:latin typeface="Oracle Sans Tab" panose="020B0503020204020204" pitchFamily="34" charset="0"/>
                <a:cs typeface="Oracle Sans Tab" panose="020B0503020204020204" pitchFamily="34" charset="0"/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6" name="Content">
            <a:extLst>
              <a:ext uri="{FF2B5EF4-FFF2-40B4-BE49-F238E27FC236}">
                <a16:creationId xmlns:a16="http://schemas.microsoft.com/office/drawing/2014/main" id="{238CEDEE-F37B-4496-9270-0479A31C9762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766763" y="1609724"/>
            <a:ext cx="3300984" cy="450799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cxnSp>
        <p:nvCxnSpPr>
          <p:cNvPr id="15" name="Column Divider" descr="Column Divider">
            <a:extLst>
              <a:ext uri="{FF2B5EF4-FFF2-40B4-BE49-F238E27FC236}">
                <a16:creationId xmlns:a16="http://schemas.microsoft.com/office/drawing/2014/main" id="{C3377C95-3E35-473F-8E81-1FDFBEBC758A}"/>
              </a:ext>
            </a:extLst>
          </p:cNvPr>
          <p:cNvCxnSpPr>
            <a:cxnSpLocks/>
          </p:cNvCxnSpPr>
          <p:nvPr userDrawn="1"/>
        </p:nvCxnSpPr>
        <p:spPr>
          <a:xfrm>
            <a:off x="4261915" y="1609724"/>
            <a:ext cx="0" cy="4507992"/>
          </a:xfrm>
          <a:prstGeom prst="line">
            <a:avLst/>
          </a:prstGeom>
          <a:ln w="19050" cap="flat">
            <a:solidFill>
              <a:srgbClr val="8B8580">
                <a:alpha val="25000"/>
              </a:srgb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Content 2">
            <a:extLst>
              <a:ext uri="{FF2B5EF4-FFF2-40B4-BE49-F238E27FC236}">
                <a16:creationId xmlns:a16="http://schemas.microsoft.com/office/drawing/2014/main" id="{22A9895A-06CA-46D6-B3EB-7038E649358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4456083" y="1609724"/>
            <a:ext cx="3300984" cy="450799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23" name="Column Divider 2" descr="Column Divider">
            <a:extLst>
              <a:ext uri="{FF2B5EF4-FFF2-40B4-BE49-F238E27FC236}">
                <a16:creationId xmlns:a16="http://schemas.microsoft.com/office/drawing/2014/main" id="{A70D9BB7-9BB9-40BD-84D2-8EE238E044D3}"/>
              </a:ext>
            </a:extLst>
          </p:cNvPr>
          <p:cNvCxnSpPr>
            <a:cxnSpLocks/>
          </p:cNvCxnSpPr>
          <p:nvPr userDrawn="1"/>
        </p:nvCxnSpPr>
        <p:spPr>
          <a:xfrm>
            <a:off x="7951236" y="1609724"/>
            <a:ext cx="0" cy="4507992"/>
          </a:xfrm>
          <a:prstGeom prst="line">
            <a:avLst/>
          </a:prstGeom>
          <a:ln w="19050" cap="flat">
            <a:solidFill>
              <a:srgbClr val="8B8580">
                <a:alpha val="25000"/>
              </a:srgb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Content 3">
            <a:extLst>
              <a:ext uri="{FF2B5EF4-FFF2-40B4-BE49-F238E27FC236}">
                <a16:creationId xmlns:a16="http://schemas.microsoft.com/office/drawing/2014/main" id="{58EF7396-F6CE-404A-B85F-455D3F5341AE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8145405" y="1609724"/>
            <a:ext cx="3300984" cy="450799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226210A-4112-4730-8F81-3CAE5C391FD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Title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CAD3E0A-0143-42FC-B8B6-EBC1FF990000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7D46B54D-91F2-4210-9BEA-3B59824207D9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en-US" smtClean="0"/>
              <a:t>Copyright © 2024, Oracle and/or its affiliates. All rights reserved   </a:t>
            </a:r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F0900B02-4438-4597-85D3-D93A97B15462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345D60D9-5372-5F40-9443-0F9AE5BDC3C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114857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ight - Title/Subtitle 2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Cloud">
            <a:extLst>
              <a:ext uri="{FF2B5EF4-FFF2-40B4-BE49-F238E27FC236}">
                <a16:creationId xmlns:a16="http://schemas.microsoft.com/office/drawing/2014/main" id="{F24DF316-2FA6-AE44-AB7A-9E7E86E0BEB6}"/>
              </a:ext>
              <a:ext uri="{C183D7F6-B498-43B3-948B-1728B52AA6E4}">
                <adec:decorative xmlns=""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05731" y="269359"/>
            <a:ext cx="5080369" cy="1559442"/>
          </a:xfrm>
          <a:prstGeom prst="rect">
            <a:avLst/>
          </a:prstGeom>
        </p:spPr>
      </p:pic>
      <p:sp>
        <p:nvSpPr>
          <p:cNvPr id="3" name="Subtitle">
            <a:extLst>
              <a:ext uri="{FF2B5EF4-FFF2-40B4-BE49-F238E27FC236}">
                <a16:creationId xmlns:a16="http://schemas.microsoft.com/office/drawing/2014/main" id="{46A3BF75-E03A-3149-A8B6-C22593F32B6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66763" y="1014984"/>
            <a:ext cx="10671048" cy="330540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>
              <a:spcAft>
                <a:spcPct val="0"/>
              </a:spcAft>
              <a:buNone/>
              <a:defRPr sz="2000" b="0" i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6" name="Content">
            <a:extLst>
              <a:ext uri="{FF2B5EF4-FFF2-40B4-BE49-F238E27FC236}">
                <a16:creationId xmlns:a16="http://schemas.microsoft.com/office/drawing/2014/main" id="{238CEDEE-F37B-4496-9270-0479A31C9762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766763" y="1608297"/>
            <a:ext cx="5084064" cy="450799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5" name="Column Divider" descr="Column Divider">
            <a:extLst>
              <a:ext uri="{FF2B5EF4-FFF2-40B4-BE49-F238E27FC236}">
                <a16:creationId xmlns:a16="http://schemas.microsoft.com/office/drawing/2014/main" id="{C3377C95-3E35-473F-8E81-1FDFBEBC758A}"/>
              </a:ext>
            </a:extLst>
          </p:cNvPr>
          <p:cNvCxnSpPr/>
          <p:nvPr userDrawn="1"/>
        </p:nvCxnSpPr>
        <p:spPr>
          <a:xfrm flipH="1">
            <a:off x="6108521" y="1608298"/>
            <a:ext cx="0" cy="4507992"/>
          </a:xfrm>
          <a:prstGeom prst="line">
            <a:avLst/>
          </a:prstGeom>
          <a:ln w="19050" cap="flat">
            <a:solidFill>
              <a:srgbClr val="8B8580">
                <a:alpha val="25000"/>
              </a:srgb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Content 2">
            <a:extLst>
              <a:ext uri="{FF2B5EF4-FFF2-40B4-BE49-F238E27FC236}">
                <a16:creationId xmlns:a16="http://schemas.microsoft.com/office/drawing/2014/main" id="{22A9895A-06CA-46D6-B3EB-7038E649358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6366215" y="1608297"/>
            <a:ext cx="5084064" cy="450799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B65FA2D-6C94-456B-8DE9-80C7A3BE2C1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DCD06EC0-4AE6-4D7C-87DE-D393DC47ED94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E594DB29-C2B8-4F61-8419-EEE3D1E837A1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US" smtClean="0"/>
              <a:t>Copyright © 2024, Oracle and/or its affiliates. All rights reserved   </a:t>
            </a:r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4C4C4FB3-367C-49DA-9BEF-99BD8CD346F0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345D60D9-5372-5F40-9443-0F9AE5BDC3C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39021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p15="http://schemas.microsoft.com/office/powerpoint/2012/main" xmlns:a14="http://schemas.microsoft.com/office/drawing/2010/main" xmlns="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8B5DC53-8C9C-498E-B290-9D8A7BD5A3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3">
            <a:extLst>
              <a:ext uri="{FF2B5EF4-FFF2-40B4-BE49-F238E27FC236}">
                <a16:creationId xmlns:a16="http://schemas.microsoft.com/office/drawing/2014/main" id="{518F91BC-4014-5D47-9833-7387EBFBB45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416765" y="6514981"/>
            <a:ext cx="3792589" cy="365125"/>
          </a:xfrm>
        </p:spPr>
        <p:txBody>
          <a:bodyPr/>
          <a:lstStyle/>
          <a:p>
            <a:r>
              <a:rPr lang="en-US" smtClean="0">
                <a:solidFill>
                  <a:srgbClr val="E0E2E1">
                    <a:lumMod val="75000"/>
                  </a:srgbClr>
                </a:solidFill>
              </a:rPr>
              <a:t>Copyright © 2024, Oracle and/or its affiliates. All rights reserved   </a:t>
            </a:r>
            <a:endParaRPr lang="en-US" dirty="0">
              <a:solidFill>
                <a:srgbClr val="E0E2E1">
                  <a:lumMod val="75000"/>
                </a:srgbClr>
              </a:solidFill>
            </a:endParaRPr>
          </a:p>
        </p:txBody>
      </p:sp>
      <p:sp>
        <p:nvSpPr>
          <p:cNvPr id="7" name="Slide Number Placeholder 3">
            <a:extLst>
              <a:ext uri="{FF2B5EF4-FFF2-40B4-BE49-F238E27FC236}">
                <a16:creationId xmlns:a16="http://schemas.microsoft.com/office/drawing/2014/main" id="{374B19AE-E32E-0949-A47D-524926B76C1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38200" y="6507627"/>
            <a:ext cx="57856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marR="0" indent="0" algn="l" defTabSz="91385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solidFill>
                  <a:schemeClr val="tx1">
                    <a:tint val="75000"/>
                  </a:schemeClr>
                </a:solidFill>
                <a:latin typeface="Oracle Sans" panose="020B0503020204020204" pitchFamily="34" charset="0"/>
                <a:cs typeface="Oracle Sans" panose="020B0503020204020204" pitchFamily="34" charset="0"/>
              </a:defRPr>
            </a:lvl1pPr>
          </a:lstStyle>
          <a:p>
            <a:fld id="{C51EAA63-D034-42AE-91FA-B13B9518C7BE}" type="slidenum">
              <a:rPr lang="en-US" smtClean="0">
                <a:solidFill>
                  <a:srgbClr val="4E3629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4E3629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2129465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Light -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Cloud">
            <a:extLst>
              <a:ext uri="{FF2B5EF4-FFF2-40B4-BE49-F238E27FC236}">
                <a16:creationId xmlns:a16="http://schemas.microsoft.com/office/drawing/2014/main" id="{8BD8F955-3E3E-4E6E-A650-C4E0C80495AD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705731" y="269359"/>
            <a:ext cx="5080369" cy="1559442"/>
          </a:xfrm>
          <a:prstGeom prst="rect">
            <a:avLst/>
          </a:prstGeom>
        </p:spPr>
      </p:pic>
      <p:pic>
        <p:nvPicPr>
          <p:cNvPr id="6" name="OTag">
            <a:extLst>
              <a:ext uri="{FF2B5EF4-FFF2-40B4-BE49-F238E27FC236}">
                <a16:creationId xmlns:a16="http://schemas.microsoft.com/office/drawing/2014/main" id="{0F682282-A332-4D5C-89F4-38480EC33F4D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83112" y="6355080"/>
            <a:ext cx="502920" cy="502920"/>
          </a:xfrm>
          <a:prstGeom prst="rect">
            <a:avLst/>
          </a:prstGeom>
        </p:spPr>
      </p:pic>
      <p:pic>
        <p:nvPicPr>
          <p:cNvPr id="10" name="OTag">
            <a:extLst>
              <a:ext uri="{FF2B5EF4-FFF2-40B4-BE49-F238E27FC236}">
                <a16:creationId xmlns:a16="http://schemas.microsoft.com/office/drawing/2014/main" id="{00F1077A-D301-437A-8CE7-A0EA6CDECB51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83112" y="6355080"/>
            <a:ext cx="502920" cy="502920"/>
          </a:xfrm>
          <a:prstGeom prst="rect">
            <a:avLst/>
          </a:prstGeom>
        </p:spPr>
      </p:pic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6E29D2F-E9BE-442D-8048-30D82B0FA2D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249E66D-873C-4E3D-B665-952DA3AD6CC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Copyright © 2024, Oracle and/or its affiliates. All rights reserved   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52D4C26-D77F-4F76-BA95-32055FEC61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5D60D9-5372-5F40-9443-0F9AE5BDC3C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15301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ght - Title 3 Column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Cloud">
            <a:extLst>
              <a:ext uri="{FF2B5EF4-FFF2-40B4-BE49-F238E27FC236}">
                <a16:creationId xmlns:a16="http://schemas.microsoft.com/office/drawing/2014/main" id="{3CA75903-C10D-E747-B877-6804D65E8A30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705731" y="269359"/>
            <a:ext cx="5080369" cy="1559442"/>
          </a:xfrm>
          <a:prstGeom prst="rect">
            <a:avLst/>
          </a:prstGeom>
        </p:spPr>
      </p:pic>
      <p:sp>
        <p:nvSpPr>
          <p:cNvPr id="6" name="Content">
            <a:extLst>
              <a:ext uri="{FF2B5EF4-FFF2-40B4-BE49-F238E27FC236}">
                <a16:creationId xmlns:a16="http://schemas.microsoft.com/office/drawing/2014/main" id="{238CEDEE-F37B-4496-9270-0479A31C9762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768875" y="1609725"/>
            <a:ext cx="3300984" cy="4507992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cxnSp>
        <p:nvCxnSpPr>
          <p:cNvPr id="13" name="Column Divider" descr="Column Divider">
            <a:extLst>
              <a:ext uri="{FF2B5EF4-FFF2-40B4-BE49-F238E27FC236}">
                <a16:creationId xmlns:a16="http://schemas.microsoft.com/office/drawing/2014/main" id="{B228B4F2-5D6F-42F4-B132-F908BB527268}"/>
              </a:ext>
            </a:extLst>
          </p:cNvPr>
          <p:cNvCxnSpPr>
            <a:cxnSpLocks/>
          </p:cNvCxnSpPr>
          <p:nvPr userDrawn="1"/>
        </p:nvCxnSpPr>
        <p:spPr>
          <a:xfrm>
            <a:off x="4263415" y="1609725"/>
            <a:ext cx="0" cy="4507992"/>
          </a:xfrm>
          <a:prstGeom prst="line">
            <a:avLst/>
          </a:prstGeom>
          <a:ln w="19050" cap="flat">
            <a:solidFill>
              <a:srgbClr val="315357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Content 2">
            <a:extLst>
              <a:ext uri="{FF2B5EF4-FFF2-40B4-BE49-F238E27FC236}">
                <a16:creationId xmlns:a16="http://schemas.microsoft.com/office/drawing/2014/main" id="{B35B41AC-36CF-4A0C-BED4-7D06B0F6E2ED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4456971" y="1609725"/>
            <a:ext cx="3300984" cy="4507992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cxnSp>
        <p:nvCxnSpPr>
          <p:cNvPr id="12" name="Column Divider 2" descr="Column Divider">
            <a:extLst>
              <a:ext uri="{FF2B5EF4-FFF2-40B4-BE49-F238E27FC236}">
                <a16:creationId xmlns:a16="http://schemas.microsoft.com/office/drawing/2014/main" id="{43000B2C-7C76-4F07-AF50-5F3019C384BC}"/>
              </a:ext>
            </a:extLst>
          </p:cNvPr>
          <p:cNvCxnSpPr>
            <a:cxnSpLocks/>
          </p:cNvCxnSpPr>
          <p:nvPr userDrawn="1"/>
        </p:nvCxnSpPr>
        <p:spPr>
          <a:xfrm>
            <a:off x="7951511" y="1609725"/>
            <a:ext cx="0" cy="4507992"/>
          </a:xfrm>
          <a:prstGeom prst="line">
            <a:avLst/>
          </a:prstGeom>
          <a:ln w="19050" cap="flat">
            <a:solidFill>
              <a:srgbClr val="315357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Content 3">
            <a:extLst>
              <a:ext uri="{FF2B5EF4-FFF2-40B4-BE49-F238E27FC236}">
                <a16:creationId xmlns:a16="http://schemas.microsoft.com/office/drawing/2014/main" id="{22A9895A-06CA-46D6-B3EB-7038E649358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8145067" y="1609725"/>
            <a:ext cx="3300984" cy="4507992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3D2FFF47-983C-4CE2-9048-1317EB4F32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Tit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DA095ECF-3404-41BC-B49D-2616D73127C4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en-US" smtClean="0"/>
              <a:t>Copyright © 2024, Oracle and/or its affiliates. All rights reserved   </a:t>
            </a: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4F9C599-3545-4260-BC77-88BD7619A101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345D60D9-5372-5F40-9443-0F9AE5BDC3C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1060678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ight - Title 2 Column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Cloud">
            <a:extLst>
              <a:ext uri="{FF2B5EF4-FFF2-40B4-BE49-F238E27FC236}">
                <a16:creationId xmlns:a16="http://schemas.microsoft.com/office/drawing/2014/main" id="{5B8024F8-E03D-9641-AA75-22D1B5C8482B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705731" y="269359"/>
            <a:ext cx="5080369" cy="1559442"/>
          </a:xfrm>
          <a:prstGeom prst="rect">
            <a:avLst/>
          </a:prstGeom>
        </p:spPr>
      </p:pic>
      <p:sp>
        <p:nvSpPr>
          <p:cNvPr id="6" name="Content">
            <a:extLst>
              <a:ext uri="{FF2B5EF4-FFF2-40B4-BE49-F238E27FC236}">
                <a16:creationId xmlns:a16="http://schemas.microsoft.com/office/drawing/2014/main" id="{238CEDEE-F37B-4496-9270-0479A31C9762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768875" y="1608575"/>
            <a:ext cx="5084064" cy="450799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cxnSp>
        <p:nvCxnSpPr>
          <p:cNvPr id="15" name="Column Divider" descr="Column Divider">
            <a:extLst>
              <a:ext uri="{FF2B5EF4-FFF2-40B4-BE49-F238E27FC236}">
                <a16:creationId xmlns:a16="http://schemas.microsoft.com/office/drawing/2014/main" id="{C3377C95-3E35-473F-8E81-1FDFBEBC758A}"/>
              </a:ext>
            </a:extLst>
          </p:cNvPr>
          <p:cNvCxnSpPr>
            <a:cxnSpLocks/>
          </p:cNvCxnSpPr>
          <p:nvPr userDrawn="1"/>
        </p:nvCxnSpPr>
        <p:spPr>
          <a:xfrm>
            <a:off x="6109577" y="1608575"/>
            <a:ext cx="0" cy="4507992"/>
          </a:xfrm>
          <a:prstGeom prst="line">
            <a:avLst/>
          </a:prstGeom>
          <a:ln w="19050" cap="flat">
            <a:solidFill>
              <a:srgbClr val="8B8580">
                <a:alpha val="25000"/>
              </a:srgb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Content 2">
            <a:extLst>
              <a:ext uri="{FF2B5EF4-FFF2-40B4-BE49-F238E27FC236}">
                <a16:creationId xmlns:a16="http://schemas.microsoft.com/office/drawing/2014/main" id="{22A9895A-06CA-46D6-B3EB-7038E649358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6366215" y="1608575"/>
            <a:ext cx="5084064" cy="450799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2" name="OTag">
            <a:extLst>
              <a:ext uri="{FF2B5EF4-FFF2-40B4-BE49-F238E27FC236}">
                <a16:creationId xmlns:a16="http://schemas.microsoft.com/office/drawing/2014/main" id="{DDE8776E-BE08-D148-AA47-8308E0EAE40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83112" y="6355080"/>
            <a:ext cx="502920" cy="502920"/>
          </a:xfrm>
          <a:prstGeom prst="rect">
            <a:avLst/>
          </a:prstGeom>
        </p:spPr>
      </p:pic>
      <p:sp>
        <p:nvSpPr>
          <p:cNvPr id="5" name="Title 4">
            <a:extLst>
              <a:ext uri="{FF2B5EF4-FFF2-40B4-BE49-F238E27FC236}">
                <a16:creationId xmlns:a16="http://schemas.microsoft.com/office/drawing/2014/main" id="{D69740FE-E1B8-466B-970A-4E081BCA314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Title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3959A2DB-C5C1-4EE1-AACB-216D980708B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6DC0504-19F8-4069-8B02-83766B3CAF7F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US" smtClean="0"/>
              <a:t>Copyright © 2024, Oracle and/or its affiliates. All rights reserved   </a:t>
            </a: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64D6D2F-6BC7-48B4-B7A5-AD19749245D6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345D60D9-5372-5F40-9443-0F9AE5BDC3C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4117365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7D95817-C269-41DC-98C3-383216D99BC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9A67554-86D0-436B-A607-1B04B40495B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230119" indent="-230119">
              <a:buClr>
                <a:schemeClr val="accent1"/>
              </a:buClr>
              <a:buSzPct val="70000"/>
              <a:buFont typeface="Arial" panose="020B0604020202020204" pitchFamily="34" charset="0"/>
              <a:buChar char="•"/>
              <a:tabLst/>
              <a:defRPr/>
            </a:lvl1pPr>
            <a:lvl2pPr marL="690356" indent="-233293">
              <a:buClr>
                <a:schemeClr val="accent1"/>
              </a:buClr>
              <a:buSzPct val="70000"/>
              <a:buFont typeface="Arial" panose="020B0604020202020204" pitchFamily="34" charset="0"/>
              <a:buChar char="•"/>
              <a:tabLst/>
              <a:defRPr/>
            </a:lvl2pPr>
            <a:lvl3pPr marL="1150593" indent="-236467">
              <a:buClr>
                <a:schemeClr val="accent1"/>
              </a:buClr>
              <a:buSzPct val="70000"/>
              <a:buFont typeface="Arial" panose="020B0604020202020204" pitchFamily="34" charset="0"/>
              <a:buChar char="•"/>
              <a:tabLst/>
              <a:defRPr/>
            </a:lvl3pPr>
            <a:lvl4pPr marL="1602894" indent="-231705">
              <a:buClr>
                <a:schemeClr val="accent1"/>
              </a:buClr>
              <a:buSzPct val="70000"/>
              <a:buFont typeface="Arial" panose="020B0604020202020204" pitchFamily="34" charset="0"/>
              <a:buChar char="•"/>
              <a:tabLst/>
              <a:defRPr/>
            </a:lvl4pPr>
            <a:lvl5pPr marL="2063131" indent="-234880">
              <a:buClr>
                <a:schemeClr val="accent1"/>
              </a:buClr>
              <a:buSzPct val="70000"/>
              <a:buFont typeface="Arial" panose="020B0604020202020204" pitchFamily="34" charset="0"/>
              <a:buChar char="•"/>
              <a:tabLst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3">
            <a:extLst>
              <a:ext uri="{FF2B5EF4-FFF2-40B4-BE49-F238E27FC236}">
                <a16:creationId xmlns:a16="http://schemas.microsoft.com/office/drawing/2014/main" id="{BB65E720-ABD2-CB40-960C-19979F6A655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339851" y="6514979"/>
            <a:ext cx="3792589" cy="365125"/>
          </a:xfrm>
        </p:spPr>
        <p:txBody>
          <a:bodyPr/>
          <a:lstStyle/>
          <a:p>
            <a:pPr defTabSz="914126"/>
            <a:r>
              <a:rPr lang="en-US" sz="800" smtClean="0">
                <a:solidFill>
                  <a:srgbClr val="E0E2E1">
                    <a:lumMod val="75000"/>
                  </a:srgbClr>
                </a:solidFill>
              </a:rPr>
              <a:t>Copyright © 2024, Oracle and/or its affiliates. All rights reserved   </a:t>
            </a:r>
            <a:endParaRPr lang="en-US" sz="800" dirty="0">
              <a:solidFill>
                <a:srgbClr val="E0E2E1">
                  <a:lumMod val="75000"/>
                </a:srgbClr>
              </a:solidFill>
            </a:endParaRPr>
          </a:p>
        </p:txBody>
      </p:sp>
      <p:sp>
        <p:nvSpPr>
          <p:cNvPr id="8" name="Slide Number Placeholder 3">
            <a:extLst>
              <a:ext uri="{FF2B5EF4-FFF2-40B4-BE49-F238E27FC236}">
                <a16:creationId xmlns:a16="http://schemas.microsoft.com/office/drawing/2014/main" id="{281FACDB-74EA-704F-8BA0-BD67213620B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61287" y="6507625"/>
            <a:ext cx="57856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marR="0" indent="0" algn="l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solidFill>
                  <a:schemeClr val="tx1">
                    <a:tint val="75000"/>
                  </a:schemeClr>
                </a:solidFill>
                <a:latin typeface="Oracle Sans" panose="020B0503020204020204" pitchFamily="34" charset="0"/>
                <a:cs typeface="Oracle Sans" panose="020B0503020204020204" pitchFamily="34" charset="0"/>
              </a:defRPr>
            </a:lvl1pPr>
          </a:lstStyle>
          <a:p>
            <a:fld id="{D440507A-669E-A943-A4A7-E531D638091A}" type="slidenum">
              <a:rPr lang="en-US" smtClean="0">
                <a:solidFill>
                  <a:srgbClr val="4E3629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4E3629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532413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ight - Title/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Cloud">
            <a:extLst>
              <a:ext uri="{FF2B5EF4-FFF2-40B4-BE49-F238E27FC236}">
                <a16:creationId xmlns:a16="http://schemas.microsoft.com/office/drawing/2014/main" id="{EE127CFA-8D5C-584E-9C61-6685B547993D}"/>
              </a:ext>
              <a:ext uri="{C183D7F6-B498-43B3-948B-1728B52AA6E4}">
                <adec:decorative xmlns=""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05731" y="269359"/>
            <a:ext cx="5080369" cy="1559442"/>
          </a:xfrm>
          <a:prstGeom prst="rect">
            <a:avLst/>
          </a:prstGeom>
        </p:spPr>
      </p:pic>
      <p:sp>
        <p:nvSpPr>
          <p:cNvPr id="15" name="Subtitle">
            <a:extLst>
              <a:ext uri="{FF2B5EF4-FFF2-40B4-BE49-F238E27FC236}">
                <a16:creationId xmlns:a16="http://schemas.microsoft.com/office/drawing/2014/main" id="{FC0004EB-159B-A345-859C-0E83416ED9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62000" y="1024235"/>
            <a:ext cx="10671048" cy="330540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>
              <a:spcAft>
                <a:spcPct val="0"/>
              </a:spcAft>
              <a:buNone/>
              <a:defRPr sz="2000" b="0" i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C6A8D35-C90D-428D-8E15-6F958679D94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6526A55-50C7-43D1-9A4E-DE6E31578685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47ED885-1287-4046-BFFE-E5DEC702C7AE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US" smtClean="0"/>
              <a:t>Copyright © 2024, Oracle and/or its affiliates. All rights reserved   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A9C1380-E61D-4D70-B7A9-EA2CA56D1441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345D60D9-5372-5F40-9443-0F9AE5BDC3C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649788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p15="http://schemas.microsoft.com/office/powerpoint/2012/main" xmlns:a14="http://schemas.microsoft.com/office/drawing/2010/main" xmlns="">
      <p:transition spd="med"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Light - Metr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OTag">
            <a:extLst>
              <a:ext uri="{FF2B5EF4-FFF2-40B4-BE49-F238E27FC236}">
                <a16:creationId xmlns:a16="http://schemas.microsoft.com/office/drawing/2014/main" id="{000C5F04-372F-427E-81C5-11434B35699B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71217" y="6355080"/>
            <a:ext cx="502920" cy="502920"/>
          </a:xfrm>
          <a:prstGeom prst="rect">
            <a:avLst/>
          </a:prstGeom>
        </p:spPr>
      </p:pic>
      <p:sp>
        <p:nvSpPr>
          <p:cNvPr id="4" name="Content">
            <a:extLst>
              <a:ext uri="{FF2B5EF4-FFF2-40B4-BE49-F238E27FC236}">
                <a16:creationId xmlns:a16="http://schemas.microsoft.com/office/drawing/2014/main" id="{6FFB33C6-31EA-4D15-AC3F-377D699FA842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775225" y="4649788"/>
            <a:ext cx="5072063" cy="145732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83AB0E-EC5F-476F-B6A9-E6F9CE84E95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23900" y="1600200"/>
            <a:ext cx="5072063" cy="2415700"/>
          </a:xfrm>
        </p:spPr>
        <p:txBody>
          <a:bodyPr anchor="b" anchorCtr="0"/>
          <a:lstStyle>
            <a:lvl1pPr>
              <a:defRPr sz="8000" b="1">
                <a:solidFill>
                  <a:srgbClr val="315357"/>
                </a:solidFill>
              </a:defRPr>
            </a:lvl1pPr>
          </a:lstStyle>
          <a:p>
            <a:pPr lvl="0"/>
            <a:r>
              <a:rPr lang="en-US" dirty="0"/>
              <a:t>00%</a:t>
            </a: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9C4B030-1E0B-4CB0-87B4-DF607257368B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US" smtClean="0"/>
              <a:t>Copyright © 2024, Oracle and/or its affiliates. All rights reserved   </a:t>
            </a:r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BADD7B5-9676-40DE-A88A-5EC3D33A657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345D60D9-5372-5F40-9443-0F9AE5BDC3C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174899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ight - Numbered Out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" name="Cloud">
            <a:extLst>
              <a:ext uri="{FF2B5EF4-FFF2-40B4-BE49-F238E27FC236}">
                <a16:creationId xmlns:a16="http://schemas.microsoft.com/office/drawing/2014/main" id="{3CFD71AD-DED9-6542-9425-0CD364D0453C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552282" y="4403039"/>
            <a:ext cx="6133750" cy="1695012"/>
          </a:xfrm>
          <a:prstGeom prst="rect">
            <a:avLst/>
          </a:prstGeom>
        </p:spPr>
      </p:pic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CACCDE9-9415-4B6A-88C5-02BDAA76AAC8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762000" y="1609724"/>
            <a:ext cx="10687050" cy="4505325"/>
          </a:xfrm>
          <a:noFill/>
        </p:spPr>
        <p:txBody>
          <a:bodyPr vert="horz" lIns="0" tIns="0" rIns="0" bIns="0" rtlCol="0">
            <a:noAutofit/>
          </a:bodyPr>
          <a:lstStyle>
            <a:lvl1pPr marL="365125" indent="-365125">
              <a:buClr>
                <a:srgbClr val="315357"/>
              </a:buClr>
              <a:buFont typeface="+mj-lt"/>
              <a:buAutoNum type="arabicPeriod"/>
              <a:defRPr lang="en-US" dirty="0"/>
            </a:lvl1pPr>
            <a:lvl2pPr marL="548640">
              <a:buClr>
                <a:srgbClr val="315357"/>
              </a:buClr>
              <a:defRPr lang="en-US" dirty="0"/>
            </a:lvl2pPr>
            <a:lvl3pPr marL="731520">
              <a:buClr>
                <a:srgbClr val="315357"/>
              </a:buClr>
              <a:defRPr lang="en-US" dirty="0"/>
            </a:lvl3pPr>
            <a:lvl4pPr marL="914400">
              <a:buClr>
                <a:srgbClr val="315357"/>
              </a:buClr>
              <a:defRPr lang="en-US" dirty="0"/>
            </a:lvl4pPr>
            <a:lvl5pPr marL="1097280">
              <a:buClr>
                <a:srgbClr val="315357"/>
              </a:buClr>
              <a:defRPr lang="en-US" dirty="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9C807732-3520-4DBF-9B75-86BA2E562D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Tit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4561260-593D-4AD6-A0E4-834F8BAAC63D}"/>
              </a:ext>
            </a:extLst>
          </p:cNvPr>
          <p:cNvSpPr>
            <a:spLocks noGrp="1"/>
          </p:cNvSpPr>
          <p:nvPr>
            <p:ph type="ftr" sz="quarter" idx="46"/>
          </p:nvPr>
        </p:nvSpPr>
        <p:spPr/>
        <p:txBody>
          <a:bodyPr/>
          <a:lstStyle/>
          <a:p>
            <a:r>
              <a:rPr lang="en-US" smtClean="0"/>
              <a:t>Copyright © 2024, Oracle and/or its affiliates. All rights reserved   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9B71F68-88E7-48F0-B084-32D91B0A0BEB}"/>
              </a:ext>
            </a:extLst>
          </p:cNvPr>
          <p:cNvSpPr>
            <a:spLocks noGrp="1"/>
          </p:cNvSpPr>
          <p:nvPr>
            <p:ph type="sldNum" sz="quarter" idx="47"/>
          </p:nvPr>
        </p:nvSpPr>
        <p:spPr/>
        <p:txBody>
          <a:bodyPr/>
          <a:lstStyle/>
          <a:p>
            <a:fld id="{345D60D9-5372-5F40-9443-0F9AE5BDC3C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233901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ight -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3">
            <a:extLst>
              <a:ext uri="{FF2B5EF4-FFF2-40B4-BE49-F238E27FC236}">
                <a16:creationId xmlns:a16="http://schemas.microsoft.com/office/drawing/2014/main" id="{0638DF7B-BBB6-684E-A5BB-80F1125943E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68875" y="182403"/>
            <a:ext cx="10671048" cy="82296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Title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D53A59D3-A526-4960-BAE1-8BD82250450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A956D9E9-7E71-4190-B0EB-741B228707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Copyright © 2024, Oracle and/or its affiliates. All rights reserved   </a:t>
            </a:r>
            <a:endParaRPr lang="en-US" dirty="0"/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D924B719-5FF3-47AC-B36F-54999BA7908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5D60D9-5372-5F40-9443-0F9AE5BDC3C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59413860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Dark - Closing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Oracle Logo" descr="Oracle Logo">
            <a:extLst>
              <a:ext uri="{FF2B5EF4-FFF2-40B4-BE49-F238E27FC236}">
                <a16:creationId xmlns:a16="http://schemas.microsoft.com/office/drawing/2014/main" id="{11C3E469-1A28-4EAE-BB94-ADAB90F021A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rcRect/>
          <a:stretch/>
        </p:blipFill>
        <p:spPr bwMode="invGray">
          <a:xfrm>
            <a:off x="3647854" y="2915192"/>
            <a:ext cx="4896292" cy="1027617"/>
          </a:xfrm>
          <a:prstGeom prst="rect">
            <a:avLst/>
          </a:prstGeom>
        </p:spPr>
      </p:pic>
      <p:pic>
        <p:nvPicPr>
          <p:cNvPr id="3" name="OTag">
            <a:extLst>
              <a:ext uri="{FF2B5EF4-FFF2-40B4-BE49-F238E27FC236}">
                <a16:creationId xmlns:a16="http://schemas.microsoft.com/office/drawing/2014/main" id="{D41E7D90-EFED-4319-B620-7C6158CCE461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83112" y="6355080"/>
            <a:ext cx="502920" cy="5029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9515399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ght - Title 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Cloud">
            <a:extLst>
              <a:ext uri="{FF2B5EF4-FFF2-40B4-BE49-F238E27FC236}">
                <a16:creationId xmlns:a16="http://schemas.microsoft.com/office/drawing/2014/main" id="{14698CB0-77BC-6148-8112-EFC83C0F580B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705731" y="269359"/>
            <a:ext cx="5080369" cy="1559442"/>
          </a:xfrm>
          <a:prstGeom prst="rect">
            <a:avLst/>
          </a:prstGeom>
        </p:spPr>
      </p:pic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07A30E9B-4EB7-4882-9E42-67210E9CC0B4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771525" y="1600200"/>
            <a:ext cx="10677525" cy="4507992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35CB6F3B-CCE4-4193-8EAA-C4A6D27C7DA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Title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2131DBF8-F618-4198-88BA-FD1569B2979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58AA26E-E9A4-4CE1-9157-28062D2322ED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smtClean="0"/>
              <a:t>Copyright © 2024, Oracle and/or its affiliates. All rights reserved   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FB3DA01-00EF-4B14-8325-24C1135260F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345D60D9-5372-5F40-9443-0F9AE5BDC3C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186359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ark - Thank You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Abstract Illustration">
            <a:extLst>
              <a:ext uri="{FF2B5EF4-FFF2-40B4-BE49-F238E27FC236}">
                <a16:creationId xmlns:a16="http://schemas.microsoft.com/office/drawing/2014/main" id="{49F92AE8-C0F0-CF4B-B569-964245B00416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ltGray">
          <a:xfrm>
            <a:off x="6096000" y="4898"/>
            <a:ext cx="6096000" cy="6858000"/>
          </a:xfrm>
          <a:prstGeom prst="rect">
            <a:avLst/>
          </a:prstGeom>
        </p:spPr>
      </p:pic>
      <p:pic>
        <p:nvPicPr>
          <p:cNvPr id="26" name="OTag">
            <a:extLst>
              <a:ext uri="{FF2B5EF4-FFF2-40B4-BE49-F238E27FC236}">
                <a16:creationId xmlns:a16="http://schemas.microsoft.com/office/drawing/2014/main" id="{42D6F87D-23AA-1D42-BDBA-F6833AC9A0E3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83112" y="6355080"/>
            <a:ext cx="502920" cy="502920"/>
          </a:xfrm>
          <a:prstGeom prst="rect">
            <a:avLst/>
          </a:prstGeom>
        </p:spPr>
      </p:pic>
      <p:sp>
        <p:nvSpPr>
          <p:cNvPr id="3" name="Thank youi">
            <a:extLst>
              <a:ext uri="{FF2B5EF4-FFF2-40B4-BE49-F238E27FC236}">
                <a16:creationId xmlns:a16="http://schemas.microsoft.com/office/drawing/2014/main" id="{1F390879-C7C7-4224-97BB-1C165BFB5AA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68875" y="3483973"/>
            <a:ext cx="5029200" cy="822960"/>
          </a:xfrm>
          <a:noFill/>
        </p:spPr>
        <p:txBody>
          <a:bodyPr vert="horz" lIns="0" tIns="0" rIns="0" bIns="0" rtlCol="0" anchor="b" anchorCtr="0">
            <a:noAutofit/>
          </a:bodyPr>
          <a:lstStyle>
            <a:lvl1pPr>
              <a:defRPr lang="en-US" sz="3200" b="0">
                <a:latin typeface="+mj-lt"/>
                <a:cs typeface="Oracle Sans Tab" panose="020B0503020204020204" pitchFamily="34" charset="0"/>
              </a:defRPr>
            </a:lvl1pPr>
          </a:lstStyle>
          <a:p>
            <a:pPr marL="0" marR="0" lvl="0" indent="0" fontAlgn="t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System Font Regular"/>
              <a:tabLst/>
            </a:pPr>
            <a:r>
              <a:rPr lang="en-US" dirty="0"/>
              <a:t>Thank you</a:t>
            </a:r>
          </a:p>
        </p:txBody>
      </p:sp>
      <p:cxnSp>
        <p:nvCxnSpPr>
          <p:cNvPr id="17" name="Accent Mark">
            <a:extLst>
              <a:ext uri="{FF2B5EF4-FFF2-40B4-BE49-F238E27FC236}">
                <a16:creationId xmlns:a16="http://schemas.microsoft.com/office/drawing/2014/main" id="{067F8F82-B054-48B8-A81C-65FC099A0B9D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CxnSpPr>
            <a:cxnSpLocks/>
          </p:cNvCxnSpPr>
          <p:nvPr userDrawn="1"/>
        </p:nvCxnSpPr>
        <p:spPr>
          <a:xfrm flipH="1">
            <a:off x="768350" y="4508728"/>
            <a:ext cx="301752" cy="0"/>
          </a:xfrm>
          <a:prstGeom prst="line">
            <a:avLst/>
          </a:prstGeom>
          <a:ln w="38100" cap="flat">
            <a:solidFill>
              <a:srgbClr val="D39F5D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Field">
            <a:extLst>
              <a:ext uri="{FF2B5EF4-FFF2-40B4-BE49-F238E27FC236}">
                <a16:creationId xmlns:a16="http://schemas.microsoft.com/office/drawing/2014/main" id="{F273E805-B8FF-F84B-99E6-4636F8BD3EBF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762000" y="4773585"/>
            <a:ext cx="5029200" cy="266291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b="1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0" name="Text Field 2">
            <a:extLst>
              <a:ext uri="{FF2B5EF4-FFF2-40B4-BE49-F238E27FC236}">
                <a16:creationId xmlns:a16="http://schemas.microsoft.com/office/drawing/2014/main" id="{283762D0-0D31-A347-AD9E-095398CD17C5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762000" y="5111178"/>
            <a:ext cx="5029200" cy="895181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8DBDF9E-BB65-47CA-AE22-65479E3B2B11}"/>
              </a:ext>
            </a:extLst>
          </p:cNvPr>
          <p:cNvSpPr>
            <a:spLocks noGrp="1"/>
          </p:cNvSpPr>
          <p:nvPr>
            <p:ph type="dt" sz="half" idx="38"/>
          </p:nvPr>
        </p:nvSpPr>
        <p:spPr>
          <a:xfrm>
            <a:off x="6873138" y="6425604"/>
            <a:ext cx="2743200" cy="363500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36FFAC2-A591-4775-8C17-E779B8580987}"/>
              </a:ext>
            </a:extLst>
          </p:cNvPr>
          <p:cNvSpPr>
            <a:spLocks noGrp="1"/>
          </p:cNvSpPr>
          <p:nvPr>
            <p:ph type="ftr" sz="quarter" idx="39"/>
          </p:nvPr>
        </p:nvSpPr>
        <p:spPr/>
        <p:txBody>
          <a:bodyPr/>
          <a:lstStyle/>
          <a:p>
            <a:r>
              <a:rPr lang="en-US" smtClean="0"/>
              <a:t>Copyright © 2024, Oracle and/or its affiliates. All rights reserved   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05CE80B-FDBC-4834-99C6-9621F96B934D}"/>
              </a:ext>
            </a:extLst>
          </p:cNvPr>
          <p:cNvSpPr>
            <a:spLocks noGrp="1"/>
          </p:cNvSpPr>
          <p:nvPr>
            <p:ph type="sldNum" sz="quarter" idx="40"/>
          </p:nvPr>
        </p:nvSpPr>
        <p:spPr/>
        <p:txBody>
          <a:bodyPr/>
          <a:lstStyle/>
          <a:p>
            <a:fld id="{345D60D9-5372-5F40-9443-0F9AE5BDC3C8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12" r="54785"/>
          <a:stretch/>
        </p:blipFill>
        <p:spPr>
          <a:xfrm>
            <a:off x="6087979" y="0"/>
            <a:ext cx="610402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720643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ark - Closing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Oracle Logo" descr="Oracle Logo">
            <a:extLst>
              <a:ext uri="{FF2B5EF4-FFF2-40B4-BE49-F238E27FC236}">
                <a16:creationId xmlns:a16="http://schemas.microsoft.com/office/drawing/2014/main" id="{11C3E469-1A28-4EAE-BB94-ADAB90F021A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rcRect/>
          <a:stretch/>
        </p:blipFill>
        <p:spPr bwMode="invGray">
          <a:xfrm>
            <a:off x="3647854" y="2915192"/>
            <a:ext cx="4896292" cy="1027617"/>
          </a:xfrm>
          <a:prstGeom prst="rect">
            <a:avLst/>
          </a:prstGeom>
        </p:spPr>
      </p:pic>
      <p:pic>
        <p:nvPicPr>
          <p:cNvPr id="3" name="OTag">
            <a:extLst>
              <a:ext uri="{FF2B5EF4-FFF2-40B4-BE49-F238E27FC236}">
                <a16:creationId xmlns:a16="http://schemas.microsoft.com/office/drawing/2014/main" id="{D41E7D90-EFED-4319-B620-7C6158CCE461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83112" y="6355080"/>
            <a:ext cx="502920" cy="5029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5604640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ght - Title 4 Column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Cloud">
            <a:extLst>
              <a:ext uri="{FF2B5EF4-FFF2-40B4-BE49-F238E27FC236}">
                <a16:creationId xmlns:a16="http://schemas.microsoft.com/office/drawing/2014/main" id="{403EA880-91CB-2F4A-BC00-A9353851358A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705731" y="269359"/>
            <a:ext cx="5080369" cy="1559442"/>
          </a:xfrm>
          <a:prstGeom prst="rect">
            <a:avLst/>
          </a:prstGeom>
        </p:spPr>
      </p:pic>
      <p:sp>
        <p:nvSpPr>
          <p:cNvPr id="6" name="Content">
            <a:extLst>
              <a:ext uri="{FF2B5EF4-FFF2-40B4-BE49-F238E27FC236}">
                <a16:creationId xmlns:a16="http://schemas.microsoft.com/office/drawing/2014/main" id="{238CEDEE-F37B-4496-9270-0479A31C9762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768875" y="1589524"/>
            <a:ext cx="2478024" cy="452552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cxnSp>
        <p:nvCxnSpPr>
          <p:cNvPr id="13" name="Column Divider" descr="Column Divider">
            <a:extLst>
              <a:ext uri="{FF2B5EF4-FFF2-40B4-BE49-F238E27FC236}">
                <a16:creationId xmlns:a16="http://schemas.microsoft.com/office/drawing/2014/main" id="{B228B4F2-5D6F-42F4-B132-F908BB527268}"/>
              </a:ext>
            </a:extLst>
          </p:cNvPr>
          <p:cNvCxnSpPr>
            <a:cxnSpLocks/>
          </p:cNvCxnSpPr>
          <p:nvPr userDrawn="1"/>
        </p:nvCxnSpPr>
        <p:spPr>
          <a:xfrm>
            <a:off x="3374450" y="1590159"/>
            <a:ext cx="0" cy="4525997"/>
          </a:xfrm>
          <a:prstGeom prst="line">
            <a:avLst/>
          </a:prstGeom>
          <a:ln w="19050" cap="flat">
            <a:solidFill>
              <a:srgbClr val="2C5967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Content 2">
            <a:extLst>
              <a:ext uri="{FF2B5EF4-FFF2-40B4-BE49-F238E27FC236}">
                <a16:creationId xmlns:a16="http://schemas.microsoft.com/office/drawing/2014/main" id="{B35B41AC-36CF-4A0C-BED4-7D06B0F6E2ED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3502001" y="1589524"/>
            <a:ext cx="2478024" cy="452552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cxnSp>
        <p:nvCxnSpPr>
          <p:cNvPr id="12" name="Column Divider 2" descr="Column Divider">
            <a:extLst>
              <a:ext uri="{FF2B5EF4-FFF2-40B4-BE49-F238E27FC236}">
                <a16:creationId xmlns:a16="http://schemas.microsoft.com/office/drawing/2014/main" id="{43000B2C-7C76-4F07-AF50-5F3019C384BC}"/>
              </a:ext>
            </a:extLst>
          </p:cNvPr>
          <p:cNvCxnSpPr>
            <a:cxnSpLocks/>
          </p:cNvCxnSpPr>
          <p:nvPr userDrawn="1"/>
        </p:nvCxnSpPr>
        <p:spPr>
          <a:xfrm>
            <a:off x="6107576" y="1590159"/>
            <a:ext cx="0" cy="4525997"/>
          </a:xfrm>
          <a:prstGeom prst="line">
            <a:avLst/>
          </a:prstGeom>
          <a:ln w="19050" cap="flat">
            <a:solidFill>
              <a:srgbClr val="2C5967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Content 3">
            <a:extLst>
              <a:ext uri="{FF2B5EF4-FFF2-40B4-BE49-F238E27FC236}">
                <a16:creationId xmlns:a16="http://schemas.microsoft.com/office/drawing/2014/main" id="{22A9895A-06CA-46D6-B3EB-7038E649358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6235127" y="1589524"/>
            <a:ext cx="2478024" cy="452552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cxnSp>
        <p:nvCxnSpPr>
          <p:cNvPr id="19" name="Column Divider 3" descr="Column Divider">
            <a:extLst>
              <a:ext uri="{FF2B5EF4-FFF2-40B4-BE49-F238E27FC236}">
                <a16:creationId xmlns:a16="http://schemas.microsoft.com/office/drawing/2014/main" id="{0379F816-270D-4D0F-8838-510AA3E97C28}"/>
              </a:ext>
            </a:extLst>
          </p:cNvPr>
          <p:cNvCxnSpPr>
            <a:cxnSpLocks/>
          </p:cNvCxnSpPr>
          <p:nvPr userDrawn="1"/>
        </p:nvCxnSpPr>
        <p:spPr>
          <a:xfrm>
            <a:off x="8840702" y="1590159"/>
            <a:ext cx="0" cy="4525997"/>
          </a:xfrm>
          <a:prstGeom prst="line">
            <a:avLst/>
          </a:prstGeom>
          <a:ln w="19050" cap="flat">
            <a:solidFill>
              <a:srgbClr val="2C5967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Content 4">
            <a:extLst>
              <a:ext uri="{FF2B5EF4-FFF2-40B4-BE49-F238E27FC236}">
                <a16:creationId xmlns:a16="http://schemas.microsoft.com/office/drawing/2014/main" id="{4FB98D34-E09D-43FC-9515-8F7C37635BF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8968254" y="1589524"/>
            <a:ext cx="2478024" cy="452552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E665C0AC-7132-4356-88D4-79E4A49B2CE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Tit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8EC9026-CA1C-465B-ADD5-AE1F9B7A0775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 smtClean="0"/>
              <a:t>Copyright © 2024, Oracle and/or its affiliates. All rights reserved   </a:t>
            </a: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3064CFB-254B-4876-8556-026D173672E6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345D60D9-5372-5F40-9443-0F9AE5BDC3C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4915916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ght - Numbered Out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" name="Cloud">
            <a:extLst>
              <a:ext uri="{FF2B5EF4-FFF2-40B4-BE49-F238E27FC236}">
                <a16:creationId xmlns:a16="http://schemas.microsoft.com/office/drawing/2014/main" id="{3CFD71AD-DED9-6542-9425-0CD364D0453C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552282" y="4403039"/>
            <a:ext cx="6133750" cy="1695012"/>
          </a:xfrm>
          <a:prstGeom prst="rect">
            <a:avLst/>
          </a:prstGeom>
        </p:spPr>
      </p:pic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CACCDE9-9415-4B6A-88C5-02BDAA76AAC8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762000" y="1609724"/>
            <a:ext cx="10687050" cy="4505325"/>
          </a:xfrm>
          <a:noFill/>
        </p:spPr>
        <p:txBody>
          <a:bodyPr vert="horz" lIns="0" tIns="0" rIns="0" bIns="0" rtlCol="0">
            <a:noAutofit/>
          </a:bodyPr>
          <a:lstStyle>
            <a:lvl1pPr marL="365125" indent="-365125">
              <a:buClr>
                <a:srgbClr val="315357"/>
              </a:buClr>
              <a:buFont typeface="+mj-lt"/>
              <a:buAutoNum type="arabicPeriod"/>
              <a:defRPr lang="en-US" dirty="0"/>
            </a:lvl1pPr>
            <a:lvl2pPr marL="548640">
              <a:buClr>
                <a:srgbClr val="315357"/>
              </a:buClr>
              <a:defRPr lang="en-US" dirty="0"/>
            </a:lvl2pPr>
            <a:lvl3pPr marL="731520">
              <a:buClr>
                <a:srgbClr val="315357"/>
              </a:buClr>
              <a:defRPr lang="en-US" dirty="0"/>
            </a:lvl3pPr>
            <a:lvl4pPr marL="914400">
              <a:buClr>
                <a:srgbClr val="315357"/>
              </a:buClr>
              <a:defRPr lang="en-US" dirty="0"/>
            </a:lvl4pPr>
            <a:lvl5pPr marL="1097280">
              <a:buClr>
                <a:srgbClr val="315357"/>
              </a:buClr>
              <a:defRPr lang="en-US" dirty="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9C807732-3520-4DBF-9B75-86BA2E562D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Tit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4561260-593D-4AD6-A0E4-834F8BAAC63D}"/>
              </a:ext>
            </a:extLst>
          </p:cNvPr>
          <p:cNvSpPr>
            <a:spLocks noGrp="1"/>
          </p:cNvSpPr>
          <p:nvPr>
            <p:ph type="ftr" sz="quarter" idx="46"/>
          </p:nvPr>
        </p:nvSpPr>
        <p:spPr/>
        <p:txBody>
          <a:bodyPr/>
          <a:lstStyle/>
          <a:p>
            <a:r>
              <a:rPr lang="en-US" smtClean="0"/>
              <a:t>Copyright © 2024, Oracle and/or its affiliates. All rights reserved   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9B71F68-88E7-48F0-B084-32D91B0A0BEB}"/>
              </a:ext>
            </a:extLst>
          </p:cNvPr>
          <p:cNvSpPr>
            <a:spLocks noGrp="1"/>
          </p:cNvSpPr>
          <p:nvPr>
            <p:ph type="sldNum" sz="quarter" idx="47"/>
          </p:nvPr>
        </p:nvSpPr>
        <p:spPr/>
        <p:txBody>
          <a:bodyPr/>
          <a:lstStyle/>
          <a:p>
            <a:fld id="{345D60D9-5372-5F40-9443-0F9AE5BDC3C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313724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ght -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Cloud">
            <a:extLst>
              <a:ext uri="{FF2B5EF4-FFF2-40B4-BE49-F238E27FC236}">
                <a16:creationId xmlns:a16="http://schemas.microsoft.com/office/drawing/2014/main" id="{A52109B5-4152-894B-9BF6-17B5458CC9C7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705731" y="269359"/>
            <a:ext cx="5080369" cy="1559442"/>
          </a:xfrm>
          <a:prstGeom prst="rect">
            <a:avLst/>
          </a:prstGeom>
        </p:spPr>
      </p:pic>
      <p:sp>
        <p:nvSpPr>
          <p:cNvPr id="4" name="Title 3">
            <a:extLst>
              <a:ext uri="{FF2B5EF4-FFF2-40B4-BE49-F238E27FC236}">
                <a16:creationId xmlns:a16="http://schemas.microsoft.com/office/drawing/2014/main" id="{F5090641-BB3E-479D-A754-1B2B6F37AEB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Tit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0DAEFA0-C12C-4365-A532-D29F819542E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Copyright © 2024, Oracle and/or its affiliates. All rights reserved   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E6038FD-33E0-4C25-AC00-13FEB177A4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5D60D9-5372-5F40-9443-0F9AE5BDC3C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651727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ight - Metr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OTag">
            <a:extLst>
              <a:ext uri="{FF2B5EF4-FFF2-40B4-BE49-F238E27FC236}">
                <a16:creationId xmlns:a16="http://schemas.microsoft.com/office/drawing/2014/main" id="{000C5F04-372F-427E-81C5-11434B35699B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71217" y="6355080"/>
            <a:ext cx="502920" cy="502920"/>
          </a:xfrm>
          <a:prstGeom prst="rect">
            <a:avLst/>
          </a:prstGeom>
        </p:spPr>
      </p:pic>
      <p:sp>
        <p:nvSpPr>
          <p:cNvPr id="4" name="Content">
            <a:extLst>
              <a:ext uri="{FF2B5EF4-FFF2-40B4-BE49-F238E27FC236}">
                <a16:creationId xmlns:a16="http://schemas.microsoft.com/office/drawing/2014/main" id="{6FFB33C6-31EA-4D15-AC3F-377D699FA842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775225" y="4649788"/>
            <a:ext cx="5072063" cy="145732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83AB0E-EC5F-476F-B6A9-E6F9CE84E95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23900" y="1600200"/>
            <a:ext cx="5072063" cy="2415700"/>
          </a:xfrm>
        </p:spPr>
        <p:txBody>
          <a:bodyPr anchor="b" anchorCtr="0"/>
          <a:lstStyle>
            <a:lvl1pPr>
              <a:defRPr sz="8000" b="1">
                <a:solidFill>
                  <a:srgbClr val="315357"/>
                </a:solidFill>
              </a:defRPr>
            </a:lvl1pPr>
          </a:lstStyle>
          <a:p>
            <a:pPr lvl="0"/>
            <a:r>
              <a:rPr lang="en-US" dirty="0"/>
              <a:t>00%</a:t>
            </a: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9C4B030-1E0B-4CB0-87B4-DF607257368B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US" smtClean="0"/>
              <a:t>Copyright © 2024, Oracle and/or its affiliates. All rights reserved   </a:t>
            </a:r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BADD7B5-9676-40DE-A88A-5EC3D33A657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345D60D9-5372-5F40-9443-0F9AE5BDC3C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643916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ght - 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lide Number Placeholder">
            <a:extLst>
              <a:ext uri="{FF2B5EF4-FFF2-40B4-BE49-F238E27FC236}">
                <a16:creationId xmlns:a16="http://schemas.microsoft.com/office/drawing/2014/main" id="{649C3E4A-56A6-4657-815D-5F0928FEFE1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5D60D9-5372-5F40-9443-0F9AE5BDC3C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Footer Placeholder">
            <a:extLst>
              <a:ext uri="{FF2B5EF4-FFF2-40B4-BE49-F238E27FC236}">
                <a16:creationId xmlns:a16="http://schemas.microsoft.com/office/drawing/2014/main" id="{681B7FDB-21AD-43D3-9629-6865ECE7ADC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Copyright © 2024, Oracle and/or its affiliates. All rights reserved   </a:t>
            </a:r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2F13852C-D243-4D5A-B7E1-09812A4D644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Title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5C7F3825-1D38-4C39-8F70-C060E9BEE3D2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762000" y="1609725"/>
            <a:ext cx="10687050" cy="4507992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5147941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480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ark - Divider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OTag">
            <a:extLst>
              <a:ext uri="{FF2B5EF4-FFF2-40B4-BE49-F238E27FC236}">
                <a16:creationId xmlns:a16="http://schemas.microsoft.com/office/drawing/2014/main" id="{82323826-2F7C-DC44-94F9-0225962BEA89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83112" y="6355080"/>
            <a:ext cx="502920" cy="502920"/>
          </a:xfrm>
          <a:prstGeom prst="rect">
            <a:avLst/>
          </a:prstGeom>
        </p:spPr>
      </p:pic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638588-07BC-4F98-97FA-975AE1443B6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Copyright © 2024, Oracle and/or its affiliates. All rights reserved   </a:t>
            </a:r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848B57A4-1EA3-47FA-AD37-31BB82676BA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5D60D9-5372-5F40-9443-0F9AE5BDC3C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C543FCF3-AE26-4DE7-A6C3-3940B3E78E3F}"/>
              </a:ext>
            </a:extLst>
          </p:cNvPr>
          <p:cNvSpPr/>
          <p:nvPr userDrawn="1"/>
        </p:nvSpPr>
        <p:spPr>
          <a:xfrm>
            <a:off x="783878" y="3804904"/>
            <a:ext cx="301752" cy="45719"/>
          </a:xfrm>
          <a:prstGeom prst="rect">
            <a:avLst/>
          </a:prstGeom>
          <a:solidFill>
            <a:srgbClr val="D39F5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Title 5">
            <a:extLst>
              <a:ext uri="{FF2B5EF4-FFF2-40B4-BE49-F238E27FC236}">
                <a16:creationId xmlns:a16="http://schemas.microsoft.com/office/drawing/2014/main" id="{7856B97A-8557-4DB6-9175-7EBD0C8937D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68871" y="2337132"/>
            <a:ext cx="10158984" cy="1280160"/>
          </a:xfrm>
          <a:noFill/>
        </p:spPr>
        <p:txBody>
          <a:bodyPr vert="horz" wrap="square" lIns="0" tIns="0" rIns="0" bIns="0" rtlCol="0" anchor="b">
            <a:noAutofit/>
          </a:bodyPr>
          <a:lstStyle>
            <a:lvl1pPr>
              <a:lnSpc>
                <a:spcPct val="95000"/>
              </a:lnSpc>
              <a:defRPr lang="en-US" sz="4000" b="0" dirty="0">
                <a:latin typeface="+mj-lt"/>
              </a:defRPr>
            </a:lvl1pPr>
          </a:lstStyle>
          <a:p>
            <a:pPr lvl="0">
              <a:lnSpc>
                <a:spcPct val="100000"/>
              </a:lnSpc>
            </a:pPr>
            <a:r>
              <a:rPr lang="en-US" dirty="0"/>
              <a:t>Click to add divider title (up to 2 lines)</a:t>
            </a:r>
          </a:p>
        </p:txBody>
      </p:sp>
      <p:sp>
        <p:nvSpPr>
          <p:cNvPr id="10" name="Subhead">
            <a:extLst>
              <a:ext uri="{FF2B5EF4-FFF2-40B4-BE49-F238E27FC236}">
                <a16:creationId xmlns:a16="http://schemas.microsoft.com/office/drawing/2014/main" id="{E9558DCD-9619-43EF-806C-010C13A11164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776689" y="4135193"/>
            <a:ext cx="10158984" cy="681251"/>
          </a:xfrm>
          <a:prstGeom prst="rect">
            <a:avLst/>
          </a:prstGeom>
          <a:noFill/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5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Subhead goes here</a:t>
            </a:r>
          </a:p>
        </p:txBody>
      </p:sp>
    </p:spTree>
    <p:extLst>
      <p:ext uri="{BB962C8B-B14F-4D97-AF65-F5344CB8AC3E}">
        <p14:creationId xmlns:p14="http://schemas.microsoft.com/office/powerpoint/2010/main" val="425924105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ght - Numbered Out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" name="Cloud">
            <a:extLst>
              <a:ext uri="{FF2B5EF4-FFF2-40B4-BE49-F238E27FC236}">
                <a16:creationId xmlns:a16="http://schemas.microsoft.com/office/drawing/2014/main" id="{3CFD71AD-DED9-6542-9425-0CD364D0453C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552282" y="4403039"/>
            <a:ext cx="6133750" cy="1695012"/>
          </a:xfrm>
          <a:prstGeom prst="rect">
            <a:avLst/>
          </a:prstGeom>
        </p:spPr>
      </p:pic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CACCDE9-9415-4B6A-88C5-02BDAA76AAC8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762000" y="1609724"/>
            <a:ext cx="10687050" cy="4505325"/>
          </a:xfrm>
          <a:noFill/>
        </p:spPr>
        <p:txBody>
          <a:bodyPr vert="horz" lIns="0" tIns="0" rIns="0" bIns="0" rtlCol="0">
            <a:noAutofit/>
          </a:bodyPr>
          <a:lstStyle>
            <a:lvl1pPr marL="365125" indent="-365125">
              <a:buClr>
                <a:srgbClr val="315357"/>
              </a:buClr>
              <a:buFont typeface="+mj-lt"/>
              <a:buAutoNum type="arabicPeriod"/>
              <a:defRPr lang="en-US" dirty="0"/>
            </a:lvl1pPr>
            <a:lvl2pPr marL="548640">
              <a:buClr>
                <a:srgbClr val="315357"/>
              </a:buClr>
              <a:defRPr lang="en-US" dirty="0"/>
            </a:lvl2pPr>
            <a:lvl3pPr marL="731520">
              <a:buClr>
                <a:srgbClr val="315357"/>
              </a:buClr>
              <a:defRPr lang="en-US" dirty="0"/>
            </a:lvl3pPr>
            <a:lvl4pPr marL="914400">
              <a:buClr>
                <a:srgbClr val="315357"/>
              </a:buClr>
              <a:defRPr lang="en-US" dirty="0"/>
            </a:lvl4pPr>
            <a:lvl5pPr marL="1097280">
              <a:buClr>
                <a:srgbClr val="315357"/>
              </a:buClr>
              <a:defRPr lang="en-US" dirty="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9C807732-3520-4DBF-9B75-86BA2E562D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Tit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4561260-593D-4AD6-A0E4-834F8BAAC63D}"/>
              </a:ext>
            </a:extLst>
          </p:cNvPr>
          <p:cNvSpPr>
            <a:spLocks noGrp="1"/>
          </p:cNvSpPr>
          <p:nvPr>
            <p:ph type="ftr" sz="quarter" idx="46"/>
          </p:nvPr>
        </p:nvSpPr>
        <p:spPr/>
        <p:txBody>
          <a:bodyPr/>
          <a:lstStyle/>
          <a:p>
            <a:r>
              <a:rPr lang="en-US" smtClean="0"/>
              <a:t>Copyright © 2024, Oracle and/or its affiliates. All rights reserved   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9B71F68-88E7-48F0-B084-32D91B0A0BEB}"/>
              </a:ext>
            </a:extLst>
          </p:cNvPr>
          <p:cNvSpPr>
            <a:spLocks noGrp="1"/>
          </p:cNvSpPr>
          <p:nvPr>
            <p:ph type="sldNum" sz="quarter" idx="47"/>
          </p:nvPr>
        </p:nvSpPr>
        <p:spPr/>
        <p:txBody>
          <a:bodyPr/>
          <a:lstStyle/>
          <a:p>
            <a:fld id="{345D60D9-5372-5F40-9443-0F9AE5BDC3C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542446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1.vml"/><Relationship Id="rId7" Type="http://schemas.openxmlformats.org/officeDocument/2006/relationships/image" Target="../media/image1.emf"/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.bin"/><Relationship Id="rId4" Type="http://schemas.openxmlformats.org/officeDocument/2006/relationships/tags" Target="../tags/tag1.xml"/></Relationships>
</file>

<file path=ppt/slideMasters/_rels/slideMaster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theme" Target="../theme/theme3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.xml"/><Relationship Id="rId13" Type="http://schemas.openxmlformats.org/officeDocument/2006/relationships/slideLayout" Target="../slideLayouts/slideLayout22.xml"/><Relationship Id="rId18" Type="http://schemas.openxmlformats.org/officeDocument/2006/relationships/theme" Target="../theme/theme4.xml"/><Relationship Id="rId3" Type="http://schemas.openxmlformats.org/officeDocument/2006/relationships/slideLayout" Target="../slideLayouts/slideLayout12.xml"/><Relationship Id="rId7" Type="http://schemas.openxmlformats.org/officeDocument/2006/relationships/slideLayout" Target="../slideLayouts/slideLayout16.xml"/><Relationship Id="rId12" Type="http://schemas.openxmlformats.org/officeDocument/2006/relationships/slideLayout" Target="../slideLayouts/slideLayout21.xml"/><Relationship Id="rId17" Type="http://schemas.openxmlformats.org/officeDocument/2006/relationships/slideLayout" Target="../slideLayouts/slideLayout26.xml"/><Relationship Id="rId2" Type="http://schemas.openxmlformats.org/officeDocument/2006/relationships/slideLayout" Target="../slideLayouts/slideLayout11.xml"/><Relationship Id="rId16" Type="http://schemas.openxmlformats.org/officeDocument/2006/relationships/slideLayout" Target="../slideLayouts/slideLayout25.xml"/><Relationship Id="rId1" Type="http://schemas.openxmlformats.org/officeDocument/2006/relationships/slideLayout" Target="../slideLayouts/slideLayout10.xml"/><Relationship Id="rId6" Type="http://schemas.openxmlformats.org/officeDocument/2006/relationships/slideLayout" Target="../slideLayouts/slideLayout15.xml"/><Relationship Id="rId11" Type="http://schemas.openxmlformats.org/officeDocument/2006/relationships/slideLayout" Target="../slideLayouts/slideLayout20.xml"/><Relationship Id="rId5" Type="http://schemas.openxmlformats.org/officeDocument/2006/relationships/slideLayout" Target="../slideLayouts/slideLayout14.xml"/><Relationship Id="rId15" Type="http://schemas.openxmlformats.org/officeDocument/2006/relationships/slideLayout" Target="../slideLayouts/slideLayout24.xml"/><Relationship Id="rId10" Type="http://schemas.openxmlformats.org/officeDocument/2006/relationships/slideLayout" Target="../slideLayouts/slideLayout19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13.xml"/><Relationship Id="rId9" Type="http://schemas.openxmlformats.org/officeDocument/2006/relationships/slideLayout" Target="../slideLayouts/slideLayout18.xml"/><Relationship Id="rId14" Type="http://schemas.openxmlformats.org/officeDocument/2006/relationships/slideLayout" Target="../slideLayouts/slideLayout23.xml"/></Relationships>
</file>

<file path=ppt/slideMasters/_rels/slideMaster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theme" Target="../theme/theme5.xml"/><Relationship Id="rId1" Type="http://schemas.openxmlformats.org/officeDocument/2006/relationships/slideLayout" Target="../slideLayouts/slideLayout27.xml"/></Relationships>
</file>

<file path=ppt/slideMasters/_rels/slideMaster6.xml.rels><?xml version="1.0" encoding="UTF-8" standalone="yes"?>
<Relationships xmlns="http://schemas.openxmlformats.org/package/2006/relationships"><Relationship Id="rId3" Type="http://schemas.openxmlformats.org/officeDocument/2006/relationships/theme" Target="../theme/theme6.xml"/><Relationship Id="rId2" Type="http://schemas.openxmlformats.org/officeDocument/2006/relationships/slideLayout" Target="../slideLayouts/slideLayout29.xml"/><Relationship Id="rId1" Type="http://schemas.openxmlformats.org/officeDocument/2006/relationships/slideLayout" Target="../slideLayouts/slideLayout28.xml"/><Relationship Id="rId4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OTag">
            <a:extLst>
              <a:ext uri="{FF2B5EF4-FFF2-40B4-BE49-F238E27FC236}">
                <a16:creationId xmlns:a16="http://schemas.microsoft.com/office/drawing/2014/main" id="{DA16EBAD-93BE-4ACF-A78F-3C1CEDB86021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PicPr>
            <a:picLocks noChangeAspect="1"/>
          </p:cNvPicPr>
          <p:nvPr userDrawn="1"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83112" y="6355080"/>
            <a:ext cx="502920" cy="502920"/>
          </a:xfrm>
          <a:prstGeom prst="rect">
            <a:avLst/>
          </a:prstGeom>
        </p:spPr>
      </p:pic>
      <p:sp>
        <p:nvSpPr>
          <p:cNvPr id="2" name="Title">
            <a:extLst>
              <a:ext uri="{FF2B5EF4-FFF2-40B4-BE49-F238E27FC236}">
                <a16:creationId xmlns:a16="http://schemas.microsoft.com/office/drawing/2014/main" id="{8A70F255-3C2A-4AC7-8935-184146E3B6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8875" y="182403"/>
            <a:ext cx="10671048" cy="82296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/>
          <a:p>
            <a:pPr marL="0" lvl="0" indent="0">
              <a:spcBef>
                <a:spcPts val="1000"/>
              </a:spcBef>
              <a:buFont typeface="Arial" panose="020B0604020202020204" pitchFamily="34" charset="0"/>
            </a:pPr>
            <a:r>
              <a:rPr lang="en-US" dirty="0"/>
              <a:t>Title</a:t>
            </a:r>
          </a:p>
        </p:txBody>
      </p:sp>
      <p:sp>
        <p:nvSpPr>
          <p:cNvPr id="4" name="Text Field">
            <a:extLst>
              <a:ext uri="{FF2B5EF4-FFF2-40B4-BE49-F238E27FC236}">
                <a16:creationId xmlns:a16="http://schemas.microsoft.com/office/drawing/2014/main" id="{E46619B6-A626-4CDA-96E2-B94F4637C62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68875" y="1600200"/>
            <a:ext cx="10671048" cy="4514850"/>
          </a:xfrm>
          <a:prstGeom prst="rect">
            <a:avLst/>
          </a:prstGeom>
          <a:noFill/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08A3F6CD-49F4-D74B-8C7F-D6CA71EFB13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62000" y="6423660"/>
            <a:ext cx="365760" cy="36576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900">
                <a:solidFill>
                  <a:srgbClr val="8B8580"/>
                </a:solidFill>
              </a:defRPr>
            </a:lvl1pPr>
          </a:lstStyle>
          <a:p>
            <a:fld id="{345D60D9-5372-5F40-9443-0F9AE5BDC3C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8" name="Footer">
            <a:extLst>
              <a:ext uri="{FF2B5EF4-FFF2-40B4-BE49-F238E27FC236}">
                <a16:creationId xmlns:a16="http://schemas.microsoft.com/office/drawing/2014/main" id="{8E003242-6B91-1949-A5CA-15BA57A045C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127759" y="6423978"/>
            <a:ext cx="5745379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900">
                <a:solidFill>
                  <a:srgbClr val="8B8580"/>
                </a:solidFill>
              </a:defRPr>
            </a:lvl1pPr>
          </a:lstStyle>
          <a:p>
            <a:r>
              <a:rPr lang="en-US" smtClean="0"/>
              <a:t>Copyright © 2024, Oracle and/or its affiliates. All rights reserved  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323000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17" r:id="rId1"/>
    <p:sldLayoutId id="2147483931" r:id="rId2"/>
    <p:sldLayoutId id="2147483933" r:id="rId3"/>
    <p:sldLayoutId id="2147483969" r:id="rId4"/>
    <p:sldLayoutId id="2147483754" r:id="rId5"/>
    <p:sldLayoutId id="2147483762" r:id="rId6"/>
    <p:sldLayoutId id="2147483898" r:id="rId7"/>
    <p:sldLayoutId id="2147483973" r:id="rId8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914400" rtl="0" eaLnBrk="1" latinLnBrk="0" hangingPunct="1">
        <a:lnSpc>
          <a:spcPct val="95000"/>
        </a:lnSpc>
        <a:spcBef>
          <a:spcPct val="0"/>
        </a:spcBef>
        <a:buNone/>
        <a:defRPr lang="en-US" sz="2400" b="1" i="0" kern="1200" baseline="0" dirty="0">
          <a:solidFill>
            <a:schemeClr val="tx1"/>
          </a:solidFill>
          <a:latin typeface="+mn-lt"/>
          <a:ea typeface="+mn-ea"/>
          <a:cs typeface="+mj-cs"/>
        </a:defRPr>
      </a:lvl1pPr>
    </p:titleStyle>
    <p:bodyStyle>
      <a:lvl1pPr marL="0" marR="0" indent="0" algn="l" defTabSz="914400" rtl="0" eaLnBrk="1" fontAlgn="auto" latinLnBrk="0" hangingPunct="1">
        <a:lnSpc>
          <a:spcPct val="95000"/>
        </a:lnSpc>
        <a:spcBef>
          <a:spcPts val="600"/>
        </a:spcBef>
        <a:spcAft>
          <a:spcPts val="0"/>
        </a:spcAft>
        <a:buClrTx/>
        <a:buSzTx/>
        <a:buFont typeface="System Font Regular"/>
        <a:buNone/>
        <a:tabLst/>
        <a:defRPr sz="1800" b="0" i="0" kern="1200">
          <a:solidFill>
            <a:schemeClr val="tx1"/>
          </a:solidFill>
          <a:latin typeface="+mn-lt"/>
          <a:ea typeface="+mn-ea"/>
          <a:cs typeface="Oracle Sans Tab" panose="020B0503020204020204" pitchFamily="34" charset="0"/>
        </a:defRPr>
      </a:lvl1pPr>
      <a:lvl2pPr marL="365760" marR="0" indent="-182880" algn="l" defTabSz="914400" rtl="0" eaLnBrk="1" fontAlgn="auto" latinLnBrk="0" hangingPunct="1">
        <a:lnSpc>
          <a:spcPct val="95000"/>
        </a:lnSpc>
        <a:spcBef>
          <a:spcPts val="600"/>
        </a:spcBef>
        <a:spcAft>
          <a:spcPts val="0"/>
        </a:spcAft>
        <a:buClr>
          <a:srgbClr val="315357"/>
        </a:buClr>
        <a:buSzPct val="100000"/>
        <a:buFont typeface="Arial" panose="020B0604020202020204" pitchFamily="34" charset="0"/>
        <a:buChar char="•"/>
        <a:tabLst/>
        <a:defRPr sz="1800" b="0" i="0" kern="1200">
          <a:solidFill>
            <a:schemeClr val="tx1"/>
          </a:solidFill>
          <a:latin typeface="+mn-lt"/>
          <a:ea typeface="+mn-ea"/>
          <a:cs typeface="Oracle Sans Tab" panose="020B0503020204020204" pitchFamily="34" charset="0"/>
        </a:defRPr>
      </a:lvl2pPr>
      <a:lvl3pPr marL="547688" marR="0" indent="-182563" algn="l" defTabSz="914400" rtl="0" eaLnBrk="1" fontAlgn="auto" latinLnBrk="0" hangingPunct="1">
        <a:lnSpc>
          <a:spcPct val="95000"/>
        </a:lnSpc>
        <a:spcBef>
          <a:spcPts val="400"/>
        </a:spcBef>
        <a:spcAft>
          <a:spcPts val="0"/>
        </a:spcAft>
        <a:buClr>
          <a:srgbClr val="315357"/>
        </a:buClr>
        <a:buSzPct val="100000"/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latin typeface="Oracle Sans Tab Light" panose="020B0403020204020204" pitchFamily="34" charset="0"/>
          <a:ea typeface="+mn-ea"/>
          <a:cs typeface="Oracle Sans Tab Light" panose="020B0403020204020204" pitchFamily="34" charset="0"/>
        </a:defRPr>
      </a:lvl3pPr>
      <a:lvl4pPr marL="730250" marR="0" indent="-182563" algn="l" defTabSz="914400" rtl="0" eaLnBrk="1" fontAlgn="auto" latinLnBrk="0" hangingPunct="1">
        <a:lnSpc>
          <a:spcPct val="95000"/>
        </a:lnSpc>
        <a:spcBef>
          <a:spcPts val="400"/>
        </a:spcBef>
        <a:spcAft>
          <a:spcPts val="0"/>
        </a:spcAft>
        <a:buClr>
          <a:srgbClr val="315357"/>
        </a:buClr>
        <a:buSzPct val="100000"/>
        <a:buFont typeface="Arial" panose="020B0604020202020204" pitchFamily="34" charset="0"/>
        <a:buChar char="•"/>
        <a:tabLst/>
        <a:defRPr sz="1400" kern="1200">
          <a:solidFill>
            <a:schemeClr val="tx1"/>
          </a:solidFill>
          <a:latin typeface="Oracle Sans Tab Light" panose="020B0403020204020204" pitchFamily="34" charset="0"/>
          <a:ea typeface="+mn-ea"/>
          <a:cs typeface="Oracle Sans Tab Light" panose="020B0403020204020204" pitchFamily="34" charset="0"/>
        </a:defRPr>
      </a:lvl4pPr>
      <a:lvl5pPr marL="914400" marR="0" indent="-182880" algn="l" defTabSz="914400" rtl="0" eaLnBrk="1" fontAlgn="auto" latinLnBrk="0" hangingPunct="1">
        <a:lnSpc>
          <a:spcPct val="95000"/>
        </a:lnSpc>
        <a:spcBef>
          <a:spcPts val="400"/>
        </a:spcBef>
        <a:spcAft>
          <a:spcPts val="0"/>
        </a:spcAft>
        <a:buClr>
          <a:srgbClr val="315357"/>
        </a:buClr>
        <a:buSzTx/>
        <a:buFont typeface="System Font Regular"/>
        <a:buChar char="•"/>
        <a:tabLst/>
        <a:defRPr sz="1200" kern="1200">
          <a:solidFill>
            <a:schemeClr val="tx1"/>
          </a:solidFill>
          <a:latin typeface="Oracle Sans Tab Light" panose="020B0403020204020204" pitchFamily="34" charset="0"/>
          <a:ea typeface="+mn-ea"/>
          <a:cs typeface="Oracle Sans Tab Light" panose="020B0403020204020204" pitchFamily="34" charset="0"/>
        </a:defRPr>
      </a:lvl5pPr>
      <a:lvl6pPr marL="1097280" indent="-182880" algn="l" defTabSz="914400" rtl="0" eaLnBrk="1" latinLnBrk="0" hangingPunct="1">
        <a:lnSpc>
          <a:spcPct val="95000"/>
        </a:lnSpc>
        <a:spcBef>
          <a:spcPts val="400"/>
        </a:spcBef>
        <a:spcAft>
          <a:spcPts val="0"/>
        </a:spcAft>
        <a:buSzPct val="100000"/>
        <a:buFont typeface="Arial" panose="020B0604020202020204" pitchFamily="34" charset="0"/>
        <a:buChar char="•"/>
        <a:defRPr sz="1200" b="0" i="0" kern="1200">
          <a:solidFill>
            <a:schemeClr val="tx1"/>
          </a:solidFill>
          <a:latin typeface="Oracle Sans Light" panose="020B0403020204020204" pitchFamily="34" charset="0"/>
          <a:ea typeface="+mn-ea"/>
          <a:cs typeface="Oracle Sans Light" panose="020B0403020204020204" pitchFamily="34" charset="0"/>
        </a:defRPr>
      </a:lvl6pPr>
      <a:lvl7pPr marL="1280160" indent="-182880" algn="l" defTabSz="914400" rtl="0" eaLnBrk="1" latinLnBrk="0" hangingPunct="1">
        <a:lnSpc>
          <a:spcPct val="95000"/>
        </a:lnSpc>
        <a:spcBef>
          <a:spcPts val="400"/>
        </a:spcBef>
        <a:spcAft>
          <a:spcPts val="0"/>
        </a:spcAft>
        <a:buFont typeface="Arial" panose="020B0604020202020204" pitchFamily="34" charset="0"/>
        <a:buChar char="•"/>
        <a:defRPr sz="1200" b="0" i="0" kern="1200">
          <a:solidFill>
            <a:schemeClr val="tx1"/>
          </a:solidFill>
          <a:latin typeface="Oracle Sans Light" panose="020B0403020204020204" pitchFamily="34" charset="0"/>
          <a:ea typeface="+mn-ea"/>
          <a:cs typeface="Oracle Sans Light" panose="020B0403020204020204" pitchFamily="34" charset="0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  <p15:guide id="3" orient="horz" pos="1008" userDrawn="1">
          <p15:clr>
            <a:srgbClr val="F26B43"/>
          </p15:clr>
        </p15:guide>
        <p15:guide id="4" orient="horz" pos="3852" userDrawn="1">
          <p15:clr>
            <a:srgbClr val="F26B43"/>
          </p15:clr>
        </p15:guide>
        <p15:guide id="5" pos="480" userDrawn="1">
          <p15:clr>
            <a:srgbClr val="F26B43"/>
          </p15:clr>
        </p15:guide>
        <p15:guide id="6" orient="horz" pos="795" userDrawn="1">
          <p15:clr>
            <a:srgbClr val="F26B43"/>
          </p15:clr>
        </p15:guide>
        <p15:guide id="7" orient="horz" pos="590" userDrawn="1">
          <p15:clr>
            <a:srgbClr val="F26B43"/>
          </p15:clr>
        </p15:guide>
        <p15:guide id="8" pos="7212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ABF249F-2EEF-F644-B02B-59633B46063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81000311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02"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EABF249F-2EEF-F644-B02B-59633B46063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1" name="OTag">
            <a:extLst>
              <a:ext uri="{FF2B5EF4-FFF2-40B4-BE49-F238E27FC236}">
                <a16:creationId xmlns:a16="http://schemas.microsoft.com/office/drawing/2014/main" id="{DA16EBAD-93BE-4ACF-A78F-3C1CEDB86021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83112" y="6355080"/>
            <a:ext cx="502920" cy="502920"/>
          </a:xfrm>
          <a:prstGeom prst="rect">
            <a:avLst/>
          </a:prstGeom>
        </p:spPr>
      </p:pic>
      <p:sp>
        <p:nvSpPr>
          <p:cNvPr id="2" name="Title">
            <a:extLst>
              <a:ext uri="{FF2B5EF4-FFF2-40B4-BE49-F238E27FC236}">
                <a16:creationId xmlns:a16="http://schemas.microsoft.com/office/drawing/2014/main" id="{8A70F255-3C2A-4AC7-8935-184146E3B6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8875" y="182403"/>
            <a:ext cx="10671048" cy="82296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/>
          <a:p>
            <a:pPr marL="0" lvl="0" indent="0">
              <a:spcBef>
                <a:spcPts val="1000"/>
              </a:spcBef>
              <a:buFont typeface="Arial" panose="020B0604020202020204" pitchFamily="34" charset="0"/>
            </a:pPr>
            <a:r>
              <a:rPr lang="en-US" dirty="0"/>
              <a:t>Title</a:t>
            </a:r>
          </a:p>
        </p:txBody>
      </p:sp>
      <p:sp>
        <p:nvSpPr>
          <p:cNvPr id="4" name="Text Field">
            <a:extLst>
              <a:ext uri="{FF2B5EF4-FFF2-40B4-BE49-F238E27FC236}">
                <a16:creationId xmlns:a16="http://schemas.microsoft.com/office/drawing/2014/main" id="{E46619B6-A626-4CDA-96E2-B94F4637C62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68875" y="1600200"/>
            <a:ext cx="10671048" cy="4514850"/>
          </a:xfrm>
          <a:prstGeom prst="rect">
            <a:avLst/>
          </a:prstGeom>
          <a:noFill/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08A3F6CD-49F4-D74B-8C7F-D6CA71EFB13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62000" y="6423660"/>
            <a:ext cx="365760" cy="36576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900">
                <a:solidFill>
                  <a:srgbClr val="8B8580"/>
                </a:solidFill>
              </a:defRPr>
            </a:lvl1pPr>
          </a:lstStyle>
          <a:p>
            <a:fld id="{345D60D9-5372-5F40-9443-0F9AE5BDC3C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8" name="Footer">
            <a:extLst>
              <a:ext uri="{FF2B5EF4-FFF2-40B4-BE49-F238E27FC236}">
                <a16:creationId xmlns:a16="http://schemas.microsoft.com/office/drawing/2014/main" id="{8E003242-6B91-1949-A5CA-15BA57A045C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127759" y="6423978"/>
            <a:ext cx="5745379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900">
                <a:solidFill>
                  <a:srgbClr val="8B8580"/>
                </a:solidFill>
              </a:defRPr>
            </a:lvl1pPr>
          </a:lstStyle>
          <a:p>
            <a:r>
              <a:rPr lang="en-US" smtClean="0"/>
              <a:t>Copyright © 2024, Oracle and/or its affiliates. All rights reserved  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222325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83" r:id="rId1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914400" rtl="0" eaLnBrk="1" latinLnBrk="0" hangingPunct="1">
        <a:lnSpc>
          <a:spcPct val="95000"/>
        </a:lnSpc>
        <a:spcBef>
          <a:spcPct val="0"/>
        </a:spcBef>
        <a:buNone/>
        <a:defRPr lang="en-US" sz="2400" b="1" i="0" kern="1200" baseline="0" dirty="0">
          <a:solidFill>
            <a:schemeClr val="tx1"/>
          </a:solidFill>
          <a:latin typeface="+mn-lt"/>
          <a:ea typeface="+mn-ea"/>
          <a:cs typeface="+mj-cs"/>
        </a:defRPr>
      </a:lvl1pPr>
    </p:titleStyle>
    <p:bodyStyle>
      <a:lvl1pPr marL="0" marR="0" indent="0" algn="l" defTabSz="914400" rtl="0" eaLnBrk="1" fontAlgn="auto" latinLnBrk="0" hangingPunct="1">
        <a:lnSpc>
          <a:spcPct val="95000"/>
        </a:lnSpc>
        <a:spcBef>
          <a:spcPts val="600"/>
        </a:spcBef>
        <a:spcAft>
          <a:spcPts val="0"/>
        </a:spcAft>
        <a:buClrTx/>
        <a:buSzTx/>
        <a:buFont typeface="System Font Regular"/>
        <a:buNone/>
        <a:tabLst/>
        <a:defRPr sz="1800" b="0" i="0" kern="1200">
          <a:solidFill>
            <a:schemeClr val="tx1"/>
          </a:solidFill>
          <a:latin typeface="+mn-lt"/>
          <a:ea typeface="+mn-ea"/>
          <a:cs typeface="Oracle Sans Tab" panose="020B0503020204020204" pitchFamily="34" charset="0"/>
        </a:defRPr>
      </a:lvl1pPr>
      <a:lvl2pPr marL="365760" marR="0" indent="-182880" algn="l" defTabSz="914400" rtl="0" eaLnBrk="1" fontAlgn="auto" latinLnBrk="0" hangingPunct="1">
        <a:lnSpc>
          <a:spcPct val="95000"/>
        </a:lnSpc>
        <a:spcBef>
          <a:spcPts val="600"/>
        </a:spcBef>
        <a:spcAft>
          <a:spcPts val="0"/>
        </a:spcAft>
        <a:buClr>
          <a:srgbClr val="315357"/>
        </a:buClr>
        <a:buSzPct val="100000"/>
        <a:buFont typeface="Arial" panose="020B0604020202020204" pitchFamily="34" charset="0"/>
        <a:buChar char="•"/>
        <a:tabLst/>
        <a:defRPr sz="1800" b="0" i="0" kern="1200">
          <a:solidFill>
            <a:schemeClr val="tx1"/>
          </a:solidFill>
          <a:latin typeface="+mn-lt"/>
          <a:ea typeface="+mn-ea"/>
          <a:cs typeface="Oracle Sans Tab" panose="020B0503020204020204" pitchFamily="34" charset="0"/>
        </a:defRPr>
      </a:lvl2pPr>
      <a:lvl3pPr marL="547688" marR="0" indent="-182563" algn="l" defTabSz="914400" rtl="0" eaLnBrk="1" fontAlgn="auto" latinLnBrk="0" hangingPunct="1">
        <a:lnSpc>
          <a:spcPct val="95000"/>
        </a:lnSpc>
        <a:spcBef>
          <a:spcPts val="400"/>
        </a:spcBef>
        <a:spcAft>
          <a:spcPts val="0"/>
        </a:spcAft>
        <a:buClr>
          <a:srgbClr val="315357"/>
        </a:buClr>
        <a:buSzPct val="100000"/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latin typeface="Oracle Sans Tab Light" panose="020B0403020204020204" pitchFamily="34" charset="0"/>
          <a:ea typeface="+mn-ea"/>
          <a:cs typeface="Oracle Sans Tab Light" panose="020B0403020204020204" pitchFamily="34" charset="0"/>
        </a:defRPr>
      </a:lvl3pPr>
      <a:lvl4pPr marL="730250" marR="0" indent="-182563" algn="l" defTabSz="914400" rtl="0" eaLnBrk="1" fontAlgn="auto" latinLnBrk="0" hangingPunct="1">
        <a:lnSpc>
          <a:spcPct val="95000"/>
        </a:lnSpc>
        <a:spcBef>
          <a:spcPts val="400"/>
        </a:spcBef>
        <a:spcAft>
          <a:spcPts val="0"/>
        </a:spcAft>
        <a:buClr>
          <a:srgbClr val="315357"/>
        </a:buClr>
        <a:buSzPct val="100000"/>
        <a:buFont typeface="Arial" panose="020B0604020202020204" pitchFamily="34" charset="0"/>
        <a:buChar char="•"/>
        <a:tabLst/>
        <a:defRPr sz="1400" kern="1200">
          <a:solidFill>
            <a:schemeClr val="tx1"/>
          </a:solidFill>
          <a:latin typeface="Oracle Sans Tab Light" panose="020B0403020204020204" pitchFamily="34" charset="0"/>
          <a:ea typeface="+mn-ea"/>
          <a:cs typeface="Oracle Sans Tab Light" panose="020B0403020204020204" pitchFamily="34" charset="0"/>
        </a:defRPr>
      </a:lvl4pPr>
      <a:lvl5pPr marL="914400" marR="0" indent="-182880" algn="l" defTabSz="914400" rtl="0" eaLnBrk="1" fontAlgn="auto" latinLnBrk="0" hangingPunct="1">
        <a:lnSpc>
          <a:spcPct val="95000"/>
        </a:lnSpc>
        <a:spcBef>
          <a:spcPts val="400"/>
        </a:spcBef>
        <a:spcAft>
          <a:spcPts val="0"/>
        </a:spcAft>
        <a:buClr>
          <a:srgbClr val="315357"/>
        </a:buClr>
        <a:buSzTx/>
        <a:buFont typeface="System Font Regular"/>
        <a:buChar char="•"/>
        <a:tabLst/>
        <a:defRPr sz="1200" kern="1200">
          <a:solidFill>
            <a:schemeClr val="tx1"/>
          </a:solidFill>
          <a:latin typeface="Oracle Sans Tab Light" panose="020B0403020204020204" pitchFamily="34" charset="0"/>
          <a:ea typeface="+mn-ea"/>
          <a:cs typeface="Oracle Sans Tab Light" panose="020B0403020204020204" pitchFamily="34" charset="0"/>
        </a:defRPr>
      </a:lvl5pPr>
      <a:lvl6pPr marL="1097280" indent="-182880" algn="l" defTabSz="914400" rtl="0" eaLnBrk="1" latinLnBrk="0" hangingPunct="1">
        <a:lnSpc>
          <a:spcPct val="95000"/>
        </a:lnSpc>
        <a:spcBef>
          <a:spcPts val="400"/>
        </a:spcBef>
        <a:spcAft>
          <a:spcPts val="0"/>
        </a:spcAft>
        <a:buSzPct val="100000"/>
        <a:buFont typeface="Arial" panose="020B0604020202020204" pitchFamily="34" charset="0"/>
        <a:buChar char="•"/>
        <a:defRPr sz="1200" b="0" i="0" kern="1200">
          <a:solidFill>
            <a:schemeClr val="tx1"/>
          </a:solidFill>
          <a:latin typeface="Oracle Sans Light" panose="020B0403020204020204" pitchFamily="34" charset="0"/>
          <a:ea typeface="+mn-ea"/>
          <a:cs typeface="Oracle Sans Light" panose="020B0403020204020204" pitchFamily="34" charset="0"/>
        </a:defRPr>
      </a:lvl6pPr>
      <a:lvl7pPr marL="1280160" indent="-182880" algn="l" defTabSz="914400" rtl="0" eaLnBrk="1" latinLnBrk="0" hangingPunct="1">
        <a:lnSpc>
          <a:spcPct val="95000"/>
        </a:lnSpc>
        <a:spcBef>
          <a:spcPts val="400"/>
        </a:spcBef>
        <a:spcAft>
          <a:spcPts val="0"/>
        </a:spcAft>
        <a:buFont typeface="Arial" panose="020B0604020202020204" pitchFamily="34" charset="0"/>
        <a:buChar char="•"/>
        <a:defRPr sz="1200" b="0" i="0" kern="1200">
          <a:solidFill>
            <a:schemeClr val="tx1"/>
          </a:solidFill>
          <a:latin typeface="Oracle Sans Light" panose="020B0403020204020204" pitchFamily="34" charset="0"/>
          <a:ea typeface="+mn-ea"/>
          <a:cs typeface="Oracle Sans Light" panose="020B0403020204020204" pitchFamily="34" charset="0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orient="horz" pos="1008">
          <p15:clr>
            <a:srgbClr val="F26B43"/>
          </p15:clr>
        </p15:guide>
        <p15:guide id="4" orient="horz" pos="3852">
          <p15:clr>
            <a:srgbClr val="F26B43"/>
          </p15:clr>
        </p15:guide>
        <p15:guide id="5" pos="480">
          <p15:clr>
            <a:srgbClr val="F26B43"/>
          </p15:clr>
        </p15:guide>
        <p15:guide id="6" orient="horz" pos="795">
          <p15:clr>
            <a:srgbClr val="F26B43"/>
          </p15:clr>
        </p15:guide>
        <p15:guide id="7" orient="horz" pos="590">
          <p15:clr>
            <a:srgbClr val="F26B43"/>
          </p15:clr>
        </p15:guide>
        <p15:guide id="8" pos="7212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8A70F255-3C2A-4AC7-8935-184146E3B6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8875" y="182403"/>
            <a:ext cx="10671048" cy="82296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/>
          <a:p>
            <a:pPr marL="0" lvl="0" indent="0">
              <a:spcBef>
                <a:spcPts val="1000"/>
              </a:spcBef>
              <a:buFont typeface="Arial" panose="020B0604020202020204" pitchFamily="34" charset="0"/>
            </a:pPr>
            <a:r>
              <a:rPr lang="en-US" dirty="0"/>
              <a:t>Title</a:t>
            </a:r>
          </a:p>
        </p:txBody>
      </p:sp>
      <p:sp>
        <p:nvSpPr>
          <p:cNvPr id="4" name="Text Field">
            <a:extLst>
              <a:ext uri="{FF2B5EF4-FFF2-40B4-BE49-F238E27FC236}">
                <a16:creationId xmlns:a16="http://schemas.microsoft.com/office/drawing/2014/main" id="{E46619B6-A626-4CDA-96E2-B94F4637C62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68875" y="1600200"/>
            <a:ext cx="10671048" cy="4514850"/>
          </a:xfrm>
          <a:prstGeom prst="rect">
            <a:avLst/>
          </a:prstGeom>
          <a:noFill/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08A3F6CD-49F4-D74B-8C7F-D6CA71EFB13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62000" y="6423660"/>
            <a:ext cx="365760" cy="36576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900">
                <a:solidFill>
                  <a:srgbClr val="8B8580"/>
                </a:solidFill>
              </a:defRPr>
            </a:lvl1pPr>
          </a:lstStyle>
          <a:p>
            <a:fld id="{345D60D9-5372-5F40-9443-0F9AE5BDC3C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8" name="Footer">
            <a:extLst>
              <a:ext uri="{FF2B5EF4-FFF2-40B4-BE49-F238E27FC236}">
                <a16:creationId xmlns:a16="http://schemas.microsoft.com/office/drawing/2014/main" id="{8E003242-6B91-1949-A5CA-15BA57A045C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127759" y="6423978"/>
            <a:ext cx="5745379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900">
                <a:solidFill>
                  <a:srgbClr val="8B8580"/>
                </a:solidFill>
              </a:defRPr>
            </a:lvl1pPr>
          </a:lstStyle>
          <a:p>
            <a:r>
              <a:rPr lang="en-US" smtClean="0"/>
              <a:t>Copyright © 2024, Oracle and/or its affiliates. All rights reserved   </a:t>
            </a:r>
            <a:endParaRPr lang="en-US" dirty="0"/>
          </a:p>
        </p:txBody>
      </p:sp>
      <p:sp>
        <p:nvSpPr>
          <p:cNvPr id="20" name="Date">
            <a:extLst>
              <a:ext uri="{FF2B5EF4-FFF2-40B4-BE49-F238E27FC236}">
                <a16:creationId xmlns:a16="http://schemas.microsoft.com/office/drawing/2014/main" id="{65BA88F5-EF53-415B-8446-19188BE675D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873138" y="6425604"/>
            <a:ext cx="2743200" cy="3635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>
              <a:defRPr lang="en-US" sz="900" smtClean="0">
                <a:solidFill>
                  <a:srgbClr val="8B8580"/>
                </a:solidFill>
              </a:defRPr>
            </a:lvl1pPr>
          </a:lstStyle>
          <a:p>
            <a:endParaRPr lang="en-US" dirty="0"/>
          </a:p>
        </p:txBody>
      </p:sp>
      <p:pic>
        <p:nvPicPr>
          <p:cNvPr id="21" name="OTag">
            <a:extLst>
              <a:ext uri="{FF2B5EF4-FFF2-40B4-BE49-F238E27FC236}">
                <a16:creationId xmlns:a16="http://schemas.microsoft.com/office/drawing/2014/main" id="{DA16EBAD-93BE-4ACF-A78F-3C1CEDB86021}"/>
              </a:ext>
              <a:ext uri="{C183D7F6-B498-43B3-948B-1728B52AA6E4}">
                <adec:decorative xmlns:adec="http://schemas.microsoft.com/office/drawing/2017/decorative" xmlns="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83112" y="6355080"/>
            <a:ext cx="502920" cy="5029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58934122"/>
      </p:ext>
    </p:extLst>
  </p:cSld>
  <p:clrMap bg1="lt1" tx1="dk1" bg2="lt2" tx2="dk2" accent1="accent1" accent2="accent2" accent3="accent3" accent4="accent4" accent5="accent5" accent6="accent6" hlink="hlink" folHlink="folHlink"/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914400" rtl="0" eaLnBrk="1" latinLnBrk="0" hangingPunct="1">
        <a:lnSpc>
          <a:spcPct val="95000"/>
        </a:lnSpc>
        <a:spcBef>
          <a:spcPct val="0"/>
        </a:spcBef>
        <a:buNone/>
        <a:defRPr lang="en-US" sz="2400" b="1" i="0" kern="1200" baseline="0" dirty="0">
          <a:solidFill>
            <a:schemeClr val="tx1"/>
          </a:solidFill>
          <a:latin typeface="+mn-lt"/>
          <a:ea typeface="+mn-ea"/>
          <a:cs typeface="+mj-cs"/>
        </a:defRPr>
      </a:lvl1pPr>
    </p:titleStyle>
    <p:bodyStyle>
      <a:lvl1pPr marL="0" marR="0" indent="0" algn="l" defTabSz="914400" rtl="0" eaLnBrk="1" fontAlgn="auto" latinLnBrk="0" hangingPunct="1">
        <a:lnSpc>
          <a:spcPct val="95000"/>
        </a:lnSpc>
        <a:spcBef>
          <a:spcPts val="600"/>
        </a:spcBef>
        <a:spcAft>
          <a:spcPts val="0"/>
        </a:spcAft>
        <a:buClrTx/>
        <a:buSzTx/>
        <a:buFont typeface="System Font Regular"/>
        <a:buNone/>
        <a:tabLst/>
        <a:defRPr sz="1800" b="0" i="0" kern="1200">
          <a:solidFill>
            <a:schemeClr val="tx1"/>
          </a:solidFill>
          <a:latin typeface="+mn-lt"/>
          <a:ea typeface="+mn-ea"/>
          <a:cs typeface="Oracle Sans Tab Light" panose="020B0403020204020204"/>
        </a:defRPr>
      </a:lvl1pPr>
      <a:lvl2pPr marL="365760" marR="0" indent="-182880" algn="l" defTabSz="914400" rtl="0" eaLnBrk="1" fontAlgn="auto" latinLnBrk="0" hangingPunct="1">
        <a:lnSpc>
          <a:spcPct val="95000"/>
        </a:lnSpc>
        <a:spcBef>
          <a:spcPts val="600"/>
        </a:spcBef>
        <a:spcAft>
          <a:spcPts val="0"/>
        </a:spcAft>
        <a:buClrTx/>
        <a:buSzPct val="100000"/>
        <a:buFont typeface="Arial" panose="020B0604020202020204" pitchFamily="34" charset="0"/>
        <a:buChar char="•"/>
        <a:tabLst/>
        <a:defRPr sz="1800" b="0" i="0" kern="1200">
          <a:solidFill>
            <a:schemeClr val="tx1"/>
          </a:solidFill>
          <a:latin typeface="+mn-lt"/>
          <a:ea typeface="+mn-ea"/>
          <a:cs typeface="Oracle Sans Tab Light" panose="020B0403020204020204"/>
        </a:defRPr>
      </a:lvl2pPr>
      <a:lvl3pPr marL="547688" marR="0" indent="-182563" algn="l" defTabSz="914400" rtl="0" eaLnBrk="1" fontAlgn="auto" latinLnBrk="0" hangingPunct="1">
        <a:lnSpc>
          <a:spcPct val="95000"/>
        </a:lnSpc>
        <a:spcBef>
          <a:spcPts val="400"/>
        </a:spcBef>
        <a:spcAft>
          <a:spcPts val="0"/>
        </a:spcAft>
        <a:buClrTx/>
        <a:buSzPct val="100000"/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latin typeface="Oracle Sans Tab Light" panose="020B0403020204020204"/>
          <a:ea typeface="+mn-ea"/>
          <a:cs typeface="Oracle Sans Tab Light" panose="020B0403020204020204"/>
        </a:defRPr>
      </a:lvl3pPr>
      <a:lvl4pPr marL="730250" marR="0" indent="-182563" algn="l" defTabSz="914400" rtl="0" eaLnBrk="1" fontAlgn="auto" latinLnBrk="0" hangingPunct="1">
        <a:lnSpc>
          <a:spcPct val="95000"/>
        </a:lnSpc>
        <a:spcBef>
          <a:spcPts val="400"/>
        </a:spcBef>
        <a:spcAft>
          <a:spcPts val="0"/>
        </a:spcAft>
        <a:buClrTx/>
        <a:buSzPct val="100000"/>
        <a:buFont typeface="Arial" panose="020B0604020202020204" pitchFamily="34" charset="0"/>
        <a:buChar char="•"/>
        <a:tabLst/>
        <a:defRPr sz="1400" kern="1200">
          <a:solidFill>
            <a:schemeClr val="tx1"/>
          </a:solidFill>
          <a:latin typeface="Oracle Sans Tab Light" panose="020B0403020204020204"/>
          <a:ea typeface="+mn-ea"/>
          <a:cs typeface="Oracle Sans Tab Light" panose="020B0403020204020204"/>
        </a:defRPr>
      </a:lvl4pPr>
      <a:lvl5pPr marL="914400" marR="0" indent="-182880" algn="l" defTabSz="914400" rtl="0" eaLnBrk="1" fontAlgn="auto" latinLnBrk="0" hangingPunct="1">
        <a:lnSpc>
          <a:spcPct val="95000"/>
        </a:lnSpc>
        <a:spcBef>
          <a:spcPts val="400"/>
        </a:spcBef>
        <a:spcAft>
          <a:spcPts val="0"/>
        </a:spcAft>
        <a:buClrTx/>
        <a:buSzTx/>
        <a:buFont typeface="Oracle Sans Tab Light" panose="020B0403020204020204" pitchFamily="34" charset="0"/>
        <a:buChar char="•"/>
        <a:tabLst/>
        <a:defRPr sz="1200" kern="1200">
          <a:solidFill>
            <a:schemeClr val="tx1"/>
          </a:solidFill>
          <a:latin typeface="Oracle Sans Tab Light" panose="020B0403020204020204"/>
          <a:ea typeface="+mn-ea"/>
          <a:cs typeface="Oracle Sans Tab Light" panose="020B0403020204020204"/>
        </a:defRPr>
      </a:lvl5pPr>
      <a:lvl6pPr marL="1097280" indent="-182880" algn="l" defTabSz="914400" rtl="0" eaLnBrk="1" latinLnBrk="0" hangingPunct="1">
        <a:lnSpc>
          <a:spcPct val="95000"/>
        </a:lnSpc>
        <a:spcBef>
          <a:spcPts val="400"/>
        </a:spcBef>
        <a:spcAft>
          <a:spcPts val="0"/>
        </a:spcAft>
        <a:buSzPct val="100000"/>
        <a:buFont typeface="Arial" panose="020B0604020202020204" pitchFamily="34" charset="0"/>
        <a:buChar char="•"/>
        <a:defRPr sz="1200" b="0" i="0" kern="1200">
          <a:solidFill>
            <a:schemeClr val="tx1"/>
          </a:solidFill>
          <a:latin typeface="Oracle Sans Light" panose="020B0403020204020204" pitchFamily="34" charset="0"/>
          <a:ea typeface="+mn-ea"/>
          <a:cs typeface="Oracle Sans Light" panose="020B0403020204020204" pitchFamily="34" charset="0"/>
        </a:defRPr>
      </a:lvl6pPr>
      <a:lvl7pPr marL="1280160" indent="-182880" algn="l" defTabSz="914400" rtl="0" eaLnBrk="1" latinLnBrk="0" hangingPunct="1">
        <a:lnSpc>
          <a:spcPct val="95000"/>
        </a:lnSpc>
        <a:spcBef>
          <a:spcPts val="400"/>
        </a:spcBef>
        <a:spcAft>
          <a:spcPts val="0"/>
        </a:spcAft>
        <a:buFont typeface="Arial" panose="020B0604020202020204" pitchFamily="34" charset="0"/>
        <a:buChar char="•"/>
        <a:defRPr sz="1200" b="0" i="0" kern="1200">
          <a:solidFill>
            <a:schemeClr val="tx1"/>
          </a:solidFill>
          <a:latin typeface="Oracle Sans Light" panose="020B0403020204020204" pitchFamily="34" charset="0"/>
          <a:ea typeface="+mn-ea"/>
          <a:cs typeface="Oracle Sans Light" panose="020B0403020204020204" pitchFamily="34" charset="0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orient="horz" pos="1008">
          <p15:clr>
            <a:srgbClr val="5ACBF0"/>
          </p15:clr>
        </p15:guide>
        <p15:guide id="4" orient="horz" pos="3852">
          <p15:clr>
            <a:srgbClr val="F26B43"/>
          </p15:clr>
        </p15:guide>
        <p15:guide id="5" pos="480">
          <p15:clr>
            <a:srgbClr val="F26B43"/>
          </p15:clr>
        </p15:guide>
        <p15:guide id="6" orient="horz" pos="795">
          <p15:clr>
            <a:srgbClr val="F26B43"/>
          </p15:clr>
        </p15:guide>
        <p15:guide id="7" orient="horz" pos="590">
          <p15:clr>
            <a:srgbClr val="F26B43"/>
          </p15:clr>
        </p15:guide>
        <p15:guide id="8" pos="7212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OTag">
            <a:extLst>
              <a:ext uri="{FF2B5EF4-FFF2-40B4-BE49-F238E27FC236}">
                <a16:creationId xmlns:a16="http://schemas.microsoft.com/office/drawing/2014/main" id="{DA16EBAD-93BE-4ACF-A78F-3C1CEDB86021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PicPr>
            <a:picLocks noChangeAspect="1"/>
          </p:cNvPicPr>
          <p:nvPr userDrawn="1"/>
        </p:nvPicPr>
        <p:blipFill>
          <a:blip r:embed="rId19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83112" y="6355080"/>
            <a:ext cx="502920" cy="502920"/>
          </a:xfrm>
          <a:prstGeom prst="rect">
            <a:avLst/>
          </a:prstGeom>
        </p:spPr>
      </p:pic>
      <p:sp>
        <p:nvSpPr>
          <p:cNvPr id="2" name="Title">
            <a:extLst>
              <a:ext uri="{FF2B5EF4-FFF2-40B4-BE49-F238E27FC236}">
                <a16:creationId xmlns:a16="http://schemas.microsoft.com/office/drawing/2014/main" id="{8A70F255-3C2A-4AC7-8935-184146E3B6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8875" y="182403"/>
            <a:ext cx="10671048" cy="82296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/>
          <a:p>
            <a:pPr marL="0" lvl="0" indent="0">
              <a:spcBef>
                <a:spcPts val="1000"/>
              </a:spcBef>
              <a:buFont typeface="Arial" panose="020B0604020202020204" pitchFamily="34" charset="0"/>
            </a:pPr>
            <a:r>
              <a:rPr lang="en-US" dirty="0"/>
              <a:t>Title</a:t>
            </a:r>
          </a:p>
        </p:txBody>
      </p:sp>
      <p:sp>
        <p:nvSpPr>
          <p:cNvPr id="4" name="Text Field">
            <a:extLst>
              <a:ext uri="{FF2B5EF4-FFF2-40B4-BE49-F238E27FC236}">
                <a16:creationId xmlns:a16="http://schemas.microsoft.com/office/drawing/2014/main" id="{E46619B6-A626-4CDA-96E2-B94F4637C62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68875" y="1600200"/>
            <a:ext cx="10671048" cy="4514850"/>
          </a:xfrm>
          <a:prstGeom prst="rect">
            <a:avLst/>
          </a:prstGeom>
          <a:noFill/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08A3F6CD-49F4-D74B-8C7F-D6CA71EFB13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62000" y="6423660"/>
            <a:ext cx="365760" cy="36576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900">
                <a:solidFill>
                  <a:srgbClr val="8B8580"/>
                </a:solidFill>
              </a:defRPr>
            </a:lvl1pPr>
          </a:lstStyle>
          <a:p>
            <a:fld id="{345D60D9-5372-5F40-9443-0F9AE5BDC3C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8" name="Footer">
            <a:extLst>
              <a:ext uri="{FF2B5EF4-FFF2-40B4-BE49-F238E27FC236}">
                <a16:creationId xmlns:a16="http://schemas.microsoft.com/office/drawing/2014/main" id="{8E003242-6B91-1949-A5CA-15BA57A045C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127759" y="6423978"/>
            <a:ext cx="5745379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900">
                <a:solidFill>
                  <a:srgbClr val="8B8580"/>
                </a:solidFill>
              </a:defRPr>
            </a:lvl1pPr>
          </a:lstStyle>
          <a:p>
            <a:r>
              <a:rPr lang="en-US" smtClean="0"/>
              <a:t>Copyright © 2024, Oracle and/or its affiliates. All rights reserved  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387914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08" r:id="rId1"/>
    <p:sldLayoutId id="2147484210" r:id="rId2"/>
    <p:sldLayoutId id="2147484305" r:id="rId3"/>
    <p:sldLayoutId id="2147484306" r:id="rId4"/>
    <p:sldLayoutId id="2147484307" r:id="rId5"/>
    <p:sldLayoutId id="2147484308" r:id="rId6"/>
    <p:sldLayoutId id="2147484311" r:id="rId7"/>
    <p:sldLayoutId id="2147484312" r:id="rId8"/>
    <p:sldLayoutId id="2147484313" r:id="rId9"/>
    <p:sldLayoutId id="2147484314" r:id="rId10"/>
    <p:sldLayoutId id="2147484315" r:id="rId11"/>
    <p:sldLayoutId id="2147484316" r:id="rId12"/>
    <p:sldLayoutId id="2147484319" r:id="rId13"/>
    <p:sldLayoutId id="2147484322" r:id="rId14"/>
    <p:sldLayoutId id="2147484323" r:id="rId15"/>
    <p:sldLayoutId id="2147484324" r:id="rId16"/>
    <p:sldLayoutId id="2147484325" r:id="rId17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914400" rtl="0" eaLnBrk="1" latinLnBrk="0" hangingPunct="1">
        <a:lnSpc>
          <a:spcPct val="95000"/>
        </a:lnSpc>
        <a:spcBef>
          <a:spcPct val="0"/>
        </a:spcBef>
        <a:buNone/>
        <a:defRPr lang="en-US" sz="2400" b="1" i="0" kern="1200" baseline="0" dirty="0">
          <a:solidFill>
            <a:schemeClr val="tx1"/>
          </a:solidFill>
          <a:latin typeface="+mn-lt"/>
          <a:ea typeface="+mn-ea"/>
          <a:cs typeface="+mj-cs"/>
        </a:defRPr>
      </a:lvl1pPr>
    </p:titleStyle>
    <p:bodyStyle>
      <a:lvl1pPr marL="0" marR="0" indent="0" algn="l" defTabSz="914400" rtl="0" eaLnBrk="1" fontAlgn="auto" latinLnBrk="0" hangingPunct="1">
        <a:lnSpc>
          <a:spcPct val="95000"/>
        </a:lnSpc>
        <a:spcBef>
          <a:spcPts val="600"/>
        </a:spcBef>
        <a:spcAft>
          <a:spcPts val="0"/>
        </a:spcAft>
        <a:buClrTx/>
        <a:buSzTx/>
        <a:buFont typeface="System Font Regular"/>
        <a:buNone/>
        <a:tabLst/>
        <a:defRPr sz="1800" b="0" i="0" kern="1200">
          <a:solidFill>
            <a:schemeClr val="tx1"/>
          </a:solidFill>
          <a:latin typeface="+mn-lt"/>
          <a:ea typeface="+mn-ea"/>
          <a:cs typeface="Oracle Sans Tab" panose="020B0503020204020204" pitchFamily="34" charset="0"/>
        </a:defRPr>
      </a:lvl1pPr>
      <a:lvl2pPr marL="365760" marR="0" indent="-182880" algn="l" defTabSz="914400" rtl="0" eaLnBrk="1" fontAlgn="auto" latinLnBrk="0" hangingPunct="1">
        <a:lnSpc>
          <a:spcPct val="95000"/>
        </a:lnSpc>
        <a:spcBef>
          <a:spcPts val="600"/>
        </a:spcBef>
        <a:spcAft>
          <a:spcPts val="0"/>
        </a:spcAft>
        <a:buClr>
          <a:srgbClr val="315357"/>
        </a:buClr>
        <a:buSzPct val="100000"/>
        <a:buFont typeface="Arial" panose="020B0604020202020204" pitchFamily="34" charset="0"/>
        <a:buChar char="•"/>
        <a:tabLst/>
        <a:defRPr sz="1800" b="0" i="0" kern="1200">
          <a:solidFill>
            <a:schemeClr val="tx1"/>
          </a:solidFill>
          <a:latin typeface="+mn-lt"/>
          <a:ea typeface="+mn-ea"/>
          <a:cs typeface="Oracle Sans Tab" panose="020B0503020204020204" pitchFamily="34" charset="0"/>
        </a:defRPr>
      </a:lvl2pPr>
      <a:lvl3pPr marL="547688" marR="0" indent="-182563" algn="l" defTabSz="914400" rtl="0" eaLnBrk="1" fontAlgn="auto" latinLnBrk="0" hangingPunct="1">
        <a:lnSpc>
          <a:spcPct val="95000"/>
        </a:lnSpc>
        <a:spcBef>
          <a:spcPts val="400"/>
        </a:spcBef>
        <a:spcAft>
          <a:spcPts val="0"/>
        </a:spcAft>
        <a:buClr>
          <a:srgbClr val="315357"/>
        </a:buClr>
        <a:buSzPct val="100000"/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latin typeface="Oracle Sans Tab Light" panose="020B0403020204020204" pitchFamily="34" charset="0"/>
          <a:ea typeface="+mn-ea"/>
          <a:cs typeface="Oracle Sans Tab Light" panose="020B0403020204020204" pitchFamily="34" charset="0"/>
        </a:defRPr>
      </a:lvl3pPr>
      <a:lvl4pPr marL="730250" marR="0" indent="-182563" algn="l" defTabSz="914400" rtl="0" eaLnBrk="1" fontAlgn="auto" latinLnBrk="0" hangingPunct="1">
        <a:lnSpc>
          <a:spcPct val="95000"/>
        </a:lnSpc>
        <a:spcBef>
          <a:spcPts val="400"/>
        </a:spcBef>
        <a:spcAft>
          <a:spcPts val="0"/>
        </a:spcAft>
        <a:buClr>
          <a:srgbClr val="315357"/>
        </a:buClr>
        <a:buSzPct val="100000"/>
        <a:buFont typeface="Arial" panose="020B0604020202020204" pitchFamily="34" charset="0"/>
        <a:buChar char="•"/>
        <a:tabLst/>
        <a:defRPr sz="1400" kern="1200">
          <a:solidFill>
            <a:schemeClr val="tx1"/>
          </a:solidFill>
          <a:latin typeface="Oracle Sans Tab Light" panose="020B0403020204020204" pitchFamily="34" charset="0"/>
          <a:ea typeface="+mn-ea"/>
          <a:cs typeface="Oracle Sans Tab Light" panose="020B0403020204020204" pitchFamily="34" charset="0"/>
        </a:defRPr>
      </a:lvl4pPr>
      <a:lvl5pPr marL="914400" marR="0" indent="-182880" algn="l" defTabSz="914400" rtl="0" eaLnBrk="1" fontAlgn="auto" latinLnBrk="0" hangingPunct="1">
        <a:lnSpc>
          <a:spcPct val="95000"/>
        </a:lnSpc>
        <a:spcBef>
          <a:spcPts val="400"/>
        </a:spcBef>
        <a:spcAft>
          <a:spcPts val="0"/>
        </a:spcAft>
        <a:buClr>
          <a:srgbClr val="315357"/>
        </a:buClr>
        <a:buSzTx/>
        <a:buFont typeface="System Font Regular"/>
        <a:buChar char="•"/>
        <a:tabLst/>
        <a:defRPr sz="1200" kern="1200">
          <a:solidFill>
            <a:schemeClr val="tx1"/>
          </a:solidFill>
          <a:latin typeface="Oracle Sans Tab Light" panose="020B0403020204020204" pitchFamily="34" charset="0"/>
          <a:ea typeface="+mn-ea"/>
          <a:cs typeface="Oracle Sans Tab Light" panose="020B0403020204020204" pitchFamily="34" charset="0"/>
        </a:defRPr>
      </a:lvl5pPr>
      <a:lvl6pPr marL="1097280" indent="-182880" algn="l" defTabSz="914400" rtl="0" eaLnBrk="1" latinLnBrk="0" hangingPunct="1">
        <a:lnSpc>
          <a:spcPct val="95000"/>
        </a:lnSpc>
        <a:spcBef>
          <a:spcPts val="400"/>
        </a:spcBef>
        <a:spcAft>
          <a:spcPts val="0"/>
        </a:spcAft>
        <a:buSzPct val="100000"/>
        <a:buFont typeface="Arial" panose="020B0604020202020204" pitchFamily="34" charset="0"/>
        <a:buChar char="•"/>
        <a:defRPr sz="1200" b="0" i="0" kern="1200">
          <a:solidFill>
            <a:schemeClr val="tx1"/>
          </a:solidFill>
          <a:latin typeface="Oracle Sans Light" panose="020B0403020204020204" pitchFamily="34" charset="0"/>
          <a:ea typeface="+mn-ea"/>
          <a:cs typeface="Oracle Sans Light" panose="020B0403020204020204" pitchFamily="34" charset="0"/>
        </a:defRPr>
      </a:lvl6pPr>
      <a:lvl7pPr marL="1280160" indent="-182880" algn="l" defTabSz="914400" rtl="0" eaLnBrk="1" latinLnBrk="0" hangingPunct="1">
        <a:lnSpc>
          <a:spcPct val="95000"/>
        </a:lnSpc>
        <a:spcBef>
          <a:spcPts val="400"/>
        </a:spcBef>
        <a:spcAft>
          <a:spcPts val="0"/>
        </a:spcAft>
        <a:buFont typeface="Arial" panose="020B0604020202020204" pitchFamily="34" charset="0"/>
        <a:buChar char="•"/>
        <a:defRPr sz="1200" b="0" i="0" kern="1200">
          <a:solidFill>
            <a:schemeClr val="tx1"/>
          </a:solidFill>
          <a:latin typeface="Oracle Sans Light" panose="020B0403020204020204" pitchFamily="34" charset="0"/>
          <a:ea typeface="+mn-ea"/>
          <a:cs typeface="Oracle Sans Light" panose="020B0403020204020204" pitchFamily="34" charset="0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orient="horz" pos="1008">
          <p15:clr>
            <a:srgbClr val="F26B43"/>
          </p15:clr>
        </p15:guide>
        <p15:guide id="4" orient="horz" pos="3852">
          <p15:clr>
            <a:srgbClr val="F26B43"/>
          </p15:clr>
        </p15:guide>
        <p15:guide id="5" pos="480">
          <p15:clr>
            <a:srgbClr val="F26B43"/>
          </p15:clr>
        </p15:guide>
        <p15:guide id="6" orient="horz" pos="795">
          <p15:clr>
            <a:srgbClr val="F26B43"/>
          </p15:clr>
        </p15:guide>
        <p15:guide id="7" orient="horz" pos="590">
          <p15:clr>
            <a:srgbClr val="F26B43"/>
          </p15:clr>
        </p15:guide>
        <p15:guide id="8" pos="7212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OTag">
            <a:extLst>
              <a:ext uri="{FF2B5EF4-FFF2-40B4-BE49-F238E27FC236}">
                <a16:creationId xmlns:a16="http://schemas.microsoft.com/office/drawing/2014/main" id="{DA16EBAD-93BE-4ACF-A78F-3C1CEDB86021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83112" y="6355080"/>
            <a:ext cx="502920" cy="502920"/>
          </a:xfrm>
          <a:prstGeom prst="rect">
            <a:avLst/>
          </a:prstGeom>
        </p:spPr>
      </p:pic>
      <p:sp>
        <p:nvSpPr>
          <p:cNvPr id="2" name="Title">
            <a:extLst>
              <a:ext uri="{FF2B5EF4-FFF2-40B4-BE49-F238E27FC236}">
                <a16:creationId xmlns:a16="http://schemas.microsoft.com/office/drawing/2014/main" id="{8A70F255-3C2A-4AC7-8935-184146E3B6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8875" y="182403"/>
            <a:ext cx="10671048" cy="82296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/>
          <a:p>
            <a:pPr marL="0" lvl="0" indent="0">
              <a:spcBef>
                <a:spcPts val="1000"/>
              </a:spcBef>
              <a:buFont typeface="Arial" panose="020B0604020202020204" pitchFamily="34" charset="0"/>
            </a:pPr>
            <a:r>
              <a:rPr lang="en-US" dirty="0"/>
              <a:t>Title</a:t>
            </a:r>
          </a:p>
        </p:txBody>
      </p:sp>
      <p:sp>
        <p:nvSpPr>
          <p:cNvPr id="4" name="Text Field">
            <a:extLst>
              <a:ext uri="{FF2B5EF4-FFF2-40B4-BE49-F238E27FC236}">
                <a16:creationId xmlns:a16="http://schemas.microsoft.com/office/drawing/2014/main" id="{E46619B6-A626-4CDA-96E2-B94F4637C62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68875" y="1600200"/>
            <a:ext cx="10671048" cy="4514850"/>
          </a:xfrm>
          <a:prstGeom prst="rect">
            <a:avLst/>
          </a:prstGeom>
          <a:noFill/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08A3F6CD-49F4-D74B-8C7F-D6CA71EFB13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62000" y="6423660"/>
            <a:ext cx="365760" cy="36576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900">
                <a:solidFill>
                  <a:srgbClr val="8B8580"/>
                </a:solidFill>
              </a:defRPr>
            </a:lvl1pPr>
          </a:lstStyle>
          <a:p>
            <a:fld id="{345D60D9-5372-5F40-9443-0F9AE5BDC3C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8" name="Footer">
            <a:extLst>
              <a:ext uri="{FF2B5EF4-FFF2-40B4-BE49-F238E27FC236}">
                <a16:creationId xmlns:a16="http://schemas.microsoft.com/office/drawing/2014/main" id="{8E003242-6B91-1949-A5CA-15BA57A045C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127759" y="6423978"/>
            <a:ext cx="5745379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900">
                <a:solidFill>
                  <a:srgbClr val="8B8580"/>
                </a:solidFill>
              </a:defRPr>
            </a:lvl1pPr>
          </a:lstStyle>
          <a:p>
            <a:r>
              <a:rPr lang="en-US" smtClean="0"/>
              <a:t>Copyright © 2024, Oracle and/or its affiliates. All rights reserved   </a:t>
            </a:r>
            <a:endParaRPr lang="en-US" dirty="0"/>
          </a:p>
        </p:txBody>
      </p:sp>
      <p:sp>
        <p:nvSpPr>
          <p:cNvPr id="20" name="Date">
            <a:extLst>
              <a:ext uri="{FF2B5EF4-FFF2-40B4-BE49-F238E27FC236}">
                <a16:creationId xmlns:a16="http://schemas.microsoft.com/office/drawing/2014/main" id="{65BA88F5-EF53-415B-8446-19188BE675D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873138" y="6425604"/>
            <a:ext cx="2743200" cy="3635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>
              <a:defRPr lang="en-US" sz="900" smtClean="0">
                <a:solidFill>
                  <a:srgbClr val="8B8580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433420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16" r:id="rId1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914400" rtl="0" eaLnBrk="1" latinLnBrk="0" hangingPunct="1">
        <a:lnSpc>
          <a:spcPct val="95000"/>
        </a:lnSpc>
        <a:spcBef>
          <a:spcPct val="0"/>
        </a:spcBef>
        <a:buNone/>
        <a:defRPr lang="en-US" sz="2400" b="1" i="0" kern="1200" baseline="0" dirty="0">
          <a:solidFill>
            <a:schemeClr val="tx1"/>
          </a:solidFill>
          <a:latin typeface="+mn-lt"/>
          <a:ea typeface="+mn-ea"/>
          <a:cs typeface="+mj-cs"/>
        </a:defRPr>
      </a:lvl1pPr>
    </p:titleStyle>
    <p:bodyStyle>
      <a:lvl1pPr marL="0" marR="0" indent="0" algn="l" defTabSz="914400" rtl="0" eaLnBrk="1" fontAlgn="auto" latinLnBrk="0" hangingPunct="1">
        <a:lnSpc>
          <a:spcPct val="95000"/>
        </a:lnSpc>
        <a:spcBef>
          <a:spcPts val="600"/>
        </a:spcBef>
        <a:spcAft>
          <a:spcPts val="0"/>
        </a:spcAft>
        <a:buClrTx/>
        <a:buSzTx/>
        <a:buFont typeface="System Font Regular"/>
        <a:buNone/>
        <a:tabLst/>
        <a:defRPr sz="1800" b="0" i="0" kern="1200">
          <a:solidFill>
            <a:schemeClr val="tx1"/>
          </a:solidFill>
          <a:latin typeface="+mn-lt"/>
          <a:ea typeface="+mn-ea"/>
          <a:cs typeface="Oracle Sans Tab" panose="020B0503020204020204" pitchFamily="34" charset="0"/>
        </a:defRPr>
      </a:lvl1pPr>
      <a:lvl2pPr marL="365760" marR="0" indent="-182880" algn="l" defTabSz="914400" rtl="0" eaLnBrk="1" fontAlgn="auto" latinLnBrk="0" hangingPunct="1">
        <a:lnSpc>
          <a:spcPct val="95000"/>
        </a:lnSpc>
        <a:spcBef>
          <a:spcPts val="600"/>
        </a:spcBef>
        <a:spcAft>
          <a:spcPts val="0"/>
        </a:spcAft>
        <a:buClrTx/>
        <a:buSzPct val="100000"/>
        <a:buFont typeface="Arial" panose="020B0604020202020204" pitchFamily="34" charset="0"/>
        <a:buChar char="•"/>
        <a:tabLst/>
        <a:defRPr sz="1800" b="0" i="0" kern="1200">
          <a:solidFill>
            <a:schemeClr val="tx1"/>
          </a:solidFill>
          <a:latin typeface="+mn-lt"/>
          <a:ea typeface="+mn-ea"/>
          <a:cs typeface="Oracle Sans Tab" panose="020B0503020204020204" pitchFamily="34" charset="0"/>
        </a:defRPr>
      </a:lvl2pPr>
      <a:lvl3pPr marL="547688" marR="0" indent="-182563" algn="l" defTabSz="914400" rtl="0" eaLnBrk="1" fontAlgn="auto" latinLnBrk="0" hangingPunct="1">
        <a:lnSpc>
          <a:spcPct val="95000"/>
        </a:lnSpc>
        <a:spcBef>
          <a:spcPts val="400"/>
        </a:spcBef>
        <a:spcAft>
          <a:spcPts val="0"/>
        </a:spcAft>
        <a:buClrTx/>
        <a:buSzPct val="100000"/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latin typeface="Oracle Sans Tab Light" panose="020B0403020204020204" pitchFamily="34" charset="0"/>
          <a:ea typeface="+mn-ea"/>
          <a:cs typeface="Oracle Sans Tab Light" panose="020B0403020204020204" pitchFamily="34" charset="0"/>
        </a:defRPr>
      </a:lvl3pPr>
      <a:lvl4pPr marL="730250" marR="0" indent="-182563" algn="l" defTabSz="914400" rtl="0" eaLnBrk="1" fontAlgn="auto" latinLnBrk="0" hangingPunct="1">
        <a:lnSpc>
          <a:spcPct val="95000"/>
        </a:lnSpc>
        <a:spcBef>
          <a:spcPts val="400"/>
        </a:spcBef>
        <a:spcAft>
          <a:spcPts val="0"/>
        </a:spcAft>
        <a:buClrTx/>
        <a:buSzPct val="100000"/>
        <a:buFont typeface="Arial" panose="020B0604020202020204" pitchFamily="34" charset="0"/>
        <a:buChar char="•"/>
        <a:tabLst/>
        <a:defRPr sz="1400" kern="1200">
          <a:solidFill>
            <a:schemeClr val="tx1"/>
          </a:solidFill>
          <a:latin typeface="Oracle Sans Tab Light" panose="020B0403020204020204" pitchFamily="34" charset="0"/>
          <a:ea typeface="+mn-ea"/>
          <a:cs typeface="Oracle Sans Tab Light" panose="020B0403020204020204" pitchFamily="34" charset="0"/>
        </a:defRPr>
      </a:lvl4pPr>
      <a:lvl5pPr marL="914400" marR="0" indent="-182880" algn="l" defTabSz="914400" rtl="0" eaLnBrk="1" fontAlgn="auto" latinLnBrk="0" hangingPunct="1">
        <a:lnSpc>
          <a:spcPct val="95000"/>
        </a:lnSpc>
        <a:spcBef>
          <a:spcPts val="400"/>
        </a:spcBef>
        <a:spcAft>
          <a:spcPts val="0"/>
        </a:spcAft>
        <a:buClrTx/>
        <a:buSzTx/>
        <a:buFont typeface="System Font Regular"/>
        <a:buChar char="•"/>
        <a:tabLst/>
        <a:defRPr sz="1200" kern="1200">
          <a:solidFill>
            <a:schemeClr val="tx1"/>
          </a:solidFill>
          <a:latin typeface="Oracle Sans Tab Light" panose="020B0403020204020204" pitchFamily="34" charset="0"/>
          <a:ea typeface="+mn-ea"/>
          <a:cs typeface="Oracle Sans Tab Light" panose="020B0403020204020204" pitchFamily="34" charset="0"/>
        </a:defRPr>
      </a:lvl5pPr>
      <a:lvl6pPr marL="1097280" indent="-182880" algn="l" defTabSz="914400" rtl="0" eaLnBrk="1" latinLnBrk="0" hangingPunct="1">
        <a:lnSpc>
          <a:spcPct val="95000"/>
        </a:lnSpc>
        <a:spcBef>
          <a:spcPts val="400"/>
        </a:spcBef>
        <a:spcAft>
          <a:spcPts val="0"/>
        </a:spcAft>
        <a:buSzPct val="100000"/>
        <a:buFont typeface="Arial" panose="020B0604020202020204" pitchFamily="34" charset="0"/>
        <a:buChar char="•"/>
        <a:defRPr sz="1200" b="0" i="0" kern="1200">
          <a:solidFill>
            <a:schemeClr val="tx1"/>
          </a:solidFill>
          <a:latin typeface="Oracle Sans Light" panose="020B0403020204020204" pitchFamily="34" charset="0"/>
          <a:ea typeface="+mn-ea"/>
          <a:cs typeface="Oracle Sans Light" panose="020B0403020204020204" pitchFamily="34" charset="0"/>
        </a:defRPr>
      </a:lvl6pPr>
      <a:lvl7pPr marL="1280160" indent="-182880" algn="l" defTabSz="914400" rtl="0" eaLnBrk="1" latinLnBrk="0" hangingPunct="1">
        <a:lnSpc>
          <a:spcPct val="95000"/>
        </a:lnSpc>
        <a:spcBef>
          <a:spcPts val="400"/>
        </a:spcBef>
        <a:spcAft>
          <a:spcPts val="0"/>
        </a:spcAft>
        <a:buFont typeface="Arial" panose="020B0604020202020204" pitchFamily="34" charset="0"/>
        <a:buChar char="•"/>
        <a:defRPr sz="1200" b="0" i="0" kern="1200">
          <a:solidFill>
            <a:schemeClr val="tx1"/>
          </a:solidFill>
          <a:latin typeface="Oracle Sans Light" panose="020B0403020204020204" pitchFamily="34" charset="0"/>
          <a:ea typeface="+mn-ea"/>
          <a:cs typeface="Oracle Sans Light" panose="020B0403020204020204" pitchFamily="34" charset="0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orient="horz" pos="1008">
          <p15:clr>
            <a:srgbClr val="F26B43"/>
          </p15:clr>
        </p15:guide>
        <p15:guide id="4" orient="horz" pos="3852">
          <p15:clr>
            <a:srgbClr val="F26B43"/>
          </p15:clr>
        </p15:guide>
        <p15:guide id="5" pos="480">
          <p15:clr>
            <a:srgbClr val="F26B43"/>
          </p15:clr>
        </p15:guide>
        <p15:guide id="6" orient="horz" pos="795">
          <p15:clr>
            <a:srgbClr val="F26B43"/>
          </p15:clr>
        </p15:guide>
        <p15:guide id="7" orient="horz" pos="590">
          <p15:clr>
            <a:srgbClr val="F26B43"/>
          </p15:clr>
        </p15:guide>
        <p15:guide id="8" pos="7212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OTag">
            <a:extLst>
              <a:ext uri="{FF2B5EF4-FFF2-40B4-BE49-F238E27FC236}">
                <a16:creationId xmlns:a16="http://schemas.microsoft.com/office/drawing/2014/main" id="{DA16EBAD-93BE-4ACF-A78F-3C1CEDB86021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83112" y="6355080"/>
            <a:ext cx="502920" cy="502920"/>
          </a:xfrm>
          <a:prstGeom prst="rect">
            <a:avLst/>
          </a:prstGeom>
        </p:spPr>
      </p:pic>
      <p:sp>
        <p:nvSpPr>
          <p:cNvPr id="2" name="Title">
            <a:extLst>
              <a:ext uri="{FF2B5EF4-FFF2-40B4-BE49-F238E27FC236}">
                <a16:creationId xmlns:a16="http://schemas.microsoft.com/office/drawing/2014/main" id="{8A70F255-3C2A-4AC7-8935-184146E3B6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8875" y="182403"/>
            <a:ext cx="10671048" cy="82296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/>
          <a:p>
            <a:pPr marL="0" lvl="0" indent="0">
              <a:spcBef>
                <a:spcPts val="1000"/>
              </a:spcBef>
              <a:buFont typeface="Arial" panose="020B0604020202020204" pitchFamily="34" charset="0"/>
            </a:pPr>
            <a:r>
              <a:rPr lang="en-US" dirty="0"/>
              <a:t>Title</a:t>
            </a:r>
          </a:p>
        </p:txBody>
      </p:sp>
      <p:sp>
        <p:nvSpPr>
          <p:cNvPr id="4" name="Text Field">
            <a:extLst>
              <a:ext uri="{FF2B5EF4-FFF2-40B4-BE49-F238E27FC236}">
                <a16:creationId xmlns:a16="http://schemas.microsoft.com/office/drawing/2014/main" id="{E46619B6-A626-4CDA-96E2-B94F4637C62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68875" y="1600200"/>
            <a:ext cx="10671048" cy="4514850"/>
          </a:xfrm>
          <a:prstGeom prst="rect">
            <a:avLst/>
          </a:prstGeom>
          <a:noFill/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08A3F6CD-49F4-D74B-8C7F-D6CA71EFB13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62000" y="6423660"/>
            <a:ext cx="365760" cy="36576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900">
                <a:solidFill>
                  <a:srgbClr val="8B8580"/>
                </a:solidFill>
              </a:defRPr>
            </a:lvl1pPr>
          </a:lstStyle>
          <a:p>
            <a:fld id="{345D60D9-5372-5F40-9443-0F9AE5BDC3C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8" name="Footer">
            <a:extLst>
              <a:ext uri="{FF2B5EF4-FFF2-40B4-BE49-F238E27FC236}">
                <a16:creationId xmlns:a16="http://schemas.microsoft.com/office/drawing/2014/main" id="{8E003242-6B91-1949-A5CA-15BA57A045C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127759" y="6423978"/>
            <a:ext cx="5745379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900">
                <a:solidFill>
                  <a:srgbClr val="8B8580"/>
                </a:solidFill>
              </a:defRPr>
            </a:lvl1pPr>
          </a:lstStyle>
          <a:p>
            <a:r>
              <a:rPr lang="en-US" smtClean="0"/>
              <a:t>Copyright © 2024, Oracle and/or its affiliates. All rights reserved  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122867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97" r:id="rId1"/>
    <p:sldLayoutId id="2147484298" r:id="rId2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914400" rtl="0" eaLnBrk="1" latinLnBrk="0" hangingPunct="1">
        <a:lnSpc>
          <a:spcPct val="95000"/>
        </a:lnSpc>
        <a:spcBef>
          <a:spcPct val="0"/>
        </a:spcBef>
        <a:buNone/>
        <a:defRPr lang="en-US" sz="2400" b="1" i="0" kern="1200" baseline="0" dirty="0">
          <a:solidFill>
            <a:schemeClr val="tx1"/>
          </a:solidFill>
          <a:latin typeface="+mn-lt"/>
          <a:ea typeface="+mn-ea"/>
          <a:cs typeface="+mj-cs"/>
        </a:defRPr>
      </a:lvl1pPr>
    </p:titleStyle>
    <p:bodyStyle>
      <a:lvl1pPr marL="0" marR="0" indent="0" algn="l" defTabSz="914400" rtl="0" eaLnBrk="1" fontAlgn="auto" latinLnBrk="0" hangingPunct="1">
        <a:lnSpc>
          <a:spcPct val="95000"/>
        </a:lnSpc>
        <a:spcBef>
          <a:spcPts val="600"/>
        </a:spcBef>
        <a:spcAft>
          <a:spcPts val="0"/>
        </a:spcAft>
        <a:buClrTx/>
        <a:buSzTx/>
        <a:buFont typeface="System Font Regular"/>
        <a:buNone/>
        <a:tabLst/>
        <a:defRPr sz="1800" b="0" i="0" kern="1200">
          <a:solidFill>
            <a:schemeClr val="tx1"/>
          </a:solidFill>
          <a:latin typeface="+mn-lt"/>
          <a:ea typeface="+mn-ea"/>
          <a:cs typeface="Oracle Sans Tab" panose="020B0503020204020204" pitchFamily="34" charset="0"/>
        </a:defRPr>
      </a:lvl1pPr>
      <a:lvl2pPr marL="365760" marR="0" indent="-182880" algn="l" defTabSz="914400" rtl="0" eaLnBrk="1" fontAlgn="auto" latinLnBrk="0" hangingPunct="1">
        <a:lnSpc>
          <a:spcPct val="95000"/>
        </a:lnSpc>
        <a:spcBef>
          <a:spcPts val="600"/>
        </a:spcBef>
        <a:spcAft>
          <a:spcPts val="0"/>
        </a:spcAft>
        <a:buClr>
          <a:srgbClr val="315357"/>
        </a:buClr>
        <a:buSzPct val="100000"/>
        <a:buFont typeface="Arial" panose="020B0604020202020204" pitchFamily="34" charset="0"/>
        <a:buChar char="•"/>
        <a:tabLst/>
        <a:defRPr sz="1800" b="0" i="0" kern="1200">
          <a:solidFill>
            <a:schemeClr val="tx1"/>
          </a:solidFill>
          <a:latin typeface="+mn-lt"/>
          <a:ea typeface="+mn-ea"/>
          <a:cs typeface="Oracle Sans Tab" panose="020B0503020204020204" pitchFamily="34" charset="0"/>
        </a:defRPr>
      </a:lvl2pPr>
      <a:lvl3pPr marL="547688" marR="0" indent="-182563" algn="l" defTabSz="914400" rtl="0" eaLnBrk="1" fontAlgn="auto" latinLnBrk="0" hangingPunct="1">
        <a:lnSpc>
          <a:spcPct val="95000"/>
        </a:lnSpc>
        <a:spcBef>
          <a:spcPts val="400"/>
        </a:spcBef>
        <a:spcAft>
          <a:spcPts val="0"/>
        </a:spcAft>
        <a:buClr>
          <a:srgbClr val="315357"/>
        </a:buClr>
        <a:buSzPct val="100000"/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latin typeface="Oracle Sans Tab Light" panose="020B0403020204020204" pitchFamily="34" charset="0"/>
          <a:ea typeface="+mn-ea"/>
          <a:cs typeface="Oracle Sans Tab Light" panose="020B0403020204020204" pitchFamily="34" charset="0"/>
        </a:defRPr>
      </a:lvl3pPr>
      <a:lvl4pPr marL="730250" marR="0" indent="-182563" algn="l" defTabSz="914400" rtl="0" eaLnBrk="1" fontAlgn="auto" latinLnBrk="0" hangingPunct="1">
        <a:lnSpc>
          <a:spcPct val="95000"/>
        </a:lnSpc>
        <a:spcBef>
          <a:spcPts val="400"/>
        </a:spcBef>
        <a:spcAft>
          <a:spcPts val="0"/>
        </a:spcAft>
        <a:buClr>
          <a:srgbClr val="315357"/>
        </a:buClr>
        <a:buSzPct val="100000"/>
        <a:buFont typeface="Arial" panose="020B0604020202020204" pitchFamily="34" charset="0"/>
        <a:buChar char="•"/>
        <a:tabLst/>
        <a:defRPr sz="1400" kern="1200">
          <a:solidFill>
            <a:schemeClr val="tx1"/>
          </a:solidFill>
          <a:latin typeface="Oracle Sans Tab Light" panose="020B0403020204020204" pitchFamily="34" charset="0"/>
          <a:ea typeface="+mn-ea"/>
          <a:cs typeface="Oracle Sans Tab Light" panose="020B0403020204020204" pitchFamily="34" charset="0"/>
        </a:defRPr>
      </a:lvl4pPr>
      <a:lvl5pPr marL="914400" marR="0" indent="-182880" algn="l" defTabSz="914400" rtl="0" eaLnBrk="1" fontAlgn="auto" latinLnBrk="0" hangingPunct="1">
        <a:lnSpc>
          <a:spcPct val="95000"/>
        </a:lnSpc>
        <a:spcBef>
          <a:spcPts val="400"/>
        </a:spcBef>
        <a:spcAft>
          <a:spcPts val="0"/>
        </a:spcAft>
        <a:buClr>
          <a:srgbClr val="315357"/>
        </a:buClr>
        <a:buSzTx/>
        <a:buFont typeface="System Font Regular"/>
        <a:buChar char="•"/>
        <a:tabLst/>
        <a:defRPr sz="1200" kern="1200">
          <a:solidFill>
            <a:schemeClr val="tx1"/>
          </a:solidFill>
          <a:latin typeface="Oracle Sans Tab Light" panose="020B0403020204020204" pitchFamily="34" charset="0"/>
          <a:ea typeface="+mn-ea"/>
          <a:cs typeface="Oracle Sans Tab Light" panose="020B0403020204020204" pitchFamily="34" charset="0"/>
        </a:defRPr>
      </a:lvl5pPr>
      <a:lvl6pPr marL="1097280" indent="-182880" algn="l" defTabSz="914400" rtl="0" eaLnBrk="1" latinLnBrk="0" hangingPunct="1">
        <a:lnSpc>
          <a:spcPct val="95000"/>
        </a:lnSpc>
        <a:spcBef>
          <a:spcPts val="400"/>
        </a:spcBef>
        <a:spcAft>
          <a:spcPts val="0"/>
        </a:spcAft>
        <a:buSzPct val="100000"/>
        <a:buFont typeface="Arial" panose="020B0604020202020204" pitchFamily="34" charset="0"/>
        <a:buChar char="•"/>
        <a:defRPr sz="1200" b="0" i="0" kern="1200">
          <a:solidFill>
            <a:schemeClr val="tx1"/>
          </a:solidFill>
          <a:latin typeface="Oracle Sans Light" panose="020B0403020204020204" pitchFamily="34" charset="0"/>
          <a:ea typeface="+mn-ea"/>
          <a:cs typeface="Oracle Sans Light" panose="020B0403020204020204" pitchFamily="34" charset="0"/>
        </a:defRPr>
      </a:lvl6pPr>
      <a:lvl7pPr marL="1280160" indent="-182880" algn="l" defTabSz="914400" rtl="0" eaLnBrk="1" latinLnBrk="0" hangingPunct="1">
        <a:lnSpc>
          <a:spcPct val="95000"/>
        </a:lnSpc>
        <a:spcBef>
          <a:spcPts val="400"/>
        </a:spcBef>
        <a:spcAft>
          <a:spcPts val="0"/>
        </a:spcAft>
        <a:buFont typeface="Arial" panose="020B0604020202020204" pitchFamily="34" charset="0"/>
        <a:buChar char="•"/>
        <a:defRPr sz="1200" b="0" i="0" kern="1200">
          <a:solidFill>
            <a:schemeClr val="tx1"/>
          </a:solidFill>
          <a:latin typeface="Oracle Sans Light" panose="020B0403020204020204" pitchFamily="34" charset="0"/>
          <a:ea typeface="+mn-ea"/>
          <a:cs typeface="Oracle Sans Light" panose="020B0403020204020204" pitchFamily="34" charset="0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orient="horz" pos="1008">
          <p15:clr>
            <a:srgbClr val="F26B43"/>
          </p15:clr>
        </p15:guide>
        <p15:guide id="4" orient="horz" pos="3852">
          <p15:clr>
            <a:srgbClr val="F26B43"/>
          </p15:clr>
        </p15:guide>
        <p15:guide id="5" pos="480">
          <p15:clr>
            <a:srgbClr val="F26B43"/>
          </p15:clr>
        </p15:guide>
        <p15:guide id="6" orient="horz" pos="795">
          <p15:clr>
            <a:srgbClr val="F26B43"/>
          </p15:clr>
        </p15:guide>
        <p15:guide id="7" orient="horz" pos="590">
          <p15:clr>
            <a:srgbClr val="F26B43"/>
          </p15:clr>
        </p15:guide>
        <p15:guide id="8" pos="7212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4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4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4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31.png"/><Relationship Id="rId5" Type="http://schemas.openxmlformats.org/officeDocument/2006/relationships/image" Target="../media/image30.png"/><Relationship Id="rId4" Type="http://schemas.openxmlformats.org/officeDocument/2006/relationships/image" Target="../media/image29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22.xml"/><Relationship Id="rId6" Type="http://schemas.openxmlformats.org/officeDocument/2006/relationships/image" Target="../media/image36.jpeg"/><Relationship Id="rId5" Type="http://schemas.openxmlformats.org/officeDocument/2006/relationships/image" Target="../media/image35.jpeg"/><Relationship Id="rId4" Type="http://schemas.openxmlformats.org/officeDocument/2006/relationships/image" Target="../media/image34.pn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7.png"/><Relationship Id="rId3" Type="http://schemas.openxmlformats.org/officeDocument/2006/relationships/image" Target="../media/image32.png"/><Relationship Id="rId7" Type="http://schemas.openxmlformats.org/officeDocument/2006/relationships/image" Target="../media/image36.jpe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2.xml"/><Relationship Id="rId6" Type="http://schemas.openxmlformats.org/officeDocument/2006/relationships/image" Target="../media/image35.jpeg"/><Relationship Id="rId5" Type="http://schemas.openxmlformats.org/officeDocument/2006/relationships/image" Target="../media/image34.png"/><Relationship Id="rId4" Type="http://schemas.openxmlformats.org/officeDocument/2006/relationships/image" Target="../media/image33.png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5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401.xml"/></Relationships>
</file>

<file path=ppt/slides/_rels/slide19.xml.rels><?xml version="1.0" encoding="UTF-8" standalone="yes"?>
<Relationships xmlns="http://schemas.openxmlformats.org/package/2006/relationships"><Relationship Id="rId13" Type="http://schemas.openxmlformats.org/officeDocument/2006/relationships/image" Target="../media/image44.png"/><Relationship Id="rId18" Type="http://schemas.openxmlformats.org/officeDocument/2006/relationships/image" Target="../media/image177.svg"/><Relationship Id="rId26" Type="http://schemas.openxmlformats.org/officeDocument/2006/relationships/image" Target="../media/image185.svg"/><Relationship Id="rId39" Type="http://schemas.openxmlformats.org/officeDocument/2006/relationships/image" Target="../media/image57.png"/><Relationship Id="rId21" Type="http://schemas.openxmlformats.org/officeDocument/2006/relationships/image" Target="../media/image48.png"/><Relationship Id="rId34" Type="http://schemas.openxmlformats.org/officeDocument/2006/relationships/image" Target="../media/image193.svg"/><Relationship Id="rId42" Type="http://schemas.openxmlformats.org/officeDocument/2006/relationships/image" Target="../media/image201.svg"/><Relationship Id="rId47" Type="http://schemas.openxmlformats.org/officeDocument/2006/relationships/image" Target="../media/image61.png"/><Relationship Id="rId50" Type="http://schemas.openxmlformats.org/officeDocument/2006/relationships/image" Target="../media/image209.svg"/><Relationship Id="rId55" Type="http://schemas.openxmlformats.org/officeDocument/2006/relationships/image" Target="../media/image65.png"/><Relationship Id="rId63" Type="http://schemas.openxmlformats.org/officeDocument/2006/relationships/image" Target="../media/image69.png"/><Relationship Id="rId68" Type="http://schemas.openxmlformats.org/officeDocument/2006/relationships/image" Target="../media/image227.svg"/><Relationship Id="rId76" Type="http://schemas.openxmlformats.org/officeDocument/2006/relationships/image" Target="../media/image235.svg"/><Relationship Id="rId84" Type="http://schemas.openxmlformats.org/officeDocument/2006/relationships/image" Target="../media/image243.svg"/><Relationship Id="rId89" Type="http://schemas.openxmlformats.org/officeDocument/2006/relationships/image" Target="../media/image248.svg"/><Relationship Id="rId7" Type="http://schemas.openxmlformats.org/officeDocument/2006/relationships/image" Target="../media/image41.png"/><Relationship Id="rId71" Type="http://schemas.openxmlformats.org/officeDocument/2006/relationships/image" Target="../media/image73.png"/><Relationship Id="rId92" Type="http://schemas.openxmlformats.org/officeDocument/2006/relationships/image" Target="../media/image251.svg"/><Relationship Id="rId2" Type="http://schemas.openxmlformats.org/officeDocument/2006/relationships/notesSlide" Target="../notesSlides/notesSlide15.xml"/><Relationship Id="rId16" Type="http://schemas.openxmlformats.org/officeDocument/2006/relationships/image" Target="../media/image175.svg"/><Relationship Id="rId29" Type="http://schemas.openxmlformats.org/officeDocument/2006/relationships/image" Target="../media/image52.png"/><Relationship Id="rId11" Type="http://schemas.openxmlformats.org/officeDocument/2006/relationships/image" Target="../media/image43.png"/><Relationship Id="rId24" Type="http://schemas.openxmlformats.org/officeDocument/2006/relationships/image" Target="../media/image183.svg"/><Relationship Id="rId32" Type="http://schemas.openxmlformats.org/officeDocument/2006/relationships/image" Target="../media/image191.svg"/><Relationship Id="rId37" Type="http://schemas.openxmlformats.org/officeDocument/2006/relationships/image" Target="../media/image56.png"/><Relationship Id="rId40" Type="http://schemas.openxmlformats.org/officeDocument/2006/relationships/image" Target="../media/image199.svg"/><Relationship Id="rId45" Type="http://schemas.openxmlformats.org/officeDocument/2006/relationships/image" Target="../media/image60.png"/><Relationship Id="rId53" Type="http://schemas.openxmlformats.org/officeDocument/2006/relationships/image" Target="../media/image64.png"/><Relationship Id="rId58" Type="http://schemas.openxmlformats.org/officeDocument/2006/relationships/image" Target="../media/image217.svg"/><Relationship Id="rId66" Type="http://schemas.openxmlformats.org/officeDocument/2006/relationships/image" Target="../media/image225.svg"/><Relationship Id="rId74" Type="http://schemas.openxmlformats.org/officeDocument/2006/relationships/image" Target="../media/image233.svg"/><Relationship Id="rId79" Type="http://schemas.openxmlformats.org/officeDocument/2006/relationships/image" Target="../media/image77.png"/><Relationship Id="rId87" Type="http://schemas.openxmlformats.org/officeDocument/2006/relationships/image" Target="../media/image81.png"/><Relationship Id="rId5" Type="http://schemas.openxmlformats.org/officeDocument/2006/relationships/image" Target="../media/image40.png"/><Relationship Id="rId61" Type="http://schemas.openxmlformats.org/officeDocument/2006/relationships/image" Target="../media/image68.png"/><Relationship Id="rId82" Type="http://schemas.openxmlformats.org/officeDocument/2006/relationships/image" Target="../media/image241.svg"/><Relationship Id="rId90" Type="http://schemas.openxmlformats.org/officeDocument/2006/relationships/image" Target="../media/image249.svg"/><Relationship Id="rId95" Type="http://schemas.openxmlformats.org/officeDocument/2006/relationships/image" Target="../media/image82.png"/><Relationship Id="rId19" Type="http://schemas.openxmlformats.org/officeDocument/2006/relationships/image" Target="../media/image47.png"/><Relationship Id="rId14" Type="http://schemas.openxmlformats.org/officeDocument/2006/relationships/image" Target="../media/image173.svg"/><Relationship Id="rId22" Type="http://schemas.openxmlformats.org/officeDocument/2006/relationships/image" Target="../media/image181.svg"/><Relationship Id="rId27" Type="http://schemas.openxmlformats.org/officeDocument/2006/relationships/image" Target="../media/image51.png"/><Relationship Id="rId30" Type="http://schemas.openxmlformats.org/officeDocument/2006/relationships/image" Target="../media/image189.svg"/><Relationship Id="rId35" Type="http://schemas.openxmlformats.org/officeDocument/2006/relationships/image" Target="../media/image55.png"/><Relationship Id="rId43" Type="http://schemas.openxmlformats.org/officeDocument/2006/relationships/image" Target="../media/image59.png"/><Relationship Id="rId48" Type="http://schemas.openxmlformats.org/officeDocument/2006/relationships/image" Target="../media/image207.svg"/><Relationship Id="rId56" Type="http://schemas.openxmlformats.org/officeDocument/2006/relationships/image" Target="../media/image215.svg"/><Relationship Id="rId64" Type="http://schemas.openxmlformats.org/officeDocument/2006/relationships/image" Target="../media/image223.svg"/><Relationship Id="rId69" Type="http://schemas.openxmlformats.org/officeDocument/2006/relationships/image" Target="../media/image72.png"/><Relationship Id="rId77" Type="http://schemas.openxmlformats.org/officeDocument/2006/relationships/image" Target="../media/image76.png"/><Relationship Id="rId8" Type="http://schemas.openxmlformats.org/officeDocument/2006/relationships/image" Target="../media/image168.svg"/><Relationship Id="rId51" Type="http://schemas.openxmlformats.org/officeDocument/2006/relationships/image" Target="../media/image63.png"/><Relationship Id="rId72" Type="http://schemas.openxmlformats.org/officeDocument/2006/relationships/image" Target="../media/image231.svg"/><Relationship Id="rId80" Type="http://schemas.openxmlformats.org/officeDocument/2006/relationships/image" Target="../media/image239.svg"/><Relationship Id="rId85" Type="http://schemas.openxmlformats.org/officeDocument/2006/relationships/image" Target="../media/image80.png"/><Relationship Id="rId93" Type="http://schemas.openxmlformats.org/officeDocument/2006/relationships/image" Target="../media/image252.svg"/><Relationship Id="rId3" Type="http://schemas.openxmlformats.org/officeDocument/2006/relationships/image" Target="../media/image39.png"/><Relationship Id="rId12" Type="http://schemas.openxmlformats.org/officeDocument/2006/relationships/image" Target="../media/image171.svg"/><Relationship Id="rId17" Type="http://schemas.openxmlformats.org/officeDocument/2006/relationships/image" Target="../media/image46.png"/><Relationship Id="rId25" Type="http://schemas.openxmlformats.org/officeDocument/2006/relationships/image" Target="../media/image50.png"/><Relationship Id="rId33" Type="http://schemas.openxmlformats.org/officeDocument/2006/relationships/image" Target="../media/image54.png"/><Relationship Id="rId38" Type="http://schemas.openxmlformats.org/officeDocument/2006/relationships/image" Target="../media/image197.svg"/><Relationship Id="rId46" Type="http://schemas.openxmlformats.org/officeDocument/2006/relationships/image" Target="../media/image205.svg"/><Relationship Id="rId59" Type="http://schemas.openxmlformats.org/officeDocument/2006/relationships/image" Target="../media/image67.png"/><Relationship Id="rId67" Type="http://schemas.openxmlformats.org/officeDocument/2006/relationships/image" Target="../media/image71.png"/><Relationship Id="rId20" Type="http://schemas.openxmlformats.org/officeDocument/2006/relationships/image" Target="../media/image179.svg"/><Relationship Id="rId41" Type="http://schemas.openxmlformats.org/officeDocument/2006/relationships/image" Target="../media/image58.png"/><Relationship Id="rId54" Type="http://schemas.openxmlformats.org/officeDocument/2006/relationships/image" Target="../media/image213.svg"/><Relationship Id="rId62" Type="http://schemas.openxmlformats.org/officeDocument/2006/relationships/image" Target="../media/image221.svg"/><Relationship Id="rId70" Type="http://schemas.openxmlformats.org/officeDocument/2006/relationships/image" Target="../media/image229.svg"/><Relationship Id="rId75" Type="http://schemas.openxmlformats.org/officeDocument/2006/relationships/image" Target="../media/image75.png"/><Relationship Id="rId83" Type="http://schemas.openxmlformats.org/officeDocument/2006/relationships/image" Target="../media/image79.png"/><Relationship Id="rId88" Type="http://schemas.openxmlformats.org/officeDocument/2006/relationships/image" Target="../media/image247.svg"/><Relationship Id="rId91" Type="http://schemas.openxmlformats.org/officeDocument/2006/relationships/image" Target="../media/image250.svg"/><Relationship Id="rId96" Type="http://schemas.openxmlformats.org/officeDocument/2006/relationships/image" Target="../media/image255.svg"/><Relationship Id="rId1" Type="http://schemas.openxmlformats.org/officeDocument/2006/relationships/slideLayout" Target="../slideLayouts/slideLayout24.xml"/><Relationship Id="rId6" Type="http://schemas.openxmlformats.org/officeDocument/2006/relationships/image" Target="../media/image166.svg"/><Relationship Id="rId15" Type="http://schemas.openxmlformats.org/officeDocument/2006/relationships/image" Target="../media/image45.png"/><Relationship Id="rId23" Type="http://schemas.openxmlformats.org/officeDocument/2006/relationships/image" Target="../media/image49.png"/><Relationship Id="rId28" Type="http://schemas.openxmlformats.org/officeDocument/2006/relationships/image" Target="../media/image187.svg"/><Relationship Id="rId36" Type="http://schemas.openxmlformats.org/officeDocument/2006/relationships/image" Target="../media/image195.svg"/><Relationship Id="rId49" Type="http://schemas.openxmlformats.org/officeDocument/2006/relationships/image" Target="../media/image62.png"/><Relationship Id="rId57" Type="http://schemas.openxmlformats.org/officeDocument/2006/relationships/image" Target="../media/image66.png"/><Relationship Id="rId10" Type="http://schemas.openxmlformats.org/officeDocument/2006/relationships/image" Target="../media/image170.svg"/><Relationship Id="rId31" Type="http://schemas.openxmlformats.org/officeDocument/2006/relationships/image" Target="../media/image53.png"/><Relationship Id="rId44" Type="http://schemas.openxmlformats.org/officeDocument/2006/relationships/image" Target="../media/image203.svg"/><Relationship Id="rId52" Type="http://schemas.openxmlformats.org/officeDocument/2006/relationships/image" Target="../media/image211.svg"/><Relationship Id="rId60" Type="http://schemas.openxmlformats.org/officeDocument/2006/relationships/image" Target="../media/image219.svg"/><Relationship Id="rId65" Type="http://schemas.openxmlformats.org/officeDocument/2006/relationships/image" Target="../media/image70.png"/><Relationship Id="rId73" Type="http://schemas.openxmlformats.org/officeDocument/2006/relationships/image" Target="../media/image74.png"/><Relationship Id="rId78" Type="http://schemas.openxmlformats.org/officeDocument/2006/relationships/image" Target="../media/image237.svg"/><Relationship Id="rId81" Type="http://schemas.openxmlformats.org/officeDocument/2006/relationships/image" Target="../media/image78.png"/><Relationship Id="rId86" Type="http://schemas.openxmlformats.org/officeDocument/2006/relationships/image" Target="../media/image245.svg"/><Relationship Id="rId94" Type="http://schemas.openxmlformats.org/officeDocument/2006/relationships/image" Target="../media/image253.svg"/><Relationship Id="rId4" Type="http://schemas.openxmlformats.org/officeDocument/2006/relationships/image" Target="../media/image164.svg"/><Relationship Id="rId9" Type="http://schemas.openxmlformats.org/officeDocument/2006/relationships/image" Target="../media/image42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3.png"/><Relationship Id="rId5" Type="http://schemas.openxmlformats.org/officeDocument/2006/relationships/image" Target="../media/image12.png"/><Relationship Id="rId4" Type="http://schemas.openxmlformats.org/officeDocument/2006/relationships/image" Target="../media/image11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7" Type="http://schemas.openxmlformats.org/officeDocument/2006/relationships/image" Target="../media/image86.jpe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85.jpeg"/><Relationship Id="rId5" Type="http://schemas.openxmlformats.org/officeDocument/2006/relationships/image" Target="../media/image84.jpg"/><Relationship Id="rId4" Type="http://schemas.openxmlformats.org/officeDocument/2006/relationships/image" Target="../media/image83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1.xml"/><Relationship Id="rId4" Type="http://schemas.openxmlformats.org/officeDocument/2006/relationships/image" Target="../media/image6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8.xml"/><Relationship Id="rId7" Type="http://schemas.openxmlformats.org/officeDocument/2006/relationships/image" Target="../media/image90.png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402.xml"/><Relationship Id="rId6" Type="http://schemas.openxmlformats.org/officeDocument/2006/relationships/image" Target="../media/image89.png"/><Relationship Id="rId5" Type="http://schemas.openxmlformats.org/officeDocument/2006/relationships/image" Target="../media/image88.png"/><Relationship Id="rId4" Type="http://schemas.openxmlformats.org/officeDocument/2006/relationships/image" Target="../media/image87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9.xml"/><Relationship Id="rId7" Type="http://schemas.openxmlformats.org/officeDocument/2006/relationships/image" Target="../media/image552.svg"/><Relationship Id="rId2" Type="http://schemas.openxmlformats.org/officeDocument/2006/relationships/slideLayout" Target="../slideLayouts/slideLayout15.xml"/><Relationship Id="rId1" Type="http://schemas.openxmlformats.org/officeDocument/2006/relationships/tags" Target="../tags/tag403.xml"/><Relationship Id="rId6" Type="http://schemas.openxmlformats.org/officeDocument/2006/relationships/image" Target="../media/image92.png"/><Relationship Id="rId5" Type="http://schemas.openxmlformats.org/officeDocument/2006/relationships/image" Target="../media/image530.svg"/><Relationship Id="rId4" Type="http://schemas.openxmlformats.org/officeDocument/2006/relationships/image" Target="../media/image91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11.xml"/><Relationship Id="rId4" Type="http://schemas.openxmlformats.org/officeDocument/2006/relationships/image" Target="../media/image6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3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14.xml"/><Relationship Id="rId5" Type="http://schemas.openxmlformats.org/officeDocument/2006/relationships/image" Target="../media/image95.png"/><Relationship Id="rId4" Type="http://schemas.openxmlformats.org/officeDocument/2006/relationships/image" Target="../media/image94.pn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11.xml"/><Relationship Id="rId4" Type="http://schemas.openxmlformats.org/officeDocument/2006/relationships/image" Target="../media/image6.png"/></Relationships>
</file>

<file path=ppt/slides/_rels/slide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1.png"/><Relationship Id="rId13" Type="http://schemas.openxmlformats.org/officeDocument/2006/relationships/image" Target="../media/image106.png"/><Relationship Id="rId18" Type="http://schemas.openxmlformats.org/officeDocument/2006/relationships/image" Target="../media/image111.png"/><Relationship Id="rId26" Type="http://schemas.openxmlformats.org/officeDocument/2006/relationships/image" Target="../media/image119.png"/><Relationship Id="rId3" Type="http://schemas.openxmlformats.org/officeDocument/2006/relationships/image" Target="../media/image96.png"/><Relationship Id="rId21" Type="http://schemas.openxmlformats.org/officeDocument/2006/relationships/image" Target="../media/image114.png"/><Relationship Id="rId34" Type="http://schemas.openxmlformats.org/officeDocument/2006/relationships/image" Target="../media/image127.jpeg"/><Relationship Id="rId7" Type="http://schemas.openxmlformats.org/officeDocument/2006/relationships/image" Target="../media/image100.png"/><Relationship Id="rId12" Type="http://schemas.openxmlformats.org/officeDocument/2006/relationships/image" Target="../media/image105.png"/><Relationship Id="rId17" Type="http://schemas.openxmlformats.org/officeDocument/2006/relationships/image" Target="../media/image110.png"/><Relationship Id="rId25" Type="http://schemas.openxmlformats.org/officeDocument/2006/relationships/image" Target="../media/image118.png"/><Relationship Id="rId33" Type="http://schemas.openxmlformats.org/officeDocument/2006/relationships/image" Target="../media/image126.png"/><Relationship Id="rId2" Type="http://schemas.openxmlformats.org/officeDocument/2006/relationships/notesSlide" Target="../notesSlides/notesSlide23.xml"/><Relationship Id="rId16" Type="http://schemas.openxmlformats.org/officeDocument/2006/relationships/image" Target="../media/image109.png"/><Relationship Id="rId20" Type="http://schemas.openxmlformats.org/officeDocument/2006/relationships/image" Target="../media/image113.png"/><Relationship Id="rId29" Type="http://schemas.openxmlformats.org/officeDocument/2006/relationships/image" Target="../media/image122.png"/><Relationship Id="rId1" Type="http://schemas.openxmlformats.org/officeDocument/2006/relationships/slideLayout" Target="../slideLayouts/slideLayout25.xml"/><Relationship Id="rId6" Type="http://schemas.openxmlformats.org/officeDocument/2006/relationships/image" Target="../media/image99.png"/><Relationship Id="rId11" Type="http://schemas.openxmlformats.org/officeDocument/2006/relationships/image" Target="../media/image104.png"/><Relationship Id="rId24" Type="http://schemas.openxmlformats.org/officeDocument/2006/relationships/image" Target="../media/image117.png"/><Relationship Id="rId32" Type="http://schemas.openxmlformats.org/officeDocument/2006/relationships/image" Target="../media/image125.emf"/><Relationship Id="rId5" Type="http://schemas.openxmlformats.org/officeDocument/2006/relationships/image" Target="../media/image98.png"/><Relationship Id="rId15" Type="http://schemas.openxmlformats.org/officeDocument/2006/relationships/image" Target="../media/image108.png"/><Relationship Id="rId23" Type="http://schemas.openxmlformats.org/officeDocument/2006/relationships/image" Target="../media/image116.png"/><Relationship Id="rId28" Type="http://schemas.openxmlformats.org/officeDocument/2006/relationships/image" Target="../media/image121.png"/><Relationship Id="rId10" Type="http://schemas.openxmlformats.org/officeDocument/2006/relationships/image" Target="../media/image103.png"/><Relationship Id="rId19" Type="http://schemas.openxmlformats.org/officeDocument/2006/relationships/image" Target="../media/image112.png"/><Relationship Id="rId31" Type="http://schemas.openxmlformats.org/officeDocument/2006/relationships/image" Target="../media/image124.png"/><Relationship Id="rId4" Type="http://schemas.openxmlformats.org/officeDocument/2006/relationships/image" Target="../media/image97.png"/><Relationship Id="rId9" Type="http://schemas.openxmlformats.org/officeDocument/2006/relationships/image" Target="../media/image102.png"/><Relationship Id="rId14" Type="http://schemas.openxmlformats.org/officeDocument/2006/relationships/image" Target="../media/image107.png"/><Relationship Id="rId22" Type="http://schemas.openxmlformats.org/officeDocument/2006/relationships/image" Target="../media/image115.png"/><Relationship Id="rId27" Type="http://schemas.openxmlformats.org/officeDocument/2006/relationships/image" Target="../media/image120.png"/><Relationship Id="rId30" Type="http://schemas.openxmlformats.org/officeDocument/2006/relationships/image" Target="../media/image123.pn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8.pn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15.xml"/><Relationship Id="rId4" Type="http://schemas.openxmlformats.org/officeDocument/2006/relationships/image" Target="../media/image129.pn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11.xml"/><Relationship Id="rId4" Type="http://schemas.openxmlformats.org/officeDocument/2006/relationships/image" Target="../media/image6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1.xml"/><Relationship Id="rId4" Type="http://schemas.openxmlformats.org/officeDocument/2006/relationships/image" Target="../media/image6.png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0.png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14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1.png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14.xml"/></Relationships>
</file>

<file path=ppt/slides/_rels/slide3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2.png"/><Relationship Id="rId3" Type="http://schemas.openxmlformats.org/officeDocument/2006/relationships/image" Target="../media/image92.png"/><Relationship Id="rId7" Type="http://schemas.openxmlformats.org/officeDocument/2006/relationships/image" Target="../media/image55.svg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15.xml"/><Relationship Id="rId11" Type="http://schemas.openxmlformats.org/officeDocument/2006/relationships/image" Target="../media/image135.png"/><Relationship Id="rId10" Type="http://schemas.openxmlformats.org/officeDocument/2006/relationships/image" Target="../media/image134.png"/><Relationship Id="rId9" Type="http://schemas.openxmlformats.org/officeDocument/2006/relationships/image" Target="../media/image133.png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136.png"/><Relationship Id="rId1" Type="http://schemas.openxmlformats.org/officeDocument/2006/relationships/slideLayout" Target="../slideLayouts/slideLayout14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11.xml"/><Relationship Id="rId4" Type="http://schemas.openxmlformats.org/officeDocument/2006/relationships/image" Target="../media/image6.png"/></Relationships>
</file>

<file path=ppt/slides/_rels/slide3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7.png"/><Relationship Id="rId3" Type="http://schemas.openxmlformats.org/officeDocument/2006/relationships/image" Target="../media/image92.png"/><Relationship Id="rId7" Type="http://schemas.openxmlformats.org/officeDocument/2006/relationships/image" Target="../media/image55.svg"/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15.xml"/><Relationship Id="rId9" Type="http://schemas.openxmlformats.org/officeDocument/2006/relationships/image" Target="../media/image138.png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9.png"/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12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0.png"/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43.png"/><Relationship Id="rId5" Type="http://schemas.openxmlformats.org/officeDocument/2006/relationships/image" Target="../media/image142.png"/><Relationship Id="rId4" Type="http://schemas.openxmlformats.org/officeDocument/2006/relationships/image" Target="../media/image141.png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16.xml"/></Relationships>
</file>

<file path=ppt/slides/_rels/slide39.xml.rels><?xml version="1.0" encoding="UTF-8" standalone="yes"?>
<Relationships xmlns="http://schemas.openxmlformats.org/package/2006/relationships"><Relationship Id="rId8" Type="http://schemas.openxmlformats.org/officeDocument/2006/relationships/image" Target="../media/image44.svg"/><Relationship Id="rId13" Type="http://schemas.openxmlformats.org/officeDocument/2006/relationships/image" Target="../media/image150.png"/><Relationship Id="rId3" Type="http://schemas.openxmlformats.org/officeDocument/2006/relationships/image" Target="../media/image144.png"/><Relationship Id="rId7" Type="http://schemas.openxmlformats.org/officeDocument/2006/relationships/image" Target="../media/image147.png"/><Relationship Id="rId12" Type="http://schemas.openxmlformats.org/officeDocument/2006/relationships/image" Target="../media/image48.svg"/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42.svg"/><Relationship Id="rId11" Type="http://schemas.openxmlformats.org/officeDocument/2006/relationships/image" Target="../media/image149.png"/><Relationship Id="rId5" Type="http://schemas.openxmlformats.org/officeDocument/2006/relationships/image" Target="../media/image146.png"/><Relationship Id="rId15" Type="http://schemas.openxmlformats.org/officeDocument/2006/relationships/image" Target="../media/image151.png"/><Relationship Id="rId10" Type="http://schemas.openxmlformats.org/officeDocument/2006/relationships/image" Target="../media/image46.svg"/><Relationship Id="rId4" Type="http://schemas.openxmlformats.org/officeDocument/2006/relationships/image" Target="../media/image145.png"/><Relationship Id="rId9" Type="http://schemas.openxmlformats.org/officeDocument/2006/relationships/image" Target="../media/image148.png"/><Relationship Id="rId14" Type="http://schemas.openxmlformats.org/officeDocument/2006/relationships/image" Target="../media/image50.sv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1.xml"/><Relationship Id="rId4" Type="http://schemas.openxmlformats.org/officeDocument/2006/relationships/image" Target="../media/image6.png"/></Relationships>
</file>

<file path=ppt/slides/_rels/slide40.xml.rels><?xml version="1.0" encoding="UTF-8" standalone="yes"?>
<Relationships xmlns="http://schemas.openxmlformats.org/package/2006/relationships"><Relationship Id="rId8" Type="http://schemas.openxmlformats.org/officeDocument/2006/relationships/image" Target="../media/image54.svg"/><Relationship Id="rId3" Type="http://schemas.openxmlformats.org/officeDocument/2006/relationships/image" Target="../media/image152.png"/><Relationship Id="rId7" Type="http://schemas.openxmlformats.org/officeDocument/2006/relationships/image" Target="../media/image148.png"/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53.svg"/><Relationship Id="rId5" Type="http://schemas.openxmlformats.org/officeDocument/2006/relationships/image" Target="../media/image147.png"/><Relationship Id="rId10" Type="http://schemas.openxmlformats.org/officeDocument/2006/relationships/image" Target="../media/image154.png"/><Relationship Id="rId4" Type="http://schemas.openxmlformats.org/officeDocument/2006/relationships/image" Target="../media/image520.svg"/><Relationship Id="rId9" Type="http://schemas.openxmlformats.org/officeDocument/2006/relationships/image" Target="../media/image153.png"/></Relationships>
</file>

<file path=ppt/slides/_rels/slide4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4.svg"/><Relationship Id="rId3" Type="http://schemas.openxmlformats.org/officeDocument/2006/relationships/image" Target="../media/image152.png"/><Relationship Id="rId7" Type="http://schemas.openxmlformats.org/officeDocument/2006/relationships/image" Target="../media/image148.png"/><Relationship Id="rId2" Type="http://schemas.openxmlformats.org/officeDocument/2006/relationships/notesSlide" Target="../notesSlides/notesSlide36.xml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53.svg"/><Relationship Id="rId5" Type="http://schemas.openxmlformats.org/officeDocument/2006/relationships/image" Target="../media/image147.png"/><Relationship Id="rId10" Type="http://schemas.openxmlformats.org/officeDocument/2006/relationships/image" Target="../media/image154.png"/><Relationship Id="rId4" Type="http://schemas.openxmlformats.org/officeDocument/2006/relationships/image" Target="../media/image520.svg"/><Relationship Id="rId9" Type="http://schemas.openxmlformats.org/officeDocument/2006/relationships/image" Target="../media/image153.png"/></Relationships>
</file>

<file path=ppt/slides/_rels/slide4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4.svg"/><Relationship Id="rId13" Type="http://schemas.openxmlformats.org/officeDocument/2006/relationships/image" Target="../media/image157.png"/><Relationship Id="rId18" Type="http://schemas.openxmlformats.org/officeDocument/2006/relationships/image" Target="../media/image66.svg"/><Relationship Id="rId3" Type="http://schemas.openxmlformats.org/officeDocument/2006/relationships/image" Target="../media/image152.png"/><Relationship Id="rId21" Type="http://schemas.openxmlformats.org/officeDocument/2006/relationships/image" Target="../media/image68.svg"/><Relationship Id="rId7" Type="http://schemas.openxmlformats.org/officeDocument/2006/relationships/image" Target="../media/image148.png"/><Relationship Id="rId12" Type="http://schemas.openxmlformats.org/officeDocument/2006/relationships/image" Target="../media/image60.svg"/><Relationship Id="rId17" Type="http://schemas.openxmlformats.org/officeDocument/2006/relationships/image" Target="../media/image159.png"/><Relationship Id="rId2" Type="http://schemas.openxmlformats.org/officeDocument/2006/relationships/notesSlide" Target="../notesSlides/notesSlide37.xml"/><Relationship Id="rId16" Type="http://schemas.openxmlformats.org/officeDocument/2006/relationships/image" Target="../media/image64.svg"/><Relationship Id="rId20" Type="http://schemas.openxmlformats.org/officeDocument/2006/relationships/image" Target="../media/image161.png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53.svg"/><Relationship Id="rId11" Type="http://schemas.openxmlformats.org/officeDocument/2006/relationships/image" Target="../media/image156.png"/><Relationship Id="rId24" Type="http://schemas.openxmlformats.org/officeDocument/2006/relationships/image" Target="../media/image154.png"/><Relationship Id="rId5" Type="http://schemas.openxmlformats.org/officeDocument/2006/relationships/image" Target="../media/image147.png"/><Relationship Id="rId15" Type="http://schemas.openxmlformats.org/officeDocument/2006/relationships/image" Target="../media/image158.png"/><Relationship Id="rId23" Type="http://schemas.openxmlformats.org/officeDocument/2006/relationships/image" Target="../media/image153.png"/><Relationship Id="rId10" Type="http://schemas.openxmlformats.org/officeDocument/2006/relationships/image" Target="../media/image58.svg"/><Relationship Id="rId19" Type="http://schemas.openxmlformats.org/officeDocument/2006/relationships/image" Target="../media/image160.png"/><Relationship Id="rId4" Type="http://schemas.openxmlformats.org/officeDocument/2006/relationships/image" Target="../media/image520.svg"/><Relationship Id="rId9" Type="http://schemas.openxmlformats.org/officeDocument/2006/relationships/image" Target="../media/image155.png"/><Relationship Id="rId14" Type="http://schemas.openxmlformats.org/officeDocument/2006/relationships/image" Target="../media/image62.svg"/><Relationship Id="rId22" Type="http://schemas.openxmlformats.org/officeDocument/2006/relationships/image" Target="../media/image162.png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8.xml"/><Relationship Id="rId1" Type="http://schemas.openxmlformats.org/officeDocument/2006/relationships/slideLayout" Target="../slideLayouts/slideLayout16.xml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3.png"/><Relationship Id="rId2" Type="http://schemas.openxmlformats.org/officeDocument/2006/relationships/notesSlide" Target="../notesSlides/notesSlide39.xml"/><Relationship Id="rId1" Type="http://schemas.openxmlformats.org/officeDocument/2006/relationships/slideLayout" Target="../slideLayouts/slideLayout15.xml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4.png"/><Relationship Id="rId2" Type="http://schemas.openxmlformats.org/officeDocument/2006/relationships/notesSlide" Target="../notesSlides/notesSlide40.xml"/><Relationship Id="rId1" Type="http://schemas.openxmlformats.org/officeDocument/2006/relationships/slideLayout" Target="../slideLayouts/slideLayout15.xml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5.png"/><Relationship Id="rId2" Type="http://schemas.openxmlformats.org/officeDocument/2006/relationships/notesSlide" Target="../notesSlides/notesSlide41.xml"/><Relationship Id="rId1" Type="http://schemas.openxmlformats.org/officeDocument/2006/relationships/slideLayout" Target="../slideLayouts/slideLayout15.xml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6.png"/><Relationship Id="rId2" Type="http://schemas.openxmlformats.org/officeDocument/2006/relationships/notesSlide" Target="../notesSlides/notesSlide42.xml"/><Relationship Id="rId1" Type="http://schemas.openxmlformats.org/officeDocument/2006/relationships/slideLayout" Target="../slideLayouts/slideLayout17.xml"/><Relationship Id="rId4" Type="http://schemas.openxmlformats.org/officeDocument/2006/relationships/image" Target="../media/image167.png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43.xml"/><Relationship Id="rId1" Type="http://schemas.openxmlformats.org/officeDocument/2006/relationships/slideLayout" Target="../slideLayouts/slideLayout11.xml"/><Relationship Id="rId4" Type="http://schemas.openxmlformats.org/officeDocument/2006/relationships/image" Target="../media/image6.png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notesSlide" Target="../notesSlides/notesSlide44.xml"/><Relationship Id="rId1" Type="http://schemas.openxmlformats.org/officeDocument/2006/relationships/slideLayout" Target="../slideLayouts/slideLayout18.xml"/><Relationship Id="rId4" Type="http://schemas.openxmlformats.org/officeDocument/2006/relationships/image" Target="../media/image168.png"/></Relationships>
</file>

<file path=ppt/slides/_rels/slide5.xml.rels><?xml version="1.0" encoding="UTF-8" standalone="yes"?>
<Relationships xmlns="http://schemas.openxmlformats.org/package/2006/relationships"><Relationship Id="rId117" Type="http://schemas.openxmlformats.org/officeDocument/2006/relationships/tags" Target="../tags/tag118.xml"/><Relationship Id="rId299" Type="http://schemas.openxmlformats.org/officeDocument/2006/relationships/tags" Target="../tags/tag300.xml"/><Relationship Id="rId21" Type="http://schemas.openxmlformats.org/officeDocument/2006/relationships/tags" Target="../tags/tag22.xml"/><Relationship Id="rId63" Type="http://schemas.openxmlformats.org/officeDocument/2006/relationships/tags" Target="../tags/tag64.xml"/><Relationship Id="rId159" Type="http://schemas.openxmlformats.org/officeDocument/2006/relationships/tags" Target="../tags/tag160.xml"/><Relationship Id="rId324" Type="http://schemas.openxmlformats.org/officeDocument/2006/relationships/tags" Target="../tags/tag325.xml"/><Relationship Id="rId366" Type="http://schemas.openxmlformats.org/officeDocument/2006/relationships/tags" Target="../tags/tag367.xml"/><Relationship Id="rId170" Type="http://schemas.openxmlformats.org/officeDocument/2006/relationships/tags" Target="../tags/tag171.xml"/><Relationship Id="rId226" Type="http://schemas.openxmlformats.org/officeDocument/2006/relationships/tags" Target="../tags/tag227.xml"/><Relationship Id="rId107" Type="http://schemas.openxmlformats.org/officeDocument/2006/relationships/tags" Target="../tags/tag108.xml"/><Relationship Id="rId268" Type="http://schemas.openxmlformats.org/officeDocument/2006/relationships/tags" Target="../tags/tag269.xml"/><Relationship Id="rId289" Type="http://schemas.openxmlformats.org/officeDocument/2006/relationships/tags" Target="../tags/tag290.xml"/><Relationship Id="rId11" Type="http://schemas.openxmlformats.org/officeDocument/2006/relationships/tags" Target="../tags/tag12.xml"/><Relationship Id="rId32" Type="http://schemas.openxmlformats.org/officeDocument/2006/relationships/tags" Target="../tags/tag33.xml"/><Relationship Id="rId53" Type="http://schemas.openxmlformats.org/officeDocument/2006/relationships/tags" Target="../tags/tag54.xml"/><Relationship Id="rId74" Type="http://schemas.openxmlformats.org/officeDocument/2006/relationships/tags" Target="../tags/tag75.xml"/><Relationship Id="rId128" Type="http://schemas.openxmlformats.org/officeDocument/2006/relationships/tags" Target="../tags/tag129.xml"/><Relationship Id="rId149" Type="http://schemas.openxmlformats.org/officeDocument/2006/relationships/tags" Target="../tags/tag150.xml"/><Relationship Id="rId314" Type="http://schemas.openxmlformats.org/officeDocument/2006/relationships/tags" Target="../tags/tag315.xml"/><Relationship Id="rId335" Type="http://schemas.openxmlformats.org/officeDocument/2006/relationships/tags" Target="../tags/tag336.xml"/><Relationship Id="rId356" Type="http://schemas.openxmlformats.org/officeDocument/2006/relationships/tags" Target="../tags/tag357.xml"/><Relationship Id="rId377" Type="http://schemas.openxmlformats.org/officeDocument/2006/relationships/tags" Target="../tags/tag378.xml"/><Relationship Id="rId398" Type="http://schemas.openxmlformats.org/officeDocument/2006/relationships/notesSlide" Target="../notesSlides/notesSlide4.xml"/><Relationship Id="rId5" Type="http://schemas.openxmlformats.org/officeDocument/2006/relationships/tags" Target="../tags/tag6.xml"/><Relationship Id="rId95" Type="http://schemas.openxmlformats.org/officeDocument/2006/relationships/tags" Target="../tags/tag96.xml"/><Relationship Id="rId160" Type="http://schemas.openxmlformats.org/officeDocument/2006/relationships/tags" Target="../tags/tag161.xml"/><Relationship Id="rId181" Type="http://schemas.openxmlformats.org/officeDocument/2006/relationships/tags" Target="../tags/tag182.xml"/><Relationship Id="rId216" Type="http://schemas.openxmlformats.org/officeDocument/2006/relationships/tags" Target="../tags/tag217.xml"/><Relationship Id="rId237" Type="http://schemas.openxmlformats.org/officeDocument/2006/relationships/tags" Target="../tags/tag238.xml"/><Relationship Id="rId402" Type="http://schemas.openxmlformats.org/officeDocument/2006/relationships/image" Target="NULL"/><Relationship Id="rId258" Type="http://schemas.openxmlformats.org/officeDocument/2006/relationships/tags" Target="../tags/tag259.xml"/><Relationship Id="rId279" Type="http://schemas.openxmlformats.org/officeDocument/2006/relationships/tags" Target="../tags/tag280.xml"/><Relationship Id="rId22" Type="http://schemas.openxmlformats.org/officeDocument/2006/relationships/tags" Target="../tags/tag23.xml"/><Relationship Id="rId43" Type="http://schemas.openxmlformats.org/officeDocument/2006/relationships/tags" Target="../tags/tag44.xml"/><Relationship Id="rId64" Type="http://schemas.openxmlformats.org/officeDocument/2006/relationships/tags" Target="../tags/tag65.xml"/><Relationship Id="rId118" Type="http://schemas.openxmlformats.org/officeDocument/2006/relationships/tags" Target="../tags/tag119.xml"/><Relationship Id="rId139" Type="http://schemas.openxmlformats.org/officeDocument/2006/relationships/tags" Target="../tags/tag140.xml"/><Relationship Id="rId290" Type="http://schemas.openxmlformats.org/officeDocument/2006/relationships/tags" Target="../tags/tag291.xml"/><Relationship Id="rId304" Type="http://schemas.openxmlformats.org/officeDocument/2006/relationships/tags" Target="../tags/tag305.xml"/><Relationship Id="rId325" Type="http://schemas.openxmlformats.org/officeDocument/2006/relationships/tags" Target="../tags/tag326.xml"/><Relationship Id="rId346" Type="http://schemas.openxmlformats.org/officeDocument/2006/relationships/tags" Target="../tags/tag347.xml"/><Relationship Id="rId367" Type="http://schemas.openxmlformats.org/officeDocument/2006/relationships/tags" Target="../tags/tag368.xml"/><Relationship Id="rId388" Type="http://schemas.openxmlformats.org/officeDocument/2006/relationships/tags" Target="../tags/tag389.xml"/><Relationship Id="rId85" Type="http://schemas.openxmlformats.org/officeDocument/2006/relationships/tags" Target="../tags/tag86.xml"/><Relationship Id="rId150" Type="http://schemas.openxmlformats.org/officeDocument/2006/relationships/tags" Target="../tags/tag151.xml"/><Relationship Id="rId171" Type="http://schemas.openxmlformats.org/officeDocument/2006/relationships/tags" Target="../tags/tag172.xml"/><Relationship Id="rId192" Type="http://schemas.openxmlformats.org/officeDocument/2006/relationships/tags" Target="../tags/tag193.xml"/><Relationship Id="rId206" Type="http://schemas.openxmlformats.org/officeDocument/2006/relationships/tags" Target="../tags/tag207.xml"/><Relationship Id="rId227" Type="http://schemas.openxmlformats.org/officeDocument/2006/relationships/tags" Target="../tags/tag228.xml"/><Relationship Id="rId248" Type="http://schemas.openxmlformats.org/officeDocument/2006/relationships/tags" Target="../tags/tag249.xml"/><Relationship Id="rId269" Type="http://schemas.openxmlformats.org/officeDocument/2006/relationships/tags" Target="../tags/tag270.xml"/><Relationship Id="rId12" Type="http://schemas.openxmlformats.org/officeDocument/2006/relationships/tags" Target="../tags/tag13.xml"/><Relationship Id="rId33" Type="http://schemas.openxmlformats.org/officeDocument/2006/relationships/tags" Target="../tags/tag34.xml"/><Relationship Id="rId108" Type="http://schemas.openxmlformats.org/officeDocument/2006/relationships/tags" Target="../tags/tag109.xml"/><Relationship Id="rId129" Type="http://schemas.openxmlformats.org/officeDocument/2006/relationships/tags" Target="../tags/tag130.xml"/><Relationship Id="rId280" Type="http://schemas.openxmlformats.org/officeDocument/2006/relationships/tags" Target="../tags/tag281.xml"/><Relationship Id="rId315" Type="http://schemas.openxmlformats.org/officeDocument/2006/relationships/tags" Target="../tags/tag316.xml"/><Relationship Id="rId336" Type="http://schemas.openxmlformats.org/officeDocument/2006/relationships/tags" Target="../tags/tag337.xml"/><Relationship Id="rId357" Type="http://schemas.openxmlformats.org/officeDocument/2006/relationships/tags" Target="../tags/tag358.xml"/><Relationship Id="rId54" Type="http://schemas.openxmlformats.org/officeDocument/2006/relationships/tags" Target="../tags/tag55.xml"/><Relationship Id="rId75" Type="http://schemas.openxmlformats.org/officeDocument/2006/relationships/tags" Target="../tags/tag76.xml"/><Relationship Id="rId96" Type="http://schemas.openxmlformats.org/officeDocument/2006/relationships/tags" Target="../tags/tag97.xml"/><Relationship Id="rId140" Type="http://schemas.openxmlformats.org/officeDocument/2006/relationships/tags" Target="../tags/tag141.xml"/><Relationship Id="rId161" Type="http://schemas.openxmlformats.org/officeDocument/2006/relationships/tags" Target="../tags/tag162.xml"/><Relationship Id="rId182" Type="http://schemas.openxmlformats.org/officeDocument/2006/relationships/tags" Target="../tags/tag183.xml"/><Relationship Id="rId217" Type="http://schemas.openxmlformats.org/officeDocument/2006/relationships/tags" Target="../tags/tag218.xml"/><Relationship Id="rId378" Type="http://schemas.openxmlformats.org/officeDocument/2006/relationships/tags" Target="../tags/tag379.xml"/><Relationship Id="rId399" Type="http://schemas.openxmlformats.org/officeDocument/2006/relationships/image" Target="../media/image15.png"/><Relationship Id="rId6" Type="http://schemas.openxmlformats.org/officeDocument/2006/relationships/tags" Target="../tags/tag7.xml"/><Relationship Id="rId238" Type="http://schemas.openxmlformats.org/officeDocument/2006/relationships/tags" Target="../tags/tag239.xml"/><Relationship Id="rId259" Type="http://schemas.openxmlformats.org/officeDocument/2006/relationships/tags" Target="../tags/tag260.xml"/><Relationship Id="rId23" Type="http://schemas.openxmlformats.org/officeDocument/2006/relationships/tags" Target="../tags/tag24.xml"/><Relationship Id="rId119" Type="http://schemas.openxmlformats.org/officeDocument/2006/relationships/tags" Target="../tags/tag120.xml"/><Relationship Id="rId270" Type="http://schemas.openxmlformats.org/officeDocument/2006/relationships/tags" Target="../tags/tag271.xml"/><Relationship Id="rId291" Type="http://schemas.openxmlformats.org/officeDocument/2006/relationships/tags" Target="../tags/tag292.xml"/><Relationship Id="rId305" Type="http://schemas.openxmlformats.org/officeDocument/2006/relationships/tags" Target="../tags/tag306.xml"/><Relationship Id="rId326" Type="http://schemas.openxmlformats.org/officeDocument/2006/relationships/tags" Target="../tags/tag327.xml"/><Relationship Id="rId347" Type="http://schemas.openxmlformats.org/officeDocument/2006/relationships/tags" Target="../tags/tag348.xml"/><Relationship Id="rId44" Type="http://schemas.openxmlformats.org/officeDocument/2006/relationships/tags" Target="../tags/tag45.xml"/><Relationship Id="rId65" Type="http://schemas.openxmlformats.org/officeDocument/2006/relationships/tags" Target="../tags/tag66.xml"/><Relationship Id="rId86" Type="http://schemas.openxmlformats.org/officeDocument/2006/relationships/tags" Target="../tags/tag87.xml"/><Relationship Id="rId130" Type="http://schemas.openxmlformats.org/officeDocument/2006/relationships/tags" Target="../tags/tag131.xml"/><Relationship Id="rId151" Type="http://schemas.openxmlformats.org/officeDocument/2006/relationships/tags" Target="../tags/tag152.xml"/><Relationship Id="rId368" Type="http://schemas.openxmlformats.org/officeDocument/2006/relationships/tags" Target="../tags/tag369.xml"/><Relationship Id="rId389" Type="http://schemas.openxmlformats.org/officeDocument/2006/relationships/tags" Target="../tags/tag390.xml"/><Relationship Id="rId172" Type="http://schemas.openxmlformats.org/officeDocument/2006/relationships/tags" Target="../tags/tag173.xml"/><Relationship Id="rId193" Type="http://schemas.openxmlformats.org/officeDocument/2006/relationships/tags" Target="../tags/tag194.xml"/><Relationship Id="rId207" Type="http://schemas.openxmlformats.org/officeDocument/2006/relationships/tags" Target="../tags/tag208.xml"/><Relationship Id="rId228" Type="http://schemas.openxmlformats.org/officeDocument/2006/relationships/tags" Target="../tags/tag229.xml"/><Relationship Id="rId249" Type="http://schemas.openxmlformats.org/officeDocument/2006/relationships/tags" Target="../tags/tag250.xml"/><Relationship Id="rId13" Type="http://schemas.openxmlformats.org/officeDocument/2006/relationships/tags" Target="../tags/tag14.xml"/><Relationship Id="rId109" Type="http://schemas.openxmlformats.org/officeDocument/2006/relationships/tags" Target="../tags/tag110.xml"/><Relationship Id="rId260" Type="http://schemas.openxmlformats.org/officeDocument/2006/relationships/tags" Target="../tags/tag261.xml"/><Relationship Id="rId281" Type="http://schemas.openxmlformats.org/officeDocument/2006/relationships/tags" Target="../tags/tag282.xml"/><Relationship Id="rId316" Type="http://schemas.openxmlformats.org/officeDocument/2006/relationships/tags" Target="../tags/tag317.xml"/><Relationship Id="rId337" Type="http://schemas.openxmlformats.org/officeDocument/2006/relationships/tags" Target="../tags/tag338.xml"/><Relationship Id="rId34" Type="http://schemas.openxmlformats.org/officeDocument/2006/relationships/tags" Target="../tags/tag35.xml"/><Relationship Id="rId55" Type="http://schemas.openxmlformats.org/officeDocument/2006/relationships/tags" Target="../tags/tag56.xml"/><Relationship Id="rId76" Type="http://schemas.openxmlformats.org/officeDocument/2006/relationships/tags" Target="../tags/tag77.xml"/><Relationship Id="rId97" Type="http://schemas.openxmlformats.org/officeDocument/2006/relationships/tags" Target="../tags/tag98.xml"/><Relationship Id="rId120" Type="http://schemas.openxmlformats.org/officeDocument/2006/relationships/tags" Target="../tags/tag121.xml"/><Relationship Id="rId141" Type="http://schemas.openxmlformats.org/officeDocument/2006/relationships/tags" Target="../tags/tag142.xml"/><Relationship Id="rId358" Type="http://schemas.openxmlformats.org/officeDocument/2006/relationships/tags" Target="../tags/tag359.xml"/><Relationship Id="rId379" Type="http://schemas.openxmlformats.org/officeDocument/2006/relationships/tags" Target="../tags/tag380.xml"/><Relationship Id="rId7" Type="http://schemas.openxmlformats.org/officeDocument/2006/relationships/tags" Target="../tags/tag8.xml"/><Relationship Id="rId162" Type="http://schemas.openxmlformats.org/officeDocument/2006/relationships/tags" Target="../tags/tag163.xml"/><Relationship Id="rId183" Type="http://schemas.openxmlformats.org/officeDocument/2006/relationships/tags" Target="../tags/tag184.xml"/><Relationship Id="rId218" Type="http://schemas.openxmlformats.org/officeDocument/2006/relationships/tags" Target="../tags/tag219.xml"/><Relationship Id="rId239" Type="http://schemas.openxmlformats.org/officeDocument/2006/relationships/tags" Target="../tags/tag240.xml"/><Relationship Id="rId390" Type="http://schemas.openxmlformats.org/officeDocument/2006/relationships/tags" Target="../tags/tag391.xml"/><Relationship Id="rId250" Type="http://schemas.openxmlformats.org/officeDocument/2006/relationships/tags" Target="../tags/tag251.xml"/><Relationship Id="rId271" Type="http://schemas.openxmlformats.org/officeDocument/2006/relationships/tags" Target="../tags/tag272.xml"/><Relationship Id="rId292" Type="http://schemas.openxmlformats.org/officeDocument/2006/relationships/tags" Target="../tags/tag293.xml"/><Relationship Id="rId306" Type="http://schemas.openxmlformats.org/officeDocument/2006/relationships/tags" Target="../tags/tag307.xml"/><Relationship Id="rId24" Type="http://schemas.openxmlformats.org/officeDocument/2006/relationships/tags" Target="../tags/tag25.xml"/><Relationship Id="rId45" Type="http://schemas.openxmlformats.org/officeDocument/2006/relationships/tags" Target="../tags/tag46.xml"/><Relationship Id="rId66" Type="http://schemas.openxmlformats.org/officeDocument/2006/relationships/tags" Target="../tags/tag67.xml"/><Relationship Id="rId87" Type="http://schemas.openxmlformats.org/officeDocument/2006/relationships/tags" Target="../tags/tag88.xml"/><Relationship Id="rId110" Type="http://schemas.openxmlformats.org/officeDocument/2006/relationships/tags" Target="../tags/tag111.xml"/><Relationship Id="rId131" Type="http://schemas.openxmlformats.org/officeDocument/2006/relationships/tags" Target="../tags/tag132.xml"/><Relationship Id="rId327" Type="http://schemas.openxmlformats.org/officeDocument/2006/relationships/tags" Target="../tags/tag328.xml"/><Relationship Id="rId348" Type="http://schemas.openxmlformats.org/officeDocument/2006/relationships/tags" Target="../tags/tag349.xml"/><Relationship Id="rId369" Type="http://schemas.openxmlformats.org/officeDocument/2006/relationships/tags" Target="../tags/tag370.xml"/><Relationship Id="rId152" Type="http://schemas.openxmlformats.org/officeDocument/2006/relationships/tags" Target="../tags/tag153.xml"/><Relationship Id="rId173" Type="http://schemas.openxmlformats.org/officeDocument/2006/relationships/tags" Target="../tags/tag174.xml"/><Relationship Id="rId194" Type="http://schemas.openxmlformats.org/officeDocument/2006/relationships/tags" Target="../tags/tag195.xml"/><Relationship Id="rId208" Type="http://schemas.openxmlformats.org/officeDocument/2006/relationships/tags" Target="../tags/tag209.xml"/><Relationship Id="rId229" Type="http://schemas.openxmlformats.org/officeDocument/2006/relationships/tags" Target="../tags/tag230.xml"/><Relationship Id="rId380" Type="http://schemas.openxmlformats.org/officeDocument/2006/relationships/tags" Target="../tags/tag381.xml"/><Relationship Id="rId240" Type="http://schemas.openxmlformats.org/officeDocument/2006/relationships/tags" Target="../tags/tag241.xml"/><Relationship Id="rId261" Type="http://schemas.openxmlformats.org/officeDocument/2006/relationships/tags" Target="../tags/tag262.xml"/><Relationship Id="rId14" Type="http://schemas.openxmlformats.org/officeDocument/2006/relationships/tags" Target="../tags/tag15.xml"/><Relationship Id="rId35" Type="http://schemas.openxmlformats.org/officeDocument/2006/relationships/tags" Target="../tags/tag36.xml"/><Relationship Id="rId56" Type="http://schemas.openxmlformats.org/officeDocument/2006/relationships/tags" Target="../tags/tag57.xml"/><Relationship Id="rId77" Type="http://schemas.openxmlformats.org/officeDocument/2006/relationships/tags" Target="../tags/tag78.xml"/><Relationship Id="rId100" Type="http://schemas.openxmlformats.org/officeDocument/2006/relationships/tags" Target="../tags/tag101.xml"/><Relationship Id="rId282" Type="http://schemas.openxmlformats.org/officeDocument/2006/relationships/tags" Target="../tags/tag283.xml"/><Relationship Id="rId317" Type="http://schemas.openxmlformats.org/officeDocument/2006/relationships/tags" Target="../tags/tag318.xml"/><Relationship Id="rId338" Type="http://schemas.openxmlformats.org/officeDocument/2006/relationships/tags" Target="../tags/tag339.xml"/><Relationship Id="rId359" Type="http://schemas.openxmlformats.org/officeDocument/2006/relationships/tags" Target="../tags/tag360.xml"/><Relationship Id="rId8" Type="http://schemas.openxmlformats.org/officeDocument/2006/relationships/tags" Target="../tags/tag9.xml"/><Relationship Id="rId98" Type="http://schemas.openxmlformats.org/officeDocument/2006/relationships/tags" Target="../tags/tag99.xml"/><Relationship Id="rId121" Type="http://schemas.openxmlformats.org/officeDocument/2006/relationships/tags" Target="../tags/tag122.xml"/><Relationship Id="rId142" Type="http://schemas.openxmlformats.org/officeDocument/2006/relationships/tags" Target="../tags/tag143.xml"/><Relationship Id="rId163" Type="http://schemas.openxmlformats.org/officeDocument/2006/relationships/tags" Target="../tags/tag164.xml"/><Relationship Id="rId184" Type="http://schemas.openxmlformats.org/officeDocument/2006/relationships/tags" Target="../tags/tag185.xml"/><Relationship Id="rId219" Type="http://schemas.openxmlformats.org/officeDocument/2006/relationships/tags" Target="../tags/tag220.xml"/><Relationship Id="rId370" Type="http://schemas.openxmlformats.org/officeDocument/2006/relationships/tags" Target="../tags/tag371.xml"/><Relationship Id="rId391" Type="http://schemas.openxmlformats.org/officeDocument/2006/relationships/tags" Target="../tags/tag392.xml"/><Relationship Id="rId230" Type="http://schemas.openxmlformats.org/officeDocument/2006/relationships/tags" Target="../tags/tag231.xml"/><Relationship Id="rId251" Type="http://schemas.openxmlformats.org/officeDocument/2006/relationships/tags" Target="../tags/tag252.xml"/><Relationship Id="rId25" Type="http://schemas.openxmlformats.org/officeDocument/2006/relationships/tags" Target="../tags/tag26.xml"/><Relationship Id="rId46" Type="http://schemas.openxmlformats.org/officeDocument/2006/relationships/tags" Target="../tags/tag47.xml"/><Relationship Id="rId67" Type="http://schemas.openxmlformats.org/officeDocument/2006/relationships/tags" Target="../tags/tag68.xml"/><Relationship Id="rId272" Type="http://schemas.openxmlformats.org/officeDocument/2006/relationships/tags" Target="../tags/tag273.xml"/><Relationship Id="rId293" Type="http://schemas.openxmlformats.org/officeDocument/2006/relationships/tags" Target="../tags/tag294.xml"/><Relationship Id="rId307" Type="http://schemas.openxmlformats.org/officeDocument/2006/relationships/tags" Target="../tags/tag308.xml"/><Relationship Id="rId328" Type="http://schemas.openxmlformats.org/officeDocument/2006/relationships/tags" Target="../tags/tag329.xml"/><Relationship Id="rId349" Type="http://schemas.openxmlformats.org/officeDocument/2006/relationships/tags" Target="../tags/tag350.xml"/><Relationship Id="rId88" Type="http://schemas.openxmlformats.org/officeDocument/2006/relationships/tags" Target="../tags/tag89.xml"/><Relationship Id="rId111" Type="http://schemas.openxmlformats.org/officeDocument/2006/relationships/tags" Target="../tags/tag112.xml"/><Relationship Id="rId132" Type="http://schemas.openxmlformats.org/officeDocument/2006/relationships/tags" Target="../tags/tag133.xml"/><Relationship Id="rId153" Type="http://schemas.openxmlformats.org/officeDocument/2006/relationships/tags" Target="../tags/tag154.xml"/><Relationship Id="rId174" Type="http://schemas.openxmlformats.org/officeDocument/2006/relationships/tags" Target="../tags/tag175.xml"/><Relationship Id="rId195" Type="http://schemas.openxmlformats.org/officeDocument/2006/relationships/tags" Target="../tags/tag196.xml"/><Relationship Id="rId209" Type="http://schemas.openxmlformats.org/officeDocument/2006/relationships/tags" Target="../tags/tag210.xml"/><Relationship Id="rId360" Type="http://schemas.openxmlformats.org/officeDocument/2006/relationships/tags" Target="../tags/tag361.xml"/><Relationship Id="rId381" Type="http://schemas.openxmlformats.org/officeDocument/2006/relationships/tags" Target="../tags/tag382.xml"/><Relationship Id="rId220" Type="http://schemas.openxmlformats.org/officeDocument/2006/relationships/tags" Target="../tags/tag221.xml"/><Relationship Id="rId241" Type="http://schemas.openxmlformats.org/officeDocument/2006/relationships/tags" Target="../tags/tag242.xml"/><Relationship Id="rId15" Type="http://schemas.openxmlformats.org/officeDocument/2006/relationships/tags" Target="../tags/tag16.xml"/><Relationship Id="rId36" Type="http://schemas.openxmlformats.org/officeDocument/2006/relationships/tags" Target="../tags/tag37.xml"/><Relationship Id="rId57" Type="http://schemas.openxmlformats.org/officeDocument/2006/relationships/tags" Target="../tags/tag58.xml"/><Relationship Id="rId262" Type="http://schemas.openxmlformats.org/officeDocument/2006/relationships/tags" Target="../tags/tag263.xml"/><Relationship Id="rId283" Type="http://schemas.openxmlformats.org/officeDocument/2006/relationships/tags" Target="../tags/tag284.xml"/><Relationship Id="rId318" Type="http://schemas.openxmlformats.org/officeDocument/2006/relationships/tags" Target="../tags/tag319.xml"/><Relationship Id="rId339" Type="http://schemas.openxmlformats.org/officeDocument/2006/relationships/tags" Target="../tags/tag340.xml"/><Relationship Id="rId78" Type="http://schemas.openxmlformats.org/officeDocument/2006/relationships/tags" Target="../tags/tag79.xml"/><Relationship Id="rId99" Type="http://schemas.openxmlformats.org/officeDocument/2006/relationships/tags" Target="../tags/tag100.xml"/><Relationship Id="rId101" Type="http://schemas.openxmlformats.org/officeDocument/2006/relationships/tags" Target="../tags/tag102.xml"/><Relationship Id="rId122" Type="http://schemas.openxmlformats.org/officeDocument/2006/relationships/tags" Target="../tags/tag123.xml"/><Relationship Id="rId143" Type="http://schemas.openxmlformats.org/officeDocument/2006/relationships/tags" Target="../tags/tag144.xml"/><Relationship Id="rId164" Type="http://schemas.openxmlformats.org/officeDocument/2006/relationships/tags" Target="../tags/tag165.xml"/><Relationship Id="rId185" Type="http://schemas.openxmlformats.org/officeDocument/2006/relationships/tags" Target="../tags/tag186.xml"/><Relationship Id="rId350" Type="http://schemas.openxmlformats.org/officeDocument/2006/relationships/tags" Target="../tags/tag351.xml"/><Relationship Id="rId371" Type="http://schemas.openxmlformats.org/officeDocument/2006/relationships/tags" Target="../tags/tag372.xml"/><Relationship Id="rId9" Type="http://schemas.openxmlformats.org/officeDocument/2006/relationships/tags" Target="../tags/tag10.xml"/><Relationship Id="rId210" Type="http://schemas.openxmlformats.org/officeDocument/2006/relationships/tags" Target="../tags/tag211.xml"/><Relationship Id="rId392" Type="http://schemas.openxmlformats.org/officeDocument/2006/relationships/tags" Target="../tags/tag393.xml"/><Relationship Id="rId26" Type="http://schemas.openxmlformats.org/officeDocument/2006/relationships/tags" Target="../tags/tag27.xml"/><Relationship Id="rId231" Type="http://schemas.openxmlformats.org/officeDocument/2006/relationships/tags" Target="../tags/tag232.xml"/><Relationship Id="rId252" Type="http://schemas.openxmlformats.org/officeDocument/2006/relationships/tags" Target="../tags/tag253.xml"/><Relationship Id="rId273" Type="http://schemas.openxmlformats.org/officeDocument/2006/relationships/tags" Target="../tags/tag274.xml"/><Relationship Id="rId294" Type="http://schemas.openxmlformats.org/officeDocument/2006/relationships/tags" Target="../tags/tag295.xml"/><Relationship Id="rId308" Type="http://schemas.openxmlformats.org/officeDocument/2006/relationships/tags" Target="../tags/tag309.xml"/><Relationship Id="rId329" Type="http://schemas.openxmlformats.org/officeDocument/2006/relationships/tags" Target="../tags/tag330.xml"/><Relationship Id="rId47" Type="http://schemas.openxmlformats.org/officeDocument/2006/relationships/tags" Target="../tags/tag48.xml"/><Relationship Id="rId68" Type="http://schemas.openxmlformats.org/officeDocument/2006/relationships/tags" Target="../tags/tag69.xml"/><Relationship Id="rId89" Type="http://schemas.openxmlformats.org/officeDocument/2006/relationships/tags" Target="../tags/tag90.xml"/><Relationship Id="rId112" Type="http://schemas.openxmlformats.org/officeDocument/2006/relationships/tags" Target="../tags/tag113.xml"/><Relationship Id="rId133" Type="http://schemas.openxmlformats.org/officeDocument/2006/relationships/tags" Target="../tags/tag134.xml"/><Relationship Id="rId154" Type="http://schemas.openxmlformats.org/officeDocument/2006/relationships/tags" Target="../tags/tag155.xml"/><Relationship Id="rId175" Type="http://schemas.openxmlformats.org/officeDocument/2006/relationships/tags" Target="../tags/tag176.xml"/><Relationship Id="rId340" Type="http://schemas.openxmlformats.org/officeDocument/2006/relationships/tags" Target="../tags/tag341.xml"/><Relationship Id="rId361" Type="http://schemas.openxmlformats.org/officeDocument/2006/relationships/tags" Target="../tags/tag362.xml"/><Relationship Id="rId196" Type="http://schemas.openxmlformats.org/officeDocument/2006/relationships/tags" Target="../tags/tag197.xml"/><Relationship Id="rId200" Type="http://schemas.openxmlformats.org/officeDocument/2006/relationships/tags" Target="../tags/tag201.xml"/><Relationship Id="rId382" Type="http://schemas.openxmlformats.org/officeDocument/2006/relationships/tags" Target="../tags/tag383.xml"/><Relationship Id="rId16" Type="http://schemas.openxmlformats.org/officeDocument/2006/relationships/tags" Target="../tags/tag17.xml"/><Relationship Id="rId221" Type="http://schemas.openxmlformats.org/officeDocument/2006/relationships/tags" Target="../tags/tag222.xml"/><Relationship Id="rId242" Type="http://schemas.openxmlformats.org/officeDocument/2006/relationships/tags" Target="../tags/tag243.xml"/><Relationship Id="rId263" Type="http://schemas.openxmlformats.org/officeDocument/2006/relationships/tags" Target="../tags/tag264.xml"/><Relationship Id="rId284" Type="http://schemas.openxmlformats.org/officeDocument/2006/relationships/tags" Target="../tags/tag285.xml"/><Relationship Id="rId319" Type="http://schemas.openxmlformats.org/officeDocument/2006/relationships/tags" Target="../tags/tag320.xml"/><Relationship Id="rId37" Type="http://schemas.openxmlformats.org/officeDocument/2006/relationships/tags" Target="../tags/tag38.xml"/><Relationship Id="rId58" Type="http://schemas.openxmlformats.org/officeDocument/2006/relationships/tags" Target="../tags/tag59.xml"/><Relationship Id="rId79" Type="http://schemas.openxmlformats.org/officeDocument/2006/relationships/tags" Target="../tags/tag80.xml"/><Relationship Id="rId102" Type="http://schemas.openxmlformats.org/officeDocument/2006/relationships/tags" Target="../tags/tag103.xml"/><Relationship Id="rId123" Type="http://schemas.openxmlformats.org/officeDocument/2006/relationships/tags" Target="../tags/tag124.xml"/><Relationship Id="rId144" Type="http://schemas.openxmlformats.org/officeDocument/2006/relationships/tags" Target="../tags/tag145.xml"/><Relationship Id="rId330" Type="http://schemas.openxmlformats.org/officeDocument/2006/relationships/tags" Target="../tags/tag331.xml"/><Relationship Id="rId90" Type="http://schemas.openxmlformats.org/officeDocument/2006/relationships/tags" Target="../tags/tag91.xml"/><Relationship Id="rId165" Type="http://schemas.openxmlformats.org/officeDocument/2006/relationships/tags" Target="../tags/tag166.xml"/><Relationship Id="rId186" Type="http://schemas.openxmlformats.org/officeDocument/2006/relationships/tags" Target="../tags/tag187.xml"/><Relationship Id="rId351" Type="http://schemas.openxmlformats.org/officeDocument/2006/relationships/tags" Target="../tags/tag352.xml"/><Relationship Id="rId372" Type="http://schemas.openxmlformats.org/officeDocument/2006/relationships/tags" Target="../tags/tag373.xml"/><Relationship Id="rId393" Type="http://schemas.openxmlformats.org/officeDocument/2006/relationships/tags" Target="../tags/tag394.xml"/><Relationship Id="rId211" Type="http://schemas.openxmlformats.org/officeDocument/2006/relationships/tags" Target="../tags/tag212.xml"/><Relationship Id="rId232" Type="http://schemas.openxmlformats.org/officeDocument/2006/relationships/tags" Target="../tags/tag233.xml"/><Relationship Id="rId253" Type="http://schemas.openxmlformats.org/officeDocument/2006/relationships/tags" Target="../tags/tag254.xml"/><Relationship Id="rId274" Type="http://schemas.openxmlformats.org/officeDocument/2006/relationships/tags" Target="../tags/tag275.xml"/><Relationship Id="rId295" Type="http://schemas.openxmlformats.org/officeDocument/2006/relationships/tags" Target="../tags/tag296.xml"/><Relationship Id="rId309" Type="http://schemas.openxmlformats.org/officeDocument/2006/relationships/tags" Target="../tags/tag310.xml"/><Relationship Id="rId27" Type="http://schemas.openxmlformats.org/officeDocument/2006/relationships/tags" Target="../tags/tag28.xml"/><Relationship Id="rId48" Type="http://schemas.openxmlformats.org/officeDocument/2006/relationships/tags" Target="../tags/tag49.xml"/><Relationship Id="rId69" Type="http://schemas.openxmlformats.org/officeDocument/2006/relationships/tags" Target="../tags/tag70.xml"/><Relationship Id="rId113" Type="http://schemas.openxmlformats.org/officeDocument/2006/relationships/tags" Target="../tags/tag114.xml"/><Relationship Id="rId134" Type="http://schemas.openxmlformats.org/officeDocument/2006/relationships/tags" Target="../tags/tag135.xml"/><Relationship Id="rId320" Type="http://schemas.openxmlformats.org/officeDocument/2006/relationships/tags" Target="../tags/tag321.xml"/><Relationship Id="rId80" Type="http://schemas.openxmlformats.org/officeDocument/2006/relationships/tags" Target="../tags/tag81.xml"/><Relationship Id="rId155" Type="http://schemas.openxmlformats.org/officeDocument/2006/relationships/tags" Target="../tags/tag156.xml"/><Relationship Id="rId176" Type="http://schemas.openxmlformats.org/officeDocument/2006/relationships/tags" Target="../tags/tag177.xml"/><Relationship Id="rId197" Type="http://schemas.openxmlformats.org/officeDocument/2006/relationships/tags" Target="../tags/tag198.xml"/><Relationship Id="rId341" Type="http://schemas.openxmlformats.org/officeDocument/2006/relationships/tags" Target="../tags/tag342.xml"/><Relationship Id="rId362" Type="http://schemas.openxmlformats.org/officeDocument/2006/relationships/tags" Target="../tags/tag363.xml"/><Relationship Id="rId383" Type="http://schemas.openxmlformats.org/officeDocument/2006/relationships/tags" Target="../tags/tag384.xml"/><Relationship Id="rId201" Type="http://schemas.openxmlformats.org/officeDocument/2006/relationships/tags" Target="../tags/tag202.xml"/><Relationship Id="rId222" Type="http://schemas.openxmlformats.org/officeDocument/2006/relationships/tags" Target="../tags/tag223.xml"/><Relationship Id="rId243" Type="http://schemas.openxmlformats.org/officeDocument/2006/relationships/tags" Target="../tags/tag244.xml"/><Relationship Id="rId264" Type="http://schemas.openxmlformats.org/officeDocument/2006/relationships/tags" Target="../tags/tag265.xml"/><Relationship Id="rId285" Type="http://schemas.openxmlformats.org/officeDocument/2006/relationships/tags" Target="../tags/tag286.xml"/><Relationship Id="rId17" Type="http://schemas.openxmlformats.org/officeDocument/2006/relationships/tags" Target="../tags/tag18.xml"/><Relationship Id="rId38" Type="http://schemas.openxmlformats.org/officeDocument/2006/relationships/tags" Target="../tags/tag39.xml"/><Relationship Id="rId59" Type="http://schemas.openxmlformats.org/officeDocument/2006/relationships/tags" Target="../tags/tag60.xml"/><Relationship Id="rId103" Type="http://schemas.openxmlformats.org/officeDocument/2006/relationships/tags" Target="../tags/tag104.xml"/><Relationship Id="rId124" Type="http://schemas.openxmlformats.org/officeDocument/2006/relationships/tags" Target="../tags/tag125.xml"/><Relationship Id="rId310" Type="http://schemas.openxmlformats.org/officeDocument/2006/relationships/tags" Target="../tags/tag311.xml"/><Relationship Id="rId70" Type="http://schemas.openxmlformats.org/officeDocument/2006/relationships/tags" Target="../tags/tag71.xml"/><Relationship Id="rId91" Type="http://schemas.openxmlformats.org/officeDocument/2006/relationships/tags" Target="../tags/tag92.xml"/><Relationship Id="rId145" Type="http://schemas.openxmlformats.org/officeDocument/2006/relationships/tags" Target="../tags/tag146.xml"/><Relationship Id="rId166" Type="http://schemas.openxmlformats.org/officeDocument/2006/relationships/tags" Target="../tags/tag167.xml"/><Relationship Id="rId187" Type="http://schemas.openxmlformats.org/officeDocument/2006/relationships/tags" Target="../tags/tag188.xml"/><Relationship Id="rId331" Type="http://schemas.openxmlformats.org/officeDocument/2006/relationships/tags" Target="../tags/tag332.xml"/><Relationship Id="rId352" Type="http://schemas.openxmlformats.org/officeDocument/2006/relationships/tags" Target="../tags/tag353.xml"/><Relationship Id="rId373" Type="http://schemas.openxmlformats.org/officeDocument/2006/relationships/tags" Target="../tags/tag374.xml"/><Relationship Id="rId394" Type="http://schemas.openxmlformats.org/officeDocument/2006/relationships/tags" Target="../tags/tag395.xml"/><Relationship Id="rId1" Type="http://schemas.openxmlformats.org/officeDocument/2006/relationships/tags" Target="../tags/tag2.xml"/><Relationship Id="rId212" Type="http://schemas.openxmlformats.org/officeDocument/2006/relationships/tags" Target="../tags/tag213.xml"/><Relationship Id="rId233" Type="http://schemas.openxmlformats.org/officeDocument/2006/relationships/tags" Target="../tags/tag234.xml"/><Relationship Id="rId254" Type="http://schemas.openxmlformats.org/officeDocument/2006/relationships/tags" Target="../tags/tag255.xml"/><Relationship Id="rId28" Type="http://schemas.openxmlformats.org/officeDocument/2006/relationships/tags" Target="../tags/tag29.xml"/><Relationship Id="rId49" Type="http://schemas.openxmlformats.org/officeDocument/2006/relationships/tags" Target="../tags/tag50.xml"/><Relationship Id="rId114" Type="http://schemas.openxmlformats.org/officeDocument/2006/relationships/tags" Target="../tags/tag115.xml"/><Relationship Id="rId275" Type="http://schemas.openxmlformats.org/officeDocument/2006/relationships/tags" Target="../tags/tag276.xml"/><Relationship Id="rId296" Type="http://schemas.openxmlformats.org/officeDocument/2006/relationships/tags" Target="../tags/tag297.xml"/><Relationship Id="rId300" Type="http://schemas.openxmlformats.org/officeDocument/2006/relationships/tags" Target="../tags/tag301.xml"/><Relationship Id="rId60" Type="http://schemas.openxmlformats.org/officeDocument/2006/relationships/tags" Target="../tags/tag61.xml"/><Relationship Id="rId81" Type="http://schemas.openxmlformats.org/officeDocument/2006/relationships/tags" Target="../tags/tag82.xml"/><Relationship Id="rId135" Type="http://schemas.openxmlformats.org/officeDocument/2006/relationships/tags" Target="../tags/tag136.xml"/><Relationship Id="rId156" Type="http://schemas.openxmlformats.org/officeDocument/2006/relationships/tags" Target="../tags/tag157.xml"/><Relationship Id="rId177" Type="http://schemas.openxmlformats.org/officeDocument/2006/relationships/tags" Target="../tags/tag178.xml"/><Relationship Id="rId198" Type="http://schemas.openxmlformats.org/officeDocument/2006/relationships/tags" Target="../tags/tag199.xml"/><Relationship Id="rId321" Type="http://schemas.openxmlformats.org/officeDocument/2006/relationships/tags" Target="../tags/tag322.xml"/><Relationship Id="rId342" Type="http://schemas.openxmlformats.org/officeDocument/2006/relationships/tags" Target="../tags/tag343.xml"/><Relationship Id="rId363" Type="http://schemas.openxmlformats.org/officeDocument/2006/relationships/tags" Target="../tags/tag364.xml"/><Relationship Id="rId384" Type="http://schemas.openxmlformats.org/officeDocument/2006/relationships/tags" Target="../tags/tag385.xml"/><Relationship Id="rId202" Type="http://schemas.openxmlformats.org/officeDocument/2006/relationships/tags" Target="../tags/tag203.xml"/><Relationship Id="rId223" Type="http://schemas.openxmlformats.org/officeDocument/2006/relationships/tags" Target="../tags/tag224.xml"/><Relationship Id="rId244" Type="http://schemas.openxmlformats.org/officeDocument/2006/relationships/tags" Target="../tags/tag245.xml"/><Relationship Id="rId18" Type="http://schemas.openxmlformats.org/officeDocument/2006/relationships/tags" Target="../tags/tag19.xml"/><Relationship Id="rId39" Type="http://schemas.openxmlformats.org/officeDocument/2006/relationships/tags" Target="../tags/tag40.xml"/><Relationship Id="rId265" Type="http://schemas.openxmlformats.org/officeDocument/2006/relationships/tags" Target="../tags/tag266.xml"/><Relationship Id="rId286" Type="http://schemas.openxmlformats.org/officeDocument/2006/relationships/tags" Target="../tags/tag287.xml"/><Relationship Id="rId50" Type="http://schemas.openxmlformats.org/officeDocument/2006/relationships/tags" Target="../tags/tag51.xml"/><Relationship Id="rId104" Type="http://schemas.openxmlformats.org/officeDocument/2006/relationships/tags" Target="../tags/tag105.xml"/><Relationship Id="rId125" Type="http://schemas.openxmlformats.org/officeDocument/2006/relationships/tags" Target="../tags/tag126.xml"/><Relationship Id="rId146" Type="http://schemas.openxmlformats.org/officeDocument/2006/relationships/tags" Target="../tags/tag147.xml"/><Relationship Id="rId167" Type="http://schemas.openxmlformats.org/officeDocument/2006/relationships/tags" Target="../tags/tag168.xml"/><Relationship Id="rId188" Type="http://schemas.openxmlformats.org/officeDocument/2006/relationships/tags" Target="../tags/tag189.xml"/><Relationship Id="rId311" Type="http://schemas.openxmlformats.org/officeDocument/2006/relationships/tags" Target="../tags/tag312.xml"/><Relationship Id="rId332" Type="http://schemas.openxmlformats.org/officeDocument/2006/relationships/tags" Target="../tags/tag333.xml"/><Relationship Id="rId353" Type="http://schemas.openxmlformats.org/officeDocument/2006/relationships/tags" Target="../tags/tag354.xml"/><Relationship Id="rId374" Type="http://schemas.openxmlformats.org/officeDocument/2006/relationships/tags" Target="../tags/tag375.xml"/><Relationship Id="rId395" Type="http://schemas.openxmlformats.org/officeDocument/2006/relationships/tags" Target="../tags/tag396.xml"/><Relationship Id="rId71" Type="http://schemas.openxmlformats.org/officeDocument/2006/relationships/tags" Target="../tags/tag72.xml"/><Relationship Id="rId92" Type="http://schemas.openxmlformats.org/officeDocument/2006/relationships/tags" Target="../tags/tag93.xml"/><Relationship Id="rId213" Type="http://schemas.openxmlformats.org/officeDocument/2006/relationships/tags" Target="../tags/tag214.xml"/><Relationship Id="rId234" Type="http://schemas.openxmlformats.org/officeDocument/2006/relationships/tags" Target="../tags/tag235.xml"/><Relationship Id="rId2" Type="http://schemas.openxmlformats.org/officeDocument/2006/relationships/tags" Target="../tags/tag3.xml"/><Relationship Id="rId29" Type="http://schemas.openxmlformats.org/officeDocument/2006/relationships/tags" Target="../tags/tag30.xml"/><Relationship Id="rId255" Type="http://schemas.openxmlformats.org/officeDocument/2006/relationships/tags" Target="../tags/tag256.xml"/><Relationship Id="rId276" Type="http://schemas.openxmlformats.org/officeDocument/2006/relationships/tags" Target="../tags/tag277.xml"/><Relationship Id="rId297" Type="http://schemas.openxmlformats.org/officeDocument/2006/relationships/tags" Target="../tags/tag298.xml"/><Relationship Id="rId40" Type="http://schemas.openxmlformats.org/officeDocument/2006/relationships/tags" Target="../tags/tag41.xml"/><Relationship Id="rId115" Type="http://schemas.openxmlformats.org/officeDocument/2006/relationships/tags" Target="../tags/tag116.xml"/><Relationship Id="rId136" Type="http://schemas.openxmlformats.org/officeDocument/2006/relationships/tags" Target="../tags/tag137.xml"/><Relationship Id="rId157" Type="http://schemas.openxmlformats.org/officeDocument/2006/relationships/tags" Target="../tags/tag158.xml"/><Relationship Id="rId178" Type="http://schemas.openxmlformats.org/officeDocument/2006/relationships/tags" Target="../tags/tag179.xml"/><Relationship Id="rId301" Type="http://schemas.openxmlformats.org/officeDocument/2006/relationships/tags" Target="../tags/tag302.xml"/><Relationship Id="rId322" Type="http://schemas.openxmlformats.org/officeDocument/2006/relationships/tags" Target="../tags/tag323.xml"/><Relationship Id="rId343" Type="http://schemas.openxmlformats.org/officeDocument/2006/relationships/tags" Target="../tags/tag344.xml"/><Relationship Id="rId364" Type="http://schemas.openxmlformats.org/officeDocument/2006/relationships/tags" Target="../tags/tag365.xml"/><Relationship Id="rId61" Type="http://schemas.openxmlformats.org/officeDocument/2006/relationships/tags" Target="../tags/tag62.xml"/><Relationship Id="rId82" Type="http://schemas.openxmlformats.org/officeDocument/2006/relationships/tags" Target="../tags/tag83.xml"/><Relationship Id="rId199" Type="http://schemas.openxmlformats.org/officeDocument/2006/relationships/tags" Target="../tags/tag200.xml"/><Relationship Id="rId203" Type="http://schemas.openxmlformats.org/officeDocument/2006/relationships/tags" Target="../tags/tag204.xml"/><Relationship Id="rId385" Type="http://schemas.openxmlformats.org/officeDocument/2006/relationships/tags" Target="../tags/tag386.xml"/><Relationship Id="rId19" Type="http://schemas.openxmlformats.org/officeDocument/2006/relationships/tags" Target="../tags/tag20.xml"/><Relationship Id="rId224" Type="http://schemas.openxmlformats.org/officeDocument/2006/relationships/tags" Target="../tags/tag225.xml"/><Relationship Id="rId245" Type="http://schemas.openxmlformats.org/officeDocument/2006/relationships/tags" Target="../tags/tag246.xml"/><Relationship Id="rId266" Type="http://schemas.openxmlformats.org/officeDocument/2006/relationships/tags" Target="../tags/tag267.xml"/><Relationship Id="rId287" Type="http://schemas.openxmlformats.org/officeDocument/2006/relationships/tags" Target="../tags/tag288.xml"/><Relationship Id="rId30" Type="http://schemas.openxmlformats.org/officeDocument/2006/relationships/tags" Target="../tags/tag31.xml"/><Relationship Id="rId105" Type="http://schemas.openxmlformats.org/officeDocument/2006/relationships/tags" Target="../tags/tag106.xml"/><Relationship Id="rId126" Type="http://schemas.openxmlformats.org/officeDocument/2006/relationships/tags" Target="../tags/tag127.xml"/><Relationship Id="rId147" Type="http://schemas.openxmlformats.org/officeDocument/2006/relationships/tags" Target="../tags/tag148.xml"/><Relationship Id="rId168" Type="http://schemas.openxmlformats.org/officeDocument/2006/relationships/tags" Target="../tags/tag169.xml"/><Relationship Id="rId312" Type="http://schemas.openxmlformats.org/officeDocument/2006/relationships/tags" Target="../tags/tag313.xml"/><Relationship Id="rId333" Type="http://schemas.openxmlformats.org/officeDocument/2006/relationships/tags" Target="../tags/tag334.xml"/><Relationship Id="rId354" Type="http://schemas.openxmlformats.org/officeDocument/2006/relationships/tags" Target="../tags/tag355.xml"/><Relationship Id="rId51" Type="http://schemas.openxmlformats.org/officeDocument/2006/relationships/tags" Target="../tags/tag52.xml"/><Relationship Id="rId72" Type="http://schemas.openxmlformats.org/officeDocument/2006/relationships/tags" Target="../tags/tag73.xml"/><Relationship Id="rId93" Type="http://schemas.openxmlformats.org/officeDocument/2006/relationships/tags" Target="../tags/tag94.xml"/><Relationship Id="rId189" Type="http://schemas.openxmlformats.org/officeDocument/2006/relationships/tags" Target="../tags/tag190.xml"/><Relationship Id="rId375" Type="http://schemas.openxmlformats.org/officeDocument/2006/relationships/tags" Target="../tags/tag376.xml"/><Relationship Id="rId396" Type="http://schemas.openxmlformats.org/officeDocument/2006/relationships/tags" Target="../tags/tag397.xml"/><Relationship Id="rId3" Type="http://schemas.openxmlformats.org/officeDocument/2006/relationships/tags" Target="../tags/tag4.xml"/><Relationship Id="rId214" Type="http://schemas.openxmlformats.org/officeDocument/2006/relationships/tags" Target="../tags/tag215.xml"/><Relationship Id="rId235" Type="http://schemas.openxmlformats.org/officeDocument/2006/relationships/tags" Target="../tags/tag236.xml"/><Relationship Id="rId256" Type="http://schemas.openxmlformats.org/officeDocument/2006/relationships/tags" Target="../tags/tag257.xml"/><Relationship Id="rId277" Type="http://schemas.openxmlformats.org/officeDocument/2006/relationships/tags" Target="../tags/tag278.xml"/><Relationship Id="rId298" Type="http://schemas.openxmlformats.org/officeDocument/2006/relationships/tags" Target="../tags/tag299.xml"/><Relationship Id="rId400" Type="http://schemas.openxmlformats.org/officeDocument/2006/relationships/image" Target="../media/image16.png"/><Relationship Id="rId116" Type="http://schemas.openxmlformats.org/officeDocument/2006/relationships/tags" Target="../tags/tag117.xml"/><Relationship Id="rId137" Type="http://schemas.openxmlformats.org/officeDocument/2006/relationships/tags" Target="../tags/tag138.xml"/><Relationship Id="rId158" Type="http://schemas.openxmlformats.org/officeDocument/2006/relationships/tags" Target="../tags/tag159.xml"/><Relationship Id="rId302" Type="http://schemas.openxmlformats.org/officeDocument/2006/relationships/tags" Target="../tags/tag303.xml"/><Relationship Id="rId323" Type="http://schemas.openxmlformats.org/officeDocument/2006/relationships/tags" Target="../tags/tag324.xml"/><Relationship Id="rId344" Type="http://schemas.openxmlformats.org/officeDocument/2006/relationships/tags" Target="../tags/tag345.xml"/><Relationship Id="rId20" Type="http://schemas.openxmlformats.org/officeDocument/2006/relationships/tags" Target="../tags/tag21.xml"/><Relationship Id="rId41" Type="http://schemas.openxmlformats.org/officeDocument/2006/relationships/tags" Target="../tags/tag42.xml"/><Relationship Id="rId62" Type="http://schemas.openxmlformats.org/officeDocument/2006/relationships/tags" Target="../tags/tag63.xml"/><Relationship Id="rId83" Type="http://schemas.openxmlformats.org/officeDocument/2006/relationships/tags" Target="../tags/tag84.xml"/><Relationship Id="rId179" Type="http://schemas.openxmlformats.org/officeDocument/2006/relationships/tags" Target="../tags/tag180.xml"/><Relationship Id="rId365" Type="http://schemas.openxmlformats.org/officeDocument/2006/relationships/tags" Target="../tags/tag366.xml"/><Relationship Id="rId386" Type="http://schemas.openxmlformats.org/officeDocument/2006/relationships/tags" Target="../tags/tag387.xml"/><Relationship Id="rId190" Type="http://schemas.openxmlformats.org/officeDocument/2006/relationships/tags" Target="../tags/tag191.xml"/><Relationship Id="rId204" Type="http://schemas.openxmlformats.org/officeDocument/2006/relationships/tags" Target="../tags/tag205.xml"/><Relationship Id="rId225" Type="http://schemas.openxmlformats.org/officeDocument/2006/relationships/tags" Target="../tags/tag226.xml"/><Relationship Id="rId246" Type="http://schemas.openxmlformats.org/officeDocument/2006/relationships/tags" Target="../tags/tag247.xml"/><Relationship Id="rId267" Type="http://schemas.openxmlformats.org/officeDocument/2006/relationships/tags" Target="../tags/tag268.xml"/><Relationship Id="rId288" Type="http://schemas.openxmlformats.org/officeDocument/2006/relationships/tags" Target="../tags/tag289.xml"/><Relationship Id="rId106" Type="http://schemas.openxmlformats.org/officeDocument/2006/relationships/tags" Target="../tags/tag107.xml"/><Relationship Id="rId127" Type="http://schemas.openxmlformats.org/officeDocument/2006/relationships/tags" Target="../tags/tag128.xml"/><Relationship Id="rId313" Type="http://schemas.openxmlformats.org/officeDocument/2006/relationships/tags" Target="../tags/tag314.xml"/><Relationship Id="rId10" Type="http://schemas.openxmlformats.org/officeDocument/2006/relationships/tags" Target="../tags/tag11.xml"/><Relationship Id="rId31" Type="http://schemas.openxmlformats.org/officeDocument/2006/relationships/tags" Target="../tags/tag32.xml"/><Relationship Id="rId52" Type="http://schemas.openxmlformats.org/officeDocument/2006/relationships/tags" Target="../tags/tag53.xml"/><Relationship Id="rId73" Type="http://schemas.openxmlformats.org/officeDocument/2006/relationships/tags" Target="../tags/tag74.xml"/><Relationship Id="rId94" Type="http://schemas.openxmlformats.org/officeDocument/2006/relationships/tags" Target="../tags/tag95.xml"/><Relationship Id="rId148" Type="http://schemas.openxmlformats.org/officeDocument/2006/relationships/tags" Target="../tags/tag149.xml"/><Relationship Id="rId169" Type="http://schemas.openxmlformats.org/officeDocument/2006/relationships/tags" Target="../tags/tag170.xml"/><Relationship Id="rId334" Type="http://schemas.openxmlformats.org/officeDocument/2006/relationships/tags" Target="../tags/tag335.xml"/><Relationship Id="rId355" Type="http://schemas.openxmlformats.org/officeDocument/2006/relationships/tags" Target="../tags/tag356.xml"/><Relationship Id="rId376" Type="http://schemas.openxmlformats.org/officeDocument/2006/relationships/tags" Target="../tags/tag377.xml"/><Relationship Id="rId397" Type="http://schemas.openxmlformats.org/officeDocument/2006/relationships/slideLayout" Target="../slideLayouts/slideLayout12.xml"/><Relationship Id="rId4" Type="http://schemas.openxmlformats.org/officeDocument/2006/relationships/tags" Target="../tags/tag5.xml"/><Relationship Id="rId180" Type="http://schemas.openxmlformats.org/officeDocument/2006/relationships/tags" Target="../tags/tag181.xml"/><Relationship Id="rId215" Type="http://schemas.openxmlformats.org/officeDocument/2006/relationships/tags" Target="../tags/tag216.xml"/><Relationship Id="rId236" Type="http://schemas.openxmlformats.org/officeDocument/2006/relationships/tags" Target="../tags/tag237.xml"/><Relationship Id="rId257" Type="http://schemas.openxmlformats.org/officeDocument/2006/relationships/tags" Target="../tags/tag258.xml"/><Relationship Id="rId278" Type="http://schemas.openxmlformats.org/officeDocument/2006/relationships/tags" Target="../tags/tag279.xml"/><Relationship Id="rId401" Type="http://schemas.openxmlformats.org/officeDocument/2006/relationships/image" Target="NULL"/><Relationship Id="rId303" Type="http://schemas.openxmlformats.org/officeDocument/2006/relationships/tags" Target="../tags/tag304.xml"/><Relationship Id="rId42" Type="http://schemas.openxmlformats.org/officeDocument/2006/relationships/tags" Target="../tags/tag43.xml"/><Relationship Id="rId84" Type="http://schemas.openxmlformats.org/officeDocument/2006/relationships/tags" Target="../tags/tag85.xml"/><Relationship Id="rId138" Type="http://schemas.openxmlformats.org/officeDocument/2006/relationships/tags" Target="../tags/tag139.xml"/><Relationship Id="rId345" Type="http://schemas.openxmlformats.org/officeDocument/2006/relationships/tags" Target="../tags/tag346.xml"/><Relationship Id="rId387" Type="http://schemas.openxmlformats.org/officeDocument/2006/relationships/tags" Target="../tags/tag388.xml"/><Relationship Id="rId191" Type="http://schemas.openxmlformats.org/officeDocument/2006/relationships/tags" Target="../tags/tag192.xml"/><Relationship Id="rId205" Type="http://schemas.openxmlformats.org/officeDocument/2006/relationships/tags" Target="../tags/tag206.xml"/><Relationship Id="rId247" Type="http://schemas.openxmlformats.org/officeDocument/2006/relationships/tags" Target="../tags/tag248.xml"/></Relationships>
</file>

<file path=ppt/slides/_rels/slide5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5.xml"/><Relationship Id="rId1" Type="http://schemas.openxmlformats.org/officeDocument/2006/relationships/slideLayout" Target="../slideLayouts/slideLayout19.xml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9.jpg"/><Relationship Id="rId2" Type="http://schemas.openxmlformats.org/officeDocument/2006/relationships/notesSlide" Target="../notesSlides/notesSlide46.xml"/><Relationship Id="rId1" Type="http://schemas.openxmlformats.org/officeDocument/2006/relationships/slideLayout" Target="../slideLayouts/slideLayout20.xml"/><Relationship Id="rId4" Type="http://schemas.openxmlformats.org/officeDocument/2006/relationships/image" Target="../media/image170.png"/></Relationships>
</file>

<file path=ppt/slides/_rels/slide5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7.xml"/><Relationship Id="rId1" Type="http://schemas.openxmlformats.org/officeDocument/2006/relationships/slideLayout" Target="../slideLayouts/slideLayout21.xml"/></Relationships>
</file>

<file path=ppt/slides/_rels/slide5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8.xml"/><Relationship Id="rId1" Type="http://schemas.openxmlformats.org/officeDocument/2006/relationships/slideLayout" Target="../slideLayouts/slideLayout21.xml"/></Relationships>
</file>

<file path=ppt/slides/_rels/slide5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9.xml"/><Relationship Id="rId1" Type="http://schemas.openxmlformats.org/officeDocument/2006/relationships/slideLayout" Target="../slideLayouts/slideLayout21.xml"/></Relationships>
</file>

<file path=ppt/slides/_rels/slide5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0.xml"/><Relationship Id="rId1" Type="http://schemas.openxmlformats.org/officeDocument/2006/relationships/slideLayout" Target="../slideLayouts/slideLayout21.xml"/></Relationships>
</file>

<file path=ppt/slides/_rels/slide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1.png"/><Relationship Id="rId2" Type="http://schemas.openxmlformats.org/officeDocument/2006/relationships/notesSlide" Target="../notesSlides/notesSlide51.xml"/><Relationship Id="rId1" Type="http://schemas.openxmlformats.org/officeDocument/2006/relationships/slideLayout" Target="../slideLayouts/slideLayout14.xml"/><Relationship Id="rId5" Type="http://schemas.openxmlformats.org/officeDocument/2006/relationships/image" Target="../media/image173.png"/><Relationship Id="rId4" Type="http://schemas.openxmlformats.org/officeDocument/2006/relationships/image" Target="../media/image172.png"/></Relationships>
</file>

<file path=ppt/slides/_rels/slide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52.xml"/><Relationship Id="rId1" Type="http://schemas.openxmlformats.org/officeDocument/2006/relationships/slideLayout" Target="../slideLayouts/slideLayout11.xml"/><Relationship Id="rId4" Type="http://schemas.openxmlformats.org/officeDocument/2006/relationships/image" Target="../media/image6.png"/></Relationships>
</file>

<file path=ppt/slides/_rels/slide58.xml.rels><?xml version="1.0" encoding="UTF-8" standalone="yes"?>
<Relationships xmlns="http://schemas.openxmlformats.org/package/2006/relationships"><Relationship Id="rId8" Type="http://schemas.openxmlformats.org/officeDocument/2006/relationships/hyperlink" Target="https://docs.oracle.com/pt-br/iaas/exadata/doc/ecc-using-dbaascli.html" TargetMode="External"/><Relationship Id="rId3" Type="http://schemas.openxmlformats.org/officeDocument/2006/relationships/image" Target="../media/image174.png"/><Relationship Id="rId7" Type="http://schemas.openxmlformats.org/officeDocument/2006/relationships/hyperlink" Target="https://www.oracle.com/a/ocom/docs/engineered-systems/exadata/exadata-cloud-infrastructure-x9m-ds.pdf" TargetMode="External"/><Relationship Id="rId2" Type="http://schemas.openxmlformats.org/officeDocument/2006/relationships/notesSlide" Target="../notesSlides/notesSlide53.xml"/><Relationship Id="rId1" Type="http://schemas.openxmlformats.org/officeDocument/2006/relationships/slideLayout" Target="../slideLayouts/slideLayout23.xml"/><Relationship Id="rId6" Type="http://schemas.openxmlformats.org/officeDocument/2006/relationships/hyperlink" Target="https://docs.oracle.com/en/cloud/paas/nosql-cloud/" TargetMode="External"/><Relationship Id="rId5" Type="http://schemas.openxmlformats.org/officeDocument/2006/relationships/hyperlink" Target="https://docs.oracle.com/en/cloud/paas/db-backup-cloud/" TargetMode="External"/><Relationship Id="rId10" Type="http://schemas.openxmlformats.org/officeDocument/2006/relationships/hyperlink" Target="https://www.oracle.com/database/zero-data-loss-autonomous-recovery-service" TargetMode="External"/><Relationship Id="rId4" Type="http://schemas.openxmlformats.org/officeDocument/2006/relationships/image" Target="../media/image1.emf"/><Relationship Id="rId9" Type="http://schemas.openxmlformats.org/officeDocument/2006/relationships/hyperlink" Target="https://www.oracle.com/a/ocom/docs/engineered-systems/exadata/exadb-cc-x10m-ds.pdf" TargetMode="External"/></Relationships>
</file>

<file path=ppt/slides/_rels/slide59.xml.rels><?xml version="1.0" encoding="UTF-8" standalone="yes"?>
<Relationships xmlns="http://schemas.openxmlformats.org/package/2006/relationships"><Relationship Id="rId8" Type="http://schemas.openxmlformats.org/officeDocument/2006/relationships/hyperlink" Target="https://docs.oracle.com/en/solutions/deploy-exadata-on-oracle-db-azure/index.html#GUID-5EBF9A57-D710-48C4-BDDA-7E71A10AC62B" TargetMode="External"/><Relationship Id="rId3" Type="http://schemas.openxmlformats.org/officeDocument/2006/relationships/image" Target="../media/image174.png"/><Relationship Id="rId7" Type="http://schemas.openxmlformats.org/officeDocument/2006/relationships/hyperlink" Target="https://docs.oracle.com/en-us/iaas/exadatacloud/exacs/exadata-cloud-infrastructure-overview.html" TargetMode="External"/><Relationship Id="rId2" Type="http://schemas.openxmlformats.org/officeDocument/2006/relationships/notesSlide" Target="../notesSlides/notesSlide54.xml"/><Relationship Id="rId1" Type="http://schemas.openxmlformats.org/officeDocument/2006/relationships/slideLayout" Target="../slideLayouts/slideLayout23.xml"/><Relationship Id="rId6" Type="http://schemas.openxmlformats.org/officeDocument/2006/relationships/hyperlink" Target="https://docs.oracle.com/en/engineered-systems/exadata-cloud-at-customer/" TargetMode="External"/><Relationship Id="rId5" Type="http://schemas.openxmlformats.org/officeDocument/2006/relationships/hyperlink" Target="https://www.oracle.com/corporate/license-management-services/" TargetMode="External"/><Relationship Id="rId10" Type="http://schemas.openxmlformats.org/officeDocument/2006/relationships/hyperlink" Target="https://apexapps.oracle.com/pls/apex/f?p=133:180:17361911969675::::wid:3694" TargetMode="External"/><Relationship Id="rId4" Type="http://schemas.openxmlformats.org/officeDocument/2006/relationships/image" Target="../media/image1.emf"/><Relationship Id="rId9" Type="http://schemas.openxmlformats.org/officeDocument/2006/relationships/hyperlink" Target="https://apexapps.oracle.com/pls/apex/r/dbpm/livelabs/home" TargetMode="Externa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1.xml"/><Relationship Id="rId4" Type="http://schemas.openxmlformats.org/officeDocument/2006/relationships/image" Target="../media/image6.png"/></Relationships>
</file>

<file path=ppt/slides/_rels/slide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4.png"/><Relationship Id="rId7" Type="http://schemas.openxmlformats.org/officeDocument/2006/relationships/hyperlink" Target="https://www.youtube.com/watch?v=TtZOy_NRouc" TargetMode="External"/><Relationship Id="rId2" Type="http://schemas.openxmlformats.org/officeDocument/2006/relationships/notesSlide" Target="../notesSlides/notesSlide55.xml"/><Relationship Id="rId1" Type="http://schemas.openxmlformats.org/officeDocument/2006/relationships/slideLayout" Target="../slideLayouts/slideLayout23.xml"/><Relationship Id="rId6" Type="http://schemas.openxmlformats.org/officeDocument/2006/relationships/hyperlink" Target="https://apexapps.oracle.com/pls/apex/f?p=133:180:17361911969675::::wid:642" TargetMode="External"/><Relationship Id="rId5" Type="http://schemas.openxmlformats.org/officeDocument/2006/relationships/hyperlink" Target="https://apexapps.oracle.com/pls/apex/r/dbpm/livelabs/view-workshop?wid=879&amp;clear=RR,180&amp;session=17361911969675" TargetMode="External"/><Relationship Id="rId4" Type="http://schemas.openxmlformats.org/officeDocument/2006/relationships/image" Target="../media/image1.emf"/></Relationships>
</file>

<file path=ppt/slides/_rels/slide6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6.xml"/><Relationship Id="rId1" Type="http://schemas.openxmlformats.org/officeDocument/2006/relationships/slideLayout" Target="../slideLayouts/slideLayout10.xml"/></Relationships>
</file>

<file path=ppt/slides/_rels/slide6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7.xml"/><Relationship Id="rId1" Type="http://schemas.openxmlformats.org/officeDocument/2006/relationships/slideLayout" Target="../slideLayouts/slideLayout26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15.xml"/><Relationship Id="rId5" Type="http://schemas.openxmlformats.org/officeDocument/2006/relationships/image" Target="../media/image19.tiff"/><Relationship Id="rId4" Type="http://schemas.microsoft.com/office/2007/relationships/hdphoto" Target="../media/hdphoto1.wdp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1.xml"/><Relationship Id="rId4" Type="http://schemas.openxmlformats.org/officeDocument/2006/relationships/image" Target="../media/image6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0.svg"/><Relationship Id="rId3" Type="http://schemas.openxmlformats.org/officeDocument/2006/relationships/image" Target="../media/image20.png"/><Relationship Id="rId7" Type="http://schemas.openxmlformats.org/officeDocument/2006/relationships/image" Target="../media/image22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58.svg"/><Relationship Id="rId5" Type="http://schemas.openxmlformats.org/officeDocument/2006/relationships/image" Target="../media/image21.png"/><Relationship Id="rId10" Type="http://schemas.openxmlformats.org/officeDocument/2006/relationships/image" Target="../media/image162.svg"/><Relationship Id="rId4" Type="http://schemas.openxmlformats.org/officeDocument/2006/relationships/image" Target="../media/image156.svg"/><Relationship Id="rId9" Type="http://schemas.openxmlformats.org/officeDocument/2006/relationships/image" Target="../media/image23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D7EEBD4-6C6D-4667-A488-4DAC3FFAD70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016508" y="2476010"/>
            <a:ext cx="10158984" cy="1280160"/>
          </a:xfrm>
        </p:spPr>
        <p:txBody>
          <a:bodyPr/>
          <a:lstStyle/>
          <a:p>
            <a:r>
              <a:rPr lang="en-US" sz="5400" dirty="0" smtClean="0"/>
              <a:t>Oracle Cloud DBA</a:t>
            </a:r>
            <a:endParaRPr lang="en-US" sz="5400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559C4A7-C29F-4B7A-BB03-BEE2303F3EB4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1016508" y="3622385"/>
            <a:ext cx="10158984" cy="341247"/>
          </a:xfrm>
        </p:spPr>
        <p:txBody>
          <a:bodyPr/>
          <a:lstStyle/>
          <a:p>
            <a:r>
              <a:rPr lang="en-US" dirty="0" smtClean="0"/>
              <a:t>Lear how to stay up to date on this </a:t>
            </a:r>
            <a:r>
              <a:rPr lang="en-US" dirty="0" err="1" smtClean="0"/>
              <a:t>Dbaas</a:t>
            </a:r>
            <a:r>
              <a:rPr lang="en-US" dirty="0" smtClean="0"/>
              <a:t> era – Day 1</a:t>
            </a:r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BF2BCE1-0F30-4370-946F-F0642C09AD53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/>
        <p:txBody>
          <a:bodyPr/>
          <a:lstStyle/>
          <a:p>
            <a:r>
              <a:rPr lang="en-US" dirty="0" smtClean="0"/>
              <a:t>Marcel Lamarca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D94932F-1CE7-4FFD-83F3-44419D74BBB1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/>
        <p:txBody>
          <a:bodyPr/>
          <a:lstStyle/>
          <a:p>
            <a:pPr lvl="0"/>
            <a:r>
              <a:rPr lang="en-US" dirty="0" err="1" smtClean="0"/>
              <a:t>Exadata</a:t>
            </a:r>
            <a:r>
              <a:rPr lang="en-US" dirty="0" smtClean="0"/>
              <a:t> Cloud Specialist</a:t>
            </a:r>
            <a:endParaRPr lang="en-US" dirty="0"/>
          </a:p>
          <a:p>
            <a:pPr lvl="0"/>
            <a:r>
              <a:rPr lang="en-US" dirty="0" smtClean="0"/>
              <a:t>Oracle, Alliances and Channels LAD</a:t>
            </a:r>
            <a:endParaRPr lang="en-US" dirty="0"/>
          </a:p>
          <a:p>
            <a:pPr lvl="0"/>
            <a:r>
              <a:rPr lang="en-US" dirty="0"/>
              <a:t>February, 2024 </a:t>
            </a:r>
          </a:p>
        </p:txBody>
      </p:sp>
      <p:cxnSp>
        <p:nvCxnSpPr>
          <p:cNvPr id="7" name="Accent Mark">
            <a:extLst>
              <a:ext uri="{FF2B5EF4-FFF2-40B4-BE49-F238E27FC236}">
                <a16:creationId xmlns:a16="http://schemas.microsoft.com/office/drawing/2014/main" id="{3F06A00E-8C1B-43F8-A971-0009F93068C1}"/>
              </a:ext>
              <a:ext uri="{C183D7F6-B498-43B3-948B-1728B52AA6E4}">
                <adec:decorative xmlns="" xmlns:adec="http://schemas.microsoft.com/office/drawing/2017/decorative" val="1"/>
              </a:ext>
            </a:extLst>
          </p:cNvPr>
          <p:cNvCxnSpPr/>
          <p:nvPr/>
        </p:nvCxnSpPr>
        <p:spPr>
          <a:xfrm flipH="1">
            <a:off x="1018030" y="4360230"/>
            <a:ext cx="374904" cy="0"/>
          </a:xfrm>
          <a:prstGeom prst="line">
            <a:avLst/>
          </a:prstGeom>
          <a:ln w="38100" cap="flat">
            <a:solidFill>
              <a:srgbClr val="FACD6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790460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p15="http://schemas.microsoft.com/office/powerpoint/2012/main" xmlns:a14="http://schemas.microsoft.com/office/drawing/2010/main"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F18B1FC-56E0-4391-AE70-AE9424840F8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Copyright © 2024, Oracle and/or its affiliates. All rights reserved   </a:t>
            </a:r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65035" y="1348019"/>
            <a:ext cx="10734675" cy="429577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8" name="Título 1"/>
          <p:cNvSpPr txBox="1">
            <a:spLocks/>
          </p:cNvSpPr>
          <p:nvPr/>
        </p:nvSpPr>
        <p:spPr>
          <a:xfrm>
            <a:off x="939885" y="337333"/>
            <a:ext cx="7666181" cy="692727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 defTabSz="914400" rtl="0" eaLnBrk="1" latinLnBrk="0" hangingPunct="1">
              <a:lnSpc>
                <a:spcPct val="95000"/>
              </a:lnSpc>
              <a:spcBef>
                <a:spcPct val="0"/>
              </a:spcBef>
              <a:buNone/>
              <a:defRPr lang="en-US" sz="2400" b="1" i="0" kern="1200" baseline="0">
                <a:solidFill>
                  <a:schemeClr val="tx1"/>
                </a:solidFill>
                <a:latin typeface="+mn-lt"/>
                <a:ea typeface="+mn-ea"/>
                <a:cs typeface="+mj-cs"/>
              </a:defRPr>
            </a:lvl1pPr>
          </a:lstStyle>
          <a:p>
            <a:r>
              <a:rPr lang="pt-BR" dirty="0" smtClean="0"/>
              <a:t>Exadata Cloud  | </a:t>
            </a:r>
            <a:r>
              <a:rPr lang="pt-BR" dirty="0" smtClean="0">
                <a:solidFill>
                  <a:schemeClr val="accent1">
                    <a:lumMod val="75000"/>
                  </a:schemeClr>
                </a:solidFill>
              </a:rPr>
              <a:t>OCI Console </a:t>
            </a:r>
            <a:br>
              <a:rPr lang="pt-BR" dirty="0" smtClean="0">
                <a:solidFill>
                  <a:schemeClr val="accent1">
                    <a:lumMod val="75000"/>
                  </a:schemeClr>
                </a:solidFill>
              </a:rPr>
            </a:br>
            <a:endParaRPr lang="pt-BR" sz="1600" dirty="0">
              <a:solidFill>
                <a:schemeClr val="accent4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5D60D9-5372-5F40-9443-0F9AE5BDC3C8}" type="slidenum">
              <a:rPr lang="en-US" smtClean="0"/>
              <a:pPr/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626440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smtClean="0"/>
              <a:t>Copyright © 2024, Oracle and/or its affiliates. All rights reserved   </a:t>
            </a:r>
            <a:endParaRPr lang="en-US" dirty="0"/>
          </a:p>
        </p:txBody>
      </p:sp>
      <p:sp>
        <p:nvSpPr>
          <p:cNvPr id="8" name="Título 1"/>
          <p:cNvSpPr>
            <a:spLocks noGrp="1"/>
          </p:cNvSpPr>
          <p:nvPr>
            <p:ph type="title"/>
          </p:nvPr>
        </p:nvSpPr>
        <p:spPr>
          <a:xfrm>
            <a:off x="545691" y="267208"/>
            <a:ext cx="7666181" cy="692727"/>
          </a:xfrm>
        </p:spPr>
        <p:txBody>
          <a:bodyPr/>
          <a:lstStyle/>
          <a:p>
            <a:r>
              <a:rPr lang="en-US" dirty="0" smtClean="0"/>
              <a:t>Database Cloud Service | </a:t>
            </a:r>
            <a:r>
              <a:rPr lang="en-US" dirty="0" err="1" smtClean="0"/>
              <a:t>Exadata</a:t>
            </a:r>
            <a:r>
              <a:rPr lang="en-US" dirty="0" smtClean="0">
                <a:solidFill>
                  <a:schemeClr val="accent1">
                    <a:lumMod val="75000"/>
                  </a:schemeClr>
                </a:solidFill>
              </a:rPr>
              <a:t/>
            </a:r>
            <a:br>
              <a:rPr lang="en-US" dirty="0" smtClean="0">
                <a:solidFill>
                  <a:schemeClr val="accent1">
                    <a:lumMod val="75000"/>
                  </a:schemeClr>
                </a:solidFill>
              </a:rPr>
            </a:br>
            <a:r>
              <a:rPr lang="en-US" sz="1600" b="0" dirty="0" smtClean="0"/>
              <a:t>Understanding Oracle </a:t>
            </a:r>
            <a:r>
              <a:rPr lang="en-US" sz="1600" b="0" dirty="0" err="1" smtClean="0"/>
              <a:t>Exadata</a:t>
            </a:r>
            <a:r>
              <a:rPr lang="en-US" sz="1600" b="0" dirty="0" smtClean="0"/>
              <a:t> Cloud Service and Cloud at Customer  </a:t>
            </a:r>
            <a:endParaRPr lang="en-US" sz="1600" dirty="0"/>
          </a:p>
        </p:txBody>
      </p:sp>
      <p:sp>
        <p:nvSpPr>
          <p:cNvPr id="3" name="Rectangle 2"/>
          <p:cNvSpPr/>
          <p:nvPr/>
        </p:nvSpPr>
        <p:spPr>
          <a:xfrm>
            <a:off x="2269543" y="1569103"/>
            <a:ext cx="9207190" cy="393954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b="1" dirty="0" smtClean="0">
                <a:latin typeface="Oracle Sans (Body)"/>
              </a:rPr>
              <a:t>World’s Best database machine, provisioning with GI</a:t>
            </a:r>
          </a:p>
          <a:p>
            <a:endParaRPr lang="en-US" dirty="0" smtClean="0">
              <a:latin typeface="Oracle Sans (Body)"/>
            </a:endParaRPr>
          </a:p>
          <a:p>
            <a:r>
              <a:rPr lang="en-US" dirty="0"/>
              <a:t>•  </a:t>
            </a:r>
            <a:r>
              <a:rPr lang="en-US" dirty="0" smtClean="0"/>
              <a:t>As many databases as you want</a:t>
            </a:r>
          </a:p>
          <a:p>
            <a:endParaRPr lang="en-US" dirty="0" smtClean="0"/>
          </a:p>
          <a:p>
            <a:r>
              <a:rPr lang="en-US" dirty="0" smtClean="0"/>
              <a:t>•  No Single Instance allowed. Just RAC!</a:t>
            </a:r>
          </a:p>
          <a:p>
            <a:r>
              <a:rPr lang="en-US" sz="1600" dirty="0" smtClean="0">
                <a:latin typeface="Oracle Sans Light" panose="020B0403020204020204" pitchFamily="34" charset="0"/>
                <a:cs typeface="Oracle Sans Light" panose="020B0403020204020204" pitchFamily="34" charset="0"/>
              </a:rPr>
              <a:t>                       </a:t>
            </a:r>
          </a:p>
          <a:p>
            <a:r>
              <a:rPr lang="en-US" dirty="0" smtClean="0"/>
              <a:t>•  Start With 2 cores and Scale Up/Down OCPU’s based on your requirement</a:t>
            </a:r>
          </a:p>
          <a:p>
            <a:endParaRPr lang="en-US" dirty="0" smtClean="0"/>
          </a:p>
          <a:p>
            <a:r>
              <a:rPr lang="en-US" dirty="0" smtClean="0"/>
              <a:t>•  Data Guard with and across Ads </a:t>
            </a:r>
          </a:p>
          <a:p>
            <a:endParaRPr lang="en-US" dirty="0" smtClean="0"/>
          </a:p>
          <a:p>
            <a:r>
              <a:rPr lang="en-US" dirty="0"/>
              <a:t>•  </a:t>
            </a:r>
            <a:r>
              <a:rPr lang="en-US" dirty="0" smtClean="0"/>
              <a:t>Only Oracle Database Enterprise Editions allowed </a:t>
            </a:r>
            <a:endParaRPr lang="en-US" dirty="0"/>
          </a:p>
          <a:p>
            <a:endParaRPr lang="en-US" dirty="0" smtClean="0"/>
          </a:p>
          <a:p>
            <a:r>
              <a:rPr lang="en-US" dirty="0" smtClean="0"/>
              <a:t>•  Works with Autonomous Database on Dedicated Infrastructure</a:t>
            </a:r>
            <a:endParaRPr lang="en-US" dirty="0"/>
          </a:p>
          <a:p>
            <a:endParaRPr lang="pt-BR" dirty="0">
              <a:cs typeface="Oracle Sans Light" panose="020B0403020204020204" pitchFamily="34" charset="0"/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45691" y="1366985"/>
            <a:ext cx="1577477" cy="4343776"/>
          </a:xfrm>
          <a:prstGeom prst="rect">
            <a:avLst/>
          </a:prstGeom>
        </p:spPr>
      </p:pic>
      <p:sp>
        <p:nvSpPr>
          <p:cNvPr id="6" name="Slide Number Placehold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345D60D9-5372-5F40-9443-0F9AE5BDC3C8}" type="slidenum">
              <a:rPr lang="en-US" smtClean="0"/>
              <a:pPr/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567391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smtClean="0"/>
              <a:t>Copyright © 2024, Oracle and/or its affiliates. All rights reserved   </a:t>
            </a:r>
            <a:endParaRPr lang="en-US" dirty="0"/>
          </a:p>
        </p:txBody>
      </p:sp>
      <p:pic>
        <p:nvPicPr>
          <p:cNvPr id="6" name="Picture 3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87319" y="1999638"/>
            <a:ext cx="4452310" cy="3495779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10" name="Rounded Rectangle 10">
            <a:extLst>
              <a:ext uri="{FF2B5EF4-FFF2-40B4-BE49-F238E27FC236}">
                <a16:creationId xmlns:a16="http://schemas.microsoft.com/office/drawing/2014/main" id="{DE8C2D1F-8994-4686-A22A-0F5D8DD5E79E}"/>
              </a:ext>
            </a:extLst>
          </p:cNvPr>
          <p:cNvSpPr/>
          <p:nvPr/>
        </p:nvSpPr>
        <p:spPr>
          <a:xfrm>
            <a:off x="5096107" y="1490560"/>
            <a:ext cx="6850564" cy="1910562"/>
          </a:xfrm>
          <a:prstGeom prst="roundRect">
            <a:avLst/>
          </a:prstGeom>
          <a:solidFill>
            <a:srgbClr val="2C5967"/>
          </a:solidFill>
          <a:ln w="38100">
            <a:noFill/>
          </a:ln>
          <a:effectLst>
            <a:outerShdw blurRad="50800" dist="50800" dir="5400000" sx="101000" sy="101000" algn="ctr" rotWithShape="0">
              <a:srgbClr val="000000"/>
            </a:outerShdw>
          </a:effectLst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274320" rtlCol="0" anchor="ctr"/>
          <a:lstStyle/>
          <a:p>
            <a:pPr>
              <a:lnSpc>
                <a:spcPct val="120000"/>
              </a:lnSpc>
            </a:pPr>
            <a:r>
              <a:rPr lang="en-US" sz="1600" b="1" dirty="0">
                <a:solidFill>
                  <a:schemeClr val="bg2"/>
                </a:solidFill>
                <a:latin typeface="Oracle Sans" panose="020B0503020204020204" pitchFamily="34" charset="0"/>
                <a:cs typeface="Oracle Sans" panose="020B0503020204020204" pitchFamily="34" charset="0"/>
              </a:rPr>
              <a:t>About </a:t>
            </a:r>
            <a:r>
              <a:rPr lang="en-US" sz="1600" b="1" i="1" dirty="0">
                <a:solidFill>
                  <a:schemeClr val="bg2"/>
                </a:solidFill>
                <a:latin typeface="Oracle Sans" panose="020B0503020204020204" pitchFamily="34" charset="0"/>
                <a:cs typeface="Oracle Sans" panose="020B0503020204020204" pitchFamily="34" charset="0"/>
              </a:rPr>
              <a:t>Dom0 </a:t>
            </a:r>
            <a:r>
              <a:rPr lang="en-US" sz="1600" b="1" dirty="0" smtClean="0">
                <a:solidFill>
                  <a:schemeClr val="bg2"/>
                </a:solidFill>
                <a:latin typeface="Oracle Sans" panose="020B0503020204020204" pitchFamily="34" charset="0"/>
                <a:cs typeface="Oracle Sans" panose="020B0503020204020204" pitchFamily="34" charset="0"/>
              </a:rPr>
              <a:t>Oracle Responsibilities</a:t>
            </a:r>
          </a:p>
          <a:p>
            <a:pPr marL="285750" indent="-28575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n-US" sz="1100" b="1" dirty="0" smtClean="0">
                <a:solidFill>
                  <a:schemeClr val="bg2"/>
                </a:solidFill>
                <a:latin typeface="Oracle Sans" panose="020B0503020204020204" pitchFamily="34" charset="0"/>
                <a:cs typeface="Oracle Sans" panose="020B0503020204020204" pitchFamily="34" charset="0"/>
              </a:rPr>
              <a:t>Oracle </a:t>
            </a:r>
            <a:r>
              <a:rPr lang="en-US" sz="1100" b="1" dirty="0">
                <a:solidFill>
                  <a:schemeClr val="bg2"/>
                </a:solidFill>
                <a:latin typeface="Oracle Sans" panose="020B0503020204020204" pitchFamily="34" charset="0"/>
                <a:cs typeface="Oracle Sans" panose="020B0503020204020204" pitchFamily="34" charset="0"/>
              </a:rPr>
              <a:t>Cloud Ops manage </a:t>
            </a:r>
            <a:r>
              <a:rPr lang="en-US" sz="1100" b="1" dirty="0" err="1">
                <a:solidFill>
                  <a:schemeClr val="bg2"/>
                </a:solidFill>
                <a:latin typeface="Oracle Sans" panose="020B0503020204020204" pitchFamily="34" charset="0"/>
                <a:cs typeface="Oracle Sans" panose="020B0503020204020204" pitchFamily="34" charset="0"/>
              </a:rPr>
              <a:t>Exadata</a:t>
            </a:r>
            <a:r>
              <a:rPr lang="en-US" sz="1100" b="1" dirty="0">
                <a:solidFill>
                  <a:schemeClr val="bg2"/>
                </a:solidFill>
                <a:latin typeface="Oracle Sans" panose="020B0503020204020204" pitchFamily="34" charset="0"/>
                <a:cs typeface="Oracle Sans" panose="020B0503020204020204" pitchFamily="34" charset="0"/>
              </a:rPr>
              <a:t> infrastructure (hardware, system software) &amp; hypervisor (dom0);</a:t>
            </a:r>
          </a:p>
          <a:p>
            <a:pPr marL="285750" indent="-28575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pt-BR" sz="1100" b="1" dirty="0">
                <a:solidFill>
                  <a:schemeClr val="bg2"/>
                </a:solidFill>
                <a:latin typeface="Oracle Sans" panose="020B0503020204020204" pitchFamily="34" charset="0"/>
                <a:cs typeface="Oracle Sans" panose="020B0503020204020204" pitchFamily="34" charset="0"/>
              </a:rPr>
              <a:t>Oracle </a:t>
            </a:r>
            <a:r>
              <a:rPr lang="pt-BR" sz="1100" b="1" dirty="0" smtClean="0">
                <a:solidFill>
                  <a:schemeClr val="bg2"/>
                </a:solidFill>
                <a:latin typeface="Oracle Sans" panose="020B0503020204020204" pitchFamily="34" charset="0"/>
                <a:cs typeface="Oracle Sans" panose="020B0503020204020204" pitchFamily="34" charset="0"/>
              </a:rPr>
              <a:t>Support </a:t>
            </a:r>
            <a:r>
              <a:rPr lang="pt-BR" sz="1100" b="1" dirty="0">
                <a:solidFill>
                  <a:schemeClr val="bg2"/>
                </a:solidFill>
                <a:latin typeface="Oracle Sans" panose="020B0503020204020204" pitchFamily="34" charset="0"/>
                <a:cs typeface="Oracle Sans" panose="020B0503020204020204" pitchFamily="34" charset="0"/>
              </a:rPr>
              <a:t>is responsible for update any version;</a:t>
            </a:r>
          </a:p>
          <a:p>
            <a:pPr marL="285750" indent="-28575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n-US" sz="1100" b="1" dirty="0">
                <a:solidFill>
                  <a:schemeClr val="bg2"/>
                </a:solidFill>
                <a:latin typeface="Oracle Sans" panose="020B0503020204020204" pitchFamily="34" charset="0"/>
                <a:cs typeface="Oracle Sans" panose="020B0503020204020204" pitchFamily="34" charset="0"/>
              </a:rPr>
              <a:t>T</a:t>
            </a:r>
            <a:r>
              <a:rPr lang="en-US" sz="1100" b="1" dirty="0" smtClean="0">
                <a:solidFill>
                  <a:schemeClr val="bg2"/>
                </a:solidFill>
                <a:latin typeface="Oracle Sans" panose="020B0503020204020204" pitchFamily="34" charset="0"/>
                <a:cs typeface="Oracle Sans" panose="020B0503020204020204" pitchFamily="34" charset="0"/>
              </a:rPr>
              <a:t>he </a:t>
            </a:r>
            <a:r>
              <a:rPr lang="en-US" sz="1100" b="1" dirty="0">
                <a:solidFill>
                  <a:schemeClr val="bg2"/>
                </a:solidFill>
                <a:latin typeface="Oracle Sans" panose="020B0503020204020204" pitchFamily="34" charset="0"/>
                <a:cs typeface="Oracle Sans" panose="020B0503020204020204" pitchFamily="34" charset="0"/>
              </a:rPr>
              <a:t>customer is responsible for scheduling Dom0 maintenance and must provide at least 4 dates per year</a:t>
            </a:r>
            <a:r>
              <a:rPr lang="en-US" sz="1100" dirty="0">
                <a:solidFill>
                  <a:schemeClr val="bg2"/>
                </a:solidFill>
                <a:latin typeface="Oracle Sans" panose="020B0503020204020204" pitchFamily="34" charset="0"/>
                <a:cs typeface="Oracle Sans" panose="020B0503020204020204" pitchFamily="34" charset="0"/>
              </a:rPr>
              <a:t>;</a:t>
            </a:r>
            <a:endParaRPr lang="pt-BR" sz="1100" dirty="0">
              <a:solidFill>
                <a:schemeClr val="bg2"/>
              </a:solidFill>
              <a:latin typeface="Oracle Sans" panose="020B0503020204020204" pitchFamily="34" charset="0"/>
              <a:cs typeface="Oracle Sans" panose="020B0503020204020204" pitchFamily="34" charset="0"/>
            </a:endParaRPr>
          </a:p>
        </p:txBody>
      </p:sp>
      <p:sp>
        <p:nvSpPr>
          <p:cNvPr id="11" name="Rounded Rectangle 10">
            <a:extLst>
              <a:ext uri="{FF2B5EF4-FFF2-40B4-BE49-F238E27FC236}">
                <a16:creationId xmlns:a16="http://schemas.microsoft.com/office/drawing/2014/main" id="{DE8C2D1F-8994-4686-A22A-0F5D8DD5E79E}"/>
              </a:ext>
            </a:extLst>
          </p:cNvPr>
          <p:cNvSpPr/>
          <p:nvPr/>
        </p:nvSpPr>
        <p:spPr>
          <a:xfrm>
            <a:off x="5218771" y="3734212"/>
            <a:ext cx="6839413" cy="1874851"/>
          </a:xfrm>
          <a:prstGeom prst="roundRect">
            <a:avLst/>
          </a:prstGeom>
          <a:solidFill>
            <a:srgbClr val="41817E"/>
          </a:solidFill>
          <a:ln w="38100">
            <a:noFill/>
          </a:ln>
          <a:effectLst>
            <a:outerShdw blurRad="50800" dist="50800" dir="5400000" sx="101000" sy="101000" algn="ctr" rotWithShape="0">
              <a:srgbClr val="000000"/>
            </a:outerShdw>
          </a:effectLst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274320" rtlCol="0" anchor="ctr"/>
          <a:lstStyle/>
          <a:p>
            <a:endParaRPr lang="pt-BR" sz="1600" b="1" dirty="0" smtClean="0">
              <a:solidFill>
                <a:schemeClr val="bg2"/>
              </a:solidFill>
              <a:cs typeface="Oracle Sans" panose="020B0503020204020204" pitchFamily="34" charset="0"/>
            </a:endParaRPr>
          </a:p>
          <a:p>
            <a:r>
              <a:rPr lang="pt-BR" sz="1600" b="1" dirty="0" smtClean="0">
                <a:solidFill>
                  <a:schemeClr val="bg2"/>
                </a:solidFill>
                <a:cs typeface="Oracle Sans" panose="020B0503020204020204" pitchFamily="34" charset="0"/>
              </a:rPr>
              <a:t>About </a:t>
            </a:r>
            <a:r>
              <a:rPr lang="pt-BR" sz="1600" b="1" i="1" dirty="0">
                <a:solidFill>
                  <a:schemeClr val="bg2"/>
                </a:solidFill>
                <a:cs typeface="Oracle Sans" panose="020B0503020204020204" pitchFamily="34" charset="0"/>
              </a:rPr>
              <a:t>DomU</a:t>
            </a:r>
            <a:r>
              <a:rPr lang="pt-BR" sz="1600" b="1" dirty="0">
                <a:solidFill>
                  <a:schemeClr val="bg2"/>
                </a:solidFill>
                <a:cs typeface="Oracle Sans" panose="020B0503020204020204" pitchFamily="34" charset="0"/>
              </a:rPr>
              <a:t> Customer Responsabiliti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200" b="1" dirty="0">
                <a:solidFill>
                  <a:schemeClr val="bg2"/>
                </a:solidFill>
                <a:latin typeface="Oracle Sans" panose="020B0503020204020204" pitchFamily="34" charset="0"/>
                <a:cs typeface="Oracle Sans" panose="020B0503020204020204" pitchFamily="34" charset="0"/>
              </a:rPr>
              <a:t>Adjust license (BYOL or License included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200" b="1" dirty="0">
                <a:solidFill>
                  <a:schemeClr val="bg2"/>
                </a:solidFill>
                <a:latin typeface="Oracle Sans" panose="020B0503020204020204" pitchFamily="34" charset="0"/>
                <a:cs typeface="Oracle Sans" panose="020B0503020204020204" pitchFamily="34" charset="0"/>
              </a:rPr>
              <a:t>Scale UP/Down resourc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200" b="1" dirty="0" smtClean="0">
                <a:solidFill>
                  <a:schemeClr val="bg2"/>
                </a:solidFill>
                <a:latin typeface="Oracle Sans" panose="020B0503020204020204" pitchFamily="34" charset="0"/>
                <a:cs typeface="Oracle Sans" panose="020B0503020204020204" pitchFamily="34" charset="0"/>
              </a:rPr>
              <a:t>For </a:t>
            </a:r>
            <a:r>
              <a:rPr lang="pt-BR" sz="1200" b="1" dirty="0">
                <a:solidFill>
                  <a:schemeClr val="bg2"/>
                </a:solidFill>
                <a:latin typeface="Oracle Sans" panose="020B0503020204020204" pitchFamily="34" charset="0"/>
                <a:cs typeface="Oracle Sans" panose="020B0503020204020204" pitchFamily="34" charset="0"/>
              </a:rPr>
              <a:t>Exadatada Cloud at Customer Gen2 DomU uses KVM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200" b="1" dirty="0">
                <a:solidFill>
                  <a:schemeClr val="bg2"/>
                </a:solidFill>
                <a:latin typeface="Oracle Sans" panose="020B0503020204020204" pitchFamily="34" charset="0"/>
                <a:cs typeface="Oracle Sans" panose="020B0503020204020204" pitchFamily="34" charset="0"/>
              </a:rPr>
              <a:t>Customer have root access to domU;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 b="1" dirty="0">
                <a:solidFill>
                  <a:schemeClr val="bg2"/>
                </a:solidFill>
                <a:latin typeface="Oracle Sans" panose="020B0503020204020204" pitchFamily="34" charset="0"/>
                <a:cs typeface="Oracle Sans" panose="020B0503020204020204" pitchFamily="34" charset="0"/>
              </a:rPr>
              <a:t>The customer is responsible for any update or configuration change on </a:t>
            </a:r>
            <a:r>
              <a:rPr lang="en-US" sz="1200" b="1" dirty="0" err="1">
                <a:solidFill>
                  <a:schemeClr val="bg2"/>
                </a:solidFill>
                <a:latin typeface="Oracle Sans" panose="020B0503020204020204" pitchFamily="34" charset="0"/>
                <a:cs typeface="Oracle Sans" panose="020B0503020204020204" pitchFamily="34" charset="0"/>
              </a:rPr>
              <a:t>DomU</a:t>
            </a:r>
            <a:r>
              <a:rPr lang="en-US" sz="1200" b="1" dirty="0">
                <a:solidFill>
                  <a:schemeClr val="bg2"/>
                </a:solidFill>
                <a:latin typeface="Oracle Sans" panose="020B0503020204020204" pitchFamily="34" charset="0"/>
                <a:cs typeface="Oracle Sans" panose="020B0503020204020204" pitchFamily="34" charset="0"/>
              </a:rPr>
              <a:t>;</a:t>
            </a:r>
          </a:p>
          <a:p>
            <a:pPr>
              <a:lnSpc>
                <a:spcPct val="120000"/>
              </a:lnSpc>
            </a:pPr>
            <a:endParaRPr lang="pt-BR" sz="1200" dirty="0">
              <a:solidFill>
                <a:schemeClr val="bg2"/>
              </a:solidFill>
              <a:latin typeface="Oracle Sans" panose="020B0503020204020204" pitchFamily="34" charset="0"/>
              <a:cs typeface="Oracle Sans" panose="020B0503020204020204" pitchFamily="34" charset="0"/>
            </a:endParaRPr>
          </a:p>
        </p:txBody>
      </p:sp>
      <p:sp>
        <p:nvSpPr>
          <p:cNvPr id="8" name="Título 1"/>
          <p:cNvSpPr txBox="1">
            <a:spLocks/>
          </p:cNvSpPr>
          <p:nvPr/>
        </p:nvSpPr>
        <p:spPr>
          <a:xfrm>
            <a:off x="765530" y="464743"/>
            <a:ext cx="9118515" cy="692727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 defTabSz="914400" rtl="0" eaLnBrk="1" latinLnBrk="0" hangingPunct="1">
              <a:lnSpc>
                <a:spcPct val="95000"/>
              </a:lnSpc>
              <a:spcBef>
                <a:spcPct val="0"/>
              </a:spcBef>
              <a:buNone/>
              <a:defRPr lang="en-US" sz="2400" b="1" i="0" kern="1200" baseline="0">
                <a:solidFill>
                  <a:schemeClr val="tx1"/>
                </a:solidFill>
                <a:latin typeface="+mn-lt"/>
                <a:ea typeface="+mn-ea"/>
                <a:cs typeface="+mj-cs"/>
              </a:defRPr>
            </a:lvl1pPr>
          </a:lstStyle>
          <a:p>
            <a:r>
              <a:rPr lang="pt-BR" dirty="0" smtClean="0"/>
              <a:t>Exadata Cloud  | Dom0 vs DomU Roles and Responsabilities</a:t>
            </a:r>
            <a:r>
              <a:rPr lang="pt-BR" dirty="0" smtClean="0">
                <a:solidFill>
                  <a:schemeClr val="accent1">
                    <a:lumMod val="75000"/>
                  </a:schemeClr>
                </a:solidFill>
              </a:rPr>
              <a:t/>
            </a:r>
            <a:br>
              <a:rPr lang="pt-BR" dirty="0" smtClean="0">
                <a:solidFill>
                  <a:schemeClr val="accent1">
                    <a:lumMod val="75000"/>
                  </a:schemeClr>
                </a:solidFill>
              </a:rPr>
            </a:br>
            <a:endParaRPr lang="pt-BR" sz="1600" dirty="0">
              <a:solidFill>
                <a:schemeClr val="accent4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345D60D9-5372-5F40-9443-0F9AE5BDC3C8}" type="slidenum">
              <a:rPr lang="en-US" smtClean="0"/>
              <a:pPr/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645030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1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animBg="1"/>
      <p:bldP spid="11" grpId="0" animBg="1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15"/>
          </p:nvPr>
        </p:nvSpPr>
        <p:spPr>
          <a:xfrm>
            <a:off x="1127760" y="6423660"/>
            <a:ext cx="5745379" cy="365125"/>
          </a:xfrm>
        </p:spPr>
        <p:txBody>
          <a:bodyPr/>
          <a:lstStyle/>
          <a:p>
            <a:r>
              <a:rPr lang="en-US" smtClean="0"/>
              <a:t>Copyright © 2024, Oracle and/or its affiliates. All rights reserved   </a:t>
            </a:r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45241" y="1363884"/>
            <a:ext cx="10046122" cy="4588302"/>
          </a:xfrm>
          <a:prstGeom prst="rect">
            <a:avLst/>
          </a:prstGeom>
          <a:solidFill>
            <a:srgbClr val="FFFFFF">
              <a:shade val="85000"/>
            </a:srgbClr>
          </a:solidFill>
          <a:ln w="1905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sp>
        <p:nvSpPr>
          <p:cNvPr id="6" name="Título 1"/>
          <p:cNvSpPr txBox="1">
            <a:spLocks/>
          </p:cNvSpPr>
          <p:nvPr/>
        </p:nvSpPr>
        <p:spPr>
          <a:xfrm>
            <a:off x="1045241" y="435261"/>
            <a:ext cx="8985993" cy="692727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 defTabSz="914400" rtl="0" eaLnBrk="1" latinLnBrk="0" hangingPunct="1">
              <a:lnSpc>
                <a:spcPct val="95000"/>
              </a:lnSpc>
              <a:spcBef>
                <a:spcPct val="0"/>
              </a:spcBef>
              <a:buNone/>
              <a:defRPr lang="en-US" sz="2400" b="1" i="0" kern="1200" baseline="0">
                <a:solidFill>
                  <a:schemeClr val="tx1"/>
                </a:solidFill>
                <a:latin typeface="+mn-lt"/>
                <a:ea typeface="+mn-ea"/>
                <a:cs typeface="+mj-cs"/>
              </a:defRPr>
            </a:lvl1pPr>
          </a:lstStyle>
          <a:p>
            <a:r>
              <a:rPr lang="pt-BR" dirty="0" smtClean="0"/>
              <a:t>Exadata Cloud at Customer  | Control Plane Workflow</a:t>
            </a:r>
            <a:r>
              <a:rPr lang="pt-BR" dirty="0" smtClean="0">
                <a:solidFill>
                  <a:schemeClr val="accent1">
                    <a:lumMod val="75000"/>
                  </a:schemeClr>
                </a:solidFill>
              </a:rPr>
              <a:t/>
            </a:r>
            <a:br>
              <a:rPr lang="pt-BR" dirty="0" smtClean="0">
                <a:solidFill>
                  <a:schemeClr val="accent1">
                    <a:lumMod val="75000"/>
                  </a:schemeClr>
                </a:solidFill>
              </a:rPr>
            </a:br>
            <a:endParaRPr lang="pt-BR" sz="1600" dirty="0">
              <a:solidFill>
                <a:schemeClr val="accent4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345D60D9-5372-5F40-9443-0F9AE5BDC3C8}" type="slidenum">
              <a:rPr lang="en-US" smtClean="0"/>
              <a:pPr/>
              <a:t>1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904590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4" name="Rounded Rectangle 93">
            <a:extLst>
              <a:ext uri="{FF2B5EF4-FFF2-40B4-BE49-F238E27FC236}">
                <a16:creationId xmlns:a16="http://schemas.microsoft.com/office/drawing/2014/main" id="{D87BA81A-E312-B949-B40A-D64B91C22110}"/>
              </a:ext>
            </a:extLst>
          </p:cNvPr>
          <p:cNvSpPr/>
          <p:nvPr/>
        </p:nvSpPr>
        <p:spPr>
          <a:xfrm>
            <a:off x="196496" y="3817360"/>
            <a:ext cx="2543200" cy="1624762"/>
          </a:xfrm>
          <a:prstGeom prst="roundRect">
            <a:avLst/>
          </a:prstGeom>
          <a:solidFill>
            <a:schemeClr val="accent3"/>
          </a:solidFill>
          <a:ln w="19050">
            <a:solidFill>
              <a:schemeClr val="tx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defRPr/>
            </a:pPr>
            <a:endParaRPr lang="en-US" dirty="0">
              <a:solidFill>
                <a:srgbClr val="FFFFFF"/>
              </a:solidFill>
              <a:latin typeface="Calibri"/>
            </a:endParaRPr>
          </a:p>
        </p:txBody>
      </p:sp>
      <p:sp>
        <p:nvSpPr>
          <p:cNvPr id="66" name="Rounded Rectangle 65"/>
          <p:cNvSpPr/>
          <p:nvPr/>
        </p:nvSpPr>
        <p:spPr>
          <a:xfrm>
            <a:off x="3139528" y="1442438"/>
            <a:ext cx="8685393" cy="4645170"/>
          </a:xfrm>
          <a:prstGeom prst="roundRect">
            <a:avLst/>
          </a:prstGeom>
          <a:solidFill>
            <a:schemeClr val="tx2">
              <a:lumMod val="20000"/>
              <a:lumOff val="80000"/>
            </a:schemeClr>
          </a:solidFill>
          <a:ln w="19050">
            <a:solidFill>
              <a:schemeClr val="tx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defRPr/>
            </a:pPr>
            <a:endParaRPr lang="en-US" dirty="0">
              <a:solidFill>
                <a:srgbClr val="FFFFFF"/>
              </a:solidFill>
              <a:latin typeface="Calibri"/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985676" y="305801"/>
            <a:ext cx="10671048" cy="555404"/>
          </a:xfrm>
        </p:spPr>
        <p:txBody>
          <a:bodyPr>
            <a:normAutofit/>
          </a:bodyPr>
          <a:lstStyle/>
          <a:p>
            <a:r>
              <a:rPr lang="en-US" dirty="0"/>
              <a:t>Exadata Cloud Service Architecture</a:t>
            </a:r>
            <a:endParaRPr lang="en-US" dirty="0">
              <a:solidFill>
                <a:schemeClr val="accent1"/>
              </a:solidFill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5655647" y="6234493"/>
            <a:ext cx="4372816" cy="24622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>
              <a:defRPr/>
            </a:pPr>
            <a:r>
              <a:rPr lang="en-IE" sz="1600" b="1" dirty="0">
                <a:latin typeface="Calibri"/>
              </a:rPr>
              <a:t>Oracle Cloud Infrastructure Region</a:t>
            </a:r>
          </a:p>
        </p:txBody>
      </p:sp>
      <p:grpSp>
        <p:nvGrpSpPr>
          <p:cNvPr id="5" name="Group 34"/>
          <p:cNvGrpSpPr/>
          <p:nvPr/>
        </p:nvGrpSpPr>
        <p:grpSpPr>
          <a:xfrm>
            <a:off x="8737237" y="4675713"/>
            <a:ext cx="2407470" cy="1175301"/>
            <a:chOff x="8396339" y="4609774"/>
            <a:chExt cx="2407470" cy="1294987"/>
          </a:xfrm>
        </p:grpSpPr>
        <p:sp>
          <p:nvSpPr>
            <p:cNvPr id="36" name="TextBox 35"/>
            <p:cNvSpPr txBox="1"/>
            <p:nvPr/>
          </p:nvSpPr>
          <p:spPr>
            <a:xfrm>
              <a:off x="9825595" y="5487505"/>
              <a:ext cx="978214" cy="417256"/>
            </a:xfrm>
            <a:prstGeom prst="rect">
              <a:avLst/>
            </a:prstGeom>
            <a:noFill/>
            <a:effectLst/>
          </p:spPr>
          <p:txBody>
            <a:bodyPr wrap="none" lIns="0" tIns="0" rIns="0" bIns="0" rtlCol="0" anchor="ctr" anchorCtr="0">
              <a:noAutofit/>
            </a:bodyPr>
            <a:lstStyle/>
            <a:p>
              <a:pPr algn="ctr">
                <a:lnSpc>
                  <a:spcPct val="85000"/>
                </a:lnSpc>
                <a:defRPr/>
              </a:pPr>
              <a:r>
                <a:rPr lang="en-US" sz="1400" dirty="0">
                  <a:solidFill>
                    <a:srgbClr val="5F5F5F"/>
                  </a:solidFill>
                  <a:latin typeface="Calibri"/>
                  <a:cs typeface="Calibri"/>
                </a:rPr>
                <a:t>Oracle</a:t>
              </a:r>
            </a:p>
            <a:p>
              <a:pPr algn="ctr">
                <a:lnSpc>
                  <a:spcPct val="85000"/>
                </a:lnSpc>
                <a:defRPr/>
              </a:pPr>
              <a:r>
                <a:rPr lang="en-US" sz="1400" dirty="0">
                  <a:solidFill>
                    <a:srgbClr val="5F5F5F"/>
                  </a:solidFill>
                  <a:latin typeface="Calibri"/>
                  <a:cs typeface="Calibri"/>
                </a:rPr>
                <a:t>Cloud Ops</a:t>
              </a:r>
            </a:p>
          </p:txBody>
        </p:sp>
        <p:grpSp>
          <p:nvGrpSpPr>
            <p:cNvPr id="7" name="Group 45"/>
            <p:cNvGrpSpPr/>
            <p:nvPr/>
          </p:nvGrpSpPr>
          <p:grpSpPr>
            <a:xfrm>
              <a:off x="8396339" y="4609774"/>
              <a:ext cx="871816" cy="850585"/>
              <a:chOff x="2736531" y="3766156"/>
              <a:chExt cx="871816" cy="850585"/>
            </a:xfrm>
            <a:solidFill>
              <a:srgbClr val="FF0000"/>
            </a:solidFill>
          </p:grpSpPr>
          <p:sp>
            <p:nvSpPr>
              <p:cNvPr id="38" name="Oval 37"/>
              <p:cNvSpPr>
                <a:spLocks noChangeAspect="1"/>
              </p:cNvSpPr>
              <p:nvPr/>
            </p:nvSpPr>
            <p:spPr>
              <a:xfrm>
                <a:off x="2736531" y="3766156"/>
                <a:ext cx="871816" cy="850585"/>
              </a:xfrm>
              <a:prstGeom prst="ellipse">
                <a:avLst/>
              </a:prstGeom>
              <a:solidFill>
                <a:schemeClr val="accent1"/>
              </a:solidFill>
              <a:ln w="12700" cmpd="sng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lnSpc>
                    <a:spcPct val="90000"/>
                  </a:lnSpc>
                  <a:defRPr/>
                </a:pPr>
                <a:endParaRPr lang="en-US" sz="1100" dirty="0">
                  <a:solidFill>
                    <a:srgbClr val="FFFFFF"/>
                  </a:solidFill>
                  <a:latin typeface="Calibri"/>
                </a:endParaRPr>
              </a:p>
            </p:txBody>
          </p:sp>
          <p:pic>
            <p:nvPicPr>
              <p:cNvPr id="39" name="Picture 38"/>
              <p:cNvPicPr>
                <a:picLocks noChangeAspect="1"/>
              </p:cNvPicPr>
              <p:nvPr/>
            </p:nvPicPr>
            <p:blipFill>
              <a:blip r:embed="rId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2905173" y="3981687"/>
                <a:ext cx="510527" cy="410460"/>
              </a:xfrm>
              <a:prstGeom prst="rect">
                <a:avLst/>
              </a:prstGeom>
              <a:solidFill>
                <a:schemeClr val="accent1"/>
              </a:solidFill>
            </p:spPr>
          </p:pic>
        </p:grpSp>
      </p:grpSp>
      <p:pic>
        <p:nvPicPr>
          <p:cNvPr id="72" name="Picture 71" descr="ic-Consultation-gray.png">
            <a:extLst>
              <a:ext uri="{FF2B5EF4-FFF2-40B4-BE49-F238E27FC236}">
                <a16:creationId xmlns:a16="http://schemas.microsoft.com/office/drawing/2014/main" id="{89B68530-3FA3-6A4A-AFCA-904C0071BDA2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5172" y="3974370"/>
            <a:ext cx="1188388" cy="1188388"/>
          </a:xfrm>
          <a:prstGeom prst="rect">
            <a:avLst/>
          </a:prstGeom>
        </p:spPr>
      </p:pic>
      <p:sp>
        <p:nvSpPr>
          <p:cNvPr id="74" name="TextBox 73">
            <a:extLst>
              <a:ext uri="{FF2B5EF4-FFF2-40B4-BE49-F238E27FC236}">
                <a16:creationId xmlns:a16="http://schemas.microsoft.com/office/drawing/2014/main" id="{037C9679-18C1-D042-9009-E59938E37667}"/>
              </a:ext>
            </a:extLst>
          </p:cNvPr>
          <p:cNvSpPr txBox="1"/>
          <p:nvPr/>
        </p:nvSpPr>
        <p:spPr>
          <a:xfrm>
            <a:off x="1250728" y="4480862"/>
            <a:ext cx="1432534" cy="418809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algn="ctr">
              <a:lnSpc>
                <a:spcPct val="90000"/>
              </a:lnSpc>
              <a:defRPr/>
            </a:pPr>
            <a:r>
              <a:rPr lang="en-US" sz="1400" dirty="0">
                <a:solidFill>
                  <a:schemeClr val="bg2"/>
                </a:solidFill>
                <a:latin typeface="Calibri"/>
              </a:rPr>
              <a:t>Database </a:t>
            </a:r>
          </a:p>
          <a:p>
            <a:pPr algn="ctr">
              <a:lnSpc>
                <a:spcPct val="90000"/>
              </a:lnSpc>
              <a:defRPr/>
            </a:pPr>
            <a:r>
              <a:rPr lang="en-US" sz="1400" dirty="0">
                <a:solidFill>
                  <a:schemeClr val="bg2"/>
                </a:solidFill>
                <a:latin typeface="Calibri"/>
              </a:rPr>
              <a:t>Access</a:t>
            </a:r>
          </a:p>
          <a:p>
            <a:pPr algn="ctr">
              <a:lnSpc>
                <a:spcPct val="90000"/>
              </a:lnSpc>
              <a:defRPr/>
            </a:pPr>
            <a:r>
              <a:rPr lang="en-US" sz="1400" dirty="0">
                <a:solidFill>
                  <a:schemeClr val="bg2"/>
                </a:solidFill>
                <a:latin typeface="Calibri"/>
              </a:rPr>
              <a:t>Application </a:t>
            </a:r>
          </a:p>
          <a:p>
            <a:pPr algn="ctr">
              <a:lnSpc>
                <a:spcPct val="90000"/>
              </a:lnSpc>
              <a:defRPr/>
            </a:pPr>
            <a:r>
              <a:rPr lang="en-US" sz="1400" dirty="0">
                <a:solidFill>
                  <a:schemeClr val="bg2"/>
                </a:solidFill>
                <a:latin typeface="Calibri"/>
              </a:rPr>
              <a:t>Servers</a:t>
            </a:r>
          </a:p>
        </p:txBody>
      </p: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A6113273-5C33-4513-8CB8-76744FC5830C}"/>
              </a:ext>
            </a:extLst>
          </p:cNvPr>
          <p:cNvSpPr/>
          <p:nvPr/>
        </p:nvSpPr>
        <p:spPr bwMode="gray">
          <a:xfrm>
            <a:off x="3588589" y="1613092"/>
            <a:ext cx="7836499" cy="1162885"/>
          </a:xfrm>
          <a:prstGeom prst="roundRect">
            <a:avLst/>
          </a:prstGeom>
          <a:solidFill>
            <a:schemeClr val="accent3"/>
          </a:solidFill>
          <a:ln w="15875">
            <a:solidFill>
              <a:schemeClr val="tx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76C7D5C1-A030-4C1D-9060-DA01BADF3857}"/>
              </a:ext>
            </a:extLst>
          </p:cNvPr>
          <p:cNvSpPr txBox="1"/>
          <p:nvPr/>
        </p:nvSpPr>
        <p:spPr>
          <a:xfrm>
            <a:off x="6399881" y="1752388"/>
            <a:ext cx="2213914" cy="38064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sz="2000" dirty="0">
                <a:solidFill>
                  <a:schemeClr val="bg1"/>
                </a:solidFill>
              </a:rPr>
              <a:t>Customer Tenancy</a:t>
            </a:r>
          </a:p>
          <a:p>
            <a:pPr algn="ctr">
              <a:lnSpc>
                <a:spcPct val="90000"/>
              </a:lnSpc>
            </a:pP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BBF50177-6DD9-45CA-AC6A-9E4F142CCB1A}"/>
              </a:ext>
            </a:extLst>
          </p:cNvPr>
          <p:cNvSpPr txBox="1"/>
          <p:nvPr/>
        </p:nvSpPr>
        <p:spPr>
          <a:xfrm>
            <a:off x="520765" y="2159539"/>
            <a:ext cx="1432534" cy="418809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algn="ctr">
              <a:lnSpc>
                <a:spcPct val="90000"/>
              </a:lnSpc>
              <a:defRPr/>
            </a:pPr>
            <a:r>
              <a:rPr lang="en-US" sz="1400" dirty="0">
                <a:solidFill>
                  <a:schemeClr val="tx2"/>
                </a:solidFill>
                <a:latin typeface="Calibri"/>
              </a:rPr>
              <a:t>Customer Admin</a:t>
            </a:r>
          </a:p>
        </p:txBody>
      </p:sp>
      <p:cxnSp>
        <p:nvCxnSpPr>
          <p:cNvPr id="13" name="Straight Arrow Connector 12">
            <a:extLst>
              <a:ext uri="{FF2B5EF4-FFF2-40B4-BE49-F238E27FC236}">
                <a16:creationId xmlns:a16="http://schemas.microsoft.com/office/drawing/2014/main" id="{76ABE89C-FD0F-4D24-8760-0967765995D3}"/>
              </a:ext>
            </a:extLst>
          </p:cNvPr>
          <p:cNvCxnSpPr>
            <a:cxnSpLocks/>
          </p:cNvCxnSpPr>
          <p:nvPr/>
        </p:nvCxnSpPr>
        <p:spPr>
          <a:xfrm>
            <a:off x="1854445" y="1893766"/>
            <a:ext cx="2034893" cy="0"/>
          </a:xfrm>
          <a:prstGeom prst="straightConnector1">
            <a:avLst/>
          </a:prstGeom>
          <a:ln w="57150">
            <a:solidFill>
              <a:schemeClr val="accent4"/>
            </a:solidFill>
            <a:miter lim="800000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Rectangle 60">
            <a:extLst>
              <a:ext uri="{FF2B5EF4-FFF2-40B4-BE49-F238E27FC236}">
                <a16:creationId xmlns:a16="http://schemas.microsoft.com/office/drawing/2014/main" id="{25B936E1-ED9B-7C47-92ED-4220231C409D}"/>
              </a:ext>
            </a:extLst>
          </p:cNvPr>
          <p:cNvSpPr/>
          <p:nvPr/>
        </p:nvSpPr>
        <p:spPr>
          <a:xfrm>
            <a:off x="8354819" y="5515929"/>
            <a:ext cx="1673644" cy="523220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ctr"/>
            <a:r>
              <a:rPr lang="en-US" sz="1400" dirty="0">
                <a:solidFill>
                  <a:srgbClr val="58595B"/>
                </a:solidFill>
                <a:latin typeface="Calibri"/>
              </a:rPr>
              <a:t>Multi-Factor Authentication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67C91250-74CE-794F-8268-82E59DADF856}"/>
              </a:ext>
            </a:extLst>
          </p:cNvPr>
          <p:cNvSpPr txBox="1"/>
          <p:nvPr/>
        </p:nvSpPr>
        <p:spPr>
          <a:xfrm>
            <a:off x="1616355" y="1035604"/>
            <a:ext cx="2461648" cy="4291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90000"/>
              </a:lnSpc>
              <a:defRPr/>
            </a:pPr>
            <a:r>
              <a:rPr lang="en-US" sz="1200" dirty="0"/>
              <a:t>Invoke Cloud UI</a:t>
            </a:r>
          </a:p>
          <a:p>
            <a:pPr algn="ctr">
              <a:lnSpc>
                <a:spcPct val="90000"/>
              </a:lnSpc>
              <a:defRPr/>
            </a:pPr>
            <a:r>
              <a:rPr lang="en-US" sz="1200" dirty="0"/>
              <a:t>REST APIs via https</a:t>
            </a:r>
          </a:p>
        </p:txBody>
      </p:sp>
      <p:pic>
        <p:nvPicPr>
          <p:cNvPr id="43" name="Picture 42">
            <a:extLst>
              <a:ext uri="{FF2B5EF4-FFF2-40B4-BE49-F238E27FC236}">
                <a16:creationId xmlns:a16="http://schemas.microsoft.com/office/drawing/2014/main" id="{F6F899D0-2399-4D51-9299-BF5C491D7C55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78779" y="2869677"/>
            <a:ext cx="893103" cy="2676361"/>
          </a:xfrm>
          <a:prstGeom prst="rect">
            <a:avLst/>
          </a:prstGeom>
        </p:spPr>
      </p:pic>
      <p:sp>
        <p:nvSpPr>
          <p:cNvPr id="90" name="Left-Right Arrow 89">
            <a:extLst>
              <a:ext uri="{FF2B5EF4-FFF2-40B4-BE49-F238E27FC236}">
                <a16:creationId xmlns:a16="http://schemas.microsoft.com/office/drawing/2014/main" id="{B80C8419-0834-0E49-9926-9953D41E2193}"/>
              </a:ext>
            </a:extLst>
          </p:cNvPr>
          <p:cNvSpPr/>
          <p:nvPr/>
        </p:nvSpPr>
        <p:spPr>
          <a:xfrm>
            <a:off x="4439539" y="4054687"/>
            <a:ext cx="1618593" cy="179846"/>
          </a:xfrm>
          <a:prstGeom prst="leftRightArrow">
            <a:avLst/>
          </a:prstGeom>
          <a:solidFill>
            <a:schemeClr val="accent1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defRPr/>
            </a:pPr>
            <a:endParaRPr lang="en-US" dirty="0">
              <a:solidFill>
                <a:srgbClr val="FFFFFF"/>
              </a:solidFill>
              <a:latin typeface="Calibri"/>
            </a:endParaRPr>
          </a:p>
        </p:txBody>
      </p:sp>
      <p:pic>
        <p:nvPicPr>
          <p:cNvPr id="45" name="Picture 44">
            <a:extLst>
              <a:ext uri="{FF2B5EF4-FFF2-40B4-BE49-F238E27FC236}">
                <a16:creationId xmlns:a16="http://schemas.microsoft.com/office/drawing/2014/main" id="{6EFB4DBE-9EE6-F843-BE8A-652860B8D371}"/>
              </a:ext>
            </a:extLst>
          </p:cNvPr>
          <p:cNvPicPr>
            <a:picLocks noChangeAspect="1"/>
          </p:cNvPicPr>
          <p:nvPr/>
        </p:nvPicPr>
        <p:blipFill>
          <a:blip r:embed="rId6" cstate="print"/>
          <a:stretch>
            <a:fillRect/>
          </a:stretch>
        </p:blipFill>
        <p:spPr>
          <a:xfrm>
            <a:off x="2442580" y="1421354"/>
            <a:ext cx="314945" cy="873759"/>
          </a:xfrm>
          <a:prstGeom prst="rect">
            <a:avLst/>
          </a:prstGeom>
        </p:spPr>
      </p:pic>
      <p:pic>
        <p:nvPicPr>
          <p:cNvPr id="97" name="Picture 96">
            <a:extLst>
              <a:ext uri="{FF2B5EF4-FFF2-40B4-BE49-F238E27FC236}">
                <a16:creationId xmlns:a16="http://schemas.microsoft.com/office/drawing/2014/main" id="{E24300BE-6B3E-4C08-A9CE-BC50790D718C}"/>
              </a:ext>
            </a:extLst>
          </p:cNvPr>
          <p:cNvPicPr>
            <a:picLocks noChangeAspect="1"/>
          </p:cNvPicPr>
          <p:nvPr/>
        </p:nvPicPr>
        <p:blipFill>
          <a:blip r:embed="rId6" cstate="print"/>
          <a:stretch>
            <a:fillRect/>
          </a:stretch>
        </p:blipFill>
        <p:spPr>
          <a:xfrm>
            <a:off x="3834289" y="1729822"/>
            <a:ext cx="314945" cy="873759"/>
          </a:xfrm>
          <a:prstGeom prst="rect">
            <a:avLst/>
          </a:prstGeom>
        </p:spPr>
      </p:pic>
      <p:sp>
        <p:nvSpPr>
          <p:cNvPr id="3" name="Rounded Rectangle 2">
            <a:extLst>
              <a:ext uri="{FF2B5EF4-FFF2-40B4-BE49-F238E27FC236}">
                <a16:creationId xmlns:a16="http://schemas.microsoft.com/office/drawing/2014/main" id="{C9F0913A-6157-3744-ACE4-10373282B38A}"/>
              </a:ext>
            </a:extLst>
          </p:cNvPr>
          <p:cNvSpPr/>
          <p:nvPr/>
        </p:nvSpPr>
        <p:spPr>
          <a:xfrm>
            <a:off x="6104399" y="3432226"/>
            <a:ext cx="5320689" cy="1083535"/>
          </a:xfrm>
          <a:prstGeom prst="roundRect">
            <a:avLst/>
          </a:prstGeom>
          <a:solidFill>
            <a:schemeClr val="accent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2" name="Freeform 9">
            <a:extLst>
              <a:ext uri="{FF2B5EF4-FFF2-40B4-BE49-F238E27FC236}">
                <a16:creationId xmlns:a16="http://schemas.microsoft.com/office/drawing/2014/main" id="{024084E2-E25D-EB42-9C24-04840BCE3D68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10340677" y="4568564"/>
            <a:ext cx="650984" cy="838048"/>
          </a:xfrm>
          <a:custGeom>
            <a:avLst/>
            <a:gdLst>
              <a:gd name="T0" fmla="*/ 799 w 2304"/>
              <a:gd name="T1" fmla="*/ 1007 h 2964"/>
              <a:gd name="T2" fmla="*/ 706 w 2304"/>
              <a:gd name="T3" fmla="*/ 799 h 2964"/>
              <a:gd name="T4" fmla="*/ 787 w 2304"/>
              <a:gd name="T5" fmla="*/ 613 h 2964"/>
              <a:gd name="T6" fmla="*/ 1355 w 2304"/>
              <a:gd name="T7" fmla="*/ 695 h 2964"/>
              <a:gd name="T8" fmla="*/ 1528 w 2304"/>
              <a:gd name="T9" fmla="*/ 776 h 2964"/>
              <a:gd name="T10" fmla="*/ 1621 w 2304"/>
              <a:gd name="T11" fmla="*/ 1297 h 2964"/>
              <a:gd name="T12" fmla="*/ 1250 w 2304"/>
              <a:gd name="T13" fmla="*/ 93 h 2964"/>
              <a:gd name="T14" fmla="*/ 556 w 2304"/>
              <a:gd name="T15" fmla="*/ 648 h 2964"/>
              <a:gd name="T16" fmla="*/ 1077 w 2304"/>
              <a:gd name="T17" fmla="*/ 1331 h 2964"/>
              <a:gd name="T18" fmla="*/ 1158 w 2304"/>
              <a:gd name="T19" fmla="*/ 1274 h 2964"/>
              <a:gd name="T20" fmla="*/ 1030 w 2304"/>
              <a:gd name="T21" fmla="*/ 1227 h 2964"/>
              <a:gd name="T22" fmla="*/ 868 w 2304"/>
              <a:gd name="T23" fmla="*/ 868 h 2964"/>
              <a:gd name="T24" fmla="*/ 857 w 2304"/>
              <a:gd name="T25" fmla="*/ 787 h 2964"/>
              <a:gd name="T26" fmla="*/ 811 w 2304"/>
              <a:gd name="T27" fmla="*/ 764 h 2964"/>
              <a:gd name="T28" fmla="*/ 996 w 2304"/>
              <a:gd name="T29" fmla="*/ 1285 h 2964"/>
              <a:gd name="T30" fmla="*/ 1077 w 2304"/>
              <a:gd name="T31" fmla="*/ 1331 h 2964"/>
              <a:gd name="T32" fmla="*/ 521 w 2304"/>
              <a:gd name="T33" fmla="*/ 1239 h 2964"/>
              <a:gd name="T34" fmla="*/ 521 w 2304"/>
              <a:gd name="T35" fmla="*/ 1111 h 2964"/>
              <a:gd name="T36" fmla="*/ 452 w 2304"/>
              <a:gd name="T37" fmla="*/ 1308 h 2964"/>
              <a:gd name="T38" fmla="*/ 266 w 2304"/>
              <a:gd name="T39" fmla="*/ 1563 h 2964"/>
              <a:gd name="T40" fmla="*/ 266 w 2304"/>
              <a:gd name="T41" fmla="*/ 915 h 2964"/>
              <a:gd name="T42" fmla="*/ 197 w 2304"/>
              <a:gd name="T43" fmla="*/ 845 h 2964"/>
              <a:gd name="T44" fmla="*/ 266 w 2304"/>
              <a:gd name="T45" fmla="*/ 1563 h 2964"/>
              <a:gd name="T46" fmla="*/ 394 w 2304"/>
              <a:gd name="T47" fmla="*/ 1436 h 2964"/>
              <a:gd name="T48" fmla="*/ 394 w 2304"/>
              <a:gd name="T49" fmla="*/ 1042 h 2964"/>
              <a:gd name="T50" fmla="*/ 324 w 2304"/>
              <a:gd name="T51" fmla="*/ 972 h 2964"/>
              <a:gd name="T52" fmla="*/ 2303 w 2304"/>
              <a:gd name="T53" fmla="*/ 2639 h 2964"/>
              <a:gd name="T54" fmla="*/ 1945 w 2304"/>
              <a:gd name="T55" fmla="*/ 1679 h 2964"/>
              <a:gd name="T56" fmla="*/ 1158 w 2304"/>
              <a:gd name="T57" fmla="*/ 1621 h 2964"/>
              <a:gd name="T58" fmla="*/ 371 w 2304"/>
              <a:gd name="T59" fmla="*/ 1679 h 2964"/>
              <a:gd name="T60" fmla="*/ 12 w 2304"/>
              <a:gd name="T61" fmla="*/ 2639 h 2964"/>
              <a:gd name="T62" fmla="*/ 324 w 2304"/>
              <a:gd name="T63" fmla="*/ 1991 h 2964"/>
              <a:gd name="T64" fmla="*/ 1852 w 2304"/>
              <a:gd name="T65" fmla="*/ 1852 h 2964"/>
              <a:gd name="T66" fmla="*/ 1991 w 2304"/>
              <a:gd name="T67" fmla="*/ 2639 h 2964"/>
              <a:gd name="T68" fmla="*/ 1852 w 2304"/>
              <a:gd name="T69" fmla="*/ 1945 h 2964"/>
              <a:gd name="T70" fmla="*/ 417 w 2304"/>
              <a:gd name="T71" fmla="*/ 1991 h 2964"/>
              <a:gd name="T72" fmla="*/ 463 w 2304"/>
              <a:gd name="T73" fmla="*/ 2963 h 2964"/>
              <a:gd name="T74" fmla="*/ 950 w 2304"/>
              <a:gd name="T75" fmla="*/ 2673 h 2964"/>
              <a:gd name="T76" fmla="*/ 1089 w 2304"/>
              <a:gd name="T77" fmla="*/ 2604 h 2964"/>
              <a:gd name="T78" fmla="*/ 868 w 2304"/>
              <a:gd name="T79" fmla="*/ 2465 h 2964"/>
              <a:gd name="T80" fmla="*/ 741 w 2304"/>
              <a:gd name="T81" fmla="*/ 2165 h 2964"/>
              <a:gd name="T82" fmla="*/ 891 w 2304"/>
              <a:gd name="T83" fmla="*/ 2338 h 2964"/>
              <a:gd name="T84" fmla="*/ 938 w 2304"/>
              <a:gd name="T85" fmla="*/ 2119 h 2964"/>
              <a:gd name="T86" fmla="*/ 1054 w 2304"/>
              <a:gd name="T87" fmla="*/ 2303 h 2964"/>
              <a:gd name="T88" fmla="*/ 1193 w 2304"/>
              <a:gd name="T89" fmla="*/ 2500 h 2964"/>
              <a:gd name="T90" fmla="*/ 1413 w 2304"/>
              <a:gd name="T91" fmla="*/ 2223 h 2964"/>
              <a:gd name="T92" fmla="*/ 1632 w 2304"/>
              <a:gd name="T93" fmla="*/ 2188 h 2964"/>
              <a:gd name="T94" fmla="*/ 1470 w 2304"/>
              <a:gd name="T95" fmla="*/ 2349 h 2964"/>
              <a:gd name="T96" fmla="*/ 1077 w 2304"/>
              <a:gd name="T97" fmla="*/ 2812 h 2964"/>
              <a:gd name="T98" fmla="*/ 1459 w 2304"/>
              <a:gd name="T99" fmla="*/ 2963 h 2964"/>
              <a:gd name="T100" fmla="*/ 1320 w 2304"/>
              <a:gd name="T101" fmla="*/ 2627 h 2964"/>
              <a:gd name="T102" fmla="*/ 1852 w 2304"/>
              <a:gd name="T103" fmla="*/ 2963 h 2964"/>
              <a:gd name="T104" fmla="*/ 1899 w 2304"/>
              <a:gd name="T105" fmla="*/ 1991 h 296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2304" h="2964">
                <a:moveTo>
                  <a:pt x="868" y="1192"/>
                </a:moveTo>
                <a:cubicBezTo>
                  <a:pt x="845" y="1146"/>
                  <a:pt x="811" y="1077"/>
                  <a:pt x="799" y="1007"/>
                </a:cubicBezTo>
                <a:cubicBezTo>
                  <a:pt x="753" y="984"/>
                  <a:pt x="730" y="949"/>
                  <a:pt x="730" y="903"/>
                </a:cubicBezTo>
                <a:cubicBezTo>
                  <a:pt x="706" y="799"/>
                  <a:pt x="706" y="799"/>
                  <a:pt x="706" y="799"/>
                </a:cubicBezTo>
                <a:cubicBezTo>
                  <a:pt x="706" y="752"/>
                  <a:pt x="741" y="706"/>
                  <a:pt x="787" y="695"/>
                </a:cubicBezTo>
                <a:cubicBezTo>
                  <a:pt x="787" y="648"/>
                  <a:pt x="787" y="613"/>
                  <a:pt x="787" y="613"/>
                </a:cubicBezTo>
                <a:cubicBezTo>
                  <a:pt x="787" y="556"/>
                  <a:pt x="799" y="382"/>
                  <a:pt x="973" y="313"/>
                </a:cubicBezTo>
                <a:cubicBezTo>
                  <a:pt x="973" y="521"/>
                  <a:pt x="1146" y="695"/>
                  <a:pt x="1355" y="695"/>
                </a:cubicBezTo>
                <a:cubicBezTo>
                  <a:pt x="1436" y="695"/>
                  <a:pt x="1436" y="695"/>
                  <a:pt x="1436" y="695"/>
                </a:cubicBezTo>
                <a:cubicBezTo>
                  <a:pt x="1482" y="695"/>
                  <a:pt x="1517" y="729"/>
                  <a:pt x="1528" y="776"/>
                </a:cubicBezTo>
                <a:cubicBezTo>
                  <a:pt x="1528" y="926"/>
                  <a:pt x="1493" y="1192"/>
                  <a:pt x="1308" y="1297"/>
                </a:cubicBezTo>
                <a:cubicBezTo>
                  <a:pt x="1621" y="1297"/>
                  <a:pt x="1621" y="1297"/>
                  <a:pt x="1621" y="1297"/>
                </a:cubicBezTo>
                <a:cubicBezTo>
                  <a:pt x="1714" y="1146"/>
                  <a:pt x="1760" y="868"/>
                  <a:pt x="1760" y="695"/>
                </a:cubicBezTo>
                <a:cubicBezTo>
                  <a:pt x="1760" y="278"/>
                  <a:pt x="1552" y="93"/>
                  <a:pt x="1250" y="93"/>
                </a:cubicBezTo>
                <a:cubicBezTo>
                  <a:pt x="1181" y="0"/>
                  <a:pt x="1181" y="0"/>
                  <a:pt x="1181" y="0"/>
                </a:cubicBezTo>
                <a:cubicBezTo>
                  <a:pt x="891" y="0"/>
                  <a:pt x="556" y="185"/>
                  <a:pt x="556" y="648"/>
                </a:cubicBezTo>
                <a:cubicBezTo>
                  <a:pt x="556" y="845"/>
                  <a:pt x="625" y="1088"/>
                  <a:pt x="868" y="1192"/>
                </a:cubicBezTo>
                <a:close/>
                <a:moveTo>
                  <a:pt x="1077" y="1331"/>
                </a:moveTo>
                <a:cubicBezTo>
                  <a:pt x="1100" y="1331"/>
                  <a:pt x="1123" y="1331"/>
                  <a:pt x="1135" y="1320"/>
                </a:cubicBezTo>
                <a:cubicBezTo>
                  <a:pt x="1146" y="1308"/>
                  <a:pt x="1158" y="1297"/>
                  <a:pt x="1158" y="1274"/>
                </a:cubicBezTo>
                <a:cubicBezTo>
                  <a:pt x="1158" y="1239"/>
                  <a:pt x="1123" y="1215"/>
                  <a:pt x="1077" y="1215"/>
                </a:cubicBezTo>
                <a:cubicBezTo>
                  <a:pt x="1065" y="1215"/>
                  <a:pt x="1042" y="1227"/>
                  <a:pt x="1030" y="1227"/>
                </a:cubicBezTo>
                <a:cubicBezTo>
                  <a:pt x="961" y="1169"/>
                  <a:pt x="915" y="1065"/>
                  <a:pt x="880" y="949"/>
                </a:cubicBezTo>
                <a:cubicBezTo>
                  <a:pt x="880" y="926"/>
                  <a:pt x="868" y="903"/>
                  <a:pt x="868" y="868"/>
                </a:cubicBezTo>
                <a:cubicBezTo>
                  <a:pt x="868" y="857"/>
                  <a:pt x="868" y="845"/>
                  <a:pt x="868" y="833"/>
                </a:cubicBezTo>
                <a:cubicBezTo>
                  <a:pt x="857" y="811"/>
                  <a:pt x="857" y="799"/>
                  <a:pt x="857" y="787"/>
                </a:cubicBezTo>
                <a:cubicBezTo>
                  <a:pt x="857" y="776"/>
                  <a:pt x="845" y="764"/>
                  <a:pt x="822" y="764"/>
                </a:cubicBezTo>
                <a:cubicBezTo>
                  <a:pt x="811" y="764"/>
                  <a:pt x="811" y="764"/>
                  <a:pt x="811" y="764"/>
                </a:cubicBezTo>
                <a:cubicBezTo>
                  <a:pt x="753" y="764"/>
                  <a:pt x="764" y="903"/>
                  <a:pt x="811" y="938"/>
                </a:cubicBezTo>
                <a:cubicBezTo>
                  <a:pt x="845" y="1077"/>
                  <a:pt x="891" y="1215"/>
                  <a:pt x="996" y="1285"/>
                </a:cubicBezTo>
                <a:cubicBezTo>
                  <a:pt x="1007" y="1285"/>
                  <a:pt x="1007" y="1297"/>
                  <a:pt x="1019" y="1297"/>
                </a:cubicBezTo>
                <a:cubicBezTo>
                  <a:pt x="1042" y="1308"/>
                  <a:pt x="1065" y="1320"/>
                  <a:pt x="1077" y="1331"/>
                </a:cubicBezTo>
                <a:close/>
                <a:moveTo>
                  <a:pt x="521" y="1308"/>
                </a:moveTo>
                <a:cubicBezTo>
                  <a:pt x="544" y="1285"/>
                  <a:pt x="544" y="1262"/>
                  <a:pt x="521" y="1239"/>
                </a:cubicBezTo>
                <a:cubicBezTo>
                  <a:pt x="509" y="1227"/>
                  <a:pt x="509" y="1192"/>
                  <a:pt x="521" y="1169"/>
                </a:cubicBezTo>
                <a:cubicBezTo>
                  <a:pt x="544" y="1158"/>
                  <a:pt x="544" y="1123"/>
                  <a:pt x="521" y="1111"/>
                </a:cubicBezTo>
                <a:cubicBezTo>
                  <a:pt x="509" y="1088"/>
                  <a:pt x="475" y="1088"/>
                  <a:pt x="452" y="1111"/>
                </a:cubicBezTo>
                <a:cubicBezTo>
                  <a:pt x="405" y="1158"/>
                  <a:pt x="405" y="1250"/>
                  <a:pt x="452" y="1308"/>
                </a:cubicBezTo>
                <a:cubicBezTo>
                  <a:pt x="475" y="1320"/>
                  <a:pt x="509" y="1320"/>
                  <a:pt x="521" y="1308"/>
                </a:cubicBezTo>
                <a:close/>
                <a:moveTo>
                  <a:pt x="266" y="1563"/>
                </a:moveTo>
                <a:cubicBezTo>
                  <a:pt x="278" y="1551"/>
                  <a:pt x="278" y="1517"/>
                  <a:pt x="266" y="1505"/>
                </a:cubicBezTo>
                <a:cubicBezTo>
                  <a:pt x="93" y="1343"/>
                  <a:pt x="93" y="1077"/>
                  <a:pt x="266" y="915"/>
                </a:cubicBezTo>
                <a:cubicBezTo>
                  <a:pt x="278" y="891"/>
                  <a:pt x="278" y="868"/>
                  <a:pt x="266" y="845"/>
                </a:cubicBezTo>
                <a:cubicBezTo>
                  <a:pt x="243" y="833"/>
                  <a:pt x="209" y="833"/>
                  <a:pt x="197" y="845"/>
                </a:cubicBezTo>
                <a:cubicBezTo>
                  <a:pt x="0" y="1042"/>
                  <a:pt x="0" y="1366"/>
                  <a:pt x="197" y="1563"/>
                </a:cubicBezTo>
                <a:cubicBezTo>
                  <a:pt x="209" y="1586"/>
                  <a:pt x="243" y="1586"/>
                  <a:pt x="266" y="1563"/>
                </a:cubicBezTo>
                <a:close/>
                <a:moveTo>
                  <a:pt x="324" y="1436"/>
                </a:moveTo>
                <a:cubicBezTo>
                  <a:pt x="348" y="1459"/>
                  <a:pt x="371" y="1459"/>
                  <a:pt x="394" y="1436"/>
                </a:cubicBezTo>
                <a:cubicBezTo>
                  <a:pt x="405" y="1424"/>
                  <a:pt x="405" y="1389"/>
                  <a:pt x="394" y="1366"/>
                </a:cubicBezTo>
                <a:cubicBezTo>
                  <a:pt x="301" y="1285"/>
                  <a:pt x="301" y="1135"/>
                  <a:pt x="394" y="1042"/>
                </a:cubicBezTo>
                <a:cubicBezTo>
                  <a:pt x="405" y="1030"/>
                  <a:pt x="405" y="996"/>
                  <a:pt x="394" y="972"/>
                </a:cubicBezTo>
                <a:cubicBezTo>
                  <a:pt x="371" y="961"/>
                  <a:pt x="348" y="961"/>
                  <a:pt x="324" y="972"/>
                </a:cubicBezTo>
                <a:cubicBezTo>
                  <a:pt x="197" y="1100"/>
                  <a:pt x="197" y="1308"/>
                  <a:pt x="324" y="1436"/>
                </a:cubicBezTo>
                <a:close/>
                <a:moveTo>
                  <a:pt x="2303" y="2639"/>
                </a:moveTo>
                <a:cubicBezTo>
                  <a:pt x="2165" y="1956"/>
                  <a:pt x="2165" y="1956"/>
                  <a:pt x="2165" y="1956"/>
                </a:cubicBezTo>
                <a:cubicBezTo>
                  <a:pt x="2142" y="1829"/>
                  <a:pt x="2061" y="1725"/>
                  <a:pt x="1945" y="1679"/>
                </a:cubicBezTo>
                <a:cubicBezTo>
                  <a:pt x="1482" y="1470"/>
                  <a:pt x="1482" y="1470"/>
                  <a:pt x="1482" y="1470"/>
                </a:cubicBezTo>
                <a:cubicBezTo>
                  <a:pt x="1470" y="1493"/>
                  <a:pt x="1378" y="1621"/>
                  <a:pt x="1158" y="1621"/>
                </a:cubicBezTo>
                <a:cubicBezTo>
                  <a:pt x="938" y="1621"/>
                  <a:pt x="845" y="1493"/>
                  <a:pt x="834" y="1470"/>
                </a:cubicBezTo>
                <a:cubicBezTo>
                  <a:pt x="371" y="1679"/>
                  <a:pt x="371" y="1679"/>
                  <a:pt x="371" y="1679"/>
                </a:cubicBezTo>
                <a:cubicBezTo>
                  <a:pt x="255" y="1725"/>
                  <a:pt x="174" y="1829"/>
                  <a:pt x="151" y="1956"/>
                </a:cubicBezTo>
                <a:cubicBezTo>
                  <a:pt x="12" y="2639"/>
                  <a:pt x="12" y="2639"/>
                  <a:pt x="12" y="2639"/>
                </a:cubicBezTo>
                <a:cubicBezTo>
                  <a:pt x="324" y="2639"/>
                  <a:pt x="324" y="2639"/>
                  <a:pt x="324" y="2639"/>
                </a:cubicBezTo>
                <a:cubicBezTo>
                  <a:pt x="324" y="1991"/>
                  <a:pt x="324" y="1991"/>
                  <a:pt x="324" y="1991"/>
                </a:cubicBezTo>
                <a:cubicBezTo>
                  <a:pt x="324" y="1910"/>
                  <a:pt x="382" y="1852"/>
                  <a:pt x="463" y="1852"/>
                </a:cubicBezTo>
                <a:cubicBezTo>
                  <a:pt x="1852" y="1852"/>
                  <a:pt x="1852" y="1852"/>
                  <a:pt x="1852" y="1852"/>
                </a:cubicBezTo>
                <a:cubicBezTo>
                  <a:pt x="1934" y="1852"/>
                  <a:pt x="1991" y="1910"/>
                  <a:pt x="1991" y="1991"/>
                </a:cubicBezTo>
                <a:cubicBezTo>
                  <a:pt x="1991" y="2639"/>
                  <a:pt x="1991" y="2639"/>
                  <a:pt x="1991" y="2639"/>
                </a:cubicBezTo>
                <a:lnTo>
                  <a:pt x="2303" y="2639"/>
                </a:lnTo>
                <a:close/>
                <a:moveTo>
                  <a:pt x="1852" y="1945"/>
                </a:moveTo>
                <a:cubicBezTo>
                  <a:pt x="463" y="1945"/>
                  <a:pt x="463" y="1945"/>
                  <a:pt x="463" y="1945"/>
                </a:cubicBezTo>
                <a:cubicBezTo>
                  <a:pt x="440" y="1945"/>
                  <a:pt x="417" y="1968"/>
                  <a:pt x="417" y="1991"/>
                </a:cubicBezTo>
                <a:cubicBezTo>
                  <a:pt x="417" y="2916"/>
                  <a:pt x="417" y="2916"/>
                  <a:pt x="417" y="2916"/>
                </a:cubicBezTo>
                <a:cubicBezTo>
                  <a:pt x="417" y="2940"/>
                  <a:pt x="440" y="2963"/>
                  <a:pt x="463" y="2963"/>
                </a:cubicBezTo>
                <a:cubicBezTo>
                  <a:pt x="660" y="2963"/>
                  <a:pt x="660" y="2963"/>
                  <a:pt x="660" y="2963"/>
                </a:cubicBezTo>
                <a:cubicBezTo>
                  <a:pt x="950" y="2673"/>
                  <a:pt x="950" y="2673"/>
                  <a:pt x="950" y="2673"/>
                </a:cubicBezTo>
                <a:cubicBezTo>
                  <a:pt x="1019" y="2673"/>
                  <a:pt x="1019" y="2673"/>
                  <a:pt x="1019" y="2673"/>
                </a:cubicBezTo>
                <a:cubicBezTo>
                  <a:pt x="1089" y="2604"/>
                  <a:pt x="1089" y="2604"/>
                  <a:pt x="1089" y="2604"/>
                </a:cubicBezTo>
                <a:cubicBezTo>
                  <a:pt x="1019" y="2523"/>
                  <a:pt x="1019" y="2523"/>
                  <a:pt x="1019" y="2523"/>
                </a:cubicBezTo>
                <a:cubicBezTo>
                  <a:pt x="973" y="2488"/>
                  <a:pt x="926" y="2465"/>
                  <a:pt x="868" y="2465"/>
                </a:cubicBezTo>
                <a:cubicBezTo>
                  <a:pt x="834" y="2465"/>
                  <a:pt x="787" y="2442"/>
                  <a:pt x="753" y="2407"/>
                </a:cubicBezTo>
                <a:cubicBezTo>
                  <a:pt x="683" y="2349"/>
                  <a:pt x="683" y="2233"/>
                  <a:pt x="741" y="2165"/>
                </a:cubicBezTo>
                <a:cubicBezTo>
                  <a:pt x="776" y="2314"/>
                  <a:pt x="776" y="2314"/>
                  <a:pt x="776" y="2314"/>
                </a:cubicBezTo>
                <a:cubicBezTo>
                  <a:pt x="891" y="2338"/>
                  <a:pt x="891" y="2338"/>
                  <a:pt x="891" y="2338"/>
                </a:cubicBezTo>
                <a:cubicBezTo>
                  <a:pt x="973" y="2257"/>
                  <a:pt x="973" y="2257"/>
                  <a:pt x="973" y="2257"/>
                </a:cubicBezTo>
                <a:cubicBezTo>
                  <a:pt x="938" y="2119"/>
                  <a:pt x="938" y="2119"/>
                  <a:pt x="938" y="2119"/>
                </a:cubicBezTo>
                <a:cubicBezTo>
                  <a:pt x="961" y="2130"/>
                  <a:pt x="984" y="2142"/>
                  <a:pt x="1007" y="2165"/>
                </a:cubicBezTo>
                <a:cubicBezTo>
                  <a:pt x="1042" y="2200"/>
                  <a:pt x="1054" y="2257"/>
                  <a:pt x="1054" y="2303"/>
                </a:cubicBezTo>
                <a:cubicBezTo>
                  <a:pt x="1054" y="2338"/>
                  <a:pt x="1065" y="2372"/>
                  <a:pt x="1089" y="2396"/>
                </a:cubicBezTo>
                <a:cubicBezTo>
                  <a:pt x="1193" y="2500"/>
                  <a:pt x="1193" y="2500"/>
                  <a:pt x="1193" y="2500"/>
                </a:cubicBezTo>
                <a:cubicBezTo>
                  <a:pt x="1413" y="2280"/>
                  <a:pt x="1413" y="2280"/>
                  <a:pt x="1413" y="2280"/>
                </a:cubicBezTo>
                <a:cubicBezTo>
                  <a:pt x="1413" y="2223"/>
                  <a:pt x="1413" y="2223"/>
                  <a:pt x="1413" y="2223"/>
                </a:cubicBezTo>
                <a:cubicBezTo>
                  <a:pt x="1575" y="2119"/>
                  <a:pt x="1575" y="2119"/>
                  <a:pt x="1575" y="2119"/>
                </a:cubicBezTo>
                <a:cubicBezTo>
                  <a:pt x="1632" y="2188"/>
                  <a:pt x="1632" y="2188"/>
                  <a:pt x="1632" y="2188"/>
                </a:cubicBezTo>
                <a:cubicBezTo>
                  <a:pt x="1540" y="2349"/>
                  <a:pt x="1540" y="2349"/>
                  <a:pt x="1540" y="2349"/>
                </a:cubicBezTo>
                <a:cubicBezTo>
                  <a:pt x="1470" y="2349"/>
                  <a:pt x="1470" y="2349"/>
                  <a:pt x="1470" y="2349"/>
                </a:cubicBezTo>
                <a:cubicBezTo>
                  <a:pt x="1077" y="2743"/>
                  <a:pt x="1077" y="2743"/>
                  <a:pt x="1077" y="2743"/>
                </a:cubicBezTo>
                <a:cubicBezTo>
                  <a:pt x="1077" y="2812"/>
                  <a:pt x="1077" y="2812"/>
                  <a:pt x="1077" y="2812"/>
                </a:cubicBezTo>
                <a:cubicBezTo>
                  <a:pt x="926" y="2963"/>
                  <a:pt x="926" y="2963"/>
                  <a:pt x="926" y="2963"/>
                </a:cubicBezTo>
                <a:cubicBezTo>
                  <a:pt x="1459" y="2963"/>
                  <a:pt x="1459" y="2963"/>
                  <a:pt x="1459" y="2963"/>
                </a:cubicBezTo>
                <a:cubicBezTo>
                  <a:pt x="1227" y="2731"/>
                  <a:pt x="1227" y="2731"/>
                  <a:pt x="1227" y="2731"/>
                </a:cubicBezTo>
                <a:cubicBezTo>
                  <a:pt x="1320" y="2627"/>
                  <a:pt x="1320" y="2627"/>
                  <a:pt x="1320" y="2627"/>
                </a:cubicBezTo>
                <a:cubicBezTo>
                  <a:pt x="1656" y="2963"/>
                  <a:pt x="1656" y="2963"/>
                  <a:pt x="1656" y="2963"/>
                </a:cubicBezTo>
                <a:cubicBezTo>
                  <a:pt x="1852" y="2963"/>
                  <a:pt x="1852" y="2963"/>
                  <a:pt x="1852" y="2963"/>
                </a:cubicBezTo>
                <a:cubicBezTo>
                  <a:pt x="1876" y="2963"/>
                  <a:pt x="1899" y="2940"/>
                  <a:pt x="1899" y="2916"/>
                </a:cubicBezTo>
                <a:cubicBezTo>
                  <a:pt x="1899" y="1991"/>
                  <a:pt x="1899" y="1991"/>
                  <a:pt x="1899" y="1991"/>
                </a:cubicBezTo>
                <a:cubicBezTo>
                  <a:pt x="1899" y="1968"/>
                  <a:pt x="1876" y="1945"/>
                  <a:pt x="1852" y="1945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>
                <a:solidFill>
                  <a:srgbClr val="808080"/>
                </a:solidFill>
                <a:bevel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1799" dirty="0">
              <a:solidFill>
                <a:srgbClr val="413636"/>
              </a:solidFill>
            </a:endParaRP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8C38BEAE-8668-E74C-B11F-E717C355A8C6}"/>
              </a:ext>
            </a:extLst>
          </p:cNvPr>
          <p:cNvSpPr txBox="1"/>
          <p:nvPr/>
        </p:nvSpPr>
        <p:spPr>
          <a:xfrm>
            <a:off x="6120759" y="3586847"/>
            <a:ext cx="3108001" cy="59559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sz="2000" dirty="0">
                <a:solidFill>
                  <a:schemeClr val="bg1"/>
                </a:solidFill>
              </a:rPr>
              <a:t>Oracle Service Tenancy</a:t>
            </a: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3FEE70BD-234C-7A42-8C37-8627CD3F843C}"/>
              </a:ext>
            </a:extLst>
          </p:cNvPr>
          <p:cNvSpPr txBox="1"/>
          <p:nvPr/>
        </p:nvSpPr>
        <p:spPr>
          <a:xfrm>
            <a:off x="9672770" y="1738360"/>
            <a:ext cx="1465436" cy="723823"/>
          </a:xfrm>
          <a:prstGeom prst="rect">
            <a:avLst/>
          </a:prstGeom>
          <a:noFill/>
        </p:spPr>
        <p:txBody>
          <a:bodyPr wrap="square" lIns="91440" tIns="91440" rIns="0" bIns="0" rtlCol="0">
            <a:noAutofit/>
          </a:bodyPr>
          <a:lstStyle/>
          <a:p>
            <a:pPr>
              <a:lnSpc>
                <a:spcPct val="90000"/>
              </a:lnSpc>
              <a:defRPr/>
            </a:pPr>
            <a:r>
              <a:rPr lang="en-US" sz="1400" dirty="0">
                <a:solidFill>
                  <a:schemeClr val="bg2"/>
                </a:solidFill>
              </a:rPr>
              <a:t>Customer Auditing and Access Controls</a:t>
            </a:r>
            <a:endParaRPr lang="en-US" sz="1400" dirty="0">
              <a:solidFill>
                <a:schemeClr val="bg2"/>
              </a:solidFill>
              <a:latin typeface="Calibri"/>
            </a:endParaRPr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id="{EB69FD98-5C36-614D-82B1-D725CFE22FC6}"/>
              </a:ext>
            </a:extLst>
          </p:cNvPr>
          <p:cNvSpPr txBox="1"/>
          <p:nvPr/>
        </p:nvSpPr>
        <p:spPr>
          <a:xfrm>
            <a:off x="9729304" y="3547039"/>
            <a:ext cx="1404875" cy="791036"/>
          </a:xfrm>
          <a:prstGeom prst="rect">
            <a:avLst/>
          </a:prstGeom>
          <a:noFill/>
        </p:spPr>
        <p:txBody>
          <a:bodyPr wrap="square" lIns="91440" tIns="91440" rIns="0" bIns="0" rtlCol="0">
            <a:noAutofit/>
          </a:bodyPr>
          <a:lstStyle/>
          <a:p>
            <a:pPr>
              <a:lnSpc>
                <a:spcPct val="90000"/>
              </a:lnSpc>
              <a:defRPr/>
            </a:pPr>
            <a:r>
              <a:rPr lang="en-US" sz="1400" dirty="0">
                <a:solidFill>
                  <a:schemeClr val="bg2"/>
                </a:solidFill>
              </a:rPr>
              <a:t>Oracle</a:t>
            </a:r>
          </a:p>
          <a:p>
            <a:pPr>
              <a:lnSpc>
                <a:spcPct val="90000"/>
              </a:lnSpc>
              <a:defRPr/>
            </a:pPr>
            <a:r>
              <a:rPr lang="en-US" sz="1400" dirty="0">
                <a:solidFill>
                  <a:schemeClr val="bg2"/>
                </a:solidFill>
              </a:rPr>
              <a:t>Auditing and Access Controls</a:t>
            </a:r>
            <a:endParaRPr lang="en-US" sz="1400" dirty="0">
              <a:solidFill>
                <a:schemeClr val="bg2"/>
              </a:solidFill>
              <a:latin typeface="Calibri"/>
            </a:endParaRPr>
          </a:p>
        </p:txBody>
      </p:sp>
      <p:sp>
        <p:nvSpPr>
          <p:cNvPr id="71" name="Freeform 9">
            <a:extLst>
              <a:ext uri="{FF2B5EF4-FFF2-40B4-BE49-F238E27FC236}">
                <a16:creationId xmlns:a16="http://schemas.microsoft.com/office/drawing/2014/main" id="{76377410-05C0-6A46-B2BD-713DDF0DDCD7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985676" y="1294985"/>
            <a:ext cx="650984" cy="838048"/>
          </a:xfrm>
          <a:custGeom>
            <a:avLst/>
            <a:gdLst>
              <a:gd name="T0" fmla="*/ 799 w 2304"/>
              <a:gd name="T1" fmla="*/ 1007 h 2964"/>
              <a:gd name="T2" fmla="*/ 706 w 2304"/>
              <a:gd name="T3" fmla="*/ 799 h 2964"/>
              <a:gd name="T4" fmla="*/ 787 w 2304"/>
              <a:gd name="T5" fmla="*/ 613 h 2964"/>
              <a:gd name="T6" fmla="*/ 1355 w 2304"/>
              <a:gd name="T7" fmla="*/ 695 h 2964"/>
              <a:gd name="T8" fmla="*/ 1528 w 2304"/>
              <a:gd name="T9" fmla="*/ 776 h 2964"/>
              <a:gd name="T10" fmla="*/ 1621 w 2304"/>
              <a:gd name="T11" fmla="*/ 1297 h 2964"/>
              <a:gd name="T12" fmla="*/ 1250 w 2304"/>
              <a:gd name="T13" fmla="*/ 93 h 2964"/>
              <a:gd name="T14" fmla="*/ 556 w 2304"/>
              <a:gd name="T15" fmla="*/ 648 h 2964"/>
              <a:gd name="T16" fmla="*/ 1077 w 2304"/>
              <a:gd name="T17" fmla="*/ 1331 h 2964"/>
              <a:gd name="T18" fmla="*/ 1158 w 2304"/>
              <a:gd name="T19" fmla="*/ 1274 h 2964"/>
              <a:gd name="T20" fmla="*/ 1030 w 2304"/>
              <a:gd name="T21" fmla="*/ 1227 h 2964"/>
              <a:gd name="T22" fmla="*/ 868 w 2304"/>
              <a:gd name="T23" fmla="*/ 868 h 2964"/>
              <a:gd name="T24" fmla="*/ 857 w 2304"/>
              <a:gd name="T25" fmla="*/ 787 h 2964"/>
              <a:gd name="T26" fmla="*/ 811 w 2304"/>
              <a:gd name="T27" fmla="*/ 764 h 2964"/>
              <a:gd name="T28" fmla="*/ 996 w 2304"/>
              <a:gd name="T29" fmla="*/ 1285 h 2964"/>
              <a:gd name="T30" fmla="*/ 1077 w 2304"/>
              <a:gd name="T31" fmla="*/ 1331 h 2964"/>
              <a:gd name="T32" fmla="*/ 521 w 2304"/>
              <a:gd name="T33" fmla="*/ 1239 h 2964"/>
              <a:gd name="T34" fmla="*/ 521 w 2304"/>
              <a:gd name="T35" fmla="*/ 1111 h 2964"/>
              <a:gd name="T36" fmla="*/ 452 w 2304"/>
              <a:gd name="T37" fmla="*/ 1308 h 2964"/>
              <a:gd name="T38" fmla="*/ 266 w 2304"/>
              <a:gd name="T39" fmla="*/ 1563 h 2964"/>
              <a:gd name="T40" fmla="*/ 266 w 2304"/>
              <a:gd name="T41" fmla="*/ 915 h 2964"/>
              <a:gd name="T42" fmla="*/ 197 w 2304"/>
              <a:gd name="T43" fmla="*/ 845 h 2964"/>
              <a:gd name="T44" fmla="*/ 266 w 2304"/>
              <a:gd name="T45" fmla="*/ 1563 h 2964"/>
              <a:gd name="T46" fmla="*/ 394 w 2304"/>
              <a:gd name="T47" fmla="*/ 1436 h 2964"/>
              <a:gd name="T48" fmla="*/ 394 w 2304"/>
              <a:gd name="T49" fmla="*/ 1042 h 2964"/>
              <a:gd name="T50" fmla="*/ 324 w 2304"/>
              <a:gd name="T51" fmla="*/ 972 h 2964"/>
              <a:gd name="T52" fmla="*/ 2303 w 2304"/>
              <a:gd name="T53" fmla="*/ 2639 h 2964"/>
              <a:gd name="T54" fmla="*/ 1945 w 2304"/>
              <a:gd name="T55" fmla="*/ 1679 h 2964"/>
              <a:gd name="T56" fmla="*/ 1158 w 2304"/>
              <a:gd name="T57" fmla="*/ 1621 h 2964"/>
              <a:gd name="T58" fmla="*/ 371 w 2304"/>
              <a:gd name="T59" fmla="*/ 1679 h 2964"/>
              <a:gd name="T60" fmla="*/ 12 w 2304"/>
              <a:gd name="T61" fmla="*/ 2639 h 2964"/>
              <a:gd name="T62" fmla="*/ 324 w 2304"/>
              <a:gd name="T63" fmla="*/ 1991 h 2964"/>
              <a:gd name="T64" fmla="*/ 1852 w 2304"/>
              <a:gd name="T65" fmla="*/ 1852 h 2964"/>
              <a:gd name="T66" fmla="*/ 1991 w 2304"/>
              <a:gd name="T67" fmla="*/ 2639 h 2964"/>
              <a:gd name="T68" fmla="*/ 1852 w 2304"/>
              <a:gd name="T69" fmla="*/ 1945 h 2964"/>
              <a:gd name="T70" fmla="*/ 417 w 2304"/>
              <a:gd name="T71" fmla="*/ 1991 h 2964"/>
              <a:gd name="T72" fmla="*/ 463 w 2304"/>
              <a:gd name="T73" fmla="*/ 2963 h 2964"/>
              <a:gd name="T74" fmla="*/ 950 w 2304"/>
              <a:gd name="T75" fmla="*/ 2673 h 2964"/>
              <a:gd name="T76" fmla="*/ 1089 w 2304"/>
              <a:gd name="T77" fmla="*/ 2604 h 2964"/>
              <a:gd name="T78" fmla="*/ 868 w 2304"/>
              <a:gd name="T79" fmla="*/ 2465 h 2964"/>
              <a:gd name="T80" fmla="*/ 741 w 2304"/>
              <a:gd name="T81" fmla="*/ 2165 h 2964"/>
              <a:gd name="T82" fmla="*/ 891 w 2304"/>
              <a:gd name="T83" fmla="*/ 2338 h 2964"/>
              <a:gd name="T84" fmla="*/ 938 w 2304"/>
              <a:gd name="T85" fmla="*/ 2119 h 2964"/>
              <a:gd name="T86" fmla="*/ 1054 w 2304"/>
              <a:gd name="T87" fmla="*/ 2303 h 2964"/>
              <a:gd name="T88" fmla="*/ 1193 w 2304"/>
              <a:gd name="T89" fmla="*/ 2500 h 2964"/>
              <a:gd name="T90" fmla="*/ 1413 w 2304"/>
              <a:gd name="T91" fmla="*/ 2223 h 2964"/>
              <a:gd name="T92" fmla="*/ 1632 w 2304"/>
              <a:gd name="T93" fmla="*/ 2188 h 2964"/>
              <a:gd name="T94" fmla="*/ 1470 w 2304"/>
              <a:gd name="T95" fmla="*/ 2349 h 2964"/>
              <a:gd name="T96" fmla="*/ 1077 w 2304"/>
              <a:gd name="T97" fmla="*/ 2812 h 2964"/>
              <a:gd name="T98" fmla="*/ 1459 w 2304"/>
              <a:gd name="T99" fmla="*/ 2963 h 2964"/>
              <a:gd name="T100" fmla="*/ 1320 w 2304"/>
              <a:gd name="T101" fmla="*/ 2627 h 2964"/>
              <a:gd name="T102" fmla="*/ 1852 w 2304"/>
              <a:gd name="T103" fmla="*/ 2963 h 2964"/>
              <a:gd name="T104" fmla="*/ 1899 w 2304"/>
              <a:gd name="T105" fmla="*/ 1991 h 296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2304" h="2964">
                <a:moveTo>
                  <a:pt x="868" y="1192"/>
                </a:moveTo>
                <a:cubicBezTo>
                  <a:pt x="845" y="1146"/>
                  <a:pt x="811" y="1077"/>
                  <a:pt x="799" y="1007"/>
                </a:cubicBezTo>
                <a:cubicBezTo>
                  <a:pt x="753" y="984"/>
                  <a:pt x="730" y="949"/>
                  <a:pt x="730" y="903"/>
                </a:cubicBezTo>
                <a:cubicBezTo>
                  <a:pt x="706" y="799"/>
                  <a:pt x="706" y="799"/>
                  <a:pt x="706" y="799"/>
                </a:cubicBezTo>
                <a:cubicBezTo>
                  <a:pt x="706" y="752"/>
                  <a:pt x="741" y="706"/>
                  <a:pt x="787" y="695"/>
                </a:cubicBezTo>
                <a:cubicBezTo>
                  <a:pt x="787" y="648"/>
                  <a:pt x="787" y="613"/>
                  <a:pt x="787" y="613"/>
                </a:cubicBezTo>
                <a:cubicBezTo>
                  <a:pt x="787" y="556"/>
                  <a:pt x="799" y="382"/>
                  <a:pt x="973" y="313"/>
                </a:cubicBezTo>
                <a:cubicBezTo>
                  <a:pt x="973" y="521"/>
                  <a:pt x="1146" y="695"/>
                  <a:pt x="1355" y="695"/>
                </a:cubicBezTo>
                <a:cubicBezTo>
                  <a:pt x="1436" y="695"/>
                  <a:pt x="1436" y="695"/>
                  <a:pt x="1436" y="695"/>
                </a:cubicBezTo>
                <a:cubicBezTo>
                  <a:pt x="1482" y="695"/>
                  <a:pt x="1517" y="729"/>
                  <a:pt x="1528" y="776"/>
                </a:cubicBezTo>
                <a:cubicBezTo>
                  <a:pt x="1528" y="926"/>
                  <a:pt x="1493" y="1192"/>
                  <a:pt x="1308" y="1297"/>
                </a:cubicBezTo>
                <a:cubicBezTo>
                  <a:pt x="1621" y="1297"/>
                  <a:pt x="1621" y="1297"/>
                  <a:pt x="1621" y="1297"/>
                </a:cubicBezTo>
                <a:cubicBezTo>
                  <a:pt x="1714" y="1146"/>
                  <a:pt x="1760" y="868"/>
                  <a:pt x="1760" y="695"/>
                </a:cubicBezTo>
                <a:cubicBezTo>
                  <a:pt x="1760" y="278"/>
                  <a:pt x="1552" y="93"/>
                  <a:pt x="1250" y="93"/>
                </a:cubicBezTo>
                <a:cubicBezTo>
                  <a:pt x="1181" y="0"/>
                  <a:pt x="1181" y="0"/>
                  <a:pt x="1181" y="0"/>
                </a:cubicBezTo>
                <a:cubicBezTo>
                  <a:pt x="891" y="0"/>
                  <a:pt x="556" y="185"/>
                  <a:pt x="556" y="648"/>
                </a:cubicBezTo>
                <a:cubicBezTo>
                  <a:pt x="556" y="845"/>
                  <a:pt x="625" y="1088"/>
                  <a:pt x="868" y="1192"/>
                </a:cubicBezTo>
                <a:close/>
                <a:moveTo>
                  <a:pt x="1077" y="1331"/>
                </a:moveTo>
                <a:cubicBezTo>
                  <a:pt x="1100" y="1331"/>
                  <a:pt x="1123" y="1331"/>
                  <a:pt x="1135" y="1320"/>
                </a:cubicBezTo>
                <a:cubicBezTo>
                  <a:pt x="1146" y="1308"/>
                  <a:pt x="1158" y="1297"/>
                  <a:pt x="1158" y="1274"/>
                </a:cubicBezTo>
                <a:cubicBezTo>
                  <a:pt x="1158" y="1239"/>
                  <a:pt x="1123" y="1215"/>
                  <a:pt x="1077" y="1215"/>
                </a:cubicBezTo>
                <a:cubicBezTo>
                  <a:pt x="1065" y="1215"/>
                  <a:pt x="1042" y="1227"/>
                  <a:pt x="1030" y="1227"/>
                </a:cubicBezTo>
                <a:cubicBezTo>
                  <a:pt x="961" y="1169"/>
                  <a:pt x="915" y="1065"/>
                  <a:pt x="880" y="949"/>
                </a:cubicBezTo>
                <a:cubicBezTo>
                  <a:pt x="880" y="926"/>
                  <a:pt x="868" y="903"/>
                  <a:pt x="868" y="868"/>
                </a:cubicBezTo>
                <a:cubicBezTo>
                  <a:pt x="868" y="857"/>
                  <a:pt x="868" y="845"/>
                  <a:pt x="868" y="833"/>
                </a:cubicBezTo>
                <a:cubicBezTo>
                  <a:pt x="857" y="811"/>
                  <a:pt x="857" y="799"/>
                  <a:pt x="857" y="787"/>
                </a:cubicBezTo>
                <a:cubicBezTo>
                  <a:pt x="857" y="776"/>
                  <a:pt x="845" y="764"/>
                  <a:pt x="822" y="764"/>
                </a:cubicBezTo>
                <a:cubicBezTo>
                  <a:pt x="811" y="764"/>
                  <a:pt x="811" y="764"/>
                  <a:pt x="811" y="764"/>
                </a:cubicBezTo>
                <a:cubicBezTo>
                  <a:pt x="753" y="764"/>
                  <a:pt x="764" y="903"/>
                  <a:pt x="811" y="938"/>
                </a:cubicBezTo>
                <a:cubicBezTo>
                  <a:pt x="845" y="1077"/>
                  <a:pt x="891" y="1215"/>
                  <a:pt x="996" y="1285"/>
                </a:cubicBezTo>
                <a:cubicBezTo>
                  <a:pt x="1007" y="1285"/>
                  <a:pt x="1007" y="1297"/>
                  <a:pt x="1019" y="1297"/>
                </a:cubicBezTo>
                <a:cubicBezTo>
                  <a:pt x="1042" y="1308"/>
                  <a:pt x="1065" y="1320"/>
                  <a:pt x="1077" y="1331"/>
                </a:cubicBezTo>
                <a:close/>
                <a:moveTo>
                  <a:pt x="521" y="1308"/>
                </a:moveTo>
                <a:cubicBezTo>
                  <a:pt x="544" y="1285"/>
                  <a:pt x="544" y="1262"/>
                  <a:pt x="521" y="1239"/>
                </a:cubicBezTo>
                <a:cubicBezTo>
                  <a:pt x="509" y="1227"/>
                  <a:pt x="509" y="1192"/>
                  <a:pt x="521" y="1169"/>
                </a:cubicBezTo>
                <a:cubicBezTo>
                  <a:pt x="544" y="1158"/>
                  <a:pt x="544" y="1123"/>
                  <a:pt x="521" y="1111"/>
                </a:cubicBezTo>
                <a:cubicBezTo>
                  <a:pt x="509" y="1088"/>
                  <a:pt x="475" y="1088"/>
                  <a:pt x="452" y="1111"/>
                </a:cubicBezTo>
                <a:cubicBezTo>
                  <a:pt x="405" y="1158"/>
                  <a:pt x="405" y="1250"/>
                  <a:pt x="452" y="1308"/>
                </a:cubicBezTo>
                <a:cubicBezTo>
                  <a:pt x="475" y="1320"/>
                  <a:pt x="509" y="1320"/>
                  <a:pt x="521" y="1308"/>
                </a:cubicBezTo>
                <a:close/>
                <a:moveTo>
                  <a:pt x="266" y="1563"/>
                </a:moveTo>
                <a:cubicBezTo>
                  <a:pt x="278" y="1551"/>
                  <a:pt x="278" y="1517"/>
                  <a:pt x="266" y="1505"/>
                </a:cubicBezTo>
                <a:cubicBezTo>
                  <a:pt x="93" y="1343"/>
                  <a:pt x="93" y="1077"/>
                  <a:pt x="266" y="915"/>
                </a:cubicBezTo>
                <a:cubicBezTo>
                  <a:pt x="278" y="891"/>
                  <a:pt x="278" y="868"/>
                  <a:pt x="266" y="845"/>
                </a:cubicBezTo>
                <a:cubicBezTo>
                  <a:pt x="243" y="833"/>
                  <a:pt x="209" y="833"/>
                  <a:pt x="197" y="845"/>
                </a:cubicBezTo>
                <a:cubicBezTo>
                  <a:pt x="0" y="1042"/>
                  <a:pt x="0" y="1366"/>
                  <a:pt x="197" y="1563"/>
                </a:cubicBezTo>
                <a:cubicBezTo>
                  <a:pt x="209" y="1586"/>
                  <a:pt x="243" y="1586"/>
                  <a:pt x="266" y="1563"/>
                </a:cubicBezTo>
                <a:close/>
                <a:moveTo>
                  <a:pt x="324" y="1436"/>
                </a:moveTo>
                <a:cubicBezTo>
                  <a:pt x="348" y="1459"/>
                  <a:pt x="371" y="1459"/>
                  <a:pt x="394" y="1436"/>
                </a:cubicBezTo>
                <a:cubicBezTo>
                  <a:pt x="405" y="1424"/>
                  <a:pt x="405" y="1389"/>
                  <a:pt x="394" y="1366"/>
                </a:cubicBezTo>
                <a:cubicBezTo>
                  <a:pt x="301" y="1285"/>
                  <a:pt x="301" y="1135"/>
                  <a:pt x="394" y="1042"/>
                </a:cubicBezTo>
                <a:cubicBezTo>
                  <a:pt x="405" y="1030"/>
                  <a:pt x="405" y="996"/>
                  <a:pt x="394" y="972"/>
                </a:cubicBezTo>
                <a:cubicBezTo>
                  <a:pt x="371" y="961"/>
                  <a:pt x="348" y="961"/>
                  <a:pt x="324" y="972"/>
                </a:cubicBezTo>
                <a:cubicBezTo>
                  <a:pt x="197" y="1100"/>
                  <a:pt x="197" y="1308"/>
                  <a:pt x="324" y="1436"/>
                </a:cubicBezTo>
                <a:close/>
                <a:moveTo>
                  <a:pt x="2303" y="2639"/>
                </a:moveTo>
                <a:cubicBezTo>
                  <a:pt x="2165" y="1956"/>
                  <a:pt x="2165" y="1956"/>
                  <a:pt x="2165" y="1956"/>
                </a:cubicBezTo>
                <a:cubicBezTo>
                  <a:pt x="2142" y="1829"/>
                  <a:pt x="2061" y="1725"/>
                  <a:pt x="1945" y="1679"/>
                </a:cubicBezTo>
                <a:cubicBezTo>
                  <a:pt x="1482" y="1470"/>
                  <a:pt x="1482" y="1470"/>
                  <a:pt x="1482" y="1470"/>
                </a:cubicBezTo>
                <a:cubicBezTo>
                  <a:pt x="1470" y="1493"/>
                  <a:pt x="1378" y="1621"/>
                  <a:pt x="1158" y="1621"/>
                </a:cubicBezTo>
                <a:cubicBezTo>
                  <a:pt x="938" y="1621"/>
                  <a:pt x="845" y="1493"/>
                  <a:pt x="834" y="1470"/>
                </a:cubicBezTo>
                <a:cubicBezTo>
                  <a:pt x="371" y="1679"/>
                  <a:pt x="371" y="1679"/>
                  <a:pt x="371" y="1679"/>
                </a:cubicBezTo>
                <a:cubicBezTo>
                  <a:pt x="255" y="1725"/>
                  <a:pt x="174" y="1829"/>
                  <a:pt x="151" y="1956"/>
                </a:cubicBezTo>
                <a:cubicBezTo>
                  <a:pt x="12" y="2639"/>
                  <a:pt x="12" y="2639"/>
                  <a:pt x="12" y="2639"/>
                </a:cubicBezTo>
                <a:cubicBezTo>
                  <a:pt x="324" y="2639"/>
                  <a:pt x="324" y="2639"/>
                  <a:pt x="324" y="2639"/>
                </a:cubicBezTo>
                <a:cubicBezTo>
                  <a:pt x="324" y="1991"/>
                  <a:pt x="324" y="1991"/>
                  <a:pt x="324" y="1991"/>
                </a:cubicBezTo>
                <a:cubicBezTo>
                  <a:pt x="324" y="1910"/>
                  <a:pt x="382" y="1852"/>
                  <a:pt x="463" y="1852"/>
                </a:cubicBezTo>
                <a:cubicBezTo>
                  <a:pt x="1852" y="1852"/>
                  <a:pt x="1852" y="1852"/>
                  <a:pt x="1852" y="1852"/>
                </a:cubicBezTo>
                <a:cubicBezTo>
                  <a:pt x="1934" y="1852"/>
                  <a:pt x="1991" y="1910"/>
                  <a:pt x="1991" y="1991"/>
                </a:cubicBezTo>
                <a:cubicBezTo>
                  <a:pt x="1991" y="2639"/>
                  <a:pt x="1991" y="2639"/>
                  <a:pt x="1991" y="2639"/>
                </a:cubicBezTo>
                <a:lnTo>
                  <a:pt x="2303" y="2639"/>
                </a:lnTo>
                <a:close/>
                <a:moveTo>
                  <a:pt x="1852" y="1945"/>
                </a:moveTo>
                <a:cubicBezTo>
                  <a:pt x="463" y="1945"/>
                  <a:pt x="463" y="1945"/>
                  <a:pt x="463" y="1945"/>
                </a:cubicBezTo>
                <a:cubicBezTo>
                  <a:pt x="440" y="1945"/>
                  <a:pt x="417" y="1968"/>
                  <a:pt x="417" y="1991"/>
                </a:cubicBezTo>
                <a:cubicBezTo>
                  <a:pt x="417" y="2916"/>
                  <a:pt x="417" y="2916"/>
                  <a:pt x="417" y="2916"/>
                </a:cubicBezTo>
                <a:cubicBezTo>
                  <a:pt x="417" y="2940"/>
                  <a:pt x="440" y="2963"/>
                  <a:pt x="463" y="2963"/>
                </a:cubicBezTo>
                <a:cubicBezTo>
                  <a:pt x="660" y="2963"/>
                  <a:pt x="660" y="2963"/>
                  <a:pt x="660" y="2963"/>
                </a:cubicBezTo>
                <a:cubicBezTo>
                  <a:pt x="950" y="2673"/>
                  <a:pt x="950" y="2673"/>
                  <a:pt x="950" y="2673"/>
                </a:cubicBezTo>
                <a:cubicBezTo>
                  <a:pt x="1019" y="2673"/>
                  <a:pt x="1019" y="2673"/>
                  <a:pt x="1019" y="2673"/>
                </a:cubicBezTo>
                <a:cubicBezTo>
                  <a:pt x="1089" y="2604"/>
                  <a:pt x="1089" y="2604"/>
                  <a:pt x="1089" y="2604"/>
                </a:cubicBezTo>
                <a:cubicBezTo>
                  <a:pt x="1019" y="2523"/>
                  <a:pt x="1019" y="2523"/>
                  <a:pt x="1019" y="2523"/>
                </a:cubicBezTo>
                <a:cubicBezTo>
                  <a:pt x="973" y="2488"/>
                  <a:pt x="926" y="2465"/>
                  <a:pt x="868" y="2465"/>
                </a:cubicBezTo>
                <a:cubicBezTo>
                  <a:pt x="834" y="2465"/>
                  <a:pt x="787" y="2442"/>
                  <a:pt x="753" y="2407"/>
                </a:cubicBezTo>
                <a:cubicBezTo>
                  <a:pt x="683" y="2349"/>
                  <a:pt x="683" y="2233"/>
                  <a:pt x="741" y="2165"/>
                </a:cubicBezTo>
                <a:cubicBezTo>
                  <a:pt x="776" y="2314"/>
                  <a:pt x="776" y="2314"/>
                  <a:pt x="776" y="2314"/>
                </a:cubicBezTo>
                <a:cubicBezTo>
                  <a:pt x="891" y="2338"/>
                  <a:pt x="891" y="2338"/>
                  <a:pt x="891" y="2338"/>
                </a:cubicBezTo>
                <a:cubicBezTo>
                  <a:pt x="973" y="2257"/>
                  <a:pt x="973" y="2257"/>
                  <a:pt x="973" y="2257"/>
                </a:cubicBezTo>
                <a:cubicBezTo>
                  <a:pt x="938" y="2119"/>
                  <a:pt x="938" y="2119"/>
                  <a:pt x="938" y="2119"/>
                </a:cubicBezTo>
                <a:cubicBezTo>
                  <a:pt x="961" y="2130"/>
                  <a:pt x="984" y="2142"/>
                  <a:pt x="1007" y="2165"/>
                </a:cubicBezTo>
                <a:cubicBezTo>
                  <a:pt x="1042" y="2200"/>
                  <a:pt x="1054" y="2257"/>
                  <a:pt x="1054" y="2303"/>
                </a:cubicBezTo>
                <a:cubicBezTo>
                  <a:pt x="1054" y="2338"/>
                  <a:pt x="1065" y="2372"/>
                  <a:pt x="1089" y="2396"/>
                </a:cubicBezTo>
                <a:cubicBezTo>
                  <a:pt x="1193" y="2500"/>
                  <a:pt x="1193" y="2500"/>
                  <a:pt x="1193" y="2500"/>
                </a:cubicBezTo>
                <a:cubicBezTo>
                  <a:pt x="1413" y="2280"/>
                  <a:pt x="1413" y="2280"/>
                  <a:pt x="1413" y="2280"/>
                </a:cubicBezTo>
                <a:cubicBezTo>
                  <a:pt x="1413" y="2223"/>
                  <a:pt x="1413" y="2223"/>
                  <a:pt x="1413" y="2223"/>
                </a:cubicBezTo>
                <a:cubicBezTo>
                  <a:pt x="1575" y="2119"/>
                  <a:pt x="1575" y="2119"/>
                  <a:pt x="1575" y="2119"/>
                </a:cubicBezTo>
                <a:cubicBezTo>
                  <a:pt x="1632" y="2188"/>
                  <a:pt x="1632" y="2188"/>
                  <a:pt x="1632" y="2188"/>
                </a:cubicBezTo>
                <a:cubicBezTo>
                  <a:pt x="1540" y="2349"/>
                  <a:pt x="1540" y="2349"/>
                  <a:pt x="1540" y="2349"/>
                </a:cubicBezTo>
                <a:cubicBezTo>
                  <a:pt x="1470" y="2349"/>
                  <a:pt x="1470" y="2349"/>
                  <a:pt x="1470" y="2349"/>
                </a:cubicBezTo>
                <a:cubicBezTo>
                  <a:pt x="1077" y="2743"/>
                  <a:pt x="1077" y="2743"/>
                  <a:pt x="1077" y="2743"/>
                </a:cubicBezTo>
                <a:cubicBezTo>
                  <a:pt x="1077" y="2812"/>
                  <a:pt x="1077" y="2812"/>
                  <a:pt x="1077" y="2812"/>
                </a:cubicBezTo>
                <a:cubicBezTo>
                  <a:pt x="926" y="2963"/>
                  <a:pt x="926" y="2963"/>
                  <a:pt x="926" y="2963"/>
                </a:cubicBezTo>
                <a:cubicBezTo>
                  <a:pt x="1459" y="2963"/>
                  <a:pt x="1459" y="2963"/>
                  <a:pt x="1459" y="2963"/>
                </a:cubicBezTo>
                <a:cubicBezTo>
                  <a:pt x="1227" y="2731"/>
                  <a:pt x="1227" y="2731"/>
                  <a:pt x="1227" y="2731"/>
                </a:cubicBezTo>
                <a:cubicBezTo>
                  <a:pt x="1320" y="2627"/>
                  <a:pt x="1320" y="2627"/>
                  <a:pt x="1320" y="2627"/>
                </a:cubicBezTo>
                <a:cubicBezTo>
                  <a:pt x="1656" y="2963"/>
                  <a:pt x="1656" y="2963"/>
                  <a:pt x="1656" y="2963"/>
                </a:cubicBezTo>
                <a:cubicBezTo>
                  <a:pt x="1852" y="2963"/>
                  <a:pt x="1852" y="2963"/>
                  <a:pt x="1852" y="2963"/>
                </a:cubicBezTo>
                <a:cubicBezTo>
                  <a:pt x="1876" y="2963"/>
                  <a:pt x="1899" y="2940"/>
                  <a:pt x="1899" y="2916"/>
                </a:cubicBezTo>
                <a:cubicBezTo>
                  <a:pt x="1899" y="1991"/>
                  <a:pt x="1899" y="1991"/>
                  <a:pt x="1899" y="1991"/>
                </a:cubicBezTo>
                <a:cubicBezTo>
                  <a:pt x="1899" y="1968"/>
                  <a:pt x="1876" y="1945"/>
                  <a:pt x="1852" y="1945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  <a:effectLst/>
        </p:spPr>
        <p:txBody>
          <a:bodyPr wrap="none" anchor="ctr"/>
          <a:lstStyle/>
          <a:p>
            <a:endParaRPr lang="en-US" sz="1799" dirty="0">
              <a:solidFill>
                <a:srgbClr val="413636"/>
              </a:solidFill>
            </a:endParaRPr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54665E9B-09F8-5048-90A4-44DAF3BE821B}"/>
              </a:ext>
            </a:extLst>
          </p:cNvPr>
          <p:cNvSpPr/>
          <p:nvPr/>
        </p:nvSpPr>
        <p:spPr>
          <a:xfrm>
            <a:off x="4361098" y="4201572"/>
            <a:ext cx="1673644" cy="307777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ctr"/>
            <a:r>
              <a:rPr lang="en-US" sz="1400" dirty="0">
                <a:solidFill>
                  <a:srgbClr val="58595B"/>
                </a:solidFill>
                <a:latin typeface="Calibri"/>
              </a:rPr>
              <a:t>Oracle Admin VCN</a:t>
            </a:r>
          </a:p>
        </p:txBody>
      </p:sp>
      <p:sp>
        <p:nvSpPr>
          <p:cNvPr id="76" name="Rectangle: Rounded Corners 10">
            <a:extLst>
              <a:ext uri="{FF2B5EF4-FFF2-40B4-BE49-F238E27FC236}">
                <a16:creationId xmlns:a16="http://schemas.microsoft.com/office/drawing/2014/main" id="{2DFD84DA-F2F3-694F-95A0-320FCB393E20}"/>
              </a:ext>
            </a:extLst>
          </p:cNvPr>
          <p:cNvSpPr/>
          <p:nvPr/>
        </p:nvSpPr>
        <p:spPr bwMode="gray">
          <a:xfrm>
            <a:off x="3810508" y="3124776"/>
            <a:ext cx="1258061" cy="647660"/>
          </a:xfrm>
          <a:prstGeom prst="roundRect">
            <a:avLst/>
          </a:prstGeom>
          <a:solidFill>
            <a:schemeClr val="accent3"/>
          </a:solidFill>
          <a:ln w="15875">
            <a:solidFill>
              <a:schemeClr val="tx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78" name="TextBox 77">
            <a:extLst>
              <a:ext uri="{FF2B5EF4-FFF2-40B4-BE49-F238E27FC236}">
                <a16:creationId xmlns:a16="http://schemas.microsoft.com/office/drawing/2014/main" id="{00B28698-2D36-B64D-9265-D47BE5F1A52A}"/>
              </a:ext>
            </a:extLst>
          </p:cNvPr>
          <p:cNvSpPr txBox="1"/>
          <p:nvPr/>
        </p:nvSpPr>
        <p:spPr>
          <a:xfrm>
            <a:off x="3944897" y="3221262"/>
            <a:ext cx="828269" cy="51573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dirty="0">
                <a:solidFill>
                  <a:schemeClr val="bg1"/>
                </a:solidFill>
              </a:rPr>
              <a:t>Cust</a:t>
            </a:r>
          </a:p>
          <a:p>
            <a:pPr algn="ctr">
              <a:lnSpc>
                <a:spcPct val="90000"/>
              </a:lnSpc>
            </a:pPr>
            <a:r>
              <a:rPr lang="en-US" dirty="0">
                <a:solidFill>
                  <a:schemeClr val="bg1"/>
                </a:solidFill>
              </a:rPr>
              <a:t>VM</a:t>
            </a:r>
          </a:p>
        </p:txBody>
      </p:sp>
      <p:sp>
        <p:nvSpPr>
          <p:cNvPr id="79" name="TextBox 78">
            <a:extLst>
              <a:ext uri="{FF2B5EF4-FFF2-40B4-BE49-F238E27FC236}">
                <a16:creationId xmlns:a16="http://schemas.microsoft.com/office/drawing/2014/main" id="{15198C26-760A-314F-BAFE-F6BFEF4C913C}"/>
              </a:ext>
            </a:extLst>
          </p:cNvPr>
          <p:cNvSpPr txBox="1"/>
          <p:nvPr/>
        </p:nvSpPr>
        <p:spPr>
          <a:xfrm>
            <a:off x="4150534" y="1843013"/>
            <a:ext cx="3027676" cy="53038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90000"/>
              </a:lnSpc>
            </a:pPr>
            <a:r>
              <a:rPr lang="en-US" sz="1400" dirty="0">
                <a:solidFill>
                  <a:schemeClr val="bg1"/>
                </a:solidFill>
              </a:rPr>
              <a:t>Cloud API Access</a:t>
            </a:r>
          </a:p>
          <a:p>
            <a:pPr>
              <a:lnSpc>
                <a:spcPct val="90000"/>
              </a:lnSpc>
            </a:pPr>
            <a:r>
              <a:rPr lang="en-US" sz="1400" dirty="0">
                <a:solidFill>
                  <a:schemeClr val="bg1"/>
                </a:solidFill>
              </a:rPr>
              <a:t>Database Access</a:t>
            </a:r>
          </a:p>
          <a:p>
            <a:pPr>
              <a:lnSpc>
                <a:spcPct val="90000"/>
              </a:lnSpc>
            </a:pPr>
            <a:r>
              <a:rPr lang="en-US" sz="1400" dirty="0">
                <a:solidFill>
                  <a:schemeClr val="bg1"/>
                </a:solidFill>
              </a:rPr>
              <a:t>Integration with OCI Services</a:t>
            </a:r>
          </a:p>
        </p:txBody>
      </p:sp>
      <p:sp>
        <p:nvSpPr>
          <p:cNvPr id="75" name="Left-Right Arrow 74">
            <a:extLst>
              <a:ext uri="{FF2B5EF4-FFF2-40B4-BE49-F238E27FC236}">
                <a16:creationId xmlns:a16="http://schemas.microsoft.com/office/drawing/2014/main" id="{CE9F39EB-A1F6-0342-8B13-F1B3DE738A86}"/>
              </a:ext>
            </a:extLst>
          </p:cNvPr>
          <p:cNvSpPr/>
          <p:nvPr/>
        </p:nvSpPr>
        <p:spPr>
          <a:xfrm rot="5400000" flipV="1">
            <a:off x="4362190" y="2770999"/>
            <a:ext cx="847136" cy="194283"/>
          </a:xfrm>
          <a:prstGeom prst="leftRightArrow">
            <a:avLst/>
          </a:prstGeom>
          <a:solidFill>
            <a:schemeClr val="accent4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defRPr/>
            </a:pPr>
            <a:endParaRPr lang="en-US" dirty="0">
              <a:solidFill>
                <a:srgbClr val="FFFFFF"/>
              </a:solidFill>
              <a:latin typeface="Calibri"/>
            </a:endParaRPr>
          </a:p>
        </p:txBody>
      </p:sp>
      <p:sp>
        <p:nvSpPr>
          <p:cNvPr id="81" name="TextBox 80">
            <a:extLst>
              <a:ext uri="{FF2B5EF4-FFF2-40B4-BE49-F238E27FC236}">
                <a16:creationId xmlns:a16="http://schemas.microsoft.com/office/drawing/2014/main" id="{258A9CC1-0A3B-4D45-8AEF-5F46BFEF7C1C}"/>
              </a:ext>
            </a:extLst>
          </p:cNvPr>
          <p:cNvSpPr txBox="1"/>
          <p:nvPr/>
        </p:nvSpPr>
        <p:spPr>
          <a:xfrm>
            <a:off x="6977727" y="2213086"/>
            <a:ext cx="2213914" cy="53038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sz="1400" dirty="0">
                <a:solidFill>
                  <a:schemeClr val="bg1"/>
                </a:solidFill>
              </a:rPr>
              <a:t>Database/</a:t>
            </a:r>
            <a:r>
              <a:rPr lang="en-US" sz="1400" dirty="0" err="1">
                <a:solidFill>
                  <a:schemeClr val="bg1"/>
                </a:solidFill>
              </a:rPr>
              <a:t>ExaCS</a:t>
            </a:r>
            <a:endParaRPr lang="en-US" sz="1400" dirty="0">
              <a:solidFill>
                <a:schemeClr val="bg1"/>
              </a:solidFill>
            </a:endParaRPr>
          </a:p>
          <a:p>
            <a:pPr algn="ctr">
              <a:lnSpc>
                <a:spcPct val="90000"/>
              </a:lnSpc>
            </a:pPr>
            <a:r>
              <a:rPr lang="en-US" sz="1400" dirty="0">
                <a:solidFill>
                  <a:schemeClr val="bg1"/>
                </a:solidFill>
              </a:rPr>
              <a:t>Lifecycle Management</a:t>
            </a:r>
          </a:p>
        </p:txBody>
      </p:sp>
      <p:sp>
        <p:nvSpPr>
          <p:cNvPr id="80" name="Left-Right Arrow 79">
            <a:extLst>
              <a:ext uri="{FF2B5EF4-FFF2-40B4-BE49-F238E27FC236}">
                <a16:creationId xmlns:a16="http://schemas.microsoft.com/office/drawing/2014/main" id="{957B2A81-461A-CF45-ADCD-677FAADD3A5E}"/>
              </a:ext>
            </a:extLst>
          </p:cNvPr>
          <p:cNvSpPr/>
          <p:nvPr/>
        </p:nvSpPr>
        <p:spPr>
          <a:xfrm rot="5400000" flipV="1">
            <a:off x="7716643" y="3022772"/>
            <a:ext cx="661266" cy="194285"/>
          </a:xfrm>
          <a:prstGeom prst="leftRightArrow">
            <a:avLst/>
          </a:prstGeom>
          <a:solidFill>
            <a:schemeClr val="accent4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defRPr/>
            </a:pPr>
            <a:endParaRPr lang="en-US" dirty="0">
              <a:solidFill>
                <a:srgbClr val="FFFFFF"/>
              </a:solidFill>
              <a:latin typeface="Calibri"/>
            </a:endParaRPr>
          </a:p>
        </p:txBody>
      </p:sp>
      <p:sp>
        <p:nvSpPr>
          <p:cNvPr id="82" name="TextBox 81">
            <a:extLst>
              <a:ext uri="{FF2B5EF4-FFF2-40B4-BE49-F238E27FC236}">
                <a16:creationId xmlns:a16="http://schemas.microsoft.com/office/drawing/2014/main" id="{67B4853A-B5CE-C340-9AAE-9F452274B286}"/>
              </a:ext>
            </a:extLst>
          </p:cNvPr>
          <p:cNvSpPr txBox="1"/>
          <p:nvPr/>
        </p:nvSpPr>
        <p:spPr>
          <a:xfrm>
            <a:off x="6472666" y="3925620"/>
            <a:ext cx="2213914" cy="53038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sz="1400" dirty="0">
                <a:solidFill>
                  <a:schemeClr val="bg1"/>
                </a:solidFill>
              </a:rPr>
              <a:t>Automation Delivery</a:t>
            </a:r>
          </a:p>
          <a:p>
            <a:pPr algn="ctr">
              <a:lnSpc>
                <a:spcPct val="90000"/>
              </a:lnSpc>
            </a:pPr>
            <a:r>
              <a:rPr lang="en-US" sz="1400" dirty="0">
                <a:solidFill>
                  <a:schemeClr val="bg1"/>
                </a:solidFill>
              </a:rPr>
              <a:t>Infrastructure Maintenance</a:t>
            </a:r>
          </a:p>
        </p:txBody>
      </p:sp>
      <p:sp>
        <p:nvSpPr>
          <p:cNvPr id="83" name="Rectangle 82">
            <a:extLst>
              <a:ext uri="{FF2B5EF4-FFF2-40B4-BE49-F238E27FC236}">
                <a16:creationId xmlns:a16="http://schemas.microsoft.com/office/drawing/2014/main" id="{78884A91-59E4-6449-9E1A-F6CD0E712654}"/>
              </a:ext>
            </a:extLst>
          </p:cNvPr>
          <p:cNvSpPr/>
          <p:nvPr/>
        </p:nvSpPr>
        <p:spPr>
          <a:xfrm>
            <a:off x="4810608" y="2794525"/>
            <a:ext cx="2653321" cy="307777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r>
              <a:rPr lang="en-US" sz="1400" dirty="0">
                <a:solidFill>
                  <a:srgbClr val="58595B"/>
                </a:solidFill>
                <a:latin typeface="Calibri"/>
              </a:rPr>
              <a:t>Customer Client/Backup VCN</a:t>
            </a:r>
          </a:p>
        </p:txBody>
      </p:sp>
      <p:sp>
        <p:nvSpPr>
          <p:cNvPr id="84" name="Rectangle 83">
            <a:extLst>
              <a:ext uri="{FF2B5EF4-FFF2-40B4-BE49-F238E27FC236}">
                <a16:creationId xmlns:a16="http://schemas.microsoft.com/office/drawing/2014/main" id="{5D01488D-8F1D-9D42-A4BE-403B18DC62C6}"/>
              </a:ext>
            </a:extLst>
          </p:cNvPr>
          <p:cNvSpPr/>
          <p:nvPr/>
        </p:nvSpPr>
        <p:spPr>
          <a:xfrm>
            <a:off x="8047274" y="2948414"/>
            <a:ext cx="2653321" cy="307777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r>
              <a:rPr lang="en-US" sz="1400" dirty="0">
                <a:solidFill>
                  <a:srgbClr val="58595B"/>
                </a:solidFill>
                <a:latin typeface="Calibri"/>
              </a:rPr>
              <a:t>Service Management VCN</a:t>
            </a:r>
          </a:p>
        </p:txBody>
      </p:sp>
      <p:sp>
        <p:nvSpPr>
          <p:cNvPr id="18" name="Left Arrow 17">
            <a:extLst>
              <a:ext uri="{FF2B5EF4-FFF2-40B4-BE49-F238E27FC236}">
                <a16:creationId xmlns:a16="http://schemas.microsoft.com/office/drawing/2014/main" id="{EC9FA532-CCA8-BD42-8292-C29C0D1C8749}"/>
              </a:ext>
            </a:extLst>
          </p:cNvPr>
          <p:cNvSpPr/>
          <p:nvPr/>
        </p:nvSpPr>
        <p:spPr>
          <a:xfrm>
            <a:off x="9597335" y="4957749"/>
            <a:ext cx="757645" cy="168995"/>
          </a:xfrm>
          <a:prstGeom prst="leftArrow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5" name="Left Arrow 84">
            <a:extLst>
              <a:ext uri="{FF2B5EF4-FFF2-40B4-BE49-F238E27FC236}">
                <a16:creationId xmlns:a16="http://schemas.microsoft.com/office/drawing/2014/main" id="{1ED61586-1CC4-394A-8422-166B026A2B33}"/>
              </a:ext>
            </a:extLst>
          </p:cNvPr>
          <p:cNvSpPr/>
          <p:nvPr/>
        </p:nvSpPr>
        <p:spPr>
          <a:xfrm>
            <a:off x="4439539" y="4965827"/>
            <a:ext cx="4237268" cy="192169"/>
          </a:xfrm>
          <a:prstGeom prst="leftArrow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8" name="Rectangle 87">
            <a:extLst>
              <a:ext uri="{FF2B5EF4-FFF2-40B4-BE49-F238E27FC236}">
                <a16:creationId xmlns:a16="http://schemas.microsoft.com/office/drawing/2014/main" id="{C878DBCE-1098-C84E-958E-923BCF2DBB0E}"/>
              </a:ext>
            </a:extLst>
          </p:cNvPr>
          <p:cNvSpPr/>
          <p:nvPr/>
        </p:nvSpPr>
        <p:spPr>
          <a:xfrm>
            <a:off x="5978172" y="5134345"/>
            <a:ext cx="1673644" cy="307777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ctr"/>
            <a:r>
              <a:rPr lang="en-US" sz="1400" dirty="0">
                <a:solidFill>
                  <a:srgbClr val="58595B"/>
                </a:solidFill>
                <a:latin typeface="Calibri"/>
              </a:rPr>
              <a:t>Oracle Admin VCN</a:t>
            </a:r>
          </a:p>
        </p:txBody>
      </p:sp>
      <p:sp>
        <p:nvSpPr>
          <p:cNvPr id="89" name="Rectangle 88">
            <a:extLst>
              <a:ext uri="{FF2B5EF4-FFF2-40B4-BE49-F238E27FC236}">
                <a16:creationId xmlns:a16="http://schemas.microsoft.com/office/drawing/2014/main" id="{C6213F66-FC0C-3145-8C08-DC87F211E4DE}"/>
              </a:ext>
            </a:extLst>
          </p:cNvPr>
          <p:cNvSpPr/>
          <p:nvPr/>
        </p:nvSpPr>
        <p:spPr>
          <a:xfrm>
            <a:off x="5546477" y="4690267"/>
            <a:ext cx="2653321" cy="307777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ctr"/>
            <a:r>
              <a:rPr lang="en-US" sz="1400" dirty="0">
                <a:solidFill>
                  <a:srgbClr val="58595B"/>
                </a:solidFill>
                <a:latin typeface="Calibri"/>
              </a:rPr>
              <a:t>Oracle Operator SSH</a:t>
            </a:r>
          </a:p>
        </p:txBody>
      </p:sp>
      <p:sp>
        <p:nvSpPr>
          <p:cNvPr id="92" name="Left-Right Arrow 91">
            <a:extLst>
              <a:ext uri="{FF2B5EF4-FFF2-40B4-BE49-F238E27FC236}">
                <a16:creationId xmlns:a16="http://schemas.microsoft.com/office/drawing/2014/main" id="{7EF0FF34-454C-6748-A809-1B9E22FB9043}"/>
              </a:ext>
            </a:extLst>
          </p:cNvPr>
          <p:cNvSpPr/>
          <p:nvPr/>
        </p:nvSpPr>
        <p:spPr>
          <a:xfrm rot="8277475" flipV="1">
            <a:off x="1631245" y="3253732"/>
            <a:ext cx="2507038" cy="219938"/>
          </a:xfrm>
          <a:prstGeom prst="leftRightArrow">
            <a:avLst/>
          </a:prstGeom>
          <a:solidFill>
            <a:schemeClr val="accent4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defRPr/>
            </a:pPr>
            <a:endParaRPr lang="en-US" dirty="0">
              <a:solidFill>
                <a:srgbClr val="FFFFFF"/>
              </a:solidFill>
              <a:latin typeface="Calibri"/>
            </a:endParaRPr>
          </a:p>
        </p:txBody>
      </p:sp>
      <p:sp>
        <p:nvSpPr>
          <p:cNvPr id="93" name="TextBox 92">
            <a:extLst>
              <a:ext uri="{FF2B5EF4-FFF2-40B4-BE49-F238E27FC236}">
                <a16:creationId xmlns:a16="http://schemas.microsoft.com/office/drawing/2014/main" id="{8FEB6416-840E-7749-874C-86646C30077B}"/>
              </a:ext>
            </a:extLst>
          </p:cNvPr>
          <p:cNvSpPr txBox="1"/>
          <p:nvPr/>
        </p:nvSpPr>
        <p:spPr>
          <a:xfrm rot="19116427">
            <a:off x="2159137" y="2741341"/>
            <a:ext cx="1432534" cy="418809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algn="ctr">
              <a:lnSpc>
                <a:spcPct val="90000"/>
              </a:lnSpc>
              <a:defRPr/>
            </a:pPr>
            <a:r>
              <a:rPr lang="en-US" sz="1400" dirty="0">
                <a:solidFill>
                  <a:schemeClr val="tx2"/>
                </a:solidFill>
                <a:latin typeface="Calibri"/>
              </a:rPr>
              <a:t>OCI Fast Connect</a:t>
            </a:r>
          </a:p>
          <a:p>
            <a:pPr algn="ctr">
              <a:lnSpc>
                <a:spcPct val="90000"/>
              </a:lnSpc>
              <a:defRPr/>
            </a:pPr>
            <a:r>
              <a:rPr lang="en-US" sz="1400" dirty="0">
                <a:solidFill>
                  <a:schemeClr val="tx2"/>
                </a:solidFill>
                <a:latin typeface="Calibri"/>
              </a:rPr>
              <a:t>(Optional)</a:t>
            </a:r>
          </a:p>
        </p:txBody>
      </p:sp>
      <p:sp>
        <p:nvSpPr>
          <p:cNvPr id="95" name="TextBox 94">
            <a:extLst>
              <a:ext uri="{FF2B5EF4-FFF2-40B4-BE49-F238E27FC236}">
                <a16:creationId xmlns:a16="http://schemas.microsoft.com/office/drawing/2014/main" id="{F15B8E42-13A0-9341-84DD-791DB8BFD394}"/>
              </a:ext>
            </a:extLst>
          </p:cNvPr>
          <p:cNvSpPr txBox="1"/>
          <p:nvPr/>
        </p:nvSpPr>
        <p:spPr>
          <a:xfrm>
            <a:off x="146333" y="5548414"/>
            <a:ext cx="2482412" cy="55399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>
              <a:defRPr/>
            </a:pPr>
            <a:r>
              <a:rPr lang="en-IE" sz="1600" b="1" dirty="0">
                <a:latin typeface="Calibri"/>
              </a:rPr>
              <a:t>Customer Data </a:t>
            </a:r>
            <a:r>
              <a:rPr lang="en-IE" sz="1600" b="1" dirty="0" err="1">
                <a:latin typeface="Calibri"/>
              </a:rPr>
              <a:t>Center</a:t>
            </a:r>
            <a:endParaRPr lang="en-IE" sz="1600" b="1" dirty="0">
              <a:latin typeface="Calibri"/>
            </a:endParaRPr>
          </a:p>
          <a:p>
            <a:pPr algn="ctr">
              <a:defRPr/>
            </a:pPr>
            <a:r>
              <a:rPr lang="en-IE" sz="1600" b="1" dirty="0">
                <a:latin typeface="Calibri"/>
              </a:rPr>
              <a:t>(Optional</a:t>
            </a:r>
            <a:r>
              <a:rPr lang="en-IE" sz="2000" dirty="0">
                <a:latin typeface="Calibri"/>
              </a:rPr>
              <a:t>)</a:t>
            </a:r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Copyright © 2024, Oracle and/or its affiliates. All rights reserved   </a:t>
            </a:r>
            <a:endParaRPr lang="en-US" dirty="0"/>
          </a:p>
        </p:txBody>
      </p:sp>
      <p:sp>
        <p:nvSpPr>
          <p:cNvPr id="14" name="Slide Number Placeholder 1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5D60D9-5372-5F40-9443-0F9AE5BDC3C8}" type="slidenum">
              <a:rPr lang="en-US" smtClean="0"/>
              <a:pPr/>
              <a:t>1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28530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8F1C656-7AD2-45A2-BD79-B2BD3344AF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adata architecture – scale out with intelligent storag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B3A4BC3-6C8E-42FA-AB33-175D0FE08CCC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US" smtClean="0"/>
              <a:t>Copyright © 2024, Oracle and/or its affiliates. All rights reserved   </a:t>
            </a:r>
            <a:endParaRPr lang="en-US" dirty="0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A7DC5EB3-DA04-4182-9CDD-3421DC229455}"/>
              </a:ext>
            </a:extLst>
          </p:cNvPr>
          <p:cNvSpPr txBox="1">
            <a:spLocks/>
          </p:cNvSpPr>
          <p:nvPr/>
        </p:nvSpPr>
        <p:spPr>
          <a:xfrm>
            <a:off x="3667529" y="1719464"/>
            <a:ext cx="8232866" cy="4282174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l" defTabSz="914400" rtl="0" eaLnBrk="1" latinLnBrk="0" hangingPunct="1">
              <a:defRPr sz="900" kern="1200">
                <a:solidFill>
                  <a:srgbClr val="8B8580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1800"/>
              </a:spcBef>
              <a:spcAft>
                <a:spcPts val="200"/>
              </a:spcAft>
            </a:pPr>
            <a:r>
              <a:rPr lang="en-US" sz="1800" b="1" dirty="0">
                <a:solidFill>
                  <a:schemeClr val="tx1"/>
                </a:solidFill>
              </a:rPr>
              <a:t>Scale-out system architecture and software</a:t>
            </a:r>
          </a:p>
          <a:p>
            <a:pPr marL="285750" indent="-285750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tx1"/>
                </a:solidFill>
              </a:rPr>
              <a:t>Independent, online scaling of database and storage servers</a:t>
            </a:r>
          </a:p>
          <a:p>
            <a:pPr marL="285750" indent="-285750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tx1"/>
                </a:solidFill>
              </a:rPr>
              <a:t>Scales from 2 to 210  Exadata X10M database servers</a:t>
            </a:r>
          </a:p>
          <a:p>
            <a:pPr marL="285750" indent="-285750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tx1"/>
                </a:solidFill>
              </a:rPr>
              <a:t>Scales from 3 to 264 Exadata X10M storage servers</a:t>
            </a:r>
          </a:p>
          <a:p>
            <a:pPr marL="285750" indent="-285750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tx1"/>
                </a:solidFill>
              </a:rPr>
              <a:t>Redundancy with fast failover provides high availability</a:t>
            </a:r>
          </a:p>
          <a:p>
            <a:pPr>
              <a:spcBef>
                <a:spcPts val="1800"/>
              </a:spcBef>
              <a:spcAft>
                <a:spcPts val="200"/>
              </a:spcAft>
            </a:pPr>
            <a:r>
              <a:rPr lang="en-US" sz="1800" b="1" dirty="0">
                <a:solidFill>
                  <a:schemeClr val="tx1"/>
                </a:solidFill>
              </a:rPr>
              <a:t>Database uses RDMA instead of I/O to read XRMEM in Smart Storage</a:t>
            </a:r>
          </a:p>
          <a:p>
            <a:pPr marL="285750" indent="-285750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tx1"/>
                </a:solidFill>
              </a:rPr>
              <a:t>Bypasses network and I/O software, interrupts, context switches</a:t>
            </a:r>
          </a:p>
          <a:p>
            <a:pPr marL="285750" indent="-285750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tx1"/>
                </a:solidFill>
              </a:rPr>
              <a:t>Data is transparently managed in multiple storage tiers to minimize latency</a:t>
            </a:r>
          </a:p>
          <a:p>
            <a:pPr marL="285750" indent="-285750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tx1"/>
                </a:solidFill>
              </a:rPr>
              <a:t>High-performance active-active 100 Gbit/s internal network maximize throughput</a:t>
            </a:r>
          </a:p>
          <a:p>
            <a:pPr marL="285750" indent="-285750">
              <a:spcAft>
                <a:spcPts val="2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tx1"/>
                </a:solidFill>
              </a:rPr>
              <a:t>Speeds up both database reads and commits</a:t>
            </a:r>
          </a:p>
          <a:p>
            <a:pPr>
              <a:spcBef>
                <a:spcPts val="1800"/>
              </a:spcBef>
              <a:spcAft>
                <a:spcPts val="200"/>
              </a:spcAft>
              <a:buClr>
                <a:schemeClr val="tx1"/>
              </a:buClr>
            </a:pPr>
            <a:r>
              <a:rPr lang="en-US" sz="1800" b="1" dirty="0">
                <a:solidFill>
                  <a:schemeClr val="tx1"/>
                </a:solidFill>
              </a:rPr>
              <a:t>Database cluster virtualization</a:t>
            </a:r>
          </a:p>
          <a:p>
            <a:pPr marL="285750" indent="-285750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tx1"/>
                </a:solidFill>
              </a:rPr>
              <a:t>Deploy environments with different needs on the same system</a:t>
            </a:r>
          </a:p>
          <a:p>
            <a:pPr marL="742950" lvl="1" indent="-285750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en-US" sz="1600" dirty="0"/>
              <a:t>Dev-Test, Staging Production, DR</a:t>
            </a:r>
          </a:p>
          <a:p>
            <a:pPr marL="742950" lvl="1" indent="-285750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tx1"/>
                </a:solidFill>
              </a:rPr>
              <a:t>OLTP, Analytics, Mixed Workloads</a:t>
            </a:r>
          </a:p>
          <a:p>
            <a:pPr marL="285750" indent="-285750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tx1"/>
                </a:solidFill>
              </a:rPr>
              <a:t>Share and manage pools of resources to increase efficiency and lower costs</a:t>
            </a:r>
          </a:p>
          <a:p>
            <a:pPr marL="285750" indent="-285750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tx1"/>
                </a:solidFill>
              </a:rPr>
              <a:t>Isolate resources to meet differing security and predictability requirements</a:t>
            </a:r>
          </a:p>
        </p:txBody>
      </p:sp>
      <p:sp>
        <p:nvSpPr>
          <p:cNvPr id="10" name="Rounded Rectangle 17">
            <a:extLst>
              <a:ext uri="{FF2B5EF4-FFF2-40B4-BE49-F238E27FC236}">
                <a16:creationId xmlns:a16="http://schemas.microsoft.com/office/drawing/2014/main" id="{75B22EC6-81D1-48CF-98C9-D3CF62439CB7}"/>
              </a:ext>
            </a:extLst>
          </p:cNvPr>
          <p:cNvSpPr/>
          <p:nvPr/>
        </p:nvSpPr>
        <p:spPr bwMode="gray">
          <a:xfrm>
            <a:off x="792979" y="3141898"/>
            <a:ext cx="2450808" cy="2996905"/>
          </a:xfrm>
          <a:prstGeom prst="roundRect">
            <a:avLst>
              <a:gd name="adj" fmla="val 4733"/>
            </a:avLst>
          </a:prstGeom>
          <a:solidFill>
            <a:schemeClr val="accent2">
              <a:lumMod val="20000"/>
              <a:lumOff val="80000"/>
            </a:schemeClr>
          </a:solidFill>
          <a:ln w="15875">
            <a:solidFill>
              <a:schemeClr val="accent2">
                <a:lumMod val="75000"/>
              </a:schemeClr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racle Sans"/>
              <a:ea typeface="+mn-ea"/>
              <a:cs typeface="Oracle Sans Semi Bold" panose="020B0503020204020204" pitchFamily="34" charset="0"/>
            </a:endParaRPr>
          </a:p>
        </p:txBody>
      </p:sp>
      <p:sp>
        <p:nvSpPr>
          <p:cNvPr id="12" name="Trapezoid 11">
            <a:extLst>
              <a:ext uri="{FF2B5EF4-FFF2-40B4-BE49-F238E27FC236}">
                <a16:creationId xmlns:a16="http://schemas.microsoft.com/office/drawing/2014/main" id="{4A5FE6C3-289A-4CF3-8BEC-F20D322B0D86}"/>
              </a:ext>
            </a:extLst>
          </p:cNvPr>
          <p:cNvSpPr/>
          <p:nvPr/>
        </p:nvSpPr>
        <p:spPr>
          <a:xfrm>
            <a:off x="1005092" y="4038973"/>
            <a:ext cx="1965182" cy="2019232"/>
          </a:xfrm>
          <a:prstGeom prst="trapezoid">
            <a:avLst/>
          </a:prstGeom>
          <a:solidFill>
            <a:schemeClr val="accent6">
              <a:lumMod val="60000"/>
              <a:lumOff val="40000"/>
              <a:alpha val="5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racle Sans"/>
              <a:ea typeface="+mn-ea"/>
              <a:cs typeface="Oracle Sans Semi Bold" panose="020B0503020204020204" pitchFamily="34" charset="0"/>
            </a:endParaRP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D00422AD-8F33-4E83-A1A4-747A06A381E0}"/>
              </a:ext>
            </a:extLst>
          </p:cNvPr>
          <p:cNvCxnSpPr/>
          <p:nvPr/>
        </p:nvCxnSpPr>
        <p:spPr>
          <a:xfrm flipH="1">
            <a:off x="1977110" y="4619185"/>
            <a:ext cx="2427" cy="457926"/>
          </a:xfrm>
          <a:prstGeom prst="line">
            <a:avLst/>
          </a:prstGeom>
          <a:ln w="19050">
            <a:solidFill>
              <a:schemeClr val="accent5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hape 43">
            <a:extLst>
              <a:ext uri="{FF2B5EF4-FFF2-40B4-BE49-F238E27FC236}">
                <a16:creationId xmlns:a16="http://schemas.microsoft.com/office/drawing/2014/main" id="{F9F0F116-9EE3-4A76-BF0C-203245AEA097}"/>
              </a:ext>
            </a:extLst>
          </p:cNvPr>
          <p:cNvCxnSpPr>
            <a:cxnSpLocks/>
            <a:endCxn id="25" idx="3"/>
          </p:cNvCxnSpPr>
          <p:nvPr/>
        </p:nvCxnSpPr>
        <p:spPr>
          <a:xfrm flipH="1">
            <a:off x="2546382" y="2532097"/>
            <a:ext cx="338177" cy="2013035"/>
          </a:xfrm>
          <a:prstGeom prst="curvedConnector3">
            <a:avLst>
              <a:gd name="adj1" fmla="val -67598"/>
            </a:avLst>
          </a:prstGeom>
          <a:ln w="38100">
            <a:solidFill>
              <a:schemeClr val="accent5"/>
            </a:solidFill>
            <a:miter lim="800000"/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Box 14">
            <a:extLst>
              <a:ext uri="{FF2B5EF4-FFF2-40B4-BE49-F238E27FC236}">
                <a16:creationId xmlns:a16="http://schemas.microsoft.com/office/drawing/2014/main" id="{EF746A5D-2833-4463-8246-6F01D1C2F001}"/>
              </a:ext>
            </a:extLst>
          </p:cNvPr>
          <p:cNvSpPr txBox="1"/>
          <p:nvPr/>
        </p:nvSpPr>
        <p:spPr>
          <a:xfrm>
            <a:off x="1034005" y="1594371"/>
            <a:ext cx="1852751" cy="292885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4E3629"/>
                </a:solidFill>
                <a:effectLst/>
                <a:uLnTx/>
                <a:uFillTx/>
                <a:latin typeface="Oracle Sans"/>
                <a:ea typeface="+mn-ea"/>
                <a:cs typeface="Oracle Sans Semi Bold" panose="020B0503020204020204" pitchFamily="34" charset="0"/>
              </a:rPr>
              <a:t>Database Servers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23F7A7B3-C85D-4585-B0FD-CCC1F26B3239}"/>
              </a:ext>
            </a:extLst>
          </p:cNvPr>
          <p:cNvSpPr txBox="1"/>
          <p:nvPr/>
        </p:nvSpPr>
        <p:spPr>
          <a:xfrm>
            <a:off x="603132" y="3085679"/>
            <a:ext cx="2714498" cy="284237"/>
          </a:xfrm>
          <a:prstGeom prst="rect">
            <a:avLst/>
          </a:prstGeom>
          <a:noFill/>
        </p:spPr>
        <p:txBody>
          <a:bodyPr wrap="none" lIns="0" tIns="0" rIns="0" bIns="0" rtlCol="0" anchor="b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4E3629"/>
                </a:solidFill>
                <a:effectLst/>
                <a:uLnTx/>
                <a:uFillTx/>
                <a:latin typeface="Oracle Sans"/>
                <a:ea typeface="+mn-ea"/>
                <a:cs typeface="Oracle Sans Semi Bold" panose="020B0503020204020204" pitchFamily="34" charset="0"/>
              </a:rPr>
              <a:t>Storage Servers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1CBEB893-8322-49CC-B798-C7CF834106E8}"/>
              </a:ext>
            </a:extLst>
          </p:cNvPr>
          <p:cNvSpPr txBox="1"/>
          <p:nvPr/>
        </p:nvSpPr>
        <p:spPr>
          <a:xfrm>
            <a:off x="685410" y="4484723"/>
            <a:ext cx="806664" cy="304026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D1350F"/>
                </a:solidFill>
                <a:effectLst/>
                <a:uLnTx/>
                <a:uFillTx/>
                <a:latin typeface="Oracle Sans"/>
                <a:ea typeface="+mn-ea"/>
                <a:cs typeface="Oracle Sans Semi Bold" panose="020B0503020204020204" pitchFamily="34" charset="0"/>
              </a:rPr>
              <a:t>Hot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46FA5E4D-96CE-41A6-A0C2-AD30E23B3CB9}"/>
              </a:ext>
            </a:extLst>
          </p:cNvPr>
          <p:cNvSpPr txBox="1"/>
          <p:nvPr/>
        </p:nvSpPr>
        <p:spPr>
          <a:xfrm>
            <a:off x="685410" y="5015448"/>
            <a:ext cx="806664" cy="304026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AE562C"/>
                </a:solidFill>
                <a:effectLst/>
                <a:uLnTx/>
                <a:uFillTx/>
                <a:latin typeface="Oracle Sans"/>
                <a:ea typeface="+mn-ea"/>
                <a:cs typeface="Oracle Sans Semi Bold" panose="020B0503020204020204" pitchFamily="34" charset="0"/>
              </a:rPr>
              <a:t>Warm</a:t>
            </a:r>
          </a:p>
        </p:txBody>
      </p:sp>
      <p:sp>
        <p:nvSpPr>
          <p:cNvPr id="19" name="Rounded Rectangle 47">
            <a:extLst>
              <a:ext uri="{FF2B5EF4-FFF2-40B4-BE49-F238E27FC236}">
                <a16:creationId xmlns:a16="http://schemas.microsoft.com/office/drawing/2014/main" id="{B37BF689-3F04-44C0-9349-7013D874857B}"/>
              </a:ext>
            </a:extLst>
          </p:cNvPr>
          <p:cNvSpPr/>
          <p:nvPr/>
        </p:nvSpPr>
        <p:spPr>
          <a:xfrm>
            <a:off x="2600538" y="2820263"/>
            <a:ext cx="768979" cy="292885"/>
          </a:xfrm>
          <a:prstGeom prst="round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4572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C74634"/>
                </a:solidFill>
                <a:effectLst/>
                <a:uLnTx/>
                <a:uFillTx/>
                <a:latin typeface="Oracle Sans"/>
                <a:ea typeface="+mn-ea"/>
                <a:cs typeface="Oracle Sans Semi Bold" panose="020B0503020204020204" pitchFamily="34" charset="0"/>
              </a:rPr>
              <a:t>RDMA</a:t>
            </a:r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90968D54-B7DA-4E8F-9AB3-A24BA247DB38}"/>
              </a:ext>
            </a:extLst>
          </p:cNvPr>
          <p:cNvCxnSpPr/>
          <p:nvPr/>
        </p:nvCxnSpPr>
        <p:spPr>
          <a:xfrm flipH="1">
            <a:off x="1977110" y="5227517"/>
            <a:ext cx="4854" cy="285185"/>
          </a:xfrm>
          <a:prstGeom prst="line">
            <a:avLst/>
          </a:prstGeom>
          <a:ln w="19050">
            <a:solidFill>
              <a:schemeClr val="accent5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Box 20">
            <a:extLst>
              <a:ext uri="{FF2B5EF4-FFF2-40B4-BE49-F238E27FC236}">
                <a16:creationId xmlns:a16="http://schemas.microsoft.com/office/drawing/2014/main" id="{37AF852B-B837-4464-AF62-6CA18A435A98}"/>
              </a:ext>
            </a:extLst>
          </p:cNvPr>
          <p:cNvSpPr txBox="1"/>
          <p:nvPr/>
        </p:nvSpPr>
        <p:spPr>
          <a:xfrm>
            <a:off x="685410" y="5642850"/>
            <a:ext cx="806664" cy="304026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2C5967"/>
                </a:solidFill>
                <a:effectLst/>
                <a:uLnTx/>
                <a:uFillTx/>
                <a:latin typeface="Oracle Sans"/>
                <a:ea typeface="+mn-ea"/>
                <a:cs typeface="Oracle Sans Semi Bold" panose="020B0503020204020204" pitchFamily="34" charset="0"/>
              </a:rPr>
              <a:t>Cold</a:t>
            </a:r>
          </a:p>
        </p:txBody>
      </p:sp>
      <p:sp>
        <p:nvSpPr>
          <p:cNvPr id="22" name="Up-Down Arrow 50">
            <a:extLst>
              <a:ext uri="{FF2B5EF4-FFF2-40B4-BE49-F238E27FC236}">
                <a16:creationId xmlns:a16="http://schemas.microsoft.com/office/drawing/2014/main" id="{8D514522-BA33-4D05-BEA5-364E9D2E3492}"/>
              </a:ext>
            </a:extLst>
          </p:cNvPr>
          <p:cNvSpPr/>
          <p:nvPr/>
        </p:nvSpPr>
        <p:spPr bwMode="gray">
          <a:xfrm>
            <a:off x="1886664" y="2402179"/>
            <a:ext cx="361705" cy="716042"/>
          </a:xfrm>
          <a:prstGeom prst="upDownArrow">
            <a:avLst/>
          </a:prstGeom>
          <a:solidFill>
            <a:srgbClr val="C74634"/>
          </a:solidFill>
          <a:ln w="15875">
            <a:solidFill>
              <a:schemeClr val="accent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racle Sans"/>
              <a:ea typeface="+mn-ea"/>
              <a:cs typeface="Oracle Sans Semi Bold" panose="020B0503020204020204" pitchFamily="34" charset="0"/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BA510ED3-06DB-410D-A0B5-3ADD2FEB3583}"/>
              </a:ext>
            </a:extLst>
          </p:cNvPr>
          <p:cNvSpPr txBox="1"/>
          <p:nvPr/>
        </p:nvSpPr>
        <p:spPr>
          <a:xfrm>
            <a:off x="1448744" y="2673981"/>
            <a:ext cx="459604" cy="20250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4E3629"/>
                </a:solidFill>
                <a:effectLst/>
                <a:uLnTx/>
                <a:uFillTx/>
                <a:latin typeface="Oracle Sans"/>
                <a:ea typeface="+mn-ea"/>
                <a:cs typeface="Oracle Sans Semi Bold" panose="020B0503020204020204" pitchFamily="34" charset="0"/>
              </a:rPr>
              <a:t>RoCE</a:t>
            </a:r>
          </a:p>
        </p:txBody>
      </p:sp>
      <p:pic>
        <p:nvPicPr>
          <p:cNvPr id="25" name="Picture 24">
            <a:extLst>
              <a:ext uri="{FF2B5EF4-FFF2-40B4-BE49-F238E27FC236}">
                <a16:creationId xmlns:a16="http://schemas.microsoft.com/office/drawing/2014/main" id="{CD89320B-474E-49D9-B1C1-A4915840C5A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77324" y="4010603"/>
            <a:ext cx="1069058" cy="1069058"/>
          </a:xfrm>
          <a:prstGeom prst="rect">
            <a:avLst/>
          </a:prstGeom>
        </p:spPr>
      </p:pic>
      <p:sp>
        <p:nvSpPr>
          <p:cNvPr id="26" name="TextBox 25">
            <a:extLst>
              <a:ext uri="{FF2B5EF4-FFF2-40B4-BE49-F238E27FC236}">
                <a16:creationId xmlns:a16="http://schemas.microsoft.com/office/drawing/2014/main" id="{B7C745DD-714B-40E8-B121-89ADC55D3742}"/>
              </a:ext>
            </a:extLst>
          </p:cNvPr>
          <p:cNvSpPr txBox="1"/>
          <p:nvPr/>
        </p:nvSpPr>
        <p:spPr>
          <a:xfrm>
            <a:off x="1146401" y="4359198"/>
            <a:ext cx="1674509" cy="367384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dirty="0">
                <a:solidFill>
                  <a:prstClr val="white"/>
                </a:solidFill>
                <a:effectLst>
                  <a:glow rad="228600">
                    <a:prstClr val="white">
                      <a:lumMod val="65000"/>
                      <a:alpha val="40000"/>
                    </a:prstClr>
                  </a:glow>
                </a:effectLst>
                <a:latin typeface="Oracle Sans"/>
                <a:cs typeface="Oracle Sans Semi Bold" panose="020B0503020204020204" pitchFamily="34" charset="0"/>
              </a:rPr>
              <a:t>XR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>
                  <a:glow rad="228600">
                    <a:prstClr val="white">
                      <a:lumMod val="65000"/>
                      <a:alpha val="40000"/>
                    </a:prstClr>
                  </a:glow>
                </a:effectLst>
                <a:uLnTx/>
                <a:uFillTx/>
                <a:latin typeface="Oracle Sans"/>
                <a:ea typeface="+mn-ea"/>
                <a:cs typeface="Oracle Sans Semi Bold" panose="020B0503020204020204" pitchFamily="34" charset="0"/>
              </a:rPr>
              <a:t>MEM</a:t>
            </a:r>
          </a:p>
        </p:txBody>
      </p:sp>
      <p:pic>
        <p:nvPicPr>
          <p:cNvPr id="27" name="Picture 26">
            <a:extLst>
              <a:ext uri="{FF2B5EF4-FFF2-40B4-BE49-F238E27FC236}">
                <a16:creationId xmlns:a16="http://schemas.microsoft.com/office/drawing/2014/main" id="{514955A6-7DDF-44BF-B3E2-9E5E13B94C3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0800000">
            <a:off x="1370234" y="4998633"/>
            <a:ext cx="1180296" cy="269716"/>
          </a:xfrm>
          <a:prstGeom prst="rect">
            <a:avLst/>
          </a:prstGeom>
        </p:spPr>
      </p:pic>
      <p:pic>
        <p:nvPicPr>
          <p:cNvPr id="28" name="Picture 27">
            <a:extLst>
              <a:ext uri="{FF2B5EF4-FFF2-40B4-BE49-F238E27FC236}">
                <a16:creationId xmlns:a16="http://schemas.microsoft.com/office/drawing/2014/main" id="{7D6F93A6-0205-4B91-BE9A-E24568EC1940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5400000">
            <a:off x="1563832" y="5302964"/>
            <a:ext cx="850929" cy="850929"/>
          </a:xfrm>
          <a:prstGeom prst="rect">
            <a:avLst/>
          </a:prstGeom>
        </p:spPr>
      </p:pic>
      <p:sp>
        <p:nvSpPr>
          <p:cNvPr id="29" name="TextBox 28">
            <a:extLst>
              <a:ext uri="{FF2B5EF4-FFF2-40B4-BE49-F238E27FC236}">
                <a16:creationId xmlns:a16="http://schemas.microsoft.com/office/drawing/2014/main" id="{5EA37AD2-5A41-4D29-A0E1-9104D253AEF6}"/>
              </a:ext>
            </a:extLst>
          </p:cNvPr>
          <p:cNvSpPr txBox="1"/>
          <p:nvPr/>
        </p:nvSpPr>
        <p:spPr>
          <a:xfrm>
            <a:off x="1548259" y="5010106"/>
            <a:ext cx="993043" cy="236522"/>
          </a:xfrm>
          <a:prstGeom prst="rect">
            <a:avLst/>
          </a:prstGeom>
          <a:solidFill>
            <a:srgbClr val="576A71">
              <a:alpha val="50000"/>
            </a:srgbClr>
          </a:solidFill>
        </p:spPr>
        <p:txBody>
          <a:bodyPr wrap="none" lIns="0" tIns="0" rIns="0" bIns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>
                  <a:glow rad="368300">
                    <a:prstClr val="white">
                      <a:lumMod val="50000"/>
                      <a:alpha val="49000"/>
                    </a:prstClr>
                  </a:glow>
                </a:effectLst>
                <a:uLnTx/>
                <a:uFillTx/>
                <a:latin typeface="Oracle Sans"/>
                <a:ea typeface="+mn-ea"/>
                <a:cs typeface="Oracle Sans Semi Bold" panose="020B0503020204020204" pitchFamily="34" charset="0"/>
              </a:rPr>
              <a:t>FLASH</a:t>
            </a:r>
          </a:p>
        </p:txBody>
      </p:sp>
      <p:grpSp>
        <p:nvGrpSpPr>
          <p:cNvPr id="150" name="Group 149">
            <a:extLst>
              <a:ext uri="{FF2B5EF4-FFF2-40B4-BE49-F238E27FC236}">
                <a16:creationId xmlns:a16="http://schemas.microsoft.com/office/drawing/2014/main" id="{E419C760-0CB0-4160-9C34-ABF9EC6E256C}"/>
              </a:ext>
            </a:extLst>
          </p:cNvPr>
          <p:cNvGrpSpPr>
            <a:grpSpLocks noChangeAspect="1"/>
          </p:cNvGrpSpPr>
          <p:nvPr/>
        </p:nvGrpSpPr>
        <p:grpSpPr>
          <a:xfrm>
            <a:off x="1067364" y="1858215"/>
            <a:ext cx="1950221" cy="506915"/>
            <a:chOff x="9133901" y="1969887"/>
            <a:chExt cx="2633617" cy="684548"/>
          </a:xfrm>
        </p:grpSpPr>
        <p:pic>
          <p:nvPicPr>
            <p:cNvPr id="148" name="Picture 2">
              <a:extLst>
                <a:ext uri="{FF2B5EF4-FFF2-40B4-BE49-F238E27FC236}">
                  <a16:creationId xmlns:a16="http://schemas.microsoft.com/office/drawing/2014/main" id="{B66006C7-BD13-41A9-BBE9-9D1196A00188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9133901" y="1969887"/>
              <a:ext cx="2481217" cy="45377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49" name="Picture 2">
              <a:extLst>
                <a:ext uri="{FF2B5EF4-FFF2-40B4-BE49-F238E27FC236}">
                  <a16:creationId xmlns:a16="http://schemas.microsoft.com/office/drawing/2014/main" id="{A4530DD9-DABC-4CDB-A686-754469EAC023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9286301" y="2200665"/>
              <a:ext cx="2481217" cy="45377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pic>
        <p:nvPicPr>
          <p:cNvPr id="151" name="Picture 150">
            <a:extLst>
              <a:ext uri="{FF2B5EF4-FFF2-40B4-BE49-F238E27FC236}">
                <a16:creationId xmlns:a16="http://schemas.microsoft.com/office/drawing/2014/main" id="{51901205-5D5D-458F-B1F9-3456007CE94E}"/>
              </a:ext>
            </a:extLst>
          </p:cNvPr>
          <p:cNvPicPr>
            <a:picLocks noChangeAspect="1"/>
          </p:cNvPicPr>
          <p:nvPr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49271" y="3436195"/>
            <a:ext cx="1763514" cy="320837"/>
          </a:xfrm>
          <a:prstGeom prst="rect">
            <a:avLst/>
          </a:prstGeom>
        </p:spPr>
      </p:pic>
      <p:pic>
        <p:nvPicPr>
          <p:cNvPr id="152" name="Picture 151">
            <a:extLst>
              <a:ext uri="{FF2B5EF4-FFF2-40B4-BE49-F238E27FC236}">
                <a16:creationId xmlns:a16="http://schemas.microsoft.com/office/drawing/2014/main" id="{5B5CA2FA-2F93-46E9-A33F-DEDA01329D38}"/>
              </a:ext>
            </a:extLst>
          </p:cNvPr>
          <p:cNvPicPr>
            <a:picLocks noChangeAspect="1"/>
          </p:cNvPicPr>
          <p:nvPr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01671" y="3588595"/>
            <a:ext cx="1763514" cy="320837"/>
          </a:xfrm>
          <a:prstGeom prst="rect">
            <a:avLst/>
          </a:prstGeom>
        </p:spPr>
      </p:pic>
      <p:pic>
        <p:nvPicPr>
          <p:cNvPr id="153" name="Picture 152">
            <a:extLst>
              <a:ext uri="{FF2B5EF4-FFF2-40B4-BE49-F238E27FC236}">
                <a16:creationId xmlns:a16="http://schemas.microsoft.com/office/drawing/2014/main" id="{1BCD2B1B-551F-426F-8096-65DB95758B32}"/>
              </a:ext>
            </a:extLst>
          </p:cNvPr>
          <p:cNvPicPr>
            <a:picLocks noChangeAspect="1"/>
          </p:cNvPicPr>
          <p:nvPr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254071" y="3740995"/>
            <a:ext cx="1763514" cy="320837"/>
          </a:xfrm>
          <a:prstGeom prst="rect">
            <a:avLst/>
          </a:prstGeo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345D60D9-5372-5F40-9443-0F9AE5BDC3C8}" type="slidenum">
              <a:rPr lang="en-US" smtClean="0"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798742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p15="http://schemas.microsoft.com/office/powerpoint/2012/main" xmlns:a14="http://schemas.microsoft.com/office/drawing/2010/main"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8F1C656-7AD2-45A2-BD79-B2BD3344AF1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53488" y="426841"/>
            <a:ext cx="9619945" cy="443472"/>
          </a:xfrm>
        </p:spPr>
        <p:txBody>
          <a:bodyPr/>
          <a:lstStyle/>
          <a:p>
            <a:r>
              <a:rPr lang="en-US" dirty="0" smtClean="0"/>
              <a:t>There are no EF and XT Storage options for </a:t>
            </a:r>
            <a:r>
              <a:rPr lang="en-US" dirty="0" err="1" smtClean="0"/>
              <a:t>Exadata</a:t>
            </a:r>
            <a:r>
              <a:rPr lang="en-US" dirty="0" smtClean="0"/>
              <a:t> Cloud</a:t>
            </a:r>
            <a:endParaRPr lang="en-US" dirty="0"/>
          </a:p>
        </p:txBody>
      </p:sp>
      <p:sp>
        <p:nvSpPr>
          <p:cNvPr id="10" name="Rounded Rectangle 17">
            <a:extLst>
              <a:ext uri="{FF2B5EF4-FFF2-40B4-BE49-F238E27FC236}">
                <a16:creationId xmlns:a16="http://schemas.microsoft.com/office/drawing/2014/main" id="{75B22EC6-81D1-48CF-98C9-D3CF62439CB7}"/>
              </a:ext>
            </a:extLst>
          </p:cNvPr>
          <p:cNvSpPr/>
          <p:nvPr/>
        </p:nvSpPr>
        <p:spPr bwMode="gray">
          <a:xfrm>
            <a:off x="836828" y="3290296"/>
            <a:ext cx="2450808" cy="2996905"/>
          </a:xfrm>
          <a:prstGeom prst="roundRect">
            <a:avLst>
              <a:gd name="adj" fmla="val 4733"/>
            </a:avLst>
          </a:prstGeom>
          <a:solidFill>
            <a:schemeClr val="accent2">
              <a:lumMod val="20000"/>
              <a:lumOff val="80000"/>
            </a:schemeClr>
          </a:solidFill>
          <a:ln w="15875">
            <a:solidFill>
              <a:schemeClr val="accent2">
                <a:lumMod val="75000"/>
              </a:schemeClr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racle Sans"/>
              <a:ea typeface="+mn-ea"/>
              <a:cs typeface="Oracle Sans Semi Bold" panose="020B0503020204020204" pitchFamily="34" charset="0"/>
            </a:endParaRPr>
          </a:p>
        </p:txBody>
      </p:sp>
      <p:sp>
        <p:nvSpPr>
          <p:cNvPr id="12" name="Trapezoid 11">
            <a:extLst>
              <a:ext uri="{FF2B5EF4-FFF2-40B4-BE49-F238E27FC236}">
                <a16:creationId xmlns:a16="http://schemas.microsoft.com/office/drawing/2014/main" id="{4A5FE6C3-289A-4CF3-8BEC-F20D322B0D86}"/>
              </a:ext>
            </a:extLst>
          </p:cNvPr>
          <p:cNvSpPr/>
          <p:nvPr/>
        </p:nvSpPr>
        <p:spPr>
          <a:xfrm>
            <a:off x="1048941" y="4187371"/>
            <a:ext cx="1965182" cy="2019232"/>
          </a:xfrm>
          <a:prstGeom prst="trapezoid">
            <a:avLst/>
          </a:prstGeom>
          <a:solidFill>
            <a:schemeClr val="accent6">
              <a:lumMod val="60000"/>
              <a:lumOff val="40000"/>
              <a:alpha val="5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racle Sans"/>
              <a:ea typeface="+mn-ea"/>
              <a:cs typeface="Oracle Sans Semi Bold" panose="020B0503020204020204" pitchFamily="34" charset="0"/>
            </a:endParaRP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D00422AD-8F33-4E83-A1A4-747A06A381E0}"/>
              </a:ext>
            </a:extLst>
          </p:cNvPr>
          <p:cNvCxnSpPr/>
          <p:nvPr/>
        </p:nvCxnSpPr>
        <p:spPr>
          <a:xfrm flipH="1">
            <a:off x="2020959" y="4767583"/>
            <a:ext cx="2427" cy="457926"/>
          </a:xfrm>
          <a:prstGeom prst="line">
            <a:avLst/>
          </a:prstGeom>
          <a:ln w="19050">
            <a:solidFill>
              <a:schemeClr val="accent5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hape 43">
            <a:extLst>
              <a:ext uri="{FF2B5EF4-FFF2-40B4-BE49-F238E27FC236}">
                <a16:creationId xmlns:a16="http://schemas.microsoft.com/office/drawing/2014/main" id="{F9F0F116-9EE3-4A76-BF0C-203245AEA097}"/>
              </a:ext>
            </a:extLst>
          </p:cNvPr>
          <p:cNvCxnSpPr>
            <a:cxnSpLocks/>
            <a:endCxn id="25" idx="3"/>
          </p:cNvCxnSpPr>
          <p:nvPr/>
        </p:nvCxnSpPr>
        <p:spPr>
          <a:xfrm flipH="1">
            <a:off x="2590231" y="2680495"/>
            <a:ext cx="338177" cy="2013035"/>
          </a:xfrm>
          <a:prstGeom prst="curvedConnector3">
            <a:avLst>
              <a:gd name="adj1" fmla="val -67598"/>
            </a:avLst>
          </a:prstGeom>
          <a:ln w="38100">
            <a:solidFill>
              <a:schemeClr val="accent5"/>
            </a:solidFill>
            <a:miter lim="800000"/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Box 14">
            <a:extLst>
              <a:ext uri="{FF2B5EF4-FFF2-40B4-BE49-F238E27FC236}">
                <a16:creationId xmlns:a16="http://schemas.microsoft.com/office/drawing/2014/main" id="{EF746A5D-2833-4463-8246-6F01D1C2F001}"/>
              </a:ext>
            </a:extLst>
          </p:cNvPr>
          <p:cNvSpPr txBox="1"/>
          <p:nvPr/>
        </p:nvSpPr>
        <p:spPr>
          <a:xfrm>
            <a:off x="1077854" y="1742769"/>
            <a:ext cx="1852751" cy="292885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4E3629"/>
                </a:solidFill>
                <a:effectLst/>
                <a:uLnTx/>
                <a:uFillTx/>
                <a:latin typeface="Oracle Sans"/>
                <a:ea typeface="+mn-ea"/>
                <a:cs typeface="Oracle Sans Semi Bold" panose="020B0503020204020204" pitchFamily="34" charset="0"/>
              </a:rPr>
              <a:t>Database Servers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23F7A7B3-C85D-4585-B0FD-CCC1F26B3239}"/>
              </a:ext>
            </a:extLst>
          </p:cNvPr>
          <p:cNvSpPr txBox="1"/>
          <p:nvPr/>
        </p:nvSpPr>
        <p:spPr>
          <a:xfrm>
            <a:off x="646981" y="3234077"/>
            <a:ext cx="2714498" cy="284237"/>
          </a:xfrm>
          <a:prstGeom prst="rect">
            <a:avLst/>
          </a:prstGeom>
          <a:noFill/>
        </p:spPr>
        <p:txBody>
          <a:bodyPr wrap="none" lIns="0" tIns="0" rIns="0" bIns="0" rtlCol="0" anchor="b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4E3629"/>
                </a:solidFill>
                <a:effectLst/>
                <a:uLnTx/>
                <a:uFillTx/>
                <a:latin typeface="Oracle Sans"/>
                <a:ea typeface="+mn-ea"/>
                <a:cs typeface="Oracle Sans Semi Bold" panose="020B0503020204020204" pitchFamily="34" charset="0"/>
              </a:rPr>
              <a:t>Storage Servers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1CBEB893-8322-49CC-B798-C7CF834106E8}"/>
              </a:ext>
            </a:extLst>
          </p:cNvPr>
          <p:cNvSpPr txBox="1"/>
          <p:nvPr/>
        </p:nvSpPr>
        <p:spPr>
          <a:xfrm>
            <a:off x="729259" y="4633121"/>
            <a:ext cx="806664" cy="304026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D1350F"/>
                </a:solidFill>
                <a:effectLst/>
                <a:uLnTx/>
                <a:uFillTx/>
                <a:latin typeface="Oracle Sans"/>
                <a:ea typeface="+mn-ea"/>
                <a:cs typeface="Oracle Sans Semi Bold" panose="020B0503020204020204" pitchFamily="34" charset="0"/>
              </a:rPr>
              <a:t>Hot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46FA5E4D-96CE-41A6-A0C2-AD30E23B3CB9}"/>
              </a:ext>
            </a:extLst>
          </p:cNvPr>
          <p:cNvSpPr txBox="1"/>
          <p:nvPr/>
        </p:nvSpPr>
        <p:spPr>
          <a:xfrm>
            <a:off x="729259" y="5163846"/>
            <a:ext cx="806664" cy="304026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AE562C"/>
                </a:solidFill>
                <a:effectLst/>
                <a:uLnTx/>
                <a:uFillTx/>
                <a:latin typeface="Oracle Sans"/>
                <a:ea typeface="+mn-ea"/>
                <a:cs typeface="Oracle Sans Semi Bold" panose="020B0503020204020204" pitchFamily="34" charset="0"/>
              </a:rPr>
              <a:t>Warm</a:t>
            </a:r>
          </a:p>
        </p:txBody>
      </p:sp>
      <p:sp>
        <p:nvSpPr>
          <p:cNvPr id="19" name="Rounded Rectangle 47">
            <a:extLst>
              <a:ext uri="{FF2B5EF4-FFF2-40B4-BE49-F238E27FC236}">
                <a16:creationId xmlns:a16="http://schemas.microsoft.com/office/drawing/2014/main" id="{B37BF689-3F04-44C0-9349-7013D874857B}"/>
              </a:ext>
            </a:extLst>
          </p:cNvPr>
          <p:cNvSpPr/>
          <p:nvPr/>
        </p:nvSpPr>
        <p:spPr>
          <a:xfrm>
            <a:off x="2644387" y="2968661"/>
            <a:ext cx="768979" cy="292885"/>
          </a:xfrm>
          <a:prstGeom prst="round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4572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C74634"/>
                </a:solidFill>
                <a:effectLst/>
                <a:uLnTx/>
                <a:uFillTx/>
                <a:latin typeface="Oracle Sans"/>
                <a:ea typeface="+mn-ea"/>
                <a:cs typeface="Oracle Sans Semi Bold" panose="020B0503020204020204" pitchFamily="34" charset="0"/>
              </a:rPr>
              <a:t>RDMA</a:t>
            </a:r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90968D54-B7DA-4E8F-9AB3-A24BA247DB38}"/>
              </a:ext>
            </a:extLst>
          </p:cNvPr>
          <p:cNvCxnSpPr/>
          <p:nvPr/>
        </p:nvCxnSpPr>
        <p:spPr>
          <a:xfrm flipH="1">
            <a:off x="2020959" y="5375915"/>
            <a:ext cx="4854" cy="285185"/>
          </a:xfrm>
          <a:prstGeom prst="line">
            <a:avLst/>
          </a:prstGeom>
          <a:ln w="19050">
            <a:solidFill>
              <a:schemeClr val="accent5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Box 20">
            <a:extLst>
              <a:ext uri="{FF2B5EF4-FFF2-40B4-BE49-F238E27FC236}">
                <a16:creationId xmlns:a16="http://schemas.microsoft.com/office/drawing/2014/main" id="{37AF852B-B837-4464-AF62-6CA18A435A98}"/>
              </a:ext>
            </a:extLst>
          </p:cNvPr>
          <p:cNvSpPr txBox="1"/>
          <p:nvPr/>
        </p:nvSpPr>
        <p:spPr>
          <a:xfrm>
            <a:off x="729259" y="5791248"/>
            <a:ext cx="806664" cy="304026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2C5967"/>
                </a:solidFill>
                <a:effectLst/>
                <a:uLnTx/>
                <a:uFillTx/>
                <a:latin typeface="Oracle Sans"/>
                <a:ea typeface="+mn-ea"/>
                <a:cs typeface="Oracle Sans Semi Bold" panose="020B0503020204020204" pitchFamily="34" charset="0"/>
              </a:rPr>
              <a:t>Cold</a:t>
            </a:r>
          </a:p>
        </p:txBody>
      </p:sp>
      <p:sp>
        <p:nvSpPr>
          <p:cNvPr id="22" name="Up-Down Arrow 50">
            <a:extLst>
              <a:ext uri="{FF2B5EF4-FFF2-40B4-BE49-F238E27FC236}">
                <a16:creationId xmlns:a16="http://schemas.microsoft.com/office/drawing/2014/main" id="{8D514522-BA33-4D05-BEA5-364E9D2E3492}"/>
              </a:ext>
            </a:extLst>
          </p:cNvPr>
          <p:cNvSpPr/>
          <p:nvPr/>
        </p:nvSpPr>
        <p:spPr bwMode="gray">
          <a:xfrm>
            <a:off x="1930513" y="2550577"/>
            <a:ext cx="361705" cy="716042"/>
          </a:xfrm>
          <a:prstGeom prst="upDownArrow">
            <a:avLst/>
          </a:prstGeom>
          <a:solidFill>
            <a:srgbClr val="C74634"/>
          </a:solidFill>
          <a:ln w="15875">
            <a:solidFill>
              <a:schemeClr val="accent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racle Sans"/>
              <a:ea typeface="+mn-ea"/>
              <a:cs typeface="Oracle Sans Semi Bold" panose="020B0503020204020204" pitchFamily="34" charset="0"/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BA510ED3-06DB-410D-A0B5-3ADD2FEB3583}"/>
              </a:ext>
            </a:extLst>
          </p:cNvPr>
          <p:cNvSpPr txBox="1"/>
          <p:nvPr/>
        </p:nvSpPr>
        <p:spPr>
          <a:xfrm>
            <a:off x="1492593" y="2822379"/>
            <a:ext cx="459604" cy="20250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4E3629"/>
                </a:solidFill>
                <a:effectLst/>
                <a:uLnTx/>
                <a:uFillTx/>
                <a:latin typeface="Oracle Sans"/>
                <a:ea typeface="+mn-ea"/>
                <a:cs typeface="Oracle Sans Semi Bold" panose="020B0503020204020204" pitchFamily="34" charset="0"/>
              </a:rPr>
              <a:t>RoCE</a:t>
            </a:r>
          </a:p>
        </p:txBody>
      </p:sp>
      <p:pic>
        <p:nvPicPr>
          <p:cNvPr id="25" name="Picture 24">
            <a:extLst>
              <a:ext uri="{FF2B5EF4-FFF2-40B4-BE49-F238E27FC236}">
                <a16:creationId xmlns:a16="http://schemas.microsoft.com/office/drawing/2014/main" id="{CD89320B-474E-49D9-B1C1-A4915840C5A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21173" y="4159001"/>
            <a:ext cx="1069058" cy="1069058"/>
          </a:xfrm>
          <a:prstGeom prst="rect">
            <a:avLst/>
          </a:prstGeom>
        </p:spPr>
      </p:pic>
      <p:sp>
        <p:nvSpPr>
          <p:cNvPr id="26" name="TextBox 25">
            <a:extLst>
              <a:ext uri="{FF2B5EF4-FFF2-40B4-BE49-F238E27FC236}">
                <a16:creationId xmlns:a16="http://schemas.microsoft.com/office/drawing/2014/main" id="{B7C745DD-714B-40E8-B121-89ADC55D3742}"/>
              </a:ext>
            </a:extLst>
          </p:cNvPr>
          <p:cNvSpPr txBox="1"/>
          <p:nvPr/>
        </p:nvSpPr>
        <p:spPr>
          <a:xfrm>
            <a:off x="1190250" y="4507596"/>
            <a:ext cx="1674509" cy="367384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dirty="0">
                <a:solidFill>
                  <a:prstClr val="white"/>
                </a:solidFill>
                <a:effectLst>
                  <a:glow rad="228600">
                    <a:prstClr val="white">
                      <a:lumMod val="65000"/>
                      <a:alpha val="40000"/>
                    </a:prstClr>
                  </a:glow>
                </a:effectLst>
                <a:latin typeface="Oracle Sans"/>
                <a:cs typeface="Oracle Sans Semi Bold" panose="020B0503020204020204" pitchFamily="34" charset="0"/>
              </a:rPr>
              <a:t>XR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>
                  <a:glow rad="228600">
                    <a:prstClr val="white">
                      <a:lumMod val="65000"/>
                      <a:alpha val="40000"/>
                    </a:prstClr>
                  </a:glow>
                </a:effectLst>
                <a:uLnTx/>
                <a:uFillTx/>
                <a:latin typeface="Oracle Sans"/>
                <a:ea typeface="+mn-ea"/>
                <a:cs typeface="Oracle Sans Semi Bold" panose="020B0503020204020204" pitchFamily="34" charset="0"/>
              </a:rPr>
              <a:t>MEM</a:t>
            </a:r>
          </a:p>
        </p:txBody>
      </p:sp>
      <p:pic>
        <p:nvPicPr>
          <p:cNvPr id="27" name="Picture 26">
            <a:extLst>
              <a:ext uri="{FF2B5EF4-FFF2-40B4-BE49-F238E27FC236}">
                <a16:creationId xmlns:a16="http://schemas.microsoft.com/office/drawing/2014/main" id="{514955A6-7DDF-44BF-B3E2-9E5E13B94C3E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0800000">
            <a:off x="1414083" y="5147031"/>
            <a:ext cx="1180296" cy="269716"/>
          </a:xfrm>
          <a:prstGeom prst="rect">
            <a:avLst/>
          </a:prstGeom>
        </p:spPr>
      </p:pic>
      <p:pic>
        <p:nvPicPr>
          <p:cNvPr id="28" name="Picture 27">
            <a:extLst>
              <a:ext uri="{FF2B5EF4-FFF2-40B4-BE49-F238E27FC236}">
                <a16:creationId xmlns:a16="http://schemas.microsoft.com/office/drawing/2014/main" id="{7D6F93A6-0205-4B91-BE9A-E24568EC1940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5400000">
            <a:off x="1607681" y="5451362"/>
            <a:ext cx="850929" cy="850929"/>
          </a:xfrm>
          <a:prstGeom prst="rect">
            <a:avLst/>
          </a:prstGeom>
        </p:spPr>
      </p:pic>
      <p:sp>
        <p:nvSpPr>
          <p:cNvPr id="29" name="TextBox 28">
            <a:extLst>
              <a:ext uri="{FF2B5EF4-FFF2-40B4-BE49-F238E27FC236}">
                <a16:creationId xmlns:a16="http://schemas.microsoft.com/office/drawing/2014/main" id="{5EA37AD2-5A41-4D29-A0E1-9104D253AEF6}"/>
              </a:ext>
            </a:extLst>
          </p:cNvPr>
          <p:cNvSpPr txBox="1"/>
          <p:nvPr/>
        </p:nvSpPr>
        <p:spPr>
          <a:xfrm>
            <a:off x="1592108" y="5158504"/>
            <a:ext cx="993043" cy="236522"/>
          </a:xfrm>
          <a:prstGeom prst="rect">
            <a:avLst/>
          </a:prstGeom>
          <a:solidFill>
            <a:srgbClr val="576A71">
              <a:alpha val="50000"/>
            </a:srgbClr>
          </a:solidFill>
        </p:spPr>
        <p:txBody>
          <a:bodyPr wrap="none" lIns="0" tIns="0" rIns="0" bIns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>
                  <a:glow rad="368300">
                    <a:prstClr val="white">
                      <a:lumMod val="50000"/>
                      <a:alpha val="49000"/>
                    </a:prstClr>
                  </a:glow>
                </a:effectLst>
                <a:uLnTx/>
                <a:uFillTx/>
                <a:latin typeface="Oracle Sans"/>
                <a:ea typeface="+mn-ea"/>
                <a:cs typeface="Oracle Sans Semi Bold" panose="020B0503020204020204" pitchFamily="34" charset="0"/>
              </a:rPr>
              <a:t>FLASH</a:t>
            </a:r>
          </a:p>
        </p:txBody>
      </p:sp>
      <p:grpSp>
        <p:nvGrpSpPr>
          <p:cNvPr id="150" name="Group 149">
            <a:extLst>
              <a:ext uri="{FF2B5EF4-FFF2-40B4-BE49-F238E27FC236}">
                <a16:creationId xmlns:a16="http://schemas.microsoft.com/office/drawing/2014/main" id="{E419C760-0CB0-4160-9C34-ABF9EC6E256C}"/>
              </a:ext>
            </a:extLst>
          </p:cNvPr>
          <p:cNvGrpSpPr>
            <a:grpSpLocks noChangeAspect="1"/>
          </p:cNvGrpSpPr>
          <p:nvPr/>
        </p:nvGrpSpPr>
        <p:grpSpPr>
          <a:xfrm>
            <a:off x="1111213" y="2006613"/>
            <a:ext cx="1950221" cy="506915"/>
            <a:chOff x="9133901" y="1969887"/>
            <a:chExt cx="2633617" cy="684548"/>
          </a:xfrm>
        </p:grpSpPr>
        <p:pic>
          <p:nvPicPr>
            <p:cNvPr id="148" name="Picture 2">
              <a:extLst>
                <a:ext uri="{FF2B5EF4-FFF2-40B4-BE49-F238E27FC236}">
                  <a16:creationId xmlns:a16="http://schemas.microsoft.com/office/drawing/2014/main" id="{B66006C7-BD13-41A9-BBE9-9D1196A00188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9133901" y="1969887"/>
              <a:ext cx="2481217" cy="45377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49" name="Picture 2">
              <a:extLst>
                <a:ext uri="{FF2B5EF4-FFF2-40B4-BE49-F238E27FC236}">
                  <a16:creationId xmlns:a16="http://schemas.microsoft.com/office/drawing/2014/main" id="{A4530DD9-DABC-4CDB-A686-754469EAC023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9286301" y="2200665"/>
              <a:ext cx="2481217" cy="45377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pic>
        <p:nvPicPr>
          <p:cNvPr id="151" name="Picture 150">
            <a:extLst>
              <a:ext uri="{FF2B5EF4-FFF2-40B4-BE49-F238E27FC236}">
                <a16:creationId xmlns:a16="http://schemas.microsoft.com/office/drawing/2014/main" id="{51901205-5D5D-458F-B1F9-3456007CE94E}"/>
              </a:ext>
            </a:extLst>
          </p:cNvPr>
          <p:cNvPicPr>
            <a:picLocks noChangeAspect="1"/>
          </p:cNvPicPr>
          <p:nvPr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93120" y="3584593"/>
            <a:ext cx="1763514" cy="320837"/>
          </a:xfrm>
          <a:prstGeom prst="rect">
            <a:avLst/>
          </a:prstGeom>
        </p:spPr>
      </p:pic>
      <p:pic>
        <p:nvPicPr>
          <p:cNvPr id="152" name="Picture 151">
            <a:extLst>
              <a:ext uri="{FF2B5EF4-FFF2-40B4-BE49-F238E27FC236}">
                <a16:creationId xmlns:a16="http://schemas.microsoft.com/office/drawing/2014/main" id="{5B5CA2FA-2F93-46E9-A33F-DEDA01329D38}"/>
              </a:ext>
            </a:extLst>
          </p:cNvPr>
          <p:cNvPicPr>
            <a:picLocks noChangeAspect="1"/>
          </p:cNvPicPr>
          <p:nvPr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45520" y="3736993"/>
            <a:ext cx="1763514" cy="320837"/>
          </a:xfrm>
          <a:prstGeom prst="rect">
            <a:avLst/>
          </a:prstGeom>
        </p:spPr>
      </p:pic>
      <p:pic>
        <p:nvPicPr>
          <p:cNvPr id="153" name="Picture 152">
            <a:extLst>
              <a:ext uri="{FF2B5EF4-FFF2-40B4-BE49-F238E27FC236}">
                <a16:creationId xmlns:a16="http://schemas.microsoft.com/office/drawing/2014/main" id="{1BCD2B1B-551F-426F-8096-65DB95758B32}"/>
              </a:ext>
            </a:extLst>
          </p:cNvPr>
          <p:cNvPicPr>
            <a:picLocks noChangeAspect="1"/>
          </p:cNvPicPr>
          <p:nvPr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297920" y="3889393"/>
            <a:ext cx="1763514" cy="320837"/>
          </a:xfrm>
          <a:prstGeom prst="rect">
            <a:avLst/>
          </a:prstGeom>
        </p:spPr>
      </p:pic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5D8C9D00-2E46-4025-82E3-712DEA9800CA}"/>
              </a:ext>
            </a:extLst>
          </p:cNvPr>
          <p:cNvCxnSpPr>
            <a:cxnSpLocks/>
          </p:cNvCxnSpPr>
          <p:nvPr/>
        </p:nvCxnSpPr>
        <p:spPr bwMode="gray">
          <a:xfrm flipH="1">
            <a:off x="4198176" y="1309584"/>
            <a:ext cx="2491" cy="5046006"/>
          </a:xfrm>
          <a:prstGeom prst="line">
            <a:avLst/>
          </a:prstGeom>
          <a:noFill/>
          <a:ln w="28575" cap="flat" cmpd="sng" algn="ctr">
            <a:solidFill>
              <a:schemeClr val="tx1">
                <a:lumMod val="10000"/>
                <a:lumOff val="90000"/>
              </a:schemeClr>
            </a:solidFill>
            <a:prstDash val="solid"/>
            <a:miter lim="800000"/>
          </a:ln>
          <a:effectLst/>
        </p:spPr>
      </p:cxnSp>
      <p:sp>
        <p:nvSpPr>
          <p:cNvPr id="31" name="Rounded Rectangle 17">
            <a:extLst>
              <a:ext uri="{FF2B5EF4-FFF2-40B4-BE49-F238E27FC236}">
                <a16:creationId xmlns:a16="http://schemas.microsoft.com/office/drawing/2014/main" id="{75B22EC6-81D1-48CF-98C9-D3CF62439CB7}"/>
              </a:ext>
            </a:extLst>
          </p:cNvPr>
          <p:cNvSpPr/>
          <p:nvPr/>
        </p:nvSpPr>
        <p:spPr bwMode="gray">
          <a:xfrm>
            <a:off x="4903519" y="3290296"/>
            <a:ext cx="2450808" cy="2996905"/>
          </a:xfrm>
          <a:prstGeom prst="roundRect">
            <a:avLst>
              <a:gd name="adj" fmla="val 4733"/>
            </a:avLst>
          </a:prstGeom>
          <a:solidFill>
            <a:schemeClr val="accent2">
              <a:lumMod val="20000"/>
              <a:lumOff val="80000"/>
            </a:schemeClr>
          </a:solidFill>
          <a:ln w="15875">
            <a:solidFill>
              <a:schemeClr val="accent2">
                <a:lumMod val="75000"/>
              </a:schemeClr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racle Sans"/>
              <a:ea typeface="+mn-ea"/>
              <a:cs typeface="Oracle Sans Semi Bold" panose="020B0503020204020204" pitchFamily="34" charset="0"/>
            </a:endParaRPr>
          </a:p>
        </p:txBody>
      </p:sp>
      <p:sp>
        <p:nvSpPr>
          <p:cNvPr id="32" name="Trapezoid 31">
            <a:extLst>
              <a:ext uri="{FF2B5EF4-FFF2-40B4-BE49-F238E27FC236}">
                <a16:creationId xmlns:a16="http://schemas.microsoft.com/office/drawing/2014/main" id="{4A5FE6C3-289A-4CF3-8BEC-F20D322B0D86}"/>
              </a:ext>
            </a:extLst>
          </p:cNvPr>
          <p:cNvSpPr/>
          <p:nvPr/>
        </p:nvSpPr>
        <p:spPr>
          <a:xfrm>
            <a:off x="5115632" y="4187371"/>
            <a:ext cx="1965182" cy="2019232"/>
          </a:xfrm>
          <a:prstGeom prst="trapezoid">
            <a:avLst/>
          </a:prstGeom>
          <a:solidFill>
            <a:schemeClr val="accent6">
              <a:lumMod val="60000"/>
              <a:lumOff val="40000"/>
              <a:alpha val="5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racle Sans"/>
              <a:ea typeface="+mn-ea"/>
              <a:cs typeface="Oracle Sans Semi Bold" panose="020B0503020204020204" pitchFamily="34" charset="0"/>
            </a:endParaRPr>
          </a:p>
        </p:txBody>
      </p: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D00422AD-8F33-4E83-A1A4-747A06A381E0}"/>
              </a:ext>
            </a:extLst>
          </p:cNvPr>
          <p:cNvCxnSpPr/>
          <p:nvPr/>
        </p:nvCxnSpPr>
        <p:spPr>
          <a:xfrm flipH="1">
            <a:off x="6087650" y="4767583"/>
            <a:ext cx="2427" cy="457926"/>
          </a:xfrm>
          <a:prstGeom prst="line">
            <a:avLst/>
          </a:prstGeom>
          <a:ln w="19050">
            <a:solidFill>
              <a:schemeClr val="accent5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hape 43">
            <a:extLst>
              <a:ext uri="{FF2B5EF4-FFF2-40B4-BE49-F238E27FC236}">
                <a16:creationId xmlns:a16="http://schemas.microsoft.com/office/drawing/2014/main" id="{F9F0F116-9EE3-4A76-BF0C-203245AEA097}"/>
              </a:ext>
            </a:extLst>
          </p:cNvPr>
          <p:cNvCxnSpPr>
            <a:cxnSpLocks/>
            <a:endCxn id="44" idx="3"/>
          </p:cNvCxnSpPr>
          <p:nvPr/>
        </p:nvCxnSpPr>
        <p:spPr>
          <a:xfrm flipH="1">
            <a:off x="6656922" y="2680495"/>
            <a:ext cx="338177" cy="2013035"/>
          </a:xfrm>
          <a:prstGeom prst="curvedConnector3">
            <a:avLst>
              <a:gd name="adj1" fmla="val -67598"/>
            </a:avLst>
          </a:prstGeom>
          <a:ln w="38100">
            <a:solidFill>
              <a:schemeClr val="accent5"/>
            </a:solidFill>
            <a:miter lim="800000"/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TextBox 34">
            <a:extLst>
              <a:ext uri="{FF2B5EF4-FFF2-40B4-BE49-F238E27FC236}">
                <a16:creationId xmlns:a16="http://schemas.microsoft.com/office/drawing/2014/main" id="{EF746A5D-2833-4463-8246-6F01D1C2F001}"/>
              </a:ext>
            </a:extLst>
          </p:cNvPr>
          <p:cNvSpPr txBox="1"/>
          <p:nvPr/>
        </p:nvSpPr>
        <p:spPr>
          <a:xfrm>
            <a:off x="5144545" y="1742769"/>
            <a:ext cx="1852751" cy="292885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4E3629"/>
                </a:solidFill>
                <a:effectLst/>
                <a:uLnTx/>
                <a:uFillTx/>
                <a:latin typeface="Oracle Sans"/>
                <a:ea typeface="+mn-ea"/>
                <a:cs typeface="Oracle Sans Semi Bold" panose="020B0503020204020204" pitchFamily="34" charset="0"/>
              </a:rPr>
              <a:t>Database Servers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23F7A7B3-C85D-4585-B0FD-CCC1F26B3239}"/>
              </a:ext>
            </a:extLst>
          </p:cNvPr>
          <p:cNvSpPr txBox="1"/>
          <p:nvPr/>
        </p:nvSpPr>
        <p:spPr>
          <a:xfrm>
            <a:off x="4713672" y="3234077"/>
            <a:ext cx="2714498" cy="284237"/>
          </a:xfrm>
          <a:prstGeom prst="rect">
            <a:avLst/>
          </a:prstGeom>
          <a:noFill/>
        </p:spPr>
        <p:txBody>
          <a:bodyPr wrap="none" lIns="0" tIns="0" rIns="0" bIns="0" rtlCol="0" anchor="b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4E3629"/>
                </a:solidFill>
                <a:effectLst/>
                <a:uLnTx/>
                <a:uFillTx/>
                <a:latin typeface="Oracle Sans"/>
                <a:ea typeface="+mn-ea"/>
                <a:cs typeface="Oracle Sans Semi Bold" panose="020B0503020204020204" pitchFamily="34" charset="0"/>
              </a:rPr>
              <a:t>Storage Servers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1CBEB893-8322-49CC-B798-C7CF834106E8}"/>
              </a:ext>
            </a:extLst>
          </p:cNvPr>
          <p:cNvSpPr txBox="1"/>
          <p:nvPr/>
        </p:nvSpPr>
        <p:spPr>
          <a:xfrm>
            <a:off x="4795950" y="4633121"/>
            <a:ext cx="806664" cy="304026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D1350F"/>
                </a:solidFill>
                <a:effectLst/>
                <a:uLnTx/>
                <a:uFillTx/>
                <a:latin typeface="Oracle Sans"/>
                <a:ea typeface="+mn-ea"/>
                <a:cs typeface="Oracle Sans Semi Bold" panose="020B0503020204020204" pitchFamily="34" charset="0"/>
              </a:rPr>
              <a:t>Hot</a:t>
            </a: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46FA5E4D-96CE-41A6-A0C2-AD30E23B3CB9}"/>
              </a:ext>
            </a:extLst>
          </p:cNvPr>
          <p:cNvSpPr txBox="1"/>
          <p:nvPr/>
        </p:nvSpPr>
        <p:spPr>
          <a:xfrm>
            <a:off x="4795950" y="5163846"/>
            <a:ext cx="806664" cy="304026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AE562C"/>
                </a:solidFill>
                <a:effectLst/>
                <a:uLnTx/>
                <a:uFillTx/>
                <a:latin typeface="Oracle Sans"/>
                <a:ea typeface="+mn-ea"/>
                <a:cs typeface="Oracle Sans Semi Bold" panose="020B0503020204020204" pitchFamily="34" charset="0"/>
              </a:rPr>
              <a:t>Warm</a:t>
            </a:r>
          </a:p>
        </p:txBody>
      </p:sp>
      <p:sp>
        <p:nvSpPr>
          <p:cNvPr id="39" name="Rounded Rectangle 47">
            <a:extLst>
              <a:ext uri="{FF2B5EF4-FFF2-40B4-BE49-F238E27FC236}">
                <a16:creationId xmlns:a16="http://schemas.microsoft.com/office/drawing/2014/main" id="{B37BF689-3F04-44C0-9349-7013D874857B}"/>
              </a:ext>
            </a:extLst>
          </p:cNvPr>
          <p:cNvSpPr/>
          <p:nvPr/>
        </p:nvSpPr>
        <p:spPr>
          <a:xfrm>
            <a:off x="6711078" y="2968661"/>
            <a:ext cx="768979" cy="292885"/>
          </a:xfrm>
          <a:prstGeom prst="round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4572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C74634"/>
                </a:solidFill>
                <a:effectLst/>
                <a:uLnTx/>
                <a:uFillTx/>
                <a:latin typeface="Oracle Sans"/>
                <a:ea typeface="+mn-ea"/>
                <a:cs typeface="Oracle Sans Semi Bold" panose="020B0503020204020204" pitchFamily="34" charset="0"/>
              </a:rPr>
              <a:t>RDMA</a:t>
            </a:r>
          </a:p>
        </p:txBody>
      </p:sp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id="{90968D54-B7DA-4E8F-9AB3-A24BA247DB38}"/>
              </a:ext>
            </a:extLst>
          </p:cNvPr>
          <p:cNvCxnSpPr/>
          <p:nvPr/>
        </p:nvCxnSpPr>
        <p:spPr>
          <a:xfrm flipH="1">
            <a:off x="6087650" y="5375915"/>
            <a:ext cx="4854" cy="285185"/>
          </a:xfrm>
          <a:prstGeom prst="line">
            <a:avLst/>
          </a:prstGeom>
          <a:ln w="19050">
            <a:solidFill>
              <a:schemeClr val="accent5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Up-Down Arrow 50">
            <a:extLst>
              <a:ext uri="{FF2B5EF4-FFF2-40B4-BE49-F238E27FC236}">
                <a16:creationId xmlns:a16="http://schemas.microsoft.com/office/drawing/2014/main" id="{8D514522-BA33-4D05-BEA5-364E9D2E3492}"/>
              </a:ext>
            </a:extLst>
          </p:cNvPr>
          <p:cNvSpPr/>
          <p:nvPr/>
        </p:nvSpPr>
        <p:spPr bwMode="gray">
          <a:xfrm>
            <a:off x="5997204" y="2550577"/>
            <a:ext cx="361705" cy="716042"/>
          </a:xfrm>
          <a:prstGeom prst="upDownArrow">
            <a:avLst/>
          </a:prstGeom>
          <a:solidFill>
            <a:srgbClr val="C74634"/>
          </a:solidFill>
          <a:ln w="15875">
            <a:solidFill>
              <a:schemeClr val="accent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racle Sans"/>
              <a:ea typeface="+mn-ea"/>
              <a:cs typeface="Oracle Sans Semi Bold" panose="020B0503020204020204" pitchFamily="34" charset="0"/>
            </a:endParaRP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BA510ED3-06DB-410D-A0B5-3ADD2FEB3583}"/>
              </a:ext>
            </a:extLst>
          </p:cNvPr>
          <p:cNvSpPr txBox="1"/>
          <p:nvPr/>
        </p:nvSpPr>
        <p:spPr>
          <a:xfrm>
            <a:off x="5559284" y="2822379"/>
            <a:ext cx="459604" cy="20250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4E3629"/>
                </a:solidFill>
                <a:effectLst/>
                <a:uLnTx/>
                <a:uFillTx/>
                <a:latin typeface="Oracle Sans"/>
                <a:ea typeface="+mn-ea"/>
                <a:cs typeface="Oracle Sans Semi Bold" panose="020B0503020204020204" pitchFamily="34" charset="0"/>
              </a:rPr>
              <a:t>RoCE</a:t>
            </a:r>
          </a:p>
        </p:txBody>
      </p:sp>
      <p:pic>
        <p:nvPicPr>
          <p:cNvPr id="44" name="Picture 43">
            <a:extLst>
              <a:ext uri="{FF2B5EF4-FFF2-40B4-BE49-F238E27FC236}">
                <a16:creationId xmlns:a16="http://schemas.microsoft.com/office/drawing/2014/main" id="{CD89320B-474E-49D9-B1C1-A4915840C5A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87864" y="4159001"/>
            <a:ext cx="1069058" cy="1069058"/>
          </a:xfrm>
          <a:prstGeom prst="rect">
            <a:avLst/>
          </a:prstGeom>
        </p:spPr>
      </p:pic>
      <p:sp>
        <p:nvSpPr>
          <p:cNvPr id="45" name="TextBox 44">
            <a:extLst>
              <a:ext uri="{FF2B5EF4-FFF2-40B4-BE49-F238E27FC236}">
                <a16:creationId xmlns:a16="http://schemas.microsoft.com/office/drawing/2014/main" id="{B7C745DD-714B-40E8-B121-89ADC55D3742}"/>
              </a:ext>
            </a:extLst>
          </p:cNvPr>
          <p:cNvSpPr txBox="1"/>
          <p:nvPr/>
        </p:nvSpPr>
        <p:spPr>
          <a:xfrm>
            <a:off x="5256941" y="4507596"/>
            <a:ext cx="1674509" cy="367384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dirty="0">
                <a:solidFill>
                  <a:prstClr val="white"/>
                </a:solidFill>
                <a:effectLst>
                  <a:glow rad="228600">
                    <a:prstClr val="white">
                      <a:lumMod val="65000"/>
                      <a:alpha val="40000"/>
                    </a:prstClr>
                  </a:glow>
                </a:effectLst>
                <a:latin typeface="Oracle Sans"/>
                <a:cs typeface="Oracle Sans Semi Bold" panose="020B0503020204020204" pitchFamily="34" charset="0"/>
              </a:rPr>
              <a:t>XR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>
                  <a:glow rad="228600">
                    <a:prstClr val="white">
                      <a:lumMod val="65000"/>
                      <a:alpha val="40000"/>
                    </a:prstClr>
                  </a:glow>
                </a:effectLst>
                <a:uLnTx/>
                <a:uFillTx/>
                <a:latin typeface="Oracle Sans"/>
                <a:ea typeface="+mn-ea"/>
                <a:cs typeface="Oracle Sans Semi Bold" panose="020B0503020204020204" pitchFamily="34" charset="0"/>
              </a:rPr>
              <a:t>MEM</a:t>
            </a:r>
          </a:p>
        </p:txBody>
      </p:sp>
      <p:pic>
        <p:nvPicPr>
          <p:cNvPr id="46" name="Picture 45">
            <a:extLst>
              <a:ext uri="{FF2B5EF4-FFF2-40B4-BE49-F238E27FC236}">
                <a16:creationId xmlns:a16="http://schemas.microsoft.com/office/drawing/2014/main" id="{514955A6-7DDF-44BF-B3E2-9E5E13B94C3E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0800000">
            <a:off x="5480774" y="5147031"/>
            <a:ext cx="1180296" cy="269716"/>
          </a:xfrm>
          <a:prstGeom prst="rect">
            <a:avLst/>
          </a:prstGeom>
        </p:spPr>
      </p:pic>
      <p:sp>
        <p:nvSpPr>
          <p:cNvPr id="48" name="TextBox 47">
            <a:extLst>
              <a:ext uri="{FF2B5EF4-FFF2-40B4-BE49-F238E27FC236}">
                <a16:creationId xmlns:a16="http://schemas.microsoft.com/office/drawing/2014/main" id="{5EA37AD2-5A41-4D29-A0E1-9104D253AEF6}"/>
              </a:ext>
            </a:extLst>
          </p:cNvPr>
          <p:cNvSpPr txBox="1"/>
          <p:nvPr/>
        </p:nvSpPr>
        <p:spPr>
          <a:xfrm>
            <a:off x="5658799" y="5158504"/>
            <a:ext cx="993043" cy="236522"/>
          </a:xfrm>
          <a:prstGeom prst="rect">
            <a:avLst/>
          </a:prstGeom>
          <a:solidFill>
            <a:srgbClr val="576A71">
              <a:alpha val="50000"/>
            </a:srgbClr>
          </a:solidFill>
        </p:spPr>
        <p:txBody>
          <a:bodyPr wrap="none" lIns="0" tIns="0" rIns="0" bIns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>
                  <a:glow rad="368300">
                    <a:prstClr val="white">
                      <a:lumMod val="50000"/>
                      <a:alpha val="49000"/>
                    </a:prstClr>
                  </a:glow>
                </a:effectLst>
                <a:uLnTx/>
                <a:uFillTx/>
                <a:latin typeface="Oracle Sans"/>
                <a:ea typeface="+mn-ea"/>
                <a:cs typeface="Oracle Sans Semi Bold" panose="020B0503020204020204" pitchFamily="34" charset="0"/>
              </a:rPr>
              <a:t>FLASH</a:t>
            </a:r>
          </a:p>
        </p:txBody>
      </p:sp>
      <p:grpSp>
        <p:nvGrpSpPr>
          <p:cNvPr id="49" name="Group 48">
            <a:extLst>
              <a:ext uri="{FF2B5EF4-FFF2-40B4-BE49-F238E27FC236}">
                <a16:creationId xmlns:a16="http://schemas.microsoft.com/office/drawing/2014/main" id="{E419C760-0CB0-4160-9C34-ABF9EC6E256C}"/>
              </a:ext>
            </a:extLst>
          </p:cNvPr>
          <p:cNvGrpSpPr>
            <a:grpSpLocks noChangeAspect="1"/>
          </p:cNvGrpSpPr>
          <p:nvPr/>
        </p:nvGrpSpPr>
        <p:grpSpPr>
          <a:xfrm>
            <a:off x="5177904" y="2006613"/>
            <a:ext cx="1950221" cy="506915"/>
            <a:chOff x="9133901" y="1969887"/>
            <a:chExt cx="2633617" cy="684548"/>
          </a:xfrm>
        </p:grpSpPr>
        <p:pic>
          <p:nvPicPr>
            <p:cNvPr id="50" name="Picture 2">
              <a:extLst>
                <a:ext uri="{FF2B5EF4-FFF2-40B4-BE49-F238E27FC236}">
                  <a16:creationId xmlns:a16="http://schemas.microsoft.com/office/drawing/2014/main" id="{B66006C7-BD13-41A9-BBE9-9D1196A00188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9133901" y="1969887"/>
              <a:ext cx="2481217" cy="45377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51" name="Picture 2">
              <a:extLst>
                <a:ext uri="{FF2B5EF4-FFF2-40B4-BE49-F238E27FC236}">
                  <a16:creationId xmlns:a16="http://schemas.microsoft.com/office/drawing/2014/main" id="{A4530DD9-DABC-4CDB-A686-754469EAC023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9286301" y="2200665"/>
              <a:ext cx="2481217" cy="45377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pic>
        <p:nvPicPr>
          <p:cNvPr id="52" name="Picture 51">
            <a:extLst>
              <a:ext uri="{FF2B5EF4-FFF2-40B4-BE49-F238E27FC236}">
                <a16:creationId xmlns:a16="http://schemas.microsoft.com/office/drawing/2014/main" id="{51901205-5D5D-458F-B1F9-3456007CE94E}"/>
              </a:ext>
            </a:extLst>
          </p:cNvPr>
          <p:cNvPicPr>
            <a:picLocks noChangeAspect="1"/>
          </p:cNvPicPr>
          <p:nvPr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059811" y="3584593"/>
            <a:ext cx="1763514" cy="320837"/>
          </a:xfrm>
          <a:prstGeom prst="rect">
            <a:avLst/>
          </a:prstGeom>
        </p:spPr>
      </p:pic>
      <p:pic>
        <p:nvPicPr>
          <p:cNvPr id="53" name="Picture 52">
            <a:extLst>
              <a:ext uri="{FF2B5EF4-FFF2-40B4-BE49-F238E27FC236}">
                <a16:creationId xmlns:a16="http://schemas.microsoft.com/office/drawing/2014/main" id="{5B5CA2FA-2F93-46E9-A33F-DEDA01329D38}"/>
              </a:ext>
            </a:extLst>
          </p:cNvPr>
          <p:cNvPicPr>
            <a:picLocks noChangeAspect="1"/>
          </p:cNvPicPr>
          <p:nvPr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212211" y="3736993"/>
            <a:ext cx="1763514" cy="320837"/>
          </a:xfrm>
          <a:prstGeom prst="rect">
            <a:avLst/>
          </a:prstGeom>
        </p:spPr>
      </p:pic>
      <p:pic>
        <p:nvPicPr>
          <p:cNvPr id="54" name="Picture 53">
            <a:extLst>
              <a:ext uri="{FF2B5EF4-FFF2-40B4-BE49-F238E27FC236}">
                <a16:creationId xmlns:a16="http://schemas.microsoft.com/office/drawing/2014/main" id="{1BCD2B1B-551F-426F-8096-65DB95758B32}"/>
              </a:ext>
            </a:extLst>
          </p:cNvPr>
          <p:cNvPicPr>
            <a:picLocks noChangeAspect="1"/>
          </p:cNvPicPr>
          <p:nvPr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364611" y="3889393"/>
            <a:ext cx="1763514" cy="320837"/>
          </a:xfrm>
          <a:prstGeom prst="rect">
            <a:avLst/>
          </a:prstGeom>
        </p:spPr>
      </p:pic>
      <p:cxnSp>
        <p:nvCxnSpPr>
          <p:cNvPr id="55" name="Straight Connector 54">
            <a:extLst>
              <a:ext uri="{FF2B5EF4-FFF2-40B4-BE49-F238E27FC236}">
                <a16:creationId xmlns:a16="http://schemas.microsoft.com/office/drawing/2014/main" id="{5D8C9D00-2E46-4025-82E3-712DEA9800CA}"/>
              </a:ext>
            </a:extLst>
          </p:cNvPr>
          <p:cNvCxnSpPr>
            <a:cxnSpLocks/>
          </p:cNvCxnSpPr>
          <p:nvPr/>
        </p:nvCxnSpPr>
        <p:spPr bwMode="gray">
          <a:xfrm flipH="1">
            <a:off x="8446186" y="1294958"/>
            <a:ext cx="2491" cy="5046006"/>
          </a:xfrm>
          <a:prstGeom prst="line">
            <a:avLst/>
          </a:prstGeom>
          <a:noFill/>
          <a:ln w="28575" cap="flat" cmpd="sng" algn="ctr">
            <a:solidFill>
              <a:schemeClr val="tx1">
                <a:lumMod val="10000"/>
                <a:lumOff val="90000"/>
              </a:schemeClr>
            </a:solidFill>
            <a:prstDash val="solid"/>
            <a:miter lim="800000"/>
          </a:ln>
          <a:effectLst/>
        </p:spPr>
      </p:cxnSp>
      <p:sp>
        <p:nvSpPr>
          <p:cNvPr id="56" name="Rounded Rectangle 17">
            <a:extLst>
              <a:ext uri="{FF2B5EF4-FFF2-40B4-BE49-F238E27FC236}">
                <a16:creationId xmlns:a16="http://schemas.microsoft.com/office/drawing/2014/main" id="{75B22EC6-81D1-48CF-98C9-D3CF62439CB7}"/>
              </a:ext>
            </a:extLst>
          </p:cNvPr>
          <p:cNvSpPr/>
          <p:nvPr/>
        </p:nvSpPr>
        <p:spPr bwMode="gray">
          <a:xfrm>
            <a:off x="8885038" y="3305386"/>
            <a:ext cx="2450808" cy="2996905"/>
          </a:xfrm>
          <a:prstGeom prst="roundRect">
            <a:avLst>
              <a:gd name="adj" fmla="val 4733"/>
            </a:avLst>
          </a:prstGeom>
          <a:solidFill>
            <a:schemeClr val="accent2">
              <a:lumMod val="20000"/>
              <a:lumOff val="80000"/>
            </a:schemeClr>
          </a:solidFill>
          <a:ln w="15875">
            <a:solidFill>
              <a:schemeClr val="accent2">
                <a:lumMod val="75000"/>
              </a:schemeClr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racle Sans"/>
              <a:ea typeface="+mn-ea"/>
              <a:cs typeface="Oracle Sans Semi Bold" panose="020B0503020204020204" pitchFamily="34" charset="0"/>
            </a:endParaRPr>
          </a:p>
        </p:txBody>
      </p:sp>
      <p:sp>
        <p:nvSpPr>
          <p:cNvPr id="57" name="Trapezoid 56">
            <a:extLst>
              <a:ext uri="{FF2B5EF4-FFF2-40B4-BE49-F238E27FC236}">
                <a16:creationId xmlns:a16="http://schemas.microsoft.com/office/drawing/2014/main" id="{4A5FE6C3-289A-4CF3-8BEC-F20D322B0D86}"/>
              </a:ext>
            </a:extLst>
          </p:cNvPr>
          <p:cNvSpPr/>
          <p:nvPr/>
        </p:nvSpPr>
        <p:spPr>
          <a:xfrm>
            <a:off x="9097151" y="4202461"/>
            <a:ext cx="1965182" cy="2019232"/>
          </a:xfrm>
          <a:prstGeom prst="trapezoid">
            <a:avLst/>
          </a:prstGeom>
          <a:solidFill>
            <a:schemeClr val="accent6">
              <a:lumMod val="60000"/>
              <a:lumOff val="40000"/>
              <a:alpha val="5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racle Sans"/>
              <a:ea typeface="+mn-ea"/>
              <a:cs typeface="Oracle Sans Semi Bold" panose="020B0503020204020204" pitchFamily="34" charset="0"/>
            </a:endParaRPr>
          </a:p>
        </p:txBody>
      </p:sp>
      <p:cxnSp>
        <p:nvCxnSpPr>
          <p:cNvPr id="58" name="Straight Connector 57">
            <a:extLst>
              <a:ext uri="{FF2B5EF4-FFF2-40B4-BE49-F238E27FC236}">
                <a16:creationId xmlns:a16="http://schemas.microsoft.com/office/drawing/2014/main" id="{D00422AD-8F33-4E83-A1A4-747A06A381E0}"/>
              </a:ext>
            </a:extLst>
          </p:cNvPr>
          <p:cNvCxnSpPr/>
          <p:nvPr/>
        </p:nvCxnSpPr>
        <p:spPr>
          <a:xfrm flipH="1">
            <a:off x="10069169" y="4782673"/>
            <a:ext cx="2427" cy="457926"/>
          </a:xfrm>
          <a:prstGeom prst="line">
            <a:avLst/>
          </a:prstGeom>
          <a:ln w="19050">
            <a:solidFill>
              <a:schemeClr val="accent5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Shape 43">
            <a:extLst>
              <a:ext uri="{FF2B5EF4-FFF2-40B4-BE49-F238E27FC236}">
                <a16:creationId xmlns:a16="http://schemas.microsoft.com/office/drawing/2014/main" id="{F9F0F116-9EE3-4A76-BF0C-203245AEA097}"/>
              </a:ext>
            </a:extLst>
          </p:cNvPr>
          <p:cNvCxnSpPr>
            <a:cxnSpLocks/>
          </p:cNvCxnSpPr>
          <p:nvPr/>
        </p:nvCxnSpPr>
        <p:spPr>
          <a:xfrm flipH="1">
            <a:off x="10638441" y="2695585"/>
            <a:ext cx="338177" cy="2013035"/>
          </a:xfrm>
          <a:prstGeom prst="curvedConnector3">
            <a:avLst>
              <a:gd name="adj1" fmla="val -67598"/>
            </a:avLst>
          </a:prstGeom>
          <a:ln w="38100">
            <a:solidFill>
              <a:schemeClr val="accent5"/>
            </a:solidFill>
            <a:miter lim="800000"/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" name="TextBox 59">
            <a:extLst>
              <a:ext uri="{FF2B5EF4-FFF2-40B4-BE49-F238E27FC236}">
                <a16:creationId xmlns:a16="http://schemas.microsoft.com/office/drawing/2014/main" id="{EF746A5D-2833-4463-8246-6F01D1C2F001}"/>
              </a:ext>
            </a:extLst>
          </p:cNvPr>
          <p:cNvSpPr txBox="1"/>
          <p:nvPr/>
        </p:nvSpPr>
        <p:spPr>
          <a:xfrm>
            <a:off x="9126064" y="1757859"/>
            <a:ext cx="1852751" cy="292885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4E3629"/>
                </a:solidFill>
                <a:effectLst/>
                <a:uLnTx/>
                <a:uFillTx/>
                <a:latin typeface="Oracle Sans"/>
                <a:ea typeface="+mn-ea"/>
                <a:cs typeface="Oracle Sans Semi Bold" panose="020B0503020204020204" pitchFamily="34" charset="0"/>
              </a:rPr>
              <a:t>Database Servers</a:t>
            </a:r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id="{23F7A7B3-C85D-4585-B0FD-CCC1F26B3239}"/>
              </a:ext>
            </a:extLst>
          </p:cNvPr>
          <p:cNvSpPr txBox="1"/>
          <p:nvPr/>
        </p:nvSpPr>
        <p:spPr>
          <a:xfrm>
            <a:off x="8695191" y="3249167"/>
            <a:ext cx="2714498" cy="284237"/>
          </a:xfrm>
          <a:prstGeom prst="rect">
            <a:avLst/>
          </a:prstGeom>
          <a:noFill/>
        </p:spPr>
        <p:txBody>
          <a:bodyPr wrap="none" lIns="0" tIns="0" rIns="0" bIns="0" rtlCol="0" anchor="b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4E3629"/>
                </a:solidFill>
                <a:effectLst/>
                <a:uLnTx/>
                <a:uFillTx/>
                <a:latin typeface="Oracle Sans"/>
                <a:ea typeface="+mn-ea"/>
                <a:cs typeface="Oracle Sans Semi Bold" panose="020B0503020204020204" pitchFamily="34" charset="0"/>
              </a:rPr>
              <a:t>Storage Servers</a:t>
            </a:r>
          </a:p>
        </p:txBody>
      </p:sp>
      <p:sp>
        <p:nvSpPr>
          <p:cNvPr id="64" name="Rounded Rectangle 47">
            <a:extLst>
              <a:ext uri="{FF2B5EF4-FFF2-40B4-BE49-F238E27FC236}">
                <a16:creationId xmlns:a16="http://schemas.microsoft.com/office/drawing/2014/main" id="{B37BF689-3F04-44C0-9349-7013D874857B}"/>
              </a:ext>
            </a:extLst>
          </p:cNvPr>
          <p:cNvSpPr/>
          <p:nvPr/>
        </p:nvSpPr>
        <p:spPr>
          <a:xfrm>
            <a:off x="10692597" y="2983751"/>
            <a:ext cx="768979" cy="292885"/>
          </a:xfrm>
          <a:prstGeom prst="round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4572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C74634"/>
                </a:solidFill>
                <a:effectLst/>
                <a:uLnTx/>
                <a:uFillTx/>
                <a:latin typeface="Oracle Sans"/>
                <a:ea typeface="+mn-ea"/>
                <a:cs typeface="Oracle Sans Semi Bold" panose="020B0503020204020204" pitchFamily="34" charset="0"/>
              </a:rPr>
              <a:t>RDMA</a:t>
            </a:r>
          </a:p>
        </p:txBody>
      </p:sp>
      <p:cxnSp>
        <p:nvCxnSpPr>
          <p:cNvPr id="65" name="Straight Connector 64">
            <a:extLst>
              <a:ext uri="{FF2B5EF4-FFF2-40B4-BE49-F238E27FC236}">
                <a16:creationId xmlns:a16="http://schemas.microsoft.com/office/drawing/2014/main" id="{90968D54-B7DA-4E8F-9AB3-A24BA247DB38}"/>
              </a:ext>
            </a:extLst>
          </p:cNvPr>
          <p:cNvCxnSpPr/>
          <p:nvPr/>
        </p:nvCxnSpPr>
        <p:spPr>
          <a:xfrm flipH="1">
            <a:off x="10069169" y="5391005"/>
            <a:ext cx="4854" cy="285185"/>
          </a:xfrm>
          <a:prstGeom prst="line">
            <a:avLst/>
          </a:prstGeom>
          <a:ln w="19050">
            <a:solidFill>
              <a:schemeClr val="accent5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6" name="TextBox 65">
            <a:extLst>
              <a:ext uri="{FF2B5EF4-FFF2-40B4-BE49-F238E27FC236}">
                <a16:creationId xmlns:a16="http://schemas.microsoft.com/office/drawing/2014/main" id="{37AF852B-B837-4464-AF62-6CA18A435A98}"/>
              </a:ext>
            </a:extLst>
          </p:cNvPr>
          <p:cNvSpPr txBox="1"/>
          <p:nvPr/>
        </p:nvSpPr>
        <p:spPr>
          <a:xfrm>
            <a:off x="8764250" y="4523298"/>
            <a:ext cx="806664" cy="304026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2C5967"/>
                </a:solidFill>
                <a:effectLst/>
                <a:uLnTx/>
                <a:uFillTx/>
                <a:latin typeface="Oracle Sans"/>
                <a:ea typeface="+mn-ea"/>
                <a:cs typeface="Oracle Sans Semi Bold" panose="020B0503020204020204" pitchFamily="34" charset="0"/>
              </a:rPr>
              <a:t>Cold</a:t>
            </a:r>
          </a:p>
        </p:txBody>
      </p:sp>
      <p:sp>
        <p:nvSpPr>
          <p:cNvPr id="67" name="Up-Down Arrow 50">
            <a:extLst>
              <a:ext uri="{FF2B5EF4-FFF2-40B4-BE49-F238E27FC236}">
                <a16:creationId xmlns:a16="http://schemas.microsoft.com/office/drawing/2014/main" id="{8D514522-BA33-4D05-BEA5-364E9D2E3492}"/>
              </a:ext>
            </a:extLst>
          </p:cNvPr>
          <p:cNvSpPr/>
          <p:nvPr/>
        </p:nvSpPr>
        <p:spPr bwMode="gray">
          <a:xfrm>
            <a:off x="9978723" y="2565667"/>
            <a:ext cx="361705" cy="716042"/>
          </a:xfrm>
          <a:prstGeom prst="upDownArrow">
            <a:avLst/>
          </a:prstGeom>
          <a:solidFill>
            <a:srgbClr val="C74634"/>
          </a:solidFill>
          <a:ln w="15875">
            <a:solidFill>
              <a:schemeClr val="accent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racle Sans"/>
              <a:ea typeface="+mn-ea"/>
              <a:cs typeface="Oracle Sans Semi Bold" panose="020B0503020204020204" pitchFamily="34" charset="0"/>
            </a:endParaRPr>
          </a:p>
        </p:txBody>
      </p:sp>
      <p:sp>
        <p:nvSpPr>
          <p:cNvPr id="68" name="TextBox 67">
            <a:extLst>
              <a:ext uri="{FF2B5EF4-FFF2-40B4-BE49-F238E27FC236}">
                <a16:creationId xmlns:a16="http://schemas.microsoft.com/office/drawing/2014/main" id="{BA510ED3-06DB-410D-A0B5-3ADD2FEB3583}"/>
              </a:ext>
            </a:extLst>
          </p:cNvPr>
          <p:cNvSpPr txBox="1"/>
          <p:nvPr/>
        </p:nvSpPr>
        <p:spPr>
          <a:xfrm>
            <a:off x="9540803" y="2837469"/>
            <a:ext cx="459604" cy="20250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4E3629"/>
                </a:solidFill>
                <a:effectLst/>
                <a:uLnTx/>
                <a:uFillTx/>
                <a:latin typeface="Oracle Sans"/>
                <a:ea typeface="+mn-ea"/>
                <a:cs typeface="Oracle Sans Semi Bold" panose="020B0503020204020204" pitchFamily="34" charset="0"/>
              </a:rPr>
              <a:t>RoCE</a:t>
            </a:r>
          </a:p>
        </p:txBody>
      </p:sp>
      <p:pic>
        <p:nvPicPr>
          <p:cNvPr id="72" name="Picture 71">
            <a:extLst>
              <a:ext uri="{FF2B5EF4-FFF2-40B4-BE49-F238E27FC236}">
                <a16:creationId xmlns:a16="http://schemas.microsoft.com/office/drawing/2014/main" id="{7D6F93A6-0205-4B91-BE9A-E24568EC1940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5400000">
            <a:off x="9622505" y="4260476"/>
            <a:ext cx="850929" cy="850929"/>
          </a:xfrm>
          <a:prstGeom prst="rect">
            <a:avLst/>
          </a:prstGeom>
        </p:spPr>
      </p:pic>
      <p:grpSp>
        <p:nvGrpSpPr>
          <p:cNvPr id="74" name="Group 73">
            <a:extLst>
              <a:ext uri="{FF2B5EF4-FFF2-40B4-BE49-F238E27FC236}">
                <a16:creationId xmlns:a16="http://schemas.microsoft.com/office/drawing/2014/main" id="{E419C760-0CB0-4160-9C34-ABF9EC6E256C}"/>
              </a:ext>
            </a:extLst>
          </p:cNvPr>
          <p:cNvGrpSpPr>
            <a:grpSpLocks noChangeAspect="1"/>
          </p:cNvGrpSpPr>
          <p:nvPr/>
        </p:nvGrpSpPr>
        <p:grpSpPr>
          <a:xfrm>
            <a:off x="9159423" y="2021703"/>
            <a:ext cx="1950221" cy="506915"/>
            <a:chOff x="9133901" y="1969887"/>
            <a:chExt cx="2633617" cy="684548"/>
          </a:xfrm>
        </p:grpSpPr>
        <p:pic>
          <p:nvPicPr>
            <p:cNvPr id="75" name="Picture 2">
              <a:extLst>
                <a:ext uri="{FF2B5EF4-FFF2-40B4-BE49-F238E27FC236}">
                  <a16:creationId xmlns:a16="http://schemas.microsoft.com/office/drawing/2014/main" id="{B66006C7-BD13-41A9-BBE9-9D1196A00188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9133901" y="1969887"/>
              <a:ext cx="2481217" cy="45377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76" name="Picture 2">
              <a:extLst>
                <a:ext uri="{FF2B5EF4-FFF2-40B4-BE49-F238E27FC236}">
                  <a16:creationId xmlns:a16="http://schemas.microsoft.com/office/drawing/2014/main" id="{A4530DD9-DABC-4CDB-A686-754469EAC023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9286301" y="2200665"/>
              <a:ext cx="2481217" cy="45377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pic>
        <p:nvPicPr>
          <p:cNvPr id="77" name="Picture 76">
            <a:extLst>
              <a:ext uri="{FF2B5EF4-FFF2-40B4-BE49-F238E27FC236}">
                <a16:creationId xmlns:a16="http://schemas.microsoft.com/office/drawing/2014/main" id="{51901205-5D5D-458F-B1F9-3456007CE94E}"/>
              </a:ext>
            </a:extLst>
          </p:cNvPr>
          <p:cNvPicPr>
            <a:picLocks noChangeAspect="1"/>
          </p:cNvPicPr>
          <p:nvPr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41330" y="3599683"/>
            <a:ext cx="1763514" cy="320837"/>
          </a:xfrm>
          <a:prstGeom prst="rect">
            <a:avLst/>
          </a:prstGeom>
        </p:spPr>
      </p:pic>
      <p:pic>
        <p:nvPicPr>
          <p:cNvPr id="78" name="Picture 77">
            <a:extLst>
              <a:ext uri="{FF2B5EF4-FFF2-40B4-BE49-F238E27FC236}">
                <a16:creationId xmlns:a16="http://schemas.microsoft.com/office/drawing/2014/main" id="{5B5CA2FA-2F93-46E9-A33F-DEDA01329D38}"/>
              </a:ext>
            </a:extLst>
          </p:cNvPr>
          <p:cNvPicPr>
            <a:picLocks noChangeAspect="1"/>
          </p:cNvPicPr>
          <p:nvPr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193730" y="3752083"/>
            <a:ext cx="1763514" cy="320837"/>
          </a:xfrm>
          <a:prstGeom prst="rect">
            <a:avLst/>
          </a:prstGeom>
        </p:spPr>
      </p:pic>
      <p:pic>
        <p:nvPicPr>
          <p:cNvPr id="79" name="Picture 78">
            <a:extLst>
              <a:ext uri="{FF2B5EF4-FFF2-40B4-BE49-F238E27FC236}">
                <a16:creationId xmlns:a16="http://schemas.microsoft.com/office/drawing/2014/main" id="{1BCD2B1B-551F-426F-8096-65DB95758B32}"/>
              </a:ext>
            </a:extLst>
          </p:cNvPr>
          <p:cNvPicPr>
            <a:picLocks noChangeAspect="1"/>
          </p:cNvPicPr>
          <p:nvPr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346130" y="3904483"/>
            <a:ext cx="1763514" cy="320837"/>
          </a:xfrm>
          <a:prstGeom prst="rect">
            <a:avLst/>
          </a:prstGeom>
        </p:spPr>
      </p:pic>
      <p:pic>
        <p:nvPicPr>
          <p:cNvPr id="83" name="Picture 82">
            <a:extLst>
              <a:ext uri="{FF2B5EF4-FFF2-40B4-BE49-F238E27FC236}">
                <a16:creationId xmlns:a16="http://schemas.microsoft.com/office/drawing/2014/main" id="{7D6F93A6-0205-4B91-BE9A-E24568EC1940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5400000">
            <a:off x="9622505" y="4855434"/>
            <a:ext cx="850929" cy="850929"/>
          </a:xfrm>
          <a:prstGeom prst="rect">
            <a:avLst/>
          </a:prstGeom>
        </p:spPr>
      </p:pic>
      <p:pic>
        <p:nvPicPr>
          <p:cNvPr id="86" name="Picture 85">
            <a:extLst>
              <a:ext uri="{FF2B5EF4-FFF2-40B4-BE49-F238E27FC236}">
                <a16:creationId xmlns:a16="http://schemas.microsoft.com/office/drawing/2014/main" id="{514955A6-7DDF-44BF-B3E2-9E5E13B94C3E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0800000">
            <a:off x="5516550" y="5484687"/>
            <a:ext cx="1180296" cy="269716"/>
          </a:xfrm>
          <a:prstGeom prst="rect">
            <a:avLst/>
          </a:prstGeom>
        </p:spPr>
      </p:pic>
      <p:sp>
        <p:nvSpPr>
          <p:cNvPr id="87" name="TextBox 86">
            <a:extLst>
              <a:ext uri="{FF2B5EF4-FFF2-40B4-BE49-F238E27FC236}">
                <a16:creationId xmlns:a16="http://schemas.microsoft.com/office/drawing/2014/main" id="{5EA37AD2-5A41-4D29-A0E1-9104D253AEF6}"/>
              </a:ext>
            </a:extLst>
          </p:cNvPr>
          <p:cNvSpPr txBox="1"/>
          <p:nvPr/>
        </p:nvSpPr>
        <p:spPr>
          <a:xfrm>
            <a:off x="5681534" y="5522587"/>
            <a:ext cx="993043" cy="236522"/>
          </a:xfrm>
          <a:prstGeom prst="rect">
            <a:avLst/>
          </a:prstGeom>
          <a:solidFill>
            <a:srgbClr val="576A71">
              <a:alpha val="50000"/>
            </a:srgbClr>
          </a:solidFill>
        </p:spPr>
        <p:txBody>
          <a:bodyPr wrap="none" lIns="0" tIns="0" rIns="0" bIns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>
                  <a:glow rad="368300">
                    <a:prstClr val="white">
                      <a:lumMod val="50000"/>
                      <a:alpha val="49000"/>
                    </a:prstClr>
                  </a:glow>
                </a:effectLst>
                <a:uLnTx/>
                <a:uFillTx/>
                <a:latin typeface="Oracle Sans"/>
                <a:ea typeface="+mn-ea"/>
                <a:cs typeface="Oracle Sans Semi Bold" panose="020B0503020204020204" pitchFamily="34" charset="0"/>
              </a:rPr>
              <a:t>FLASH</a:t>
            </a:r>
          </a:p>
        </p:txBody>
      </p:sp>
      <p:pic>
        <p:nvPicPr>
          <p:cNvPr id="90" name="Picture 89">
            <a:extLst>
              <a:ext uri="{FF2B5EF4-FFF2-40B4-BE49-F238E27FC236}">
                <a16:creationId xmlns:a16="http://schemas.microsoft.com/office/drawing/2014/main" id="{7D6F93A6-0205-4B91-BE9A-E24568EC1940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5400000">
            <a:off x="9622521" y="5487569"/>
            <a:ext cx="850929" cy="850929"/>
          </a:xfrm>
          <a:prstGeom prst="rect">
            <a:avLst/>
          </a:prstGeom>
        </p:spPr>
      </p:pic>
      <p:pic>
        <p:nvPicPr>
          <p:cNvPr id="91" name="Picture 90">
            <a:extLst>
              <a:ext uri="{FF2B5EF4-FFF2-40B4-BE49-F238E27FC236}">
                <a16:creationId xmlns:a16="http://schemas.microsoft.com/office/drawing/2014/main" id="{514955A6-7DDF-44BF-B3E2-9E5E13B94C3E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0800000">
            <a:off x="5483247" y="5840745"/>
            <a:ext cx="1180296" cy="269716"/>
          </a:xfrm>
          <a:prstGeom prst="rect">
            <a:avLst/>
          </a:prstGeom>
        </p:spPr>
      </p:pic>
      <p:sp>
        <p:nvSpPr>
          <p:cNvPr id="92" name="TextBox 91">
            <a:extLst>
              <a:ext uri="{FF2B5EF4-FFF2-40B4-BE49-F238E27FC236}">
                <a16:creationId xmlns:a16="http://schemas.microsoft.com/office/drawing/2014/main" id="{5EA37AD2-5A41-4D29-A0E1-9104D253AEF6}"/>
              </a:ext>
            </a:extLst>
          </p:cNvPr>
          <p:cNvSpPr txBox="1"/>
          <p:nvPr/>
        </p:nvSpPr>
        <p:spPr>
          <a:xfrm>
            <a:off x="5662892" y="5873940"/>
            <a:ext cx="993043" cy="236522"/>
          </a:xfrm>
          <a:prstGeom prst="rect">
            <a:avLst/>
          </a:prstGeom>
          <a:solidFill>
            <a:srgbClr val="576A71">
              <a:alpha val="50000"/>
            </a:srgbClr>
          </a:solidFill>
        </p:spPr>
        <p:txBody>
          <a:bodyPr wrap="none" lIns="0" tIns="0" rIns="0" bIns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>
                  <a:glow rad="368300">
                    <a:prstClr val="white">
                      <a:lumMod val="50000"/>
                      <a:alpha val="49000"/>
                    </a:prstClr>
                  </a:glow>
                </a:effectLst>
                <a:uLnTx/>
                <a:uFillTx/>
                <a:latin typeface="Oracle Sans"/>
                <a:ea typeface="+mn-ea"/>
                <a:cs typeface="Oracle Sans Semi Bold" panose="020B0503020204020204" pitchFamily="34" charset="0"/>
              </a:rPr>
              <a:t>FLASH</a:t>
            </a:r>
          </a:p>
        </p:txBody>
      </p:sp>
      <p:sp>
        <p:nvSpPr>
          <p:cNvPr id="93" name="Rectangle 92"/>
          <p:cNvSpPr/>
          <p:nvPr/>
        </p:nvSpPr>
        <p:spPr>
          <a:xfrm>
            <a:off x="485900" y="1133451"/>
            <a:ext cx="3340873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pt-BR" sz="1600" b="1" dirty="0" smtClean="0"/>
              <a:t>High-Capacvity</a:t>
            </a:r>
            <a:r>
              <a:rPr lang="pt-BR" sz="1600" dirty="0" smtClean="0"/>
              <a:t> (HC) Storage</a:t>
            </a:r>
            <a:endParaRPr lang="pt-BR" sz="1600" dirty="0"/>
          </a:p>
        </p:txBody>
      </p:sp>
      <p:sp>
        <p:nvSpPr>
          <p:cNvPr id="94" name="Rectangle 93"/>
          <p:cNvSpPr/>
          <p:nvPr/>
        </p:nvSpPr>
        <p:spPr>
          <a:xfrm>
            <a:off x="4751898" y="1133451"/>
            <a:ext cx="2914025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pt-BR" sz="1600" b="1" dirty="0" smtClean="0"/>
              <a:t>Extreme Flash  </a:t>
            </a:r>
            <a:r>
              <a:rPr lang="pt-BR" sz="1600" dirty="0" smtClean="0"/>
              <a:t>(EF) Storage</a:t>
            </a:r>
            <a:endParaRPr lang="pt-BR" sz="1600" dirty="0"/>
          </a:p>
        </p:txBody>
      </p:sp>
      <p:sp>
        <p:nvSpPr>
          <p:cNvPr id="95" name="Rectangle 94"/>
          <p:cNvSpPr/>
          <p:nvPr/>
        </p:nvSpPr>
        <p:spPr>
          <a:xfrm>
            <a:off x="8733947" y="1131877"/>
            <a:ext cx="2914025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pt-BR" sz="1600" b="1" dirty="0" smtClean="0"/>
              <a:t>Extended  </a:t>
            </a:r>
            <a:r>
              <a:rPr lang="pt-BR" sz="1600" dirty="0" smtClean="0"/>
              <a:t>(XT)  Storage</a:t>
            </a:r>
            <a:endParaRPr lang="pt-BR" sz="1600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US" smtClean="0"/>
              <a:t>Copyright © 2024, Oracle and/or its affiliates. All rights reserved   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345D60D9-5372-5F40-9443-0F9AE5BDC3C8}" type="slidenum">
              <a:rPr lang="en-US" smtClean="0"/>
              <a:pPr/>
              <a:t>16</a:t>
            </a:fld>
            <a:endParaRPr lang="en-US" dirty="0"/>
          </a:p>
        </p:txBody>
      </p:sp>
      <p:pic>
        <p:nvPicPr>
          <p:cNvPr id="80" name="Picture 79" descr="A picture containing text, sign, clipart&#10;&#10;Description automatically generated">
            <a:extLst>
              <a:ext uri="{FF2B5EF4-FFF2-40B4-BE49-F238E27FC236}">
                <a16:creationId xmlns:a16="http://schemas.microsoft.com/office/drawing/2014/main" id="{11BC0E7F-40EB-214D-AA38-E600D0809165}"/>
              </a:ext>
            </a:extLst>
          </p:cNvPr>
          <p:cNvPicPr>
            <a:picLocks noChangeAspect="1"/>
          </p:cNvPicPr>
          <p:nvPr/>
        </p:nvPicPr>
        <p:blipFill>
          <a:blip r:embed="rId8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80182" y="1742123"/>
            <a:ext cx="4621012" cy="46210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819582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p15="http://schemas.microsoft.com/office/powerpoint/2012/main" xmlns:a14="http://schemas.microsoft.com/office/drawing/2010/main"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3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5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6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7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9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0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1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3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4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5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7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8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1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2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3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5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6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7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9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0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1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3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4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5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7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8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9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1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2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3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5" dur="5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6" dur="5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7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9" dur="500" fill="hold"/>
                                        <p:tgtEl>
                                          <p:spTgt spid="15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0" dur="500" fill="hold"/>
                                        <p:tgtEl>
                                          <p:spTgt spid="15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81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3" dur="500" fill="hold"/>
                                        <p:tgtEl>
                                          <p:spTgt spid="15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4" dur="500" fill="hold"/>
                                        <p:tgtEl>
                                          <p:spTgt spid="15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85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7" dur="500" fill="hold"/>
                                        <p:tgtEl>
                                          <p:spTgt spid="15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8" dur="500" fill="hold"/>
                                        <p:tgtEl>
                                          <p:spTgt spid="15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89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91" dur="500" fill="hold"/>
                                        <p:tgtEl>
                                          <p:spTgt spid="15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92" dur="500" fill="hold"/>
                                        <p:tgtEl>
                                          <p:spTgt spid="15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3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95" dur="500" fill="hold"/>
                                        <p:tgtEl>
                                          <p:spTgt spid="9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96" dur="500" fill="hold"/>
                                        <p:tgtEl>
                                          <p:spTgt spid="9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7" fill="hold">
                      <p:stCondLst>
                        <p:cond delay="indefinite"/>
                      </p:stCondLst>
                      <p:childTnLst>
                        <p:par>
                          <p:cTn id="98" fill="hold">
                            <p:stCondLst>
                              <p:cond delay="0"/>
                            </p:stCondLst>
                            <p:childTnLst>
                              <p:par>
                                <p:cTn id="99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01" dur="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02" dur="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3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05" dur="5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06" dur="5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7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09" dur="5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10" dur="5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11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3" dur="5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14" dur="5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15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7" dur="5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18" dur="5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1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1" dur="5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2" dur="5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23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5" dur="5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6" dur="5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27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9" dur="5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0" dur="5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1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3" dur="5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4" dur="5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5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7" dur="5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8" dur="5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41" dur="5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2" dur="5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43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45" dur="5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6" dur="5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47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49" dur="5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50" dur="5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1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3" dur="5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54" dur="5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5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7" dur="5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58" dur="5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61" dur="5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2" dur="5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63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65" dur="5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6" dur="5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67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69" dur="500" fill="hold"/>
                                        <p:tgtEl>
                                          <p:spTgt spid="5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70" dur="500" fill="hold"/>
                                        <p:tgtEl>
                                          <p:spTgt spid="5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1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3" dur="500" fill="hold"/>
                                        <p:tgtEl>
                                          <p:spTgt spid="5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74" dur="500" fill="hold"/>
                                        <p:tgtEl>
                                          <p:spTgt spid="5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5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7" dur="500" fill="hold"/>
                                        <p:tgtEl>
                                          <p:spTgt spid="5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78" dur="500" fill="hold"/>
                                        <p:tgtEl>
                                          <p:spTgt spid="5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9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81" dur="500" fill="hold"/>
                                        <p:tgtEl>
                                          <p:spTgt spid="8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2" dur="500" fill="hold"/>
                                        <p:tgtEl>
                                          <p:spTgt spid="8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83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85" dur="500" fill="hold"/>
                                        <p:tgtEl>
                                          <p:spTgt spid="8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6" dur="500" fill="hold"/>
                                        <p:tgtEl>
                                          <p:spTgt spid="8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87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89" dur="500" fill="hold"/>
                                        <p:tgtEl>
                                          <p:spTgt spid="9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90" dur="500" fill="hold"/>
                                        <p:tgtEl>
                                          <p:spTgt spid="9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91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3" dur="500" fill="hold"/>
                                        <p:tgtEl>
                                          <p:spTgt spid="9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94" dur="500" fill="hold"/>
                                        <p:tgtEl>
                                          <p:spTgt spid="9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95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7" dur="500" fill="hold"/>
                                        <p:tgtEl>
                                          <p:spTgt spid="9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98" dur="500" fill="hold"/>
                                        <p:tgtEl>
                                          <p:spTgt spid="9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9" fill="hold">
                      <p:stCondLst>
                        <p:cond delay="indefinite"/>
                      </p:stCondLst>
                      <p:childTnLst>
                        <p:par>
                          <p:cTn id="200" fill="hold">
                            <p:stCondLst>
                              <p:cond delay="0"/>
                            </p:stCondLst>
                            <p:childTnLst>
                              <p:par>
                                <p:cTn id="201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03" dur="500" fill="hold"/>
                                        <p:tgtEl>
                                          <p:spTgt spid="5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4" dur="500" fill="hold"/>
                                        <p:tgtEl>
                                          <p:spTgt spid="5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05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07" dur="500" fill="hold"/>
                                        <p:tgtEl>
                                          <p:spTgt spid="5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8" dur="500" fill="hold"/>
                                        <p:tgtEl>
                                          <p:spTgt spid="5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09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11" dur="500" fill="hold"/>
                                        <p:tgtEl>
                                          <p:spTgt spid="5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12" dur="500" fill="hold"/>
                                        <p:tgtEl>
                                          <p:spTgt spid="5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3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15" dur="500" fill="hold"/>
                                        <p:tgtEl>
                                          <p:spTgt spid="5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16" dur="500" fill="hold"/>
                                        <p:tgtEl>
                                          <p:spTgt spid="5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7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19" dur="500" fill="hold"/>
                                        <p:tgtEl>
                                          <p:spTgt spid="6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20" dur="500" fill="hold"/>
                                        <p:tgtEl>
                                          <p:spTgt spid="6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21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23" dur="500" fill="hold"/>
                                        <p:tgtEl>
                                          <p:spTgt spid="6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24" dur="500" fill="hold"/>
                                        <p:tgtEl>
                                          <p:spTgt spid="6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25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27" dur="500" fill="hold"/>
                                        <p:tgtEl>
                                          <p:spTgt spid="6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28" dur="500" fill="hold"/>
                                        <p:tgtEl>
                                          <p:spTgt spid="6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29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1" dur="500" fill="hold"/>
                                        <p:tgtEl>
                                          <p:spTgt spid="6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32" dur="500" fill="hold"/>
                                        <p:tgtEl>
                                          <p:spTgt spid="6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33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5" dur="500" fill="hold"/>
                                        <p:tgtEl>
                                          <p:spTgt spid="6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36" dur="500" fill="hold"/>
                                        <p:tgtEl>
                                          <p:spTgt spid="6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37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9" dur="500" fill="hold"/>
                                        <p:tgtEl>
                                          <p:spTgt spid="6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0" dur="500" fill="hold"/>
                                        <p:tgtEl>
                                          <p:spTgt spid="6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41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43" dur="500" fill="hold"/>
                                        <p:tgtEl>
                                          <p:spTgt spid="6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4" dur="500" fill="hold"/>
                                        <p:tgtEl>
                                          <p:spTgt spid="6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45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47" dur="500" fill="hold"/>
                                        <p:tgtEl>
                                          <p:spTgt spid="7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8" dur="500" fill="hold"/>
                                        <p:tgtEl>
                                          <p:spTgt spid="7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49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1" dur="500" fill="hold"/>
                                        <p:tgtEl>
                                          <p:spTgt spid="7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52" dur="500" fill="hold"/>
                                        <p:tgtEl>
                                          <p:spTgt spid="7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3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5" dur="500" fill="hold"/>
                                        <p:tgtEl>
                                          <p:spTgt spid="7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56" dur="500" fill="hold"/>
                                        <p:tgtEl>
                                          <p:spTgt spid="7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7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9" dur="500" fill="hold"/>
                                        <p:tgtEl>
                                          <p:spTgt spid="7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0" dur="500" fill="hold"/>
                                        <p:tgtEl>
                                          <p:spTgt spid="7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61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63" dur="500" fill="hold"/>
                                        <p:tgtEl>
                                          <p:spTgt spid="7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4" dur="500" fill="hold"/>
                                        <p:tgtEl>
                                          <p:spTgt spid="7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65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67" dur="500" fill="hold"/>
                                        <p:tgtEl>
                                          <p:spTgt spid="8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8" dur="500" fill="hold"/>
                                        <p:tgtEl>
                                          <p:spTgt spid="8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69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1" dur="500" fill="hold"/>
                                        <p:tgtEl>
                                          <p:spTgt spid="9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72" dur="500" fill="hold"/>
                                        <p:tgtEl>
                                          <p:spTgt spid="9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73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5" dur="500" fill="hold"/>
                                        <p:tgtEl>
                                          <p:spTgt spid="9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76" dur="500" fill="hold"/>
                                        <p:tgtEl>
                                          <p:spTgt spid="9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7" fill="hold">
                      <p:stCondLst>
                        <p:cond delay="indefinite"/>
                      </p:stCondLst>
                      <p:childTnLst>
                        <p:par>
                          <p:cTn id="278" fill="hold">
                            <p:stCondLst>
                              <p:cond delay="0"/>
                            </p:stCondLst>
                            <p:childTnLst>
                              <p:par>
                                <p:cTn id="279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1" dur="500"/>
                                        <p:tgtEl>
                                          <p:spTgt spid="8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animBg="1"/>
      <p:bldP spid="12" grpId="0" animBg="1"/>
      <p:bldP spid="15" grpId="0"/>
      <p:bldP spid="16" grpId="0"/>
      <p:bldP spid="17" grpId="0"/>
      <p:bldP spid="18" grpId="0"/>
      <p:bldP spid="19" grpId="0" animBg="1"/>
      <p:bldP spid="21" grpId="0"/>
      <p:bldP spid="22" grpId="0" animBg="1"/>
      <p:bldP spid="23" grpId="0"/>
      <p:bldP spid="26" grpId="0"/>
      <p:bldP spid="29" grpId="0" animBg="1"/>
      <p:bldP spid="31" grpId="0" animBg="1"/>
      <p:bldP spid="32" grpId="0" animBg="1"/>
      <p:bldP spid="35" grpId="0"/>
      <p:bldP spid="36" grpId="0"/>
      <p:bldP spid="37" grpId="0"/>
      <p:bldP spid="38" grpId="0"/>
      <p:bldP spid="39" grpId="0" animBg="1"/>
      <p:bldP spid="42" grpId="0" animBg="1"/>
      <p:bldP spid="43" grpId="0"/>
      <p:bldP spid="45" grpId="0"/>
      <p:bldP spid="48" grpId="0" animBg="1"/>
      <p:bldP spid="56" grpId="0" animBg="1"/>
      <p:bldP spid="57" grpId="0" animBg="1"/>
      <p:bldP spid="60" grpId="0"/>
      <p:bldP spid="61" grpId="0"/>
      <p:bldP spid="64" grpId="0" animBg="1"/>
      <p:bldP spid="66" grpId="0"/>
      <p:bldP spid="67" grpId="0" animBg="1"/>
      <p:bldP spid="68" grpId="0"/>
      <p:bldP spid="87" grpId="0" animBg="1"/>
      <p:bldP spid="92" grpId="0" animBg="1"/>
      <p:bldP spid="93" grpId="0"/>
      <p:bldP spid="94" grpId="0"/>
      <p:bldP spid="95" grpId="0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C294CD9F-5C62-4931-9DDD-00F58ADAC3D6}"/>
              </a:ext>
            </a:extLst>
          </p:cNvPr>
          <p:cNvGrpSpPr/>
          <p:nvPr/>
        </p:nvGrpSpPr>
        <p:grpSpPr>
          <a:xfrm>
            <a:off x="565355" y="1201719"/>
            <a:ext cx="11591167" cy="4810142"/>
            <a:chOff x="-9972" y="1302327"/>
            <a:chExt cx="12063425" cy="5560291"/>
          </a:xfrm>
          <a:noFill/>
        </p:grpSpPr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EA2D8429-9A5F-47E6-B04A-707B4DC181DD}"/>
                </a:ext>
              </a:extLst>
            </p:cNvPr>
            <p:cNvSpPr/>
            <p:nvPr/>
          </p:nvSpPr>
          <p:spPr>
            <a:xfrm>
              <a:off x="4599709" y="1524001"/>
              <a:ext cx="7444509" cy="5334000"/>
            </a:xfrm>
            <a:custGeom>
              <a:avLst/>
              <a:gdLst>
                <a:gd name="connsiteX0" fmla="*/ 1607127 w 7444509"/>
                <a:gd name="connsiteY0" fmla="*/ 0 h 5357091"/>
                <a:gd name="connsiteX1" fmla="*/ 1607127 w 7444509"/>
                <a:gd name="connsiteY1" fmla="*/ 129309 h 5357091"/>
                <a:gd name="connsiteX2" fmla="*/ 2817091 w 7444509"/>
                <a:gd name="connsiteY2" fmla="*/ 323273 h 5357091"/>
                <a:gd name="connsiteX3" fmla="*/ 0 w 7444509"/>
                <a:gd name="connsiteY3" fmla="*/ 5347855 h 5357091"/>
                <a:gd name="connsiteX4" fmla="*/ 471055 w 7444509"/>
                <a:gd name="connsiteY4" fmla="*/ 5357091 h 5357091"/>
                <a:gd name="connsiteX5" fmla="*/ 6557818 w 7444509"/>
                <a:gd name="connsiteY5" fmla="*/ 868218 h 5357091"/>
                <a:gd name="connsiteX6" fmla="*/ 7444509 w 7444509"/>
                <a:gd name="connsiteY6" fmla="*/ 1006764 h 5357091"/>
                <a:gd name="connsiteX7" fmla="*/ 7444509 w 7444509"/>
                <a:gd name="connsiteY7" fmla="*/ 895927 h 5357091"/>
                <a:gd name="connsiteX8" fmla="*/ 5080000 w 7444509"/>
                <a:gd name="connsiteY8" fmla="*/ 193964 h 5357091"/>
                <a:gd name="connsiteX9" fmla="*/ 1607127 w 7444509"/>
                <a:gd name="connsiteY9" fmla="*/ 0 h 53570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7444508" h="5357091">
                  <a:moveTo>
                    <a:pt x="1607127" y="0"/>
                  </a:moveTo>
                  <a:lnTo>
                    <a:pt x="1607127" y="129309"/>
                  </a:lnTo>
                  <a:lnTo>
                    <a:pt x="2817091" y="323273"/>
                  </a:lnTo>
                  <a:lnTo>
                    <a:pt x="0" y="5347855"/>
                  </a:lnTo>
                  <a:lnTo>
                    <a:pt x="471055" y="5357091"/>
                  </a:lnTo>
                  <a:cubicBezTo>
                    <a:pt x="2943321" y="3962400"/>
                    <a:pt x="5073842" y="2613891"/>
                    <a:pt x="6557818" y="868218"/>
                  </a:cubicBezTo>
                  <a:lnTo>
                    <a:pt x="7444509" y="1006764"/>
                  </a:lnTo>
                  <a:lnTo>
                    <a:pt x="7444509" y="895927"/>
                  </a:lnTo>
                  <a:cubicBezTo>
                    <a:pt x="6514714" y="600364"/>
                    <a:pt x="6000558" y="332509"/>
                    <a:pt x="5080000" y="193964"/>
                  </a:cubicBezTo>
                  <a:lnTo>
                    <a:pt x="1607127" y="0"/>
                  </a:lnTo>
                  <a:close/>
                </a:path>
              </a:pathLst>
            </a:custGeom>
            <a:solidFill>
              <a:srgbClr val="AE562C">
                <a:lumMod val="50000"/>
              </a:srgbClr>
            </a:solidFill>
            <a:ln w="12700" cap="flat" cmpd="sng" algn="ctr">
              <a:solidFill>
                <a:srgbClr val="AE562C">
                  <a:lumMod val="50000"/>
                </a:srgbClr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Oracle Sans"/>
                <a:cs typeface="Arial"/>
              </a:endParaRPr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6755F757-81D9-45B0-B7E0-09F03B51FFC6}"/>
                </a:ext>
              </a:extLst>
            </p:cNvPr>
            <p:cNvSpPr/>
            <p:nvPr/>
          </p:nvSpPr>
          <p:spPr>
            <a:xfrm>
              <a:off x="-9972" y="1302327"/>
              <a:ext cx="12063425" cy="5560291"/>
            </a:xfrm>
            <a:custGeom>
              <a:avLst/>
              <a:gdLst>
                <a:gd name="connsiteX0" fmla="*/ 734 w 12063425"/>
                <a:gd name="connsiteY0" fmla="*/ 5551055 h 5560291"/>
                <a:gd name="connsiteX1" fmla="*/ 2383 w 12063425"/>
                <a:gd name="connsiteY1" fmla="*/ 2605644 h 5560291"/>
                <a:gd name="connsiteX2" fmla="*/ 7303070 w 12063425"/>
                <a:gd name="connsiteY2" fmla="*/ 403215 h 5560291"/>
                <a:gd name="connsiteX3" fmla="*/ 6226043 w 12063425"/>
                <a:gd name="connsiteY3" fmla="*/ 230909 h 5560291"/>
                <a:gd name="connsiteX4" fmla="*/ 10299279 w 12063425"/>
                <a:gd name="connsiteY4" fmla="*/ 0 h 5560291"/>
                <a:gd name="connsiteX5" fmla="*/ 12063425 w 12063425"/>
                <a:gd name="connsiteY5" fmla="*/ 1108364 h 5560291"/>
                <a:gd name="connsiteX6" fmla="*/ 11139788 w 12063425"/>
                <a:gd name="connsiteY6" fmla="*/ 951346 h 5560291"/>
                <a:gd name="connsiteX7" fmla="*/ 4812879 w 12063425"/>
                <a:gd name="connsiteY7" fmla="*/ 5560291 h 5560291"/>
                <a:gd name="connsiteX8" fmla="*/ 734 w 12063425"/>
                <a:gd name="connsiteY8" fmla="*/ 5551055 h 55602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2063425" h="5560291">
                  <a:moveTo>
                    <a:pt x="734" y="5551055"/>
                  </a:moveTo>
                  <a:cubicBezTo>
                    <a:pt x="-2345" y="4892194"/>
                    <a:pt x="5462" y="3264505"/>
                    <a:pt x="2383" y="2605644"/>
                  </a:cubicBezTo>
                  <a:cubicBezTo>
                    <a:pt x="2776371" y="2188577"/>
                    <a:pt x="4953956" y="1717858"/>
                    <a:pt x="7303070" y="403215"/>
                  </a:cubicBezTo>
                  <a:lnTo>
                    <a:pt x="6226043" y="230909"/>
                  </a:lnTo>
                  <a:lnTo>
                    <a:pt x="10299279" y="0"/>
                  </a:lnTo>
                  <a:lnTo>
                    <a:pt x="12063425" y="1108364"/>
                  </a:lnTo>
                  <a:lnTo>
                    <a:pt x="11139788" y="951346"/>
                  </a:lnTo>
                  <a:cubicBezTo>
                    <a:pt x="9544976" y="2780146"/>
                    <a:pt x="7386747" y="4193309"/>
                    <a:pt x="4812879" y="5560291"/>
                  </a:cubicBezTo>
                  <a:lnTo>
                    <a:pt x="734" y="5551055"/>
                  </a:lnTo>
                  <a:close/>
                </a:path>
              </a:pathLst>
            </a:custGeom>
            <a:gradFill>
              <a:gsLst>
                <a:gs pos="15000">
                  <a:srgbClr val="D36455"/>
                </a:gs>
                <a:gs pos="100000">
                  <a:schemeClr val="accent1">
                    <a:lumMod val="75000"/>
                  </a:schemeClr>
                </a:gs>
                <a:gs pos="39000">
                  <a:srgbClr val="CC4D3C"/>
                </a:gs>
              </a:gsLst>
              <a:lin ang="10800000" scaled="0"/>
            </a:gra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E6AC58">
                    <a:lumMod val="75000"/>
                  </a:srgbClr>
                </a:solidFill>
                <a:effectLst/>
                <a:uLnTx/>
                <a:uFillTx/>
                <a:latin typeface="Oracle Sans"/>
                <a:cs typeface="Arial"/>
              </a:endParaRPr>
            </a:p>
          </p:txBody>
        </p:sp>
      </p:grp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512B6B8E-E6D6-44A9-BC74-1224C933E01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66763" y="713147"/>
            <a:ext cx="10671048" cy="330540"/>
          </a:xfrm>
        </p:spPr>
        <p:txBody>
          <a:bodyPr/>
          <a:lstStyle/>
          <a:p>
            <a:r>
              <a:rPr lang="en-US" sz="2000" b="0" dirty="0"/>
              <a:t>Available in high-performance, cost-effective shapes to match enterprise needs</a:t>
            </a:r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0FAEFAF1-E553-48B4-8E55-61C85D56EB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8875" y="-119159"/>
            <a:ext cx="10671048" cy="822960"/>
          </a:xfrm>
        </p:spPr>
        <p:txBody>
          <a:bodyPr/>
          <a:lstStyle/>
          <a:p>
            <a:r>
              <a:rPr lang="en-US" dirty="0" err="1"/>
              <a:t>Exadata</a:t>
            </a:r>
            <a:r>
              <a:rPr lang="en-US" dirty="0"/>
              <a:t> </a:t>
            </a:r>
            <a:r>
              <a:rPr lang="en-US" dirty="0" smtClean="0"/>
              <a:t>Cloud X9M </a:t>
            </a:r>
            <a:r>
              <a:rPr lang="en-US" dirty="0"/>
              <a:t>Flexible Shapes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24A6D35-59E5-4535-8FA2-57CC63D2F609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 lvl="0">
              <a:defRPr/>
            </a:pPr>
            <a:r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8B8580"/>
                </a:solidFill>
                <a:effectLst/>
                <a:uLnTx/>
                <a:uFillTx/>
                <a:latin typeface="Oracle Sans Tab"/>
                <a:ea typeface="+mn-ea"/>
                <a:cs typeface="+mn-cs"/>
              </a:rPr>
              <a:t>Copyright © 2024, Oracle and/or its affiliates. All rights reserved   </a:t>
            </a: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8B8580"/>
              </a:solidFill>
              <a:effectLst/>
              <a:uLnTx/>
              <a:uFillTx/>
              <a:latin typeface="Oracle Sans Tab"/>
              <a:ea typeface="+mn-ea"/>
              <a:cs typeface="+mn-cs"/>
            </a:endParaRPr>
          </a:p>
        </p:txBody>
      </p:sp>
      <p:sp>
        <p:nvSpPr>
          <p:cNvPr id="8" name="Content Placeholder 8">
            <a:extLst>
              <a:ext uri="{FF2B5EF4-FFF2-40B4-BE49-F238E27FC236}">
                <a16:creationId xmlns:a16="http://schemas.microsoft.com/office/drawing/2014/main" id="{BC434D66-3264-420A-9DDF-53B61545D81C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691051" y="3678060"/>
            <a:ext cx="2478024" cy="2226629"/>
          </a:xfrm>
          <a:solidFill>
            <a:schemeClr val="bg1">
              <a:alpha val="98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txBody>
          <a:bodyPr lIns="91440" tIns="91440" rIns="91440" bIns="91440" anchor="t"/>
          <a:lstStyle/>
          <a:p>
            <a:pPr algn="ctr"/>
            <a:r>
              <a:rPr lang="en-US" sz="2000" b="1" dirty="0">
                <a:solidFill>
                  <a:schemeClr val="accent2">
                    <a:lumMod val="50000"/>
                  </a:schemeClr>
                </a:solidFill>
              </a:rPr>
              <a:t>Base System</a:t>
            </a:r>
          </a:p>
          <a:p>
            <a:pPr>
              <a:spcAft>
                <a:spcPts val="600"/>
              </a:spcAft>
            </a:pPr>
            <a:r>
              <a:rPr lang="en-US" sz="1600" dirty="0"/>
              <a:t>Ideal for small-scale consolidation and the lowest cost</a:t>
            </a:r>
          </a:p>
          <a:p>
            <a:pPr marL="285750" indent="-168275">
              <a:spcBef>
                <a:spcPts val="200"/>
              </a:spcBef>
              <a:buFont typeface="Arial" panose="020B0604020202020204" pitchFamily="34" charset="0"/>
              <a:buChar char="•"/>
            </a:pPr>
            <a:r>
              <a:rPr lang="en-US" sz="1400" dirty="0" smtClean="0"/>
              <a:t>2 Database Servers</a:t>
            </a:r>
            <a:endParaRPr lang="en-US" sz="1400" dirty="0"/>
          </a:p>
          <a:p>
            <a:pPr marL="285750" indent="-168275">
              <a:spcBef>
                <a:spcPts val="200"/>
              </a:spcBef>
              <a:buFont typeface="Arial" panose="020B0604020202020204" pitchFamily="34" charset="0"/>
              <a:buChar char="•"/>
            </a:pPr>
            <a:r>
              <a:rPr lang="en-US" sz="1400" dirty="0" smtClean="0"/>
              <a:t>3 </a:t>
            </a:r>
            <a:r>
              <a:rPr lang="en-US" sz="1400" dirty="0" err="1" smtClean="0"/>
              <a:t>Strorage</a:t>
            </a:r>
            <a:r>
              <a:rPr lang="en-US" sz="1400" dirty="0" smtClean="0"/>
              <a:t> Servers</a:t>
            </a:r>
            <a:endParaRPr lang="en-US" sz="1400" dirty="0"/>
          </a:p>
          <a:p>
            <a:pPr marL="285750" indent="-168275">
              <a:spcBef>
                <a:spcPts val="200"/>
              </a:spcBef>
              <a:buFont typeface="Arial" panose="020B0604020202020204" pitchFamily="34" charset="0"/>
              <a:buChar char="•"/>
            </a:pPr>
            <a:r>
              <a:rPr lang="en-US" sz="1400" dirty="0" smtClean="0"/>
              <a:t>Max VM’s Per DB 4</a:t>
            </a:r>
          </a:p>
          <a:p>
            <a:pPr marL="285750" indent="-168275">
              <a:spcBef>
                <a:spcPts val="200"/>
              </a:spcBef>
              <a:buFont typeface="Arial" panose="020B0604020202020204" pitchFamily="34" charset="0"/>
              <a:buChar char="•"/>
            </a:pPr>
            <a:r>
              <a:rPr lang="en-US" sz="1400" dirty="0" smtClean="0"/>
              <a:t>No PMEM</a:t>
            </a:r>
            <a:endParaRPr lang="en-US" sz="1400" dirty="0"/>
          </a:p>
          <a:p>
            <a:pPr marL="285750" indent="-168275">
              <a:spcBef>
                <a:spcPts val="200"/>
              </a:spcBef>
              <a:buFont typeface="Arial" panose="020B0604020202020204" pitchFamily="34" charset="0"/>
              <a:buChar char="•"/>
            </a:pPr>
            <a:endParaRPr lang="en-US" sz="1400" dirty="0"/>
          </a:p>
        </p:txBody>
      </p:sp>
      <p:sp>
        <p:nvSpPr>
          <p:cNvPr id="9" name="Content Placeholder 10">
            <a:extLst>
              <a:ext uri="{FF2B5EF4-FFF2-40B4-BE49-F238E27FC236}">
                <a16:creationId xmlns:a16="http://schemas.microsoft.com/office/drawing/2014/main" id="{B681F8CA-846C-45BF-8657-00D0C56BB7E5}"/>
              </a:ext>
            </a:extLst>
          </p:cNvPr>
          <p:cNvSpPr txBox="1">
            <a:spLocks/>
          </p:cNvSpPr>
          <p:nvPr/>
        </p:nvSpPr>
        <p:spPr>
          <a:xfrm>
            <a:off x="3377912" y="3114496"/>
            <a:ext cx="2854839" cy="2730706"/>
          </a:xfrm>
          <a:prstGeom prst="rect">
            <a:avLst/>
          </a:prstGeom>
          <a:solidFill>
            <a:schemeClr val="bg1">
              <a:alpha val="98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txBody>
          <a:bodyPr vert="horz" lIns="91440" tIns="91440" rIns="91440" bIns="91440" rtlCol="0" anchor="t"/>
          <a:lstStyle>
            <a:defPPr>
              <a:defRPr lang="en-US"/>
            </a:defPPr>
            <a:lvl1pPr marL="0" algn="l" defTabSz="914400" rtl="0" eaLnBrk="1" latinLnBrk="0" hangingPunct="1">
              <a:defRPr sz="900" kern="1200">
                <a:solidFill>
                  <a:srgbClr val="8B8580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2000" b="1" dirty="0">
                <a:solidFill>
                  <a:srgbClr val="41817E"/>
                </a:solidFill>
              </a:rPr>
              <a:t>X9M Quarter Rack</a:t>
            </a:r>
          </a:p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en-US" sz="1600" dirty="0">
                <a:solidFill>
                  <a:schemeClr val="tx1"/>
                </a:solidFill>
              </a:rPr>
              <a:t>Ideal for large databases,   small-scale consolidation,      and petabyte-scale analytics</a:t>
            </a:r>
          </a:p>
          <a:p>
            <a:pPr marL="285750" indent="-168275">
              <a:spcBef>
                <a:spcPts val="200"/>
              </a:spcBef>
              <a:buFont typeface="Arial" panose="020B0604020202020204" pitchFamily="34" charset="0"/>
              <a:buChar char="•"/>
            </a:pPr>
            <a:r>
              <a:rPr lang="en-US" sz="1400" dirty="0" smtClean="0">
                <a:solidFill>
                  <a:schemeClr val="tx1"/>
                </a:solidFill>
              </a:rPr>
              <a:t>2 Database Servers</a:t>
            </a:r>
            <a:endParaRPr lang="en-US" sz="1400" dirty="0" smtClean="0">
              <a:solidFill>
                <a:schemeClr val="tx1"/>
              </a:solidFill>
            </a:endParaRPr>
          </a:p>
          <a:p>
            <a:pPr marL="285750" indent="-168275">
              <a:spcBef>
                <a:spcPts val="200"/>
              </a:spcBef>
              <a:buFont typeface="Arial" panose="020B0604020202020204" pitchFamily="34" charset="0"/>
              <a:buChar char="•"/>
            </a:pPr>
            <a:r>
              <a:rPr lang="en-US" sz="1400" dirty="0" smtClean="0">
                <a:solidFill>
                  <a:schemeClr val="tx1"/>
                </a:solidFill>
              </a:rPr>
              <a:t>3 Storage Servers</a:t>
            </a:r>
          </a:p>
          <a:p>
            <a:pPr marL="285750" indent="-168275">
              <a:spcBef>
                <a:spcPts val="200"/>
              </a:spcBef>
              <a:buFont typeface="Arial" panose="020B0604020202020204" pitchFamily="34" charset="0"/>
              <a:buChar char="•"/>
            </a:pPr>
            <a:r>
              <a:rPr lang="en-US" sz="1400" dirty="0" smtClean="0">
                <a:solidFill>
                  <a:schemeClr val="tx1"/>
                </a:solidFill>
              </a:rPr>
              <a:t>Max VM’s Per DB 8</a:t>
            </a:r>
            <a:endParaRPr lang="en-US" sz="1400" dirty="0">
              <a:solidFill>
                <a:schemeClr val="tx1"/>
              </a:solidFill>
            </a:endParaRPr>
          </a:p>
          <a:p>
            <a:pPr marL="285750" indent="-168275">
              <a:spcBef>
                <a:spcPts val="200"/>
              </a:spcBef>
              <a:buFont typeface="Arial" panose="020B0604020202020204" pitchFamily="34" charset="0"/>
              <a:buChar char="•"/>
            </a:pPr>
            <a:r>
              <a:rPr lang="en-US" sz="1400" dirty="0" smtClean="0">
                <a:solidFill>
                  <a:schemeClr val="tx1"/>
                </a:solidFill>
              </a:rPr>
              <a:t>4.5 </a:t>
            </a:r>
            <a:r>
              <a:rPr lang="en-US" sz="1400" dirty="0" smtClean="0">
                <a:solidFill>
                  <a:schemeClr val="tx1"/>
                </a:solidFill>
              </a:rPr>
              <a:t>TB  PMEM</a:t>
            </a:r>
          </a:p>
          <a:p>
            <a:pPr marL="285750" indent="-168275">
              <a:spcBef>
                <a:spcPts val="200"/>
              </a:spcBef>
              <a:buFont typeface="Arial" panose="020B0604020202020204" pitchFamily="34" charset="0"/>
              <a:buChar char="•"/>
            </a:pPr>
            <a:endParaRPr lang="en-US" sz="1400" dirty="0">
              <a:solidFill>
                <a:schemeClr val="tx1"/>
              </a:solidFill>
            </a:endParaRPr>
          </a:p>
          <a:p>
            <a:endParaRPr lang="en-US" sz="800" dirty="0"/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E1CD946C-7B89-4E34-92D2-98EE2DAD76E6}"/>
              </a:ext>
            </a:extLst>
          </p:cNvPr>
          <p:cNvSpPr txBox="1">
            <a:spLocks/>
          </p:cNvSpPr>
          <p:nvPr/>
        </p:nvSpPr>
        <p:spPr>
          <a:xfrm>
            <a:off x="6421710" y="2143896"/>
            <a:ext cx="2649202" cy="2863002"/>
          </a:xfrm>
          <a:prstGeom prst="rect">
            <a:avLst/>
          </a:prstGeom>
          <a:solidFill>
            <a:schemeClr val="bg1">
              <a:alpha val="98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txBody>
          <a:bodyPr vert="horz" lIns="91440" tIns="91440" rIns="91440" bIns="91440" rtlCol="0" anchor="t"/>
          <a:lstStyle>
            <a:defPPr>
              <a:defRPr lang="en-US"/>
            </a:defPPr>
            <a:lvl1pPr marL="0" algn="l" defTabSz="914400" rtl="0" eaLnBrk="1" latinLnBrk="0" hangingPunct="1">
              <a:defRPr lang="en-US" sz="900" kern="1200" smtClean="0">
                <a:solidFill>
                  <a:srgbClr val="8B8580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2000" b="1" dirty="0">
                <a:solidFill>
                  <a:schemeClr val="accent5"/>
                </a:solidFill>
              </a:rPr>
              <a:t>X9M Half Rack</a:t>
            </a:r>
          </a:p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en-US" sz="1600" dirty="0">
                <a:solidFill>
                  <a:schemeClr val="tx1"/>
                </a:solidFill>
              </a:rPr>
              <a:t>Ideal for very large databases and medium-scale consolidation</a:t>
            </a:r>
          </a:p>
          <a:p>
            <a:endParaRPr lang="en-US" sz="800" dirty="0">
              <a:solidFill>
                <a:schemeClr val="tx1"/>
              </a:solidFill>
            </a:endParaRPr>
          </a:p>
          <a:p>
            <a:pPr marL="285750" indent="-168275">
              <a:spcBef>
                <a:spcPts val="200"/>
              </a:spcBef>
              <a:buFont typeface="Arial" panose="020B0604020202020204" pitchFamily="34" charset="0"/>
              <a:buChar char="•"/>
            </a:pPr>
            <a:r>
              <a:rPr lang="en-US" sz="1400" dirty="0" smtClean="0">
                <a:solidFill>
                  <a:schemeClr val="tx1"/>
                </a:solidFill>
              </a:rPr>
              <a:t>4 Database Servers</a:t>
            </a:r>
            <a:endParaRPr lang="en-US" sz="1400" dirty="0">
              <a:solidFill>
                <a:schemeClr val="tx1"/>
              </a:solidFill>
            </a:endParaRPr>
          </a:p>
          <a:p>
            <a:pPr marL="285750" indent="-168275">
              <a:spcBef>
                <a:spcPts val="200"/>
              </a:spcBef>
              <a:buFont typeface="Arial" panose="020B0604020202020204" pitchFamily="34" charset="0"/>
              <a:buChar char="•"/>
            </a:pPr>
            <a:r>
              <a:rPr lang="en-US" sz="1400" dirty="0" smtClean="0">
                <a:solidFill>
                  <a:schemeClr val="tx1"/>
                </a:solidFill>
              </a:rPr>
              <a:t>6 Storage Servers</a:t>
            </a:r>
            <a:endParaRPr lang="en-US" sz="1400" dirty="0">
              <a:solidFill>
                <a:schemeClr val="tx1"/>
              </a:solidFill>
            </a:endParaRPr>
          </a:p>
          <a:p>
            <a:pPr marL="285750" indent="-168275">
              <a:spcBef>
                <a:spcPts val="200"/>
              </a:spcBef>
              <a:buFont typeface="Arial" panose="020B0604020202020204" pitchFamily="34" charset="0"/>
              <a:buChar char="•"/>
            </a:pPr>
            <a:r>
              <a:rPr lang="en-US" sz="1400" dirty="0" smtClean="0">
                <a:solidFill>
                  <a:schemeClr val="tx1"/>
                </a:solidFill>
              </a:rPr>
              <a:t>Max VM’s Per DB 16</a:t>
            </a:r>
            <a:endParaRPr lang="en-US" sz="1400" dirty="0">
              <a:solidFill>
                <a:schemeClr val="tx1"/>
              </a:solidFill>
            </a:endParaRPr>
          </a:p>
          <a:p>
            <a:pPr marL="285750" indent="-168275">
              <a:spcBef>
                <a:spcPts val="200"/>
              </a:spcBef>
              <a:buFont typeface="Arial" panose="020B0604020202020204" pitchFamily="34" charset="0"/>
              <a:buChar char="•"/>
            </a:pPr>
            <a:r>
              <a:rPr lang="en-US" sz="1400" dirty="0" smtClean="0">
                <a:solidFill>
                  <a:schemeClr val="tx1"/>
                </a:solidFill>
              </a:rPr>
              <a:t>9.0 </a:t>
            </a:r>
            <a:r>
              <a:rPr lang="en-US" sz="1400" dirty="0" smtClean="0">
                <a:solidFill>
                  <a:schemeClr val="tx1"/>
                </a:solidFill>
              </a:rPr>
              <a:t>TB PMEM</a:t>
            </a:r>
          </a:p>
          <a:p>
            <a:pPr marL="285750" indent="-168275">
              <a:spcBef>
                <a:spcPts val="200"/>
              </a:spcBef>
              <a:buFont typeface="Arial" panose="020B0604020202020204" pitchFamily="34" charset="0"/>
              <a:buChar char="•"/>
            </a:pPr>
            <a:endParaRPr lang="en-US" sz="1400" dirty="0" smtClean="0">
              <a:solidFill>
                <a:schemeClr val="tx1"/>
              </a:solidFill>
            </a:endParaRPr>
          </a:p>
          <a:p>
            <a:pPr marL="285750" indent="-168275">
              <a:spcBef>
                <a:spcPts val="200"/>
              </a:spcBef>
              <a:buFont typeface="Arial" panose="020B0604020202020204" pitchFamily="34" charset="0"/>
              <a:buChar char="•"/>
            </a:pPr>
            <a:endParaRPr lang="en-US" sz="1400" dirty="0">
              <a:solidFill>
                <a:schemeClr val="tx1"/>
              </a:solidFill>
            </a:endParaRPr>
          </a:p>
          <a:p>
            <a:endParaRPr lang="en-US" sz="800" dirty="0"/>
          </a:p>
        </p:txBody>
      </p:sp>
      <p:sp>
        <p:nvSpPr>
          <p:cNvPr id="11" name="Content Placeholder 1">
            <a:extLst>
              <a:ext uri="{FF2B5EF4-FFF2-40B4-BE49-F238E27FC236}">
                <a16:creationId xmlns:a16="http://schemas.microsoft.com/office/drawing/2014/main" id="{2B5CAECC-F125-4394-97F1-2E410C3D83D8}"/>
              </a:ext>
            </a:extLst>
          </p:cNvPr>
          <p:cNvSpPr txBox="1">
            <a:spLocks/>
          </p:cNvSpPr>
          <p:nvPr/>
        </p:nvSpPr>
        <p:spPr>
          <a:xfrm>
            <a:off x="9269811" y="1381085"/>
            <a:ext cx="2649202" cy="2611052"/>
          </a:xfrm>
          <a:prstGeom prst="rect">
            <a:avLst/>
          </a:prstGeom>
          <a:solidFill>
            <a:schemeClr val="bg1">
              <a:alpha val="98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txBody>
          <a:bodyPr vert="horz" lIns="91440" tIns="91440" rIns="91440" bIns="91440" rtlCol="0" anchor="t"/>
          <a:lstStyle>
            <a:defPPr>
              <a:defRPr lang="en-US"/>
            </a:defPPr>
            <a:lvl1pPr marL="0" algn="l" defTabSz="914400" rtl="0" eaLnBrk="1" latinLnBrk="0" hangingPunct="1">
              <a:defRPr sz="900" kern="1200">
                <a:solidFill>
                  <a:srgbClr val="8B8580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2000" b="1" dirty="0">
                <a:solidFill>
                  <a:srgbClr val="2C5967"/>
                </a:solidFill>
              </a:rPr>
              <a:t>X9M Full Rack</a:t>
            </a:r>
          </a:p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en-US" sz="1600" dirty="0">
                <a:solidFill>
                  <a:schemeClr val="tx1"/>
                </a:solidFill>
              </a:rPr>
              <a:t>Ideal for large-scale consolidation for all type of database workloads</a:t>
            </a:r>
          </a:p>
          <a:p>
            <a:endParaRPr lang="en-US" sz="800" dirty="0">
              <a:solidFill>
                <a:schemeClr val="tx1"/>
              </a:solidFill>
            </a:endParaRPr>
          </a:p>
          <a:p>
            <a:pPr marL="285750" indent="-168275">
              <a:spcBef>
                <a:spcPts val="200"/>
              </a:spcBef>
              <a:buFont typeface="Arial" panose="020B0604020202020204" pitchFamily="34" charset="0"/>
              <a:buChar char="•"/>
            </a:pPr>
            <a:r>
              <a:rPr lang="en-US" sz="1400" dirty="0" smtClean="0">
                <a:solidFill>
                  <a:schemeClr val="tx1"/>
                </a:solidFill>
              </a:rPr>
              <a:t>8 Database Servers</a:t>
            </a:r>
            <a:endParaRPr lang="en-US" sz="1400" dirty="0">
              <a:solidFill>
                <a:schemeClr val="tx1"/>
              </a:solidFill>
            </a:endParaRPr>
          </a:p>
          <a:p>
            <a:pPr marL="285750" indent="-168275">
              <a:spcBef>
                <a:spcPts val="200"/>
              </a:spcBef>
              <a:buFont typeface="Arial" panose="020B0604020202020204" pitchFamily="34" charset="0"/>
              <a:buChar char="•"/>
            </a:pPr>
            <a:r>
              <a:rPr lang="en-US" sz="1400" dirty="0" smtClean="0">
                <a:solidFill>
                  <a:schemeClr val="tx1"/>
                </a:solidFill>
              </a:rPr>
              <a:t>12 Storage Servers</a:t>
            </a:r>
            <a:endParaRPr lang="en-US" sz="1400" dirty="0">
              <a:solidFill>
                <a:schemeClr val="tx1"/>
              </a:solidFill>
            </a:endParaRPr>
          </a:p>
          <a:p>
            <a:pPr marL="285750" indent="-168275">
              <a:spcBef>
                <a:spcPts val="200"/>
              </a:spcBef>
              <a:buFont typeface="Arial" panose="020B0604020202020204" pitchFamily="34" charset="0"/>
              <a:buChar char="•"/>
            </a:pPr>
            <a:r>
              <a:rPr lang="en-US" sz="1400" dirty="0" smtClean="0">
                <a:solidFill>
                  <a:schemeClr val="tx1"/>
                </a:solidFill>
              </a:rPr>
              <a:t>Max VM’s per DB 16</a:t>
            </a:r>
            <a:endParaRPr lang="en-US" sz="1400" dirty="0">
              <a:solidFill>
                <a:schemeClr val="tx1"/>
              </a:solidFill>
            </a:endParaRPr>
          </a:p>
          <a:p>
            <a:pPr marL="285750" indent="-168275">
              <a:spcBef>
                <a:spcPts val="200"/>
              </a:spcBef>
              <a:buFont typeface="Arial" panose="020B0604020202020204" pitchFamily="34" charset="0"/>
              <a:buChar char="•"/>
            </a:pPr>
            <a:r>
              <a:rPr lang="en-US" sz="1400" dirty="0" smtClean="0">
                <a:solidFill>
                  <a:schemeClr val="tx1"/>
                </a:solidFill>
              </a:rPr>
              <a:t>18 </a:t>
            </a:r>
            <a:r>
              <a:rPr lang="en-US" sz="1400" dirty="0" smtClean="0">
                <a:solidFill>
                  <a:schemeClr val="tx1"/>
                </a:solidFill>
              </a:rPr>
              <a:t>TB PMEM</a:t>
            </a:r>
          </a:p>
          <a:p>
            <a:pPr marL="285750" indent="-168275">
              <a:spcBef>
                <a:spcPts val="200"/>
              </a:spcBef>
              <a:buFont typeface="Arial" panose="020B0604020202020204" pitchFamily="34" charset="0"/>
              <a:buChar char="•"/>
            </a:pPr>
            <a:endParaRPr lang="en-US" sz="1400" dirty="0">
              <a:solidFill>
                <a:schemeClr val="tx1"/>
              </a:solidFill>
            </a:endParaRPr>
          </a:p>
          <a:p>
            <a:endParaRPr lang="en-US" sz="800" dirty="0"/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2E12FC9F-2068-45EF-BB00-697D91D41368}"/>
              </a:ext>
            </a:extLst>
          </p:cNvPr>
          <p:cNvGrpSpPr/>
          <p:nvPr/>
        </p:nvGrpSpPr>
        <p:grpSpPr>
          <a:xfrm>
            <a:off x="544749" y="1526501"/>
            <a:ext cx="11128442" cy="4476734"/>
            <a:chOff x="544749" y="1526501"/>
            <a:chExt cx="10285379" cy="4588951"/>
          </a:xfrm>
        </p:grpSpPr>
        <p:cxnSp>
          <p:nvCxnSpPr>
            <p:cNvPr id="13" name="Straight Arrow Connector 12">
              <a:extLst>
                <a:ext uri="{FF2B5EF4-FFF2-40B4-BE49-F238E27FC236}">
                  <a16:creationId xmlns:a16="http://schemas.microsoft.com/office/drawing/2014/main" id="{48731E4C-169A-4F32-8ECF-A492BC368A21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44749" y="1526501"/>
              <a:ext cx="0" cy="4588951"/>
            </a:xfrm>
            <a:prstGeom prst="straightConnector1">
              <a:avLst/>
            </a:prstGeom>
            <a:ln w="57150" cap="rnd">
              <a:solidFill>
                <a:schemeClr val="tx1">
                  <a:lumMod val="75000"/>
                  <a:lumOff val="25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Arrow Connector 13">
              <a:extLst>
                <a:ext uri="{FF2B5EF4-FFF2-40B4-BE49-F238E27FC236}">
                  <a16:creationId xmlns:a16="http://schemas.microsoft.com/office/drawing/2014/main" id="{8F8D3DFC-FF7E-4064-8A81-5EF000C7CA63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44749" y="6115451"/>
              <a:ext cx="10285379" cy="1"/>
            </a:xfrm>
            <a:prstGeom prst="straightConnector1">
              <a:avLst/>
            </a:prstGeom>
            <a:ln w="57150" cap="rnd">
              <a:solidFill>
                <a:schemeClr val="tx1">
                  <a:lumMod val="75000"/>
                  <a:lumOff val="25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0" name="TextBox 19">
            <a:extLst>
              <a:ext uri="{FF2B5EF4-FFF2-40B4-BE49-F238E27FC236}">
                <a16:creationId xmlns:a16="http://schemas.microsoft.com/office/drawing/2014/main" id="{979663AF-3CD2-48F6-82A6-82C1A2E475A2}"/>
              </a:ext>
            </a:extLst>
          </p:cNvPr>
          <p:cNvSpPr txBox="1"/>
          <p:nvPr/>
        </p:nvSpPr>
        <p:spPr>
          <a:xfrm>
            <a:off x="4963387" y="6053725"/>
            <a:ext cx="114576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Compute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153BB75A-9F6A-471E-8E3D-5F466E4D94A3}"/>
              </a:ext>
            </a:extLst>
          </p:cNvPr>
          <p:cNvSpPr txBox="1"/>
          <p:nvPr/>
        </p:nvSpPr>
        <p:spPr>
          <a:xfrm rot="16200000">
            <a:off x="-173806" y="3424260"/>
            <a:ext cx="98886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Storag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345D60D9-5372-5F40-9443-0F9AE5BDC3C8}" type="slidenum">
              <a:rPr lang="en-US" smtClean="0"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675950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>
            <a:extLst>
              <a:ext uri="{FF2B5EF4-FFF2-40B4-BE49-F238E27FC236}">
                <a16:creationId xmlns:a16="http://schemas.microsoft.com/office/drawing/2014/main" id="{B3078B38-25D1-4343-A0FC-C66A4BA9D642}"/>
              </a:ext>
            </a:extLst>
          </p:cNvPr>
          <p:cNvSpPr/>
          <p:nvPr/>
        </p:nvSpPr>
        <p:spPr>
          <a:xfrm>
            <a:off x="5042893" y="1224819"/>
            <a:ext cx="2840443" cy="4483302"/>
          </a:xfrm>
          <a:prstGeom prst="rect">
            <a:avLst/>
          </a:prstGeom>
          <a:solidFill>
            <a:schemeClr val="accent2"/>
          </a:solidFill>
          <a:ln>
            <a:noFill/>
          </a:ln>
          <a:effectLst>
            <a:softEdge rad="3175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CFBFA"/>
              </a:solidFill>
              <a:effectLst/>
              <a:uLnTx/>
              <a:uFillTx/>
              <a:latin typeface="Oracle Sans Tab"/>
              <a:ea typeface="+mn-ea"/>
              <a:cs typeface="+mn-cs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1BCBFE15-8D48-4AD8-9918-E7561F220D13}"/>
              </a:ext>
            </a:extLst>
          </p:cNvPr>
          <p:cNvSpPr/>
          <p:nvPr/>
        </p:nvSpPr>
        <p:spPr>
          <a:xfrm>
            <a:off x="7911533" y="1224819"/>
            <a:ext cx="2840443" cy="4483302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  <a:effectLst>
            <a:softEdge rad="3175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CFBFA"/>
              </a:solidFill>
              <a:effectLst/>
              <a:uLnTx/>
              <a:uFillTx/>
              <a:latin typeface="Oracle Sans Tab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6EDCD6D-AE48-4C7C-B84F-5BC0AD14A14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8875" y="-54659"/>
            <a:ext cx="10671048" cy="822960"/>
          </a:xfrm>
        </p:spPr>
        <p:txBody>
          <a:bodyPr/>
          <a:lstStyle/>
          <a:p>
            <a:r>
              <a:rPr lang="en-US" dirty="0" err="1"/>
              <a:t>Exadata</a:t>
            </a:r>
            <a:r>
              <a:rPr lang="en-US" dirty="0"/>
              <a:t> </a:t>
            </a:r>
            <a:r>
              <a:rPr lang="en-US" dirty="0" smtClean="0"/>
              <a:t>Cloud at Customer </a:t>
            </a:r>
            <a:r>
              <a:rPr lang="en-US" dirty="0"/>
              <a:t>X10M Shapes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B350E43-FE57-44D8-9B5F-4B1149F8401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066903" y="6413739"/>
            <a:ext cx="5745379" cy="365125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8B8580"/>
                </a:solidFill>
                <a:effectLst/>
                <a:uLnTx/>
                <a:uFillTx/>
                <a:latin typeface="Oracle Sans Tab"/>
                <a:ea typeface="+mn-ea"/>
                <a:cs typeface="+mn-cs"/>
              </a:rPr>
              <a:t>Copyright © 2024, Oracle and/or its affiliates. All rights reserved   </a:t>
            </a: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8B8580"/>
              </a:solidFill>
              <a:effectLst/>
              <a:uLnTx/>
              <a:uFillTx/>
              <a:latin typeface="Oracle Sans Tab"/>
              <a:ea typeface="+mn-ea"/>
              <a:cs typeface="+mn-cs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5BFC1867-0AA3-439E-B0CF-1C832D38EC3C}"/>
              </a:ext>
            </a:extLst>
          </p:cNvPr>
          <p:cNvSpPr txBox="1"/>
          <p:nvPr/>
        </p:nvSpPr>
        <p:spPr>
          <a:xfrm>
            <a:off x="2531904" y="4341829"/>
            <a:ext cx="2709214" cy="129266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312D2A"/>
                </a:solidFill>
                <a:effectLst/>
                <a:uLnTx/>
                <a:uFillTx/>
                <a:latin typeface="Oracle Sans Tab"/>
                <a:ea typeface="+mn-ea"/>
                <a:cs typeface="+mn-cs"/>
              </a:rPr>
              <a:t>Quarter  Rack – X10M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312D2A"/>
              </a:solidFill>
              <a:effectLst/>
              <a:uLnTx/>
              <a:uFillTx/>
              <a:latin typeface="Oracle Sans Tab"/>
              <a:ea typeface="+mn-ea"/>
              <a:cs typeface="+mn-cs"/>
            </a:endParaRPr>
          </a:p>
          <a:p>
            <a:pPr lvl="0"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312D2A"/>
                </a:solidFill>
                <a:effectLst/>
                <a:uLnTx/>
                <a:uFillTx/>
                <a:latin typeface="Oracle Sans Tab"/>
                <a:ea typeface="+mn-ea"/>
                <a:cs typeface="+mn-cs"/>
              </a:rPr>
              <a:t>380 Cores – </a:t>
            </a:r>
            <a:r>
              <a:rPr lang="en-US" sz="1200" dirty="0">
                <a:solidFill>
                  <a:srgbClr val="312D2A"/>
                </a:solidFill>
              </a:rPr>
              <a:t>2,780 GB </a:t>
            </a:r>
            <a:r>
              <a:rPr lang="en-US" sz="1200" dirty="0" smtClean="0">
                <a:solidFill>
                  <a:srgbClr val="312D2A"/>
                </a:solidFill>
              </a:rPr>
              <a:t>Memory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312D2A"/>
              </a:solidFill>
              <a:effectLst/>
              <a:uLnTx/>
              <a:uFillTx/>
              <a:latin typeface="Oracle Sans Tab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312D2A"/>
                </a:solidFill>
                <a:effectLst/>
                <a:uLnTx/>
                <a:uFillTx/>
                <a:latin typeface="Oracle Sans Tab"/>
                <a:ea typeface="+mn-ea"/>
                <a:cs typeface="+mn-cs"/>
              </a:rPr>
              <a:t>192 TB Usable DB Storag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312D2A"/>
              </a:solidFill>
              <a:effectLst/>
              <a:uLnTx/>
              <a:uFillTx/>
              <a:latin typeface="Oracle Sans Tab"/>
              <a:ea typeface="+mn-ea"/>
              <a:cs typeface="+mn-cs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1B31F47-FF2F-4BE5-87B3-A5A27CA14A34}"/>
              </a:ext>
            </a:extLst>
          </p:cNvPr>
          <p:cNvSpPr txBox="1"/>
          <p:nvPr/>
        </p:nvSpPr>
        <p:spPr>
          <a:xfrm>
            <a:off x="7911533" y="4337096"/>
            <a:ext cx="2840443" cy="129266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312D2A"/>
                </a:solidFill>
                <a:effectLst/>
                <a:uLnTx/>
                <a:uFillTx/>
                <a:latin typeface="Oracle Sans Tab"/>
                <a:ea typeface="+mn-ea"/>
                <a:cs typeface="+mn-cs"/>
              </a:rPr>
              <a:t>Quarter  Rack  X10M-XL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312D2A"/>
              </a:solidFill>
              <a:effectLst/>
              <a:uLnTx/>
              <a:uFillTx/>
              <a:latin typeface="Oracle Sans Tab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312D2A"/>
                </a:solidFill>
                <a:effectLst/>
                <a:uLnTx/>
                <a:uFillTx/>
                <a:latin typeface="Oracle Sans Tab"/>
                <a:ea typeface="+mn-ea"/>
                <a:cs typeface="+mn-cs"/>
              </a:rPr>
              <a:t>380 Cores – 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312D2A"/>
                </a:solidFill>
                <a:effectLst/>
                <a:uLnTx/>
                <a:uFillTx/>
                <a:latin typeface="Oracle Sans Tab"/>
                <a:ea typeface="+mn-ea"/>
                <a:cs typeface="+mn-cs"/>
              </a:rPr>
              <a:t>5,600 GB Memory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312D2A"/>
                </a:solidFill>
                <a:effectLst/>
                <a:uLnTx/>
                <a:uFillTx/>
                <a:latin typeface="Oracle Sans Tab"/>
                <a:ea typeface="+mn-ea"/>
                <a:cs typeface="+mn-cs"/>
              </a:rPr>
              <a:t>192 TB Usable DB Storag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312D2A"/>
              </a:solidFill>
              <a:effectLst/>
              <a:uLnTx/>
              <a:uFillTx/>
              <a:latin typeface="Oracle Sans Tab"/>
              <a:ea typeface="+mn-ea"/>
              <a:cs typeface="+mn-cs"/>
            </a:endParaRPr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468AC091-B24A-38B1-8BB9-3941EFD4D869}"/>
              </a:ext>
            </a:extLst>
          </p:cNvPr>
          <p:cNvGrpSpPr/>
          <p:nvPr/>
        </p:nvGrpSpPr>
        <p:grpSpPr>
          <a:xfrm>
            <a:off x="1018273" y="4660261"/>
            <a:ext cx="1738628" cy="692656"/>
            <a:chOff x="85585" y="4660261"/>
            <a:chExt cx="1738628" cy="692656"/>
          </a:xfrm>
        </p:grpSpPr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05A1A08E-08F3-495E-96D8-2D58EAB49A6C}"/>
                </a:ext>
              </a:extLst>
            </p:cNvPr>
            <p:cNvSpPr txBox="1"/>
            <p:nvPr/>
          </p:nvSpPr>
          <p:spPr>
            <a:xfrm>
              <a:off x="97218" y="4885381"/>
              <a:ext cx="1033347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312D2A"/>
                  </a:solidFill>
                  <a:effectLst/>
                  <a:uLnTx/>
                  <a:uFillTx/>
                  <a:latin typeface="Oracle Sans Tab"/>
                  <a:ea typeface="+mn-ea"/>
                  <a:cs typeface="+mn-cs"/>
                </a:rPr>
                <a:t>DB Servers</a:t>
              </a:r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79E2EFFF-8079-4203-AEA2-0AB73F6704DF}"/>
                </a:ext>
              </a:extLst>
            </p:cNvPr>
            <p:cNvSpPr txBox="1"/>
            <p:nvPr/>
          </p:nvSpPr>
          <p:spPr>
            <a:xfrm>
              <a:off x="85585" y="5075918"/>
              <a:ext cx="1738628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312D2A"/>
                  </a:solidFill>
                  <a:effectLst/>
                  <a:uLnTx/>
                  <a:uFillTx/>
                  <a:latin typeface="Oracle Sans Tab"/>
                  <a:ea typeface="+mn-ea"/>
                  <a:cs typeface="+mn-cs"/>
                </a:rPr>
                <a:t>Storage Servers</a:t>
              </a:r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2BB0E69A-A67D-4565-831B-E48AC14FDA0A}"/>
                </a:ext>
              </a:extLst>
            </p:cNvPr>
            <p:cNvSpPr txBox="1"/>
            <p:nvPr/>
          </p:nvSpPr>
          <p:spPr>
            <a:xfrm>
              <a:off x="85585" y="4660261"/>
              <a:ext cx="1270665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312D2A"/>
                  </a:solidFill>
                  <a:effectLst/>
                  <a:uLnTx/>
                  <a:uFillTx/>
                  <a:latin typeface="Oracle Sans Tab"/>
                  <a:ea typeface="+mn-ea"/>
                  <a:cs typeface="+mn-cs"/>
                </a:rPr>
                <a:t>Total Capacity</a:t>
              </a:r>
            </a:p>
          </p:txBody>
        </p:sp>
      </p:grpSp>
      <p:sp>
        <p:nvSpPr>
          <p:cNvPr id="14" name="TextBox 13">
            <a:extLst>
              <a:ext uri="{FF2B5EF4-FFF2-40B4-BE49-F238E27FC236}">
                <a16:creationId xmlns:a16="http://schemas.microsoft.com/office/drawing/2014/main" id="{5D891B14-BB63-411F-A0CA-2BB5D0568109}"/>
              </a:ext>
            </a:extLst>
          </p:cNvPr>
          <p:cNvSpPr txBox="1"/>
          <p:nvPr/>
        </p:nvSpPr>
        <p:spPr>
          <a:xfrm>
            <a:off x="1029906" y="5906915"/>
            <a:ext cx="3637169" cy="461665"/>
          </a:xfrm>
          <a:prstGeom prst="rect">
            <a:avLst/>
          </a:prstGeom>
          <a:solidFill>
            <a:srgbClr val="F0CC71"/>
          </a:solidFill>
          <a:effectLst>
            <a:softEdge rad="31750"/>
          </a:effectLst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312D2A"/>
                </a:solidFill>
                <a:effectLst/>
                <a:uLnTx/>
                <a:uFillTx/>
                <a:latin typeface="Oracle Sans Tab"/>
                <a:ea typeface="+mn-ea"/>
                <a:cs typeface="+mn-cs"/>
              </a:rPr>
              <a:t>There are no Half and Full rack shapes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312D2A"/>
                </a:solidFill>
                <a:effectLst/>
                <a:uLnTx/>
                <a:uFillTx/>
                <a:latin typeface="Oracle Sans Tab"/>
                <a:ea typeface="+mn-ea"/>
                <a:cs typeface="+mn-cs"/>
              </a:rPr>
              <a:t>Expand Quarter Racks using Expansion Servers.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A255F4DB-8F3B-4E99-8EB2-B072213910CB}"/>
              </a:ext>
            </a:extLst>
          </p:cNvPr>
          <p:cNvSpPr txBox="1"/>
          <p:nvPr/>
        </p:nvSpPr>
        <p:spPr>
          <a:xfrm>
            <a:off x="5042893" y="4337096"/>
            <a:ext cx="2840443" cy="129266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312D2A"/>
                </a:solidFill>
                <a:effectLst/>
                <a:uLnTx/>
                <a:uFillTx/>
                <a:latin typeface="Oracle Sans Tab"/>
                <a:ea typeface="+mn-ea"/>
                <a:cs typeface="+mn-cs"/>
              </a:rPr>
              <a:t>Quarter Rack – X10M - L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312D2A"/>
              </a:solidFill>
              <a:effectLst/>
              <a:uLnTx/>
              <a:uFillTx/>
              <a:latin typeface="Oracle Sans Tab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312D2A"/>
                </a:solidFill>
                <a:effectLst/>
                <a:uLnTx/>
                <a:uFillTx/>
                <a:latin typeface="Oracle Sans Tab"/>
                <a:ea typeface="+mn-ea"/>
                <a:cs typeface="+mn-cs"/>
              </a:rPr>
              <a:t>380 Cores – 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312D2A"/>
                </a:solidFill>
                <a:effectLst/>
                <a:uLnTx/>
                <a:uFillTx/>
                <a:latin typeface="Oracle Sans Tab"/>
                <a:ea typeface="+mn-ea"/>
                <a:cs typeface="+mn-cs"/>
              </a:rPr>
              <a:t>4,180 GB Memory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312D2A"/>
                </a:solidFill>
                <a:effectLst/>
                <a:uLnTx/>
                <a:uFillTx/>
                <a:latin typeface="Oracle Sans Tab"/>
                <a:ea typeface="+mn-ea"/>
                <a:cs typeface="+mn-cs"/>
              </a:rPr>
              <a:t>192 TB Usable DB Storag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312D2A"/>
              </a:solidFill>
              <a:effectLst/>
              <a:uLnTx/>
              <a:uFillTx/>
              <a:latin typeface="Oracle Sans Tab"/>
              <a:ea typeface="+mn-ea"/>
              <a:cs typeface="+mn-cs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74C185C6-6191-491F-98EF-FCD3A693550F}"/>
              </a:ext>
            </a:extLst>
          </p:cNvPr>
          <p:cNvSpPr/>
          <p:nvPr/>
        </p:nvSpPr>
        <p:spPr>
          <a:xfrm rot="10800000" flipV="1">
            <a:off x="6812282" y="1000506"/>
            <a:ext cx="1047750" cy="523931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CFBFA"/>
                </a:solidFill>
                <a:effectLst/>
                <a:uLnTx/>
                <a:uFillTx/>
                <a:latin typeface="Oracle Sans Tab"/>
                <a:ea typeface="+mn-ea"/>
                <a:cs typeface="+mn-cs"/>
              </a:rPr>
              <a:t>NEW SHAPE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820BEA8F-C680-483F-851E-06A3A1A35236}"/>
              </a:ext>
            </a:extLst>
          </p:cNvPr>
          <p:cNvSpPr/>
          <p:nvPr/>
        </p:nvSpPr>
        <p:spPr>
          <a:xfrm rot="10800000" flipV="1">
            <a:off x="9652725" y="1000507"/>
            <a:ext cx="1047750" cy="513862"/>
          </a:xfrm>
          <a:prstGeom prst="rect">
            <a:avLst/>
          </a:prstGeom>
          <a:solidFill>
            <a:schemeClr val="accent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CFBFA"/>
                </a:solidFill>
                <a:effectLst/>
                <a:uLnTx/>
                <a:uFillTx/>
                <a:latin typeface="Oracle Sans Tab"/>
                <a:ea typeface="+mn-ea"/>
                <a:cs typeface="+mn-cs"/>
              </a:rPr>
              <a:t>NEW SHAPE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CCDA8024-A598-1100-C57B-5C5A07B10928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389974" y="1484158"/>
            <a:ext cx="993075" cy="2852938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456D5DB6-6A2C-6D64-2838-F07BC799B8CB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966577" y="1484158"/>
            <a:ext cx="993075" cy="2852938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4A599E20-7ED1-1F87-3C31-64280F94A475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835217" y="1484158"/>
            <a:ext cx="993075" cy="2852938"/>
          </a:xfrm>
          <a:prstGeom prst="rect">
            <a:avLst/>
          </a:prstGeom>
        </p:spPr>
      </p:pic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5D60D9-5372-5F40-9443-0F9AE5BDC3C8}" type="slidenum">
              <a:rPr lang="en-US" smtClean="0"/>
              <a:pPr/>
              <a:t>18</a:t>
            </a:fld>
            <a:endParaRPr 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5970714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Click="0">
        <p:fade/>
      </p:transition>
    </mc:Choice>
    <mc:Fallback xmlns="">
      <p:transition spd="med" advClick="0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287CEEEA-B60F-7347-A6EC-7EBB2671AB0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asily right-size your service by adding compute and storage as needed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2CB0326-F25A-A349-8F84-F240AD68B652}"/>
              </a:ext>
            </a:extLst>
          </p:cNvPr>
          <p:cNvSpPr>
            <a:spLocks noGrp="1"/>
          </p:cNvSpPr>
          <p:nvPr>
            <p:ph type="ftr" sz="quarter" idx="46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8B8580"/>
                </a:solidFill>
                <a:effectLst/>
                <a:uLnTx/>
                <a:uFillTx/>
                <a:latin typeface="Oracle Sans Tab"/>
                <a:ea typeface="+mn-ea"/>
                <a:cs typeface="+mn-cs"/>
              </a:rPr>
              <a:t>Copyright © 2024, Oracle and/or its affiliates. All rights reserved   </a:t>
            </a: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8B8580"/>
              </a:solidFill>
              <a:effectLst/>
              <a:uLnTx/>
              <a:uFillTx/>
              <a:latin typeface="Oracle Sans Tab"/>
              <a:ea typeface="+mn-ea"/>
              <a:cs typeface="+mn-cs"/>
            </a:endParaRPr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C5911203-5053-7E4E-B2AC-CF818CD49EF8}"/>
              </a:ext>
            </a:extLst>
          </p:cNvPr>
          <p:cNvSpPr txBox="1">
            <a:spLocks/>
          </p:cNvSpPr>
          <p:nvPr/>
        </p:nvSpPr>
        <p:spPr>
          <a:xfrm>
            <a:off x="768350" y="1600200"/>
            <a:ext cx="10671048" cy="4514850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5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 sz="1800" b="0" i="0" kern="1200">
                <a:solidFill>
                  <a:schemeClr val="tx1"/>
                </a:solidFill>
                <a:latin typeface="+mn-lt"/>
                <a:ea typeface="+mn-ea"/>
                <a:cs typeface="Oracle Sans Tab" panose="020B0503020204020204" pitchFamily="34" charset="0"/>
              </a:defRPr>
            </a:lvl1pPr>
            <a:lvl2pPr marL="365760" marR="0" indent="-182880" algn="l" defTabSz="914400" rtl="0" eaLnBrk="1" fontAlgn="auto" latinLnBrk="0" hangingPunct="1">
              <a:lnSpc>
                <a:spcPct val="95000"/>
              </a:lnSpc>
              <a:spcBef>
                <a:spcPts val="600"/>
              </a:spcBef>
              <a:spcAft>
                <a:spcPts val="0"/>
              </a:spcAft>
              <a:buClr>
                <a:srgbClr val="315357"/>
              </a:buClr>
              <a:buSzPct val="100000"/>
              <a:buFont typeface="Arial" panose="020B0604020202020204" pitchFamily="34" charset="0"/>
              <a:buChar char="•"/>
              <a:tabLst/>
              <a:defRPr sz="1800" b="0" i="0" kern="1200">
                <a:solidFill>
                  <a:schemeClr val="tx1"/>
                </a:solidFill>
                <a:latin typeface="+mn-lt"/>
                <a:ea typeface="+mn-ea"/>
                <a:cs typeface="Oracle Sans Tab" panose="020B0503020204020204" pitchFamily="34" charset="0"/>
              </a:defRPr>
            </a:lvl2pPr>
            <a:lvl3pPr marL="547688" marR="0" indent="-182563" algn="l" defTabSz="914400" rtl="0" eaLnBrk="1" fontAlgn="auto" latinLnBrk="0" hangingPunct="1">
              <a:lnSpc>
                <a:spcPct val="95000"/>
              </a:lnSpc>
              <a:spcBef>
                <a:spcPts val="400"/>
              </a:spcBef>
              <a:spcAft>
                <a:spcPts val="0"/>
              </a:spcAft>
              <a:buClr>
                <a:srgbClr val="315357"/>
              </a:buClr>
              <a:buSzPct val="100000"/>
              <a:buFont typeface="Arial" panose="020B0604020202020204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Oracle Sans Tab Light" panose="020B0403020204020204" pitchFamily="34" charset="0"/>
                <a:ea typeface="+mn-ea"/>
                <a:cs typeface="Oracle Sans Tab Light" panose="020B0403020204020204" pitchFamily="34" charset="0"/>
              </a:defRPr>
            </a:lvl3pPr>
            <a:lvl4pPr marL="730250" marR="0" indent="-182563" algn="l" defTabSz="914400" rtl="0" eaLnBrk="1" fontAlgn="auto" latinLnBrk="0" hangingPunct="1">
              <a:lnSpc>
                <a:spcPct val="95000"/>
              </a:lnSpc>
              <a:spcBef>
                <a:spcPts val="400"/>
              </a:spcBef>
              <a:spcAft>
                <a:spcPts val="0"/>
              </a:spcAft>
              <a:buClr>
                <a:srgbClr val="315357"/>
              </a:buClr>
              <a:buSzPct val="100000"/>
              <a:buFont typeface="Arial" panose="020B0604020202020204" pitchFamily="34" charset="0"/>
              <a:buChar char="•"/>
              <a:tabLst/>
              <a:defRPr sz="1400" kern="1200">
                <a:solidFill>
                  <a:schemeClr val="tx1"/>
                </a:solidFill>
                <a:latin typeface="Oracle Sans Tab Light" panose="020B0403020204020204" pitchFamily="34" charset="0"/>
                <a:ea typeface="+mn-ea"/>
                <a:cs typeface="Oracle Sans Tab Light" panose="020B0403020204020204" pitchFamily="34" charset="0"/>
              </a:defRPr>
            </a:lvl4pPr>
            <a:lvl5pPr marL="914400" marR="0" indent="-182880" algn="l" defTabSz="914400" rtl="0" eaLnBrk="1" fontAlgn="auto" latinLnBrk="0" hangingPunct="1">
              <a:lnSpc>
                <a:spcPct val="95000"/>
              </a:lnSpc>
              <a:spcBef>
                <a:spcPts val="400"/>
              </a:spcBef>
              <a:spcAft>
                <a:spcPts val="0"/>
              </a:spcAft>
              <a:buClr>
                <a:srgbClr val="315357"/>
              </a:buClr>
              <a:buSzTx/>
              <a:buFont typeface="System Font Regular"/>
              <a:buChar char="•"/>
              <a:tabLst/>
              <a:defRPr sz="1200" kern="1200">
                <a:solidFill>
                  <a:schemeClr val="tx1"/>
                </a:solidFill>
                <a:latin typeface="Oracle Sans Tab Light" panose="020B0403020204020204" pitchFamily="34" charset="0"/>
                <a:ea typeface="+mn-ea"/>
                <a:cs typeface="Oracle Sans Tab Light" panose="020B0403020204020204" pitchFamily="34" charset="0"/>
              </a:defRPr>
            </a:lvl5pPr>
            <a:lvl6pPr marL="1097280" indent="-182880" algn="l" defTabSz="914400" rtl="0" eaLnBrk="1" latinLnBrk="0" hangingPunct="1">
              <a:lnSpc>
                <a:spcPct val="95000"/>
              </a:lnSpc>
              <a:spcBef>
                <a:spcPts val="40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200" b="0" i="0" kern="1200">
                <a:solidFill>
                  <a:schemeClr val="tx1"/>
                </a:solidFill>
                <a:latin typeface="Oracle Sans Light" panose="020B0403020204020204" pitchFamily="34" charset="0"/>
                <a:ea typeface="+mn-ea"/>
                <a:cs typeface="Oracle Sans Light" panose="020B0403020204020204" pitchFamily="34" charset="0"/>
              </a:defRPr>
            </a:lvl6pPr>
            <a:lvl7pPr marL="1280160" indent="-182880" algn="l" defTabSz="914400" rtl="0" eaLnBrk="1" latinLnBrk="0" hangingPunct="1">
              <a:lnSpc>
                <a:spcPct val="95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b="0" i="0" kern="1200">
                <a:solidFill>
                  <a:schemeClr val="tx1"/>
                </a:solidFill>
                <a:latin typeface="Oracle Sans Light" panose="020B0403020204020204" pitchFamily="34" charset="0"/>
                <a:ea typeface="+mn-ea"/>
                <a:cs typeface="Oracle Sans Light" panose="020B0403020204020204" pitchFamily="34" charset="0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5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312D2A"/>
              </a:solidFill>
              <a:effectLst/>
              <a:uLnTx/>
              <a:uFillTx/>
              <a:latin typeface="Oracle Sans Tab"/>
              <a:ea typeface="+mn-ea"/>
              <a:cs typeface="Oracle Sans Tab" panose="020B0503020204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95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312D2A"/>
              </a:solidFill>
              <a:effectLst/>
              <a:uLnTx/>
              <a:uFillTx/>
              <a:latin typeface="Oracle Sans Tab"/>
              <a:ea typeface="+mn-ea"/>
              <a:cs typeface="Oracle Sans Tab" panose="020B0503020204020204" pitchFamily="34" charset="0"/>
            </a:endParaRP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7CF05FF2-22BB-8941-AC7B-9C2EF8461331}"/>
              </a:ext>
            </a:extLst>
          </p:cNvPr>
          <p:cNvGrpSpPr/>
          <p:nvPr/>
        </p:nvGrpSpPr>
        <p:grpSpPr>
          <a:xfrm>
            <a:off x="1711399" y="4713069"/>
            <a:ext cx="666750" cy="1009650"/>
            <a:chOff x="1960669" y="4771529"/>
            <a:chExt cx="666750" cy="1009650"/>
          </a:xfrm>
          <a:solidFill>
            <a:schemeClr val="tx1"/>
          </a:solidFill>
        </p:grpSpPr>
        <p:pic>
          <p:nvPicPr>
            <p:cNvPr id="8" name="SS Server 1" descr="preencoded.png">
              <a:extLst>
                <a:ext uri="{FF2B5EF4-FFF2-40B4-BE49-F238E27FC236}">
                  <a16:creationId xmlns:a16="http://schemas.microsoft.com/office/drawing/2014/main" id="{8C0E68B9-2A5F-6D45-A520-1DF30F2CA7B9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xmlns="" r:embed="rId4"/>
                </a:ext>
              </a:extLst>
            </a:blip>
            <a:srcRect/>
            <a:stretch/>
          </p:blipFill>
          <p:spPr>
            <a:xfrm>
              <a:off x="1960669" y="5190629"/>
              <a:ext cx="666750" cy="171450"/>
            </a:xfrm>
            <a:prstGeom prst="rect">
              <a:avLst/>
            </a:prstGeom>
          </p:spPr>
        </p:pic>
        <p:pic>
          <p:nvPicPr>
            <p:cNvPr id="9" name="SS Server 2" descr="preencoded.png">
              <a:extLst>
                <a:ext uri="{FF2B5EF4-FFF2-40B4-BE49-F238E27FC236}">
                  <a16:creationId xmlns:a16="http://schemas.microsoft.com/office/drawing/2014/main" id="{E60D6371-636E-F64A-B7C7-0E3809020868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xmlns="" r:embed="rId6"/>
                </a:ext>
              </a:extLst>
            </a:blip>
            <a:srcRect/>
            <a:stretch/>
          </p:blipFill>
          <p:spPr>
            <a:xfrm>
              <a:off x="1960669" y="5381129"/>
              <a:ext cx="666750" cy="190500"/>
            </a:xfrm>
            <a:prstGeom prst="rect">
              <a:avLst/>
            </a:prstGeom>
          </p:spPr>
        </p:pic>
        <p:pic>
          <p:nvPicPr>
            <p:cNvPr id="10" name="SS Server 3" descr="preencoded.png">
              <a:extLst>
                <a:ext uri="{FF2B5EF4-FFF2-40B4-BE49-F238E27FC236}">
                  <a16:creationId xmlns:a16="http://schemas.microsoft.com/office/drawing/2014/main" id="{7391D91E-DC08-C148-BE54-C194915BC521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xmlns="" r:embed="rId8"/>
                </a:ext>
              </a:extLst>
            </a:blip>
            <a:srcRect/>
            <a:stretch/>
          </p:blipFill>
          <p:spPr>
            <a:xfrm>
              <a:off x="1960669" y="5590679"/>
              <a:ext cx="666750" cy="190500"/>
            </a:xfrm>
            <a:prstGeom prst="rect">
              <a:avLst/>
            </a:prstGeom>
          </p:spPr>
        </p:pic>
        <p:pic>
          <p:nvPicPr>
            <p:cNvPr id="11" name="DB Server2" descr="preencoded.png">
              <a:extLst>
                <a:ext uri="{FF2B5EF4-FFF2-40B4-BE49-F238E27FC236}">
                  <a16:creationId xmlns:a16="http://schemas.microsoft.com/office/drawing/2014/main" id="{CBD4A148-C47D-E448-BC1B-897CB0B8E3C8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96DAC541-7B7A-43D3-8B79-37D633B846F1}">
                  <asvg:svgBlip xmlns:asvg="http://schemas.microsoft.com/office/drawing/2016/SVG/main" xmlns="" r:embed="rId10"/>
                </a:ext>
              </a:extLst>
            </a:blip>
            <a:srcRect/>
            <a:stretch/>
          </p:blipFill>
          <p:spPr>
            <a:xfrm>
              <a:off x="1960669" y="4981079"/>
              <a:ext cx="666750" cy="190500"/>
            </a:xfrm>
            <a:prstGeom prst="rect">
              <a:avLst/>
            </a:prstGeom>
          </p:spPr>
        </p:pic>
        <p:pic>
          <p:nvPicPr>
            <p:cNvPr id="12" name="DB Server" descr="preencoded.png">
              <a:extLst>
                <a:ext uri="{FF2B5EF4-FFF2-40B4-BE49-F238E27FC236}">
                  <a16:creationId xmlns:a16="http://schemas.microsoft.com/office/drawing/2014/main" id="{994540D5-3463-D848-B68C-525643B62295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96DAC541-7B7A-43D3-8B79-37D633B846F1}">
                  <asvg:svgBlip xmlns:asvg="http://schemas.microsoft.com/office/drawing/2016/SVG/main" xmlns="" r:embed="rId12"/>
                </a:ext>
              </a:extLst>
            </a:blip>
            <a:srcRect/>
            <a:stretch/>
          </p:blipFill>
          <p:spPr>
            <a:xfrm>
              <a:off x="1960669" y="4771529"/>
              <a:ext cx="666750" cy="209550"/>
            </a:xfrm>
            <a:prstGeom prst="rect">
              <a:avLst/>
            </a:prstGeom>
          </p:spPr>
        </p:pic>
      </p:grpSp>
      <p:sp>
        <p:nvSpPr>
          <p:cNvPr id="13" name="Starter config">
            <a:extLst>
              <a:ext uri="{FF2B5EF4-FFF2-40B4-BE49-F238E27FC236}">
                <a16:creationId xmlns:a16="http://schemas.microsoft.com/office/drawing/2014/main" id="{7E5131DA-F444-DD46-A2F5-13162BACE1A7}"/>
              </a:ext>
            </a:extLst>
          </p:cNvPr>
          <p:cNvSpPr/>
          <p:nvPr/>
        </p:nvSpPr>
        <p:spPr>
          <a:xfrm>
            <a:off x="1164531" y="4078301"/>
            <a:ext cx="1714500" cy="465256"/>
          </a:xfrm>
          <a:prstGeom prst="rect">
            <a:avLst/>
          </a:prstGeom>
          <a:noFill/>
          <a:ln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41817E"/>
                </a:solidFill>
                <a:effectLst/>
                <a:uLnTx/>
                <a:uFillTx/>
                <a:latin typeface="Oracle Sans Bold" pitchFamily="34" charset="0"/>
                <a:ea typeface="Oracle Sans Bold" pitchFamily="34" charset="-122"/>
                <a:cs typeface="Oracle Sans Bold" pitchFamily="34" charset="-120"/>
              </a:rPr>
              <a:t>Starter
Configuration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41817E"/>
              </a:solidFill>
              <a:effectLst/>
              <a:uLnTx/>
              <a:uFillTx/>
              <a:latin typeface="Oracle Sans Tab"/>
              <a:ea typeface="+mn-ea"/>
              <a:cs typeface="+mn-cs"/>
            </a:endParaRPr>
          </a:p>
        </p:txBody>
      </p:sp>
      <p:pic>
        <p:nvPicPr>
          <p:cNvPr id="14" name="Arrow for compute scaling" descr="preencoded.png">
            <a:extLst>
              <a:ext uri="{FF2B5EF4-FFF2-40B4-BE49-F238E27FC236}">
                <a16:creationId xmlns:a16="http://schemas.microsoft.com/office/drawing/2014/main" id="{C3FB6A94-30F9-B542-9961-140E422DCFCB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96DAC541-7B7A-43D3-8B79-37D633B846F1}">
                <asvg:svgBlip xmlns:asvg="http://schemas.microsoft.com/office/drawing/2016/SVG/main" xmlns="" r:embed="rId14"/>
              </a:ext>
            </a:extLst>
          </a:blip>
          <a:srcRect/>
          <a:stretch/>
        </p:blipFill>
        <p:spPr>
          <a:xfrm>
            <a:off x="940420" y="1598836"/>
            <a:ext cx="247650" cy="228600"/>
          </a:xfrm>
          <a:prstGeom prst="rect">
            <a:avLst/>
          </a:prstGeom>
        </p:spPr>
      </p:pic>
      <p:sp>
        <p:nvSpPr>
          <p:cNvPr id="15" name="Compute Scaling">
            <a:extLst>
              <a:ext uri="{FF2B5EF4-FFF2-40B4-BE49-F238E27FC236}">
                <a16:creationId xmlns:a16="http://schemas.microsoft.com/office/drawing/2014/main" id="{035D8F7F-1CA2-DC47-864B-67F0E7AA1533}"/>
              </a:ext>
            </a:extLst>
          </p:cNvPr>
          <p:cNvSpPr/>
          <p:nvPr/>
        </p:nvSpPr>
        <p:spPr>
          <a:xfrm rot="-5400000">
            <a:off x="-330127" y="3512016"/>
            <a:ext cx="2238375" cy="395942"/>
          </a:xfrm>
          <a:prstGeom prst="rect">
            <a:avLst/>
          </a:prstGeom>
          <a:noFill/>
          <a:ln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ts val="3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41817E"/>
                </a:solidFill>
                <a:effectLst/>
                <a:uLnTx/>
                <a:uFillTx/>
                <a:latin typeface="Oracle Sans Bold" pitchFamily="34" charset="0"/>
                <a:ea typeface="Oracle Sans Bold" pitchFamily="34" charset="-122"/>
                <a:cs typeface="Oracle Sans Bold" pitchFamily="34" charset="-120"/>
              </a:rPr>
              <a:t>Compute scaling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41817E"/>
              </a:solidFill>
              <a:effectLst/>
              <a:uLnTx/>
              <a:uFillTx/>
              <a:latin typeface="Oracle Sans Tab"/>
              <a:ea typeface="+mn-ea"/>
              <a:cs typeface="+mn-cs"/>
            </a:endParaRPr>
          </a:p>
        </p:txBody>
      </p:sp>
      <p:sp>
        <p:nvSpPr>
          <p:cNvPr id="16" name="Storage Scaling">
            <a:extLst>
              <a:ext uri="{FF2B5EF4-FFF2-40B4-BE49-F238E27FC236}">
                <a16:creationId xmlns:a16="http://schemas.microsoft.com/office/drawing/2014/main" id="{64D818D0-85F8-F449-A429-809819C1DD79}"/>
              </a:ext>
            </a:extLst>
          </p:cNvPr>
          <p:cNvSpPr/>
          <p:nvPr/>
        </p:nvSpPr>
        <p:spPr>
          <a:xfrm>
            <a:off x="4969084" y="5785630"/>
            <a:ext cx="2066925" cy="395942"/>
          </a:xfrm>
          <a:prstGeom prst="rect">
            <a:avLst/>
          </a:prstGeom>
          <a:noFill/>
          <a:ln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ts val="3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759C6C"/>
                </a:solidFill>
                <a:effectLst/>
                <a:uLnTx/>
                <a:uFillTx/>
                <a:latin typeface="Oracle Sans Bold" pitchFamily="34" charset="0"/>
                <a:ea typeface="Oracle Sans Bold" pitchFamily="34" charset="-122"/>
                <a:cs typeface="Oracle Sans Bold" pitchFamily="34" charset="-120"/>
              </a:rPr>
              <a:t>Storage scaling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759C6C"/>
              </a:solidFill>
              <a:effectLst/>
              <a:uLnTx/>
              <a:uFillTx/>
              <a:latin typeface="Oracle Sans Tab"/>
              <a:ea typeface="+mn-ea"/>
              <a:cs typeface="+mn-cs"/>
            </a:endParaRP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04B4255F-FDE9-FB45-A074-D5E147963076}"/>
              </a:ext>
            </a:extLst>
          </p:cNvPr>
          <p:cNvGrpSpPr/>
          <p:nvPr/>
        </p:nvGrpSpPr>
        <p:grpSpPr>
          <a:xfrm>
            <a:off x="3136076" y="5024737"/>
            <a:ext cx="4846320" cy="599908"/>
            <a:chOff x="3428951" y="5024737"/>
            <a:chExt cx="2744815" cy="599908"/>
          </a:xfrm>
        </p:grpSpPr>
        <p:pic>
          <p:nvPicPr>
            <p:cNvPr id="18" name="Line for add SS" descr="preencoded.png">
              <a:extLst>
                <a:ext uri="{FF2B5EF4-FFF2-40B4-BE49-F238E27FC236}">
                  <a16:creationId xmlns:a16="http://schemas.microsoft.com/office/drawing/2014/main" id="{F33E750A-977C-8543-9228-EB615E7F07E9}"/>
                </a:ext>
              </a:extLst>
            </p:cNvPr>
            <p:cNvPicPr>
              <a:picLocks/>
            </p:cNvPicPr>
            <p:nvPr/>
          </p:nvPicPr>
          <p:blipFill>
            <a:blip r:embed="rId15">
              <a:extLst>
                <a:ext uri="{96DAC541-7B7A-43D3-8B79-37D633B846F1}">
                  <asvg:svgBlip xmlns:asvg="http://schemas.microsoft.com/office/drawing/2016/SVG/main" xmlns="" r:embed="rId16"/>
                </a:ext>
              </a:extLst>
            </a:blip>
            <a:srcRect/>
            <a:stretch/>
          </p:blipFill>
          <p:spPr>
            <a:xfrm>
              <a:off x="3428951" y="5334427"/>
              <a:ext cx="2744815" cy="45719"/>
            </a:xfrm>
            <a:prstGeom prst="rect">
              <a:avLst/>
            </a:prstGeom>
          </p:spPr>
        </p:pic>
        <p:sp>
          <p:nvSpPr>
            <p:cNvPr id="19" name="Add SS">
              <a:extLst>
                <a:ext uri="{FF2B5EF4-FFF2-40B4-BE49-F238E27FC236}">
                  <a16:creationId xmlns:a16="http://schemas.microsoft.com/office/drawing/2014/main" id="{08178D5C-3681-EC4C-90F3-33D5F4A5848A}"/>
                </a:ext>
              </a:extLst>
            </p:cNvPr>
            <p:cNvSpPr/>
            <p:nvPr/>
          </p:nvSpPr>
          <p:spPr>
            <a:xfrm>
              <a:off x="4122328" y="5024737"/>
              <a:ext cx="1800040" cy="599908"/>
            </a:xfrm>
            <a:prstGeom prst="rect">
              <a:avLst/>
            </a:prstGeom>
            <a:noFill/>
            <a:ln/>
          </p:spPr>
          <p:txBody>
            <a:bodyPr wrap="square" lIns="0" tIns="0" rIns="0" bIns="0" rtlCol="0" anchor="t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ts val="24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312D2A"/>
                  </a:solidFill>
                  <a:effectLst/>
                  <a:uLnTx/>
                  <a:uFillTx/>
                  <a:latin typeface="Oracle Sans Bold" pitchFamily="34" charset="0"/>
                  <a:ea typeface="Oracle Sans Bold" pitchFamily="34" charset="-122"/>
                  <a:cs typeface="Oracle Sans Bold" pitchFamily="34" charset="-120"/>
                </a:rPr>
                <a:t>Add storage server(s)</a:t>
              </a: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12D2A"/>
                </a:solidFill>
                <a:effectLst/>
                <a:uLnTx/>
                <a:uFillTx/>
                <a:latin typeface="Oracle Sans Tab"/>
                <a:ea typeface="+mn-ea"/>
                <a:cs typeface="+mn-cs"/>
              </a:endParaRPr>
            </a:p>
          </p:txBody>
        </p:sp>
      </p:grpSp>
      <p:grpSp>
        <p:nvGrpSpPr>
          <p:cNvPr id="20" name="OLTP section">
            <a:extLst>
              <a:ext uri="{FF2B5EF4-FFF2-40B4-BE49-F238E27FC236}">
                <a16:creationId xmlns:a16="http://schemas.microsoft.com/office/drawing/2014/main" id="{83425BB8-9F95-BF4D-A268-52C8C04ACE63}"/>
              </a:ext>
            </a:extLst>
          </p:cNvPr>
          <p:cNvGrpSpPr/>
          <p:nvPr/>
        </p:nvGrpSpPr>
        <p:grpSpPr>
          <a:xfrm>
            <a:off x="1495934" y="1843846"/>
            <a:ext cx="2165169" cy="2095388"/>
            <a:chOff x="2793475" y="2886710"/>
            <a:chExt cx="2409338" cy="2607340"/>
          </a:xfrm>
          <a:solidFill>
            <a:schemeClr val="tx2"/>
          </a:solidFill>
        </p:grpSpPr>
        <p:pic>
          <p:nvPicPr>
            <p:cNvPr id="21" name="Object 2" descr="preencoded.png">
              <a:extLst>
                <a:ext uri="{FF2B5EF4-FFF2-40B4-BE49-F238E27FC236}">
                  <a16:creationId xmlns:a16="http://schemas.microsoft.com/office/drawing/2014/main" id="{1FB23505-B151-3E47-8306-C3B3937B77DC}"/>
                </a:ext>
              </a:extLst>
            </p:cNvPr>
            <p:cNvPicPr>
              <a:picLocks noChangeAspect="1"/>
            </p:cNvPicPr>
            <p:nvPr/>
          </p:nvPicPr>
          <p:blipFill>
            <a:blip r:embed="rId17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xmlns="" r:embed="rId18"/>
                </a:ext>
              </a:extLst>
            </a:blip>
            <a:srcRect/>
            <a:stretch/>
          </p:blipFill>
          <p:spPr>
            <a:xfrm>
              <a:off x="2793475" y="3714750"/>
              <a:ext cx="628650" cy="171450"/>
            </a:xfrm>
            <a:prstGeom prst="rect">
              <a:avLst/>
            </a:prstGeom>
          </p:spPr>
        </p:pic>
        <p:pic>
          <p:nvPicPr>
            <p:cNvPr id="22" name="Object 6" descr="preencoded.png">
              <a:extLst>
                <a:ext uri="{FF2B5EF4-FFF2-40B4-BE49-F238E27FC236}">
                  <a16:creationId xmlns:a16="http://schemas.microsoft.com/office/drawing/2014/main" id="{F2AB7497-5B4C-794B-9C40-E9F7F0A31248}"/>
                </a:ext>
              </a:extLst>
            </p:cNvPr>
            <p:cNvPicPr>
              <a:picLocks noChangeAspect="1"/>
            </p:cNvPicPr>
            <p:nvPr/>
          </p:nvPicPr>
          <p:blipFill>
            <a:blip r:embed="rId19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xmlns="" r:embed="rId20"/>
                </a:ext>
              </a:extLst>
            </a:blip>
            <a:srcRect/>
            <a:stretch/>
          </p:blipFill>
          <p:spPr>
            <a:xfrm>
              <a:off x="3403520" y="4514850"/>
              <a:ext cx="37662" cy="979200"/>
            </a:xfrm>
            <a:prstGeom prst="rect">
              <a:avLst/>
            </a:prstGeom>
          </p:spPr>
        </p:pic>
        <p:pic>
          <p:nvPicPr>
            <p:cNvPr id="23" name="Object 18" descr="preencoded.png">
              <a:extLst>
                <a:ext uri="{FF2B5EF4-FFF2-40B4-BE49-F238E27FC236}">
                  <a16:creationId xmlns:a16="http://schemas.microsoft.com/office/drawing/2014/main" id="{6E36CA22-3480-F046-868F-705DE9E19AC4}"/>
                </a:ext>
              </a:extLst>
            </p:cNvPr>
            <p:cNvPicPr>
              <a:picLocks noChangeAspect="1"/>
            </p:cNvPicPr>
            <p:nvPr/>
          </p:nvPicPr>
          <p:blipFill>
            <a:blip r:embed="rId21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xmlns="" r:embed="rId22"/>
                </a:ext>
              </a:extLst>
            </a:blip>
            <a:srcRect/>
            <a:stretch/>
          </p:blipFill>
          <p:spPr>
            <a:xfrm>
              <a:off x="2793475" y="3914775"/>
              <a:ext cx="628650" cy="190500"/>
            </a:xfrm>
            <a:prstGeom prst="rect">
              <a:avLst/>
            </a:prstGeom>
          </p:spPr>
        </p:pic>
        <p:pic>
          <p:nvPicPr>
            <p:cNvPr id="24" name="Object 26" descr="preencoded.png">
              <a:extLst>
                <a:ext uri="{FF2B5EF4-FFF2-40B4-BE49-F238E27FC236}">
                  <a16:creationId xmlns:a16="http://schemas.microsoft.com/office/drawing/2014/main" id="{4F8792B2-8B94-0A42-AA8B-8B35AECC3231}"/>
                </a:ext>
              </a:extLst>
            </p:cNvPr>
            <p:cNvPicPr>
              <a:picLocks noChangeAspect="1"/>
            </p:cNvPicPr>
            <p:nvPr/>
          </p:nvPicPr>
          <p:blipFill>
            <a:blip r:embed="rId21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xmlns="" r:embed="rId22"/>
                </a:ext>
              </a:extLst>
            </a:blip>
            <a:srcRect/>
            <a:stretch/>
          </p:blipFill>
          <p:spPr>
            <a:xfrm>
              <a:off x="2793475" y="4114800"/>
              <a:ext cx="628650" cy="190500"/>
            </a:xfrm>
            <a:prstGeom prst="rect">
              <a:avLst/>
            </a:prstGeom>
          </p:spPr>
        </p:pic>
        <p:pic>
          <p:nvPicPr>
            <p:cNvPr id="25" name="Object 34" descr="preencoded.png">
              <a:extLst>
                <a:ext uri="{FF2B5EF4-FFF2-40B4-BE49-F238E27FC236}">
                  <a16:creationId xmlns:a16="http://schemas.microsoft.com/office/drawing/2014/main" id="{403218FD-6471-CB46-9761-9E9F9FDD343B}"/>
                </a:ext>
              </a:extLst>
            </p:cNvPr>
            <p:cNvPicPr>
              <a:picLocks noChangeAspect="1"/>
            </p:cNvPicPr>
            <p:nvPr/>
          </p:nvPicPr>
          <p:blipFill>
            <a:blip r:embed="rId21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xmlns="" r:embed="rId22"/>
                </a:ext>
              </a:extLst>
            </a:blip>
            <a:srcRect/>
            <a:stretch/>
          </p:blipFill>
          <p:spPr>
            <a:xfrm>
              <a:off x="3431491" y="4114800"/>
              <a:ext cx="628650" cy="190500"/>
            </a:xfrm>
            <a:prstGeom prst="rect">
              <a:avLst/>
            </a:prstGeom>
          </p:spPr>
        </p:pic>
        <p:pic>
          <p:nvPicPr>
            <p:cNvPr id="26" name="Object 36" descr="preencoded.png">
              <a:extLst>
                <a:ext uri="{FF2B5EF4-FFF2-40B4-BE49-F238E27FC236}">
                  <a16:creationId xmlns:a16="http://schemas.microsoft.com/office/drawing/2014/main" id="{68CF48EA-1DF9-874A-9ACD-2FCACB4988C3}"/>
                </a:ext>
              </a:extLst>
            </p:cNvPr>
            <p:cNvPicPr>
              <a:picLocks/>
            </p:cNvPicPr>
            <p:nvPr/>
          </p:nvPicPr>
          <p:blipFill>
            <a:blip r:embed="rId23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xmlns="" r:embed="rId24"/>
                </a:ext>
              </a:extLst>
            </a:blip>
            <a:srcRect/>
            <a:stretch/>
          </p:blipFill>
          <p:spPr>
            <a:xfrm>
              <a:off x="3309436" y="4438650"/>
              <a:ext cx="230400" cy="201600"/>
            </a:xfrm>
            <a:prstGeom prst="rect">
              <a:avLst/>
            </a:prstGeom>
          </p:spPr>
        </p:pic>
        <p:pic>
          <p:nvPicPr>
            <p:cNvPr id="27" name="Object 41" descr="preencoded.png">
              <a:extLst>
                <a:ext uri="{FF2B5EF4-FFF2-40B4-BE49-F238E27FC236}">
                  <a16:creationId xmlns:a16="http://schemas.microsoft.com/office/drawing/2014/main" id="{13D27B40-E855-6249-99A7-79DAE6B6C315}"/>
                </a:ext>
              </a:extLst>
            </p:cNvPr>
            <p:cNvPicPr>
              <a:picLocks noChangeAspect="1"/>
            </p:cNvPicPr>
            <p:nvPr/>
          </p:nvPicPr>
          <p:blipFill>
            <a:blip r:embed="rId25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xmlns="" r:embed="rId26"/>
                </a:ext>
              </a:extLst>
            </a:blip>
            <a:srcRect/>
            <a:stretch/>
          </p:blipFill>
          <p:spPr>
            <a:xfrm>
              <a:off x="2793475" y="3514725"/>
              <a:ext cx="628650" cy="190500"/>
            </a:xfrm>
            <a:prstGeom prst="rect">
              <a:avLst/>
            </a:prstGeom>
          </p:spPr>
        </p:pic>
        <p:pic>
          <p:nvPicPr>
            <p:cNvPr id="28" name="Object 45" descr="preencoded.png">
              <a:extLst>
                <a:ext uri="{FF2B5EF4-FFF2-40B4-BE49-F238E27FC236}">
                  <a16:creationId xmlns:a16="http://schemas.microsoft.com/office/drawing/2014/main" id="{9A56F5B0-C004-A04D-A194-F6998E4F0A35}"/>
                </a:ext>
              </a:extLst>
            </p:cNvPr>
            <p:cNvPicPr>
              <a:picLocks noChangeAspect="1"/>
            </p:cNvPicPr>
            <p:nvPr/>
          </p:nvPicPr>
          <p:blipFill>
            <a:blip r:embed="rId25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xmlns="" r:embed="rId26"/>
                </a:ext>
              </a:extLst>
            </a:blip>
            <a:srcRect/>
            <a:stretch/>
          </p:blipFill>
          <p:spPr>
            <a:xfrm>
              <a:off x="3431491" y="3514725"/>
              <a:ext cx="628650" cy="190500"/>
            </a:xfrm>
            <a:prstGeom prst="rect">
              <a:avLst/>
            </a:prstGeom>
          </p:spPr>
        </p:pic>
        <p:pic>
          <p:nvPicPr>
            <p:cNvPr id="29" name="Object 47" descr="preencoded.png">
              <a:extLst>
                <a:ext uri="{FF2B5EF4-FFF2-40B4-BE49-F238E27FC236}">
                  <a16:creationId xmlns:a16="http://schemas.microsoft.com/office/drawing/2014/main" id="{44CD5EA9-E54C-984A-80F9-B8C3395D8D26}"/>
                </a:ext>
              </a:extLst>
            </p:cNvPr>
            <p:cNvPicPr>
              <a:picLocks noChangeAspect="1"/>
            </p:cNvPicPr>
            <p:nvPr/>
          </p:nvPicPr>
          <p:blipFill>
            <a:blip r:embed="rId25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xmlns="" r:embed="rId26"/>
                </a:ext>
              </a:extLst>
            </a:blip>
            <a:srcRect/>
            <a:stretch/>
          </p:blipFill>
          <p:spPr>
            <a:xfrm>
              <a:off x="3431491" y="3914775"/>
              <a:ext cx="628650" cy="190500"/>
            </a:xfrm>
            <a:prstGeom prst="rect">
              <a:avLst/>
            </a:prstGeom>
          </p:spPr>
        </p:pic>
        <p:pic>
          <p:nvPicPr>
            <p:cNvPr id="30" name="Object 50" descr="preencoded.png">
              <a:extLst>
                <a:ext uri="{FF2B5EF4-FFF2-40B4-BE49-F238E27FC236}">
                  <a16:creationId xmlns:a16="http://schemas.microsoft.com/office/drawing/2014/main" id="{6B605194-1125-AA41-9A2E-2E3ECE4632A2}"/>
                </a:ext>
              </a:extLst>
            </p:cNvPr>
            <p:cNvPicPr>
              <a:picLocks noChangeAspect="1"/>
            </p:cNvPicPr>
            <p:nvPr/>
          </p:nvPicPr>
          <p:blipFill>
            <a:blip r:embed="rId27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xmlns="" r:embed="rId28"/>
                </a:ext>
              </a:extLst>
            </a:blip>
            <a:srcRect/>
            <a:stretch/>
          </p:blipFill>
          <p:spPr>
            <a:xfrm>
              <a:off x="2793475" y="3295650"/>
              <a:ext cx="628650" cy="209550"/>
            </a:xfrm>
            <a:prstGeom prst="rect">
              <a:avLst/>
            </a:prstGeom>
          </p:spPr>
        </p:pic>
        <p:pic>
          <p:nvPicPr>
            <p:cNvPr id="31" name="Object 54" descr="preencoded.png">
              <a:extLst>
                <a:ext uri="{FF2B5EF4-FFF2-40B4-BE49-F238E27FC236}">
                  <a16:creationId xmlns:a16="http://schemas.microsoft.com/office/drawing/2014/main" id="{7DBDF86E-809F-7E4B-88AD-672EA0DF7536}"/>
                </a:ext>
              </a:extLst>
            </p:cNvPr>
            <p:cNvPicPr>
              <a:picLocks noChangeAspect="1"/>
            </p:cNvPicPr>
            <p:nvPr/>
          </p:nvPicPr>
          <p:blipFill>
            <a:blip r:embed="rId27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xmlns="" r:embed="rId28"/>
                </a:ext>
              </a:extLst>
            </a:blip>
            <a:srcRect/>
            <a:stretch/>
          </p:blipFill>
          <p:spPr>
            <a:xfrm>
              <a:off x="3431491" y="3295650"/>
              <a:ext cx="628650" cy="209550"/>
            </a:xfrm>
            <a:prstGeom prst="rect">
              <a:avLst/>
            </a:prstGeom>
          </p:spPr>
        </p:pic>
        <p:pic>
          <p:nvPicPr>
            <p:cNvPr id="32" name="Object 56" descr="preencoded.png">
              <a:extLst>
                <a:ext uri="{FF2B5EF4-FFF2-40B4-BE49-F238E27FC236}">
                  <a16:creationId xmlns:a16="http://schemas.microsoft.com/office/drawing/2014/main" id="{CCFB5688-D8F6-7145-8D07-28E0D504A2CA}"/>
                </a:ext>
              </a:extLst>
            </p:cNvPr>
            <p:cNvPicPr>
              <a:picLocks noChangeAspect="1"/>
            </p:cNvPicPr>
            <p:nvPr/>
          </p:nvPicPr>
          <p:blipFill>
            <a:blip r:embed="rId29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xmlns="" r:embed="rId30"/>
                </a:ext>
              </a:extLst>
            </a:blip>
            <a:srcRect/>
            <a:stretch/>
          </p:blipFill>
          <p:spPr>
            <a:xfrm>
              <a:off x="3431491" y="3714750"/>
              <a:ext cx="628650" cy="171450"/>
            </a:xfrm>
            <a:prstGeom prst="rect">
              <a:avLst/>
            </a:prstGeom>
          </p:spPr>
        </p:pic>
        <p:sp>
          <p:nvSpPr>
            <p:cNvPr id="33" name="Object62">
              <a:extLst>
                <a:ext uri="{FF2B5EF4-FFF2-40B4-BE49-F238E27FC236}">
                  <a16:creationId xmlns:a16="http://schemas.microsoft.com/office/drawing/2014/main" id="{67B68E39-45DD-BB49-A5A0-DD1975333133}"/>
                </a:ext>
              </a:extLst>
            </p:cNvPr>
            <p:cNvSpPr/>
            <p:nvPr/>
          </p:nvSpPr>
          <p:spPr>
            <a:xfrm>
              <a:off x="3049075" y="2886710"/>
              <a:ext cx="828675" cy="373001"/>
            </a:xfrm>
            <a:prstGeom prst="rect">
              <a:avLst/>
            </a:prstGeom>
            <a:noFill/>
            <a:ln/>
          </p:spPr>
          <p:txBody>
            <a:bodyPr wrap="square" lIns="0" tIns="0" rIns="0" bIns="0" rtlCol="0" anchor="t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ts val="24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41817E"/>
                  </a:solidFill>
                  <a:effectLst/>
                  <a:uLnTx/>
                  <a:uFillTx/>
                  <a:latin typeface="Oracle Sans Bold" pitchFamily="34" charset="0"/>
                  <a:ea typeface="Oracle Sans Bold" pitchFamily="34" charset="-122"/>
                  <a:cs typeface="Oracle Sans Bold" pitchFamily="34" charset="-120"/>
                </a:rPr>
                <a:t>OLTP</a:t>
              </a: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41817E"/>
                </a:solidFill>
                <a:effectLst/>
                <a:uLnTx/>
                <a:uFillTx/>
                <a:latin typeface="Oracle Sans Tab"/>
                <a:ea typeface="+mn-ea"/>
                <a:cs typeface="+mn-cs"/>
              </a:endParaRPr>
            </a:p>
          </p:txBody>
        </p:sp>
        <p:sp>
          <p:nvSpPr>
            <p:cNvPr id="34" name="Object65">
              <a:extLst>
                <a:ext uri="{FF2B5EF4-FFF2-40B4-BE49-F238E27FC236}">
                  <a16:creationId xmlns:a16="http://schemas.microsoft.com/office/drawing/2014/main" id="{428158A1-DAAF-A044-A358-A62F7616C25A}"/>
                </a:ext>
              </a:extLst>
            </p:cNvPr>
            <p:cNvSpPr/>
            <p:nvPr/>
          </p:nvSpPr>
          <p:spPr>
            <a:xfrm>
              <a:off x="3488313" y="4866014"/>
              <a:ext cx="1714500" cy="467227"/>
            </a:xfrm>
            <a:prstGeom prst="rect">
              <a:avLst/>
            </a:prstGeom>
            <a:noFill/>
            <a:ln/>
          </p:spPr>
          <p:txBody>
            <a:bodyPr wrap="square" lIns="0" tIns="0" rIns="0" bIns="0" rtlCol="0" anchor="t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ts val="14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312D2A"/>
                  </a:solidFill>
                  <a:effectLst/>
                  <a:uLnTx/>
                  <a:uFillTx/>
                  <a:latin typeface="Oracle Sans Bold" pitchFamily="34" charset="0"/>
                  <a:ea typeface="Oracle Sans Bold" pitchFamily="34" charset="-122"/>
                  <a:cs typeface="Oracle Sans Bold" pitchFamily="34" charset="-120"/>
                </a:rPr>
                <a:t>Add compute
servers</a:t>
              </a: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12D2A"/>
                </a:solidFill>
                <a:effectLst/>
                <a:uLnTx/>
                <a:uFillTx/>
                <a:latin typeface="Oracle Sans Tab"/>
                <a:ea typeface="+mn-ea"/>
                <a:cs typeface="+mn-cs"/>
              </a:endParaRPr>
            </a:p>
          </p:txBody>
        </p:sp>
      </p:grpSp>
      <p:grpSp>
        <p:nvGrpSpPr>
          <p:cNvPr id="35" name="Consolidation grouping">
            <a:extLst>
              <a:ext uri="{FF2B5EF4-FFF2-40B4-BE49-F238E27FC236}">
                <a16:creationId xmlns:a16="http://schemas.microsoft.com/office/drawing/2014/main" id="{FCC4F90F-7E2B-614F-AE1F-60E63479B456}"/>
              </a:ext>
            </a:extLst>
          </p:cNvPr>
          <p:cNvGrpSpPr/>
          <p:nvPr/>
        </p:nvGrpSpPr>
        <p:grpSpPr>
          <a:xfrm>
            <a:off x="5495000" y="1497738"/>
            <a:ext cx="5729206" cy="2304142"/>
            <a:chOff x="5492746" y="1824605"/>
            <a:chExt cx="5729206" cy="2304142"/>
          </a:xfrm>
          <a:solidFill>
            <a:schemeClr val="tx1"/>
          </a:solidFill>
        </p:grpSpPr>
        <p:grpSp>
          <p:nvGrpSpPr>
            <p:cNvPr id="36" name="Consolidate DB and SS server icons">
              <a:extLst>
                <a:ext uri="{FF2B5EF4-FFF2-40B4-BE49-F238E27FC236}">
                  <a16:creationId xmlns:a16="http://schemas.microsoft.com/office/drawing/2014/main" id="{1C19280F-22FE-2746-A1E8-7D51CE951B28}"/>
                </a:ext>
              </a:extLst>
            </p:cNvPr>
            <p:cNvGrpSpPr/>
            <p:nvPr/>
          </p:nvGrpSpPr>
          <p:grpSpPr>
            <a:xfrm>
              <a:off x="7082821" y="2971679"/>
              <a:ext cx="2311363" cy="846256"/>
              <a:chOff x="6853472" y="3131831"/>
              <a:chExt cx="2024159" cy="655015"/>
            </a:xfrm>
            <a:grpFill/>
          </p:grpSpPr>
          <p:pic>
            <p:nvPicPr>
              <p:cNvPr id="61" name="Object 3" descr="preencoded.png">
                <a:extLst>
                  <a:ext uri="{FF2B5EF4-FFF2-40B4-BE49-F238E27FC236}">
                    <a16:creationId xmlns:a16="http://schemas.microsoft.com/office/drawing/2014/main" id="{626B925C-07B3-4743-96F7-169A59E2280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1" cstate="email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xmlns="" r:embed="rId32"/>
                  </a:ext>
                </a:extLst>
              </a:blip>
              <a:srcRect/>
              <a:stretch/>
            </p:blipFill>
            <p:spPr>
              <a:xfrm>
                <a:off x="6853472" y="3383760"/>
                <a:ext cx="457114" cy="138561"/>
              </a:xfrm>
              <a:prstGeom prst="rect">
                <a:avLst/>
              </a:prstGeom>
            </p:spPr>
          </p:pic>
          <p:pic>
            <p:nvPicPr>
              <p:cNvPr id="62" name="Object 4" descr="preencoded.png">
                <a:extLst>
                  <a:ext uri="{FF2B5EF4-FFF2-40B4-BE49-F238E27FC236}">
                    <a16:creationId xmlns:a16="http://schemas.microsoft.com/office/drawing/2014/main" id="{8DABE952-422F-4447-8E4B-33DE144BEAC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3" cstate="email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xmlns="" r:embed="rId34"/>
                  </a:ext>
                </a:extLst>
              </a:blip>
              <a:srcRect/>
              <a:stretch/>
            </p:blipFill>
            <p:spPr>
              <a:xfrm>
                <a:off x="7792296" y="3295585"/>
                <a:ext cx="537782" cy="151157"/>
              </a:xfrm>
              <a:prstGeom prst="rect">
                <a:avLst/>
              </a:prstGeom>
            </p:spPr>
          </p:pic>
          <p:pic>
            <p:nvPicPr>
              <p:cNvPr id="63" name="Object 9" descr="preencoded.png">
                <a:extLst>
                  <a:ext uri="{FF2B5EF4-FFF2-40B4-BE49-F238E27FC236}">
                    <a16:creationId xmlns:a16="http://schemas.microsoft.com/office/drawing/2014/main" id="{EC6F2410-295F-E141-841E-BDE1A7B530E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5" cstate="email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xmlns="" r:embed="rId36"/>
                  </a:ext>
                </a:extLst>
              </a:blip>
              <a:srcRect/>
              <a:stretch/>
            </p:blipFill>
            <p:spPr>
              <a:xfrm>
                <a:off x="7792296" y="3131831"/>
                <a:ext cx="537782" cy="151157"/>
              </a:xfrm>
              <a:prstGeom prst="rect">
                <a:avLst/>
              </a:prstGeom>
            </p:spPr>
          </p:pic>
          <p:pic>
            <p:nvPicPr>
              <p:cNvPr id="64" name="Object 10" descr="preencoded.png">
                <a:extLst>
                  <a:ext uri="{FF2B5EF4-FFF2-40B4-BE49-F238E27FC236}">
                    <a16:creationId xmlns:a16="http://schemas.microsoft.com/office/drawing/2014/main" id="{6E7D6C88-4D8A-9B47-91F6-806BFBA41FB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3" cstate="email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xmlns="" r:embed="rId34"/>
                  </a:ext>
                </a:extLst>
              </a:blip>
              <a:srcRect/>
              <a:stretch/>
            </p:blipFill>
            <p:spPr>
              <a:xfrm>
                <a:off x="8339849" y="3295585"/>
                <a:ext cx="537782" cy="151157"/>
              </a:xfrm>
              <a:prstGeom prst="rect">
                <a:avLst/>
              </a:prstGeom>
            </p:spPr>
          </p:pic>
          <p:pic>
            <p:nvPicPr>
              <p:cNvPr id="65" name="Object 12" descr="preencoded.png">
                <a:extLst>
                  <a:ext uri="{FF2B5EF4-FFF2-40B4-BE49-F238E27FC236}">
                    <a16:creationId xmlns:a16="http://schemas.microsoft.com/office/drawing/2014/main" id="{080FE8D3-4810-9E41-A471-EC5CC1EDF61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5" cstate="email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xmlns="" r:embed="rId36"/>
                  </a:ext>
                </a:extLst>
              </a:blip>
              <a:srcRect/>
              <a:stretch/>
            </p:blipFill>
            <p:spPr>
              <a:xfrm>
                <a:off x="8339849" y="3131831"/>
                <a:ext cx="537782" cy="151157"/>
              </a:xfrm>
              <a:prstGeom prst="rect">
                <a:avLst/>
              </a:prstGeom>
            </p:spPr>
          </p:pic>
          <p:pic>
            <p:nvPicPr>
              <p:cNvPr id="66" name="Object 19" descr="preencoded.png">
                <a:extLst>
                  <a:ext uri="{FF2B5EF4-FFF2-40B4-BE49-F238E27FC236}">
                    <a16:creationId xmlns:a16="http://schemas.microsoft.com/office/drawing/2014/main" id="{D8C7331F-68A6-8B46-8DE5-824E8CF723D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7" cstate="email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xmlns="" r:embed="rId38"/>
                  </a:ext>
                </a:extLst>
              </a:blip>
              <a:srcRect/>
              <a:stretch/>
            </p:blipFill>
            <p:spPr>
              <a:xfrm>
                <a:off x="6853472" y="3528619"/>
                <a:ext cx="457114" cy="125964"/>
              </a:xfrm>
              <a:prstGeom prst="rect">
                <a:avLst/>
              </a:prstGeom>
            </p:spPr>
          </p:pic>
          <p:pic>
            <p:nvPicPr>
              <p:cNvPr id="67" name="Object 21" descr="preencoded.png">
                <a:extLst>
                  <a:ext uri="{FF2B5EF4-FFF2-40B4-BE49-F238E27FC236}">
                    <a16:creationId xmlns:a16="http://schemas.microsoft.com/office/drawing/2014/main" id="{FD79472C-E4BE-A843-9E7C-61C7668A50A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3" cstate="email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xmlns="" r:embed="rId34"/>
                  </a:ext>
                </a:extLst>
              </a:blip>
              <a:srcRect/>
              <a:stretch/>
            </p:blipFill>
            <p:spPr>
              <a:xfrm>
                <a:off x="7792296" y="3459339"/>
                <a:ext cx="537782" cy="163754"/>
              </a:xfrm>
              <a:prstGeom prst="rect">
                <a:avLst/>
              </a:prstGeom>
            </p:spPr>
          </p:pic>
          <p:pic>
            <p:nvPicPr>
              <p:cNvPr id="68" name="Object 23" descr="preencoded.png">
                <a:extLst>
                  <a:ext uri="{FF2B5EF4-FFF2-40B4-BE49-F238E27FC236}">
                    <a16:creationId xmlns:a16="http://schemas.microsoft.com/office/drawing/2014/main" id="{C6E66FA3-974A-6D4A-A326-0A54B2FD5DD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3" cstate="email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xmlns="" r:embed="rId34"/>
                  </a:ext>
                </a:extLst>
              </a:blip>
              <a:srcRect/>
              <a:stretch/>
            </p:blipFill>
            <p:spPr>
              <a:xfrm>
                <a:off x="8339849" y="3459339"/>
                <a:ext cx="537782" cy="163754"/>
              </a:xfrm>
              <a:prstGeom prst="rect">
                <a:avLst/>
              </a:prstGeom>
            </p:spPr>
          </p:pic>
          <p:pic>
            <p:nvPicPr>
              <p:cNvPr id="69" name="Object 27" descr="preencoded.png">
                <a:extLst>
                  <a:ext uri="{FF2B5EF4-FFF2-40B4-BE49-F238E27FC236}">
                    <a16:creationId xmlns:a16="http://schemas.microsoft.com/office/drawing/2014/main" id="{E1CD52AE-F9FC-F34B-8542-AE008F9CDC5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7" cstate="email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xmlns="" r:embed="rId38"/>
                  </a:ext>
                </a:extLst>
              </a:blip>
              <a:srcRect/>
              <a:stretch/>
            </p:blipFill>
            <p:spPr>
              <a:xfrm>
                <a:off x="6853472" y="3660882"/>
                <a:ext cx="457114" cy="125964"/>
              </a:xfrm>
              <a:prstGeom prst="rect">
                <a:avLst/>
              </a:prstGeom>
            </p:spPr>
          </p:pic>
          <p:pic>
            <p:nvPicPr>
              <p:cNvPr id="70" name="Object 29" descr="preencoded.png">
                <a:extLst>
                  <a:ext uri="{FF2B5EF4-FFF2-40B4-BE49-F238E27FC236}">
                    <a16:creationId xmlns:a16="http://schemas.microsoft.com/office/drawing/2014/main" id="{20E306EA-CA6F-CE4A-BFAB-897BFD650FE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5" cstate="email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xmlns="" r:embed="rId36"/>
                  </a:ext>
                </a:extLst>
              </a:blip>
              <a:srcRect/>
              <a:stretch/>
            </p:blipFill>
            <p:spPr>
              <a:xfrm>
                <a:off x="7792296" y="3635689"/>
                <a:ext cx="537782" cy="151157"/>
              </a:xfrm>
              <a:prstGeom prst="rect">
                <a:avLst/>
              </a:prstGeom>
            </p:spPr>
          </p:pic>
          <p:pic>
            <p:nvPicPr>
              <p:cNvPr id="71" name="Object 31" descr="preencoded.png">
                <a:extLst>
                  <a:ext uri="{FF2B5EF4-FFF2-40B4-BE49-F238E27FC236}">
                    <a16:creationId xmlns:a16="http://schemas.microsoft.com/office/drawing/2014/main" id="{77C90007-3A83-0147-B823-1F42140B4C0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5" cstate="email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xmlns="" r:embed="rId36"/>
                  </a:ext>
                </a:extLst>
              </a:blip>
              <a:srcRect/>
              <a:stretch/>
            </p:blipFill>
            <p:spPr>
              <a:xfrm>
                <a:off x="8339849" y="3635689"/>
                <a:ext cx="537782" cy="151157"/>
              </a:xfrm>
              <a:prstGeom prst="rect">
                <a:avLst/>
              </a:prstGeom>
            </p:spPr>
          </p:pic>
          <p:pic>
            <p:nvPicPr>
              <p:cNvPr id="72" name="Object 42" descr="preencoded.png">
                <a:extLst>
                  <a:ext uri="{FF2B5EF4-FFF2-40B4-BE49-F238E27FC236}">
                    <a16:creationId xmlns:a16="http://schemas.microsoft.com/office/drawing/2014/main" id="{4487257F-FF37-9A4C-971B-2ACB4FD84DA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9" cstate="email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xmlns="" r:embed="rId40"/>
                  </a:ext>
                </a:extLst>
              </a:blip>
              <a:srcRect/>
              <a:stretch/>
            </p:blipFill>
            <p:spPr>
              <a:xfrm>
                <a:off x="6853472" y="3251497"/>
                <a:ext cx="457114" cy="125964"/>
              </a:xfrm>
              <a:prstGeom prst="rect">
                <a:avLst/>
              </a:prstGeom>
            </p:spPr>
          </p:pic>
          <p:pic>
            <p:nvPicPr>
              <p:cNvPr id="73" name="Object 46" descr="preencoded.png">
                <a:extLst>
                  <a:ext uri="{FF2B5EF4-FFF2-40B4-BE49-F238E27FC236}">
                    <a16:creationId xmlns:a16="http://schemas.microsoft.com/office/drawing/2014/main" id="{82843ABC-ACA8-A749-9CA3-701B3A48763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9" cstate="email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xmlns="" r:embed="rId40"/>
                  </a:ext>
                </a:extLst>
              </a:blip>
              <a:srcRect/>
              <a:stretch/>
            </p:blipFill>
            <p:spPr>
              <a:xfrm>
                <a:off x="7327208" y="3251497"/>
                <a:ext cx="443670" cy="125964"/>
              </a:xfrm>
              <a:prstGeom prst="rect">
                <a:avLst/>
              </a:prstGeom>
            </p:spPr>
          </p:pic>
          <p:pic>
            <p:nvPicPr>
              <p:cNvPr id="74" name="Object 48" descr="preencoded.png">
                <a:extLst>
                  <a:ext uri="{FF2B5EF4-FFF2-40B4-BE49-F238E27FC236}">
                    <a16:creationId xmlns:a16="http://schemas.microsoft.com/office/drawing/2014/main" id="{4451AA7A-5A18-764E-8714-42327D1ABFF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1" cstate="email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xmlns="" r:embed="rId42"/>
                  </a:ext>
                </a:extLst>
              </a:blip>
              <a:srcRect/>
              <a:stretch/>
            </p:blipFill>
            <p:spPr>
              <a:xfrm>
                <a:off x="7327208" y="3528619"/>
                <a:ext cx="443670" cy="125964"/>
              </a:xfrm>
              <a:prstGeom prst="rect">
                <a:avLst/>
              </a:prstGeom>
            </p:spPr>
          </p:pic>
          <p:pic>
            <p:nvPicPr>
              <p:cNvPr id="75" name="Object 49" descr="preencoded.png">
                <a:extLst>
                  <a:ext uri="{FF2B5EF4-FFF2-40B4-BE49-F238E27FC236}">
                    <a16:creationId xmlns:a16="http://schemas.microsoft.com/office/drawing/2014/main" id="{181DC668-673E-AA48-A312-D228C7068E9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1" cstate="email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xmlns="" r:embed="rId42"/>
                  </a:ext>
                </a:extLst>
              </a:blip>
              <a:srcRect/>
              <a:stretch/>
            </p:blipFill>
            <p:spPr>
              <a:xfrm>
                <a:off x="7327208" y="3660882"/>
                <a:ext cx="443670" cy="125964"/>
              </a:xfrm>
              <a:prstGeom prst="rect">
                <a:avLst/>
              </a:prstGeom>
            </p:spPr>
          </p:pic>
          <p:pic>
            <p:nvPicPr>
              <p:cNvPr id="76" name="Object 51" descr="preencoded.png">
                <a:extLst>
                  <a:ext uri="{FF2B5EF4-FFF2-40B4-BE49-F238E27FC236}">
                    <a16:creationId xmlns:a16="http://schemas.microsoft.com/office/drawing/2014/main" id="{9F4BAE65-7FE9-7C4D-A53E-BE091DD7ACE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9" cstate="email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xmlns="" r:embed="rId40"/>
                  </a:ext>
                </a:extLst>
              </a:blip>
              <a:srcRect/>
              <a:stretch/>
            </p:blipFill>
            <p:spPr>
              <a:xfrm>
                <a:off x="6853472" y="3131831"/>
                <a:ext cx="457114" cy="113368"/>
              </a:xfrm>
              <a:prstGeom prst="rect">
                <a:avLst/>
              </a:prstGeom>
            </p:spPr>
          </p:pic>
          <p:pic>
            <p:nvPicPr>
              <p:cNvPr id="77" name="Object 55" descr="preencoded.png">
                <a:extLst>
                  <a:ext uri="{FF2B5EF4-FFF2-40B4-BE49-F238E27FC236}">
                    <a16:creationId xmlns:a16="http://schemas.microsoft.com/office/drawing/2014/main" id="{CF700D9F-769D-8F43-B617-1A6BAEBA575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9" cstate="email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xmlns="" r:embed="rId40"/>
                  </a:ext>
                </a:extLst>
              </a:blip>
              <a:srcRect/>
              <a:stretch/>
            </p:blipFill>
            <p:spPr>
              <a:xfrm>
                <a:off x="7327208" y="3131831"/>
                <a:ext cx="443670" cy="113368"/>
              </a:xfrm>
              <a:prstGeom prst="rect">
                <a:avLst/>
              </a:prstGeom>
            </p:spPr>
          </p:pic>
          <p:pic>
            <p:nvPicPr>
              <p:cNvPr id="78" name="Object 57" descr="preencoded.png">
                <a:extLst>
                  <a:ext uri="{FF2B5EF4-FFF2-40B4-BE49-F238E27FC236}">
                    <a16:creationId xmlns:a16="http://schemas.microsoft.com/office/drawing/2014/main" id="{CC46023A-BCB1-934E-B057-A6B6D76B36F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3" cstate="email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xmlns="" r:embed="rId44"/>
                  </a:ext>
                </a:extLst>
              </a:blip>
              <a:srcRect/>
              <a:stretch/>
            </p:blipFill>
            <p:spPr>
              <a:xfrm>
                <a:off x="7327208" y="3383760"/>
                <a:ext cx="443670" cy="138561"/>
              </a:xfrm>
              <a:prstGeom prst="rect">
                <a:avLst/>
              </a:prstGeom>
            </p:spPr>
          </p:pic>
        </p:grpSp>
        <p:sp>
          <p:nvSpPr>
            <p:cNvPr id="37" name="Converged">
              <a:extLst>
                <a:ext uri="{FF2B5EF4-FFF2-40B4-BE49-F238E27FC236}">
                  <a16:creationId xmlns:a16="http://schemas.microsoft.com/office/drawing/2014/main" id="{84F9F393-A0BC-434D-8AC6-4F2C2AFB35AC}"/>
                </a:ext>
              </a:extLst>
            </p:cNvPr>
            <p:cNvSpPr/>
            <p:nvPr/>
          </p:nvSpPr>
          <p:spPr>
            <a:xfrm>
              <a:off x="5492746" y="2066896"/>
              <a:ext cx="5729206" cy="292131"/>
            </a:xfrm>
            <a:prstGeom prst="rect">
              <a:avLst/>
            </a:prstGeom>
            <a:noFill/>
            <a:ln/>
          </p:spPr>
          <p:txBody>
            <a:bodyPr wrap="square" lIns="0" tIns="0" rIns="0" bIns="0" rtlCol="0" anchor="t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ts val="24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312D2A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Oracle Sans Bold" pitchFamily="34" charset="0"/>
                  <a:ea typeface="Oracle Sans Bold" pitchFamily="34" charset="-122"/>
                  <a:cs typeface="Oracle Sans Bold" pitchFamily="34" charset="-120"/>
                </a:rPr>
                <a:t>Converged database, private cloud in the public cloud</a:t>
              </a: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312D2A">
                    <a:lumMod val="75000"/>
                    <a:lumOff val="25000"/>
                  </a:srgbClr>
                </a:solidFill>
                <a:effectLst/>
                <a:uLnTx/>
                <a:uFillTx/>
                <a:latin typeface="Oracle Sans Tab"/>
                <a:ea typeface="+mn-ea"/>
                <a:cs typeface="+mn-cs"/>
              </a:endParaRPr>
            </a:p>
          </p:txBody>
        </p:sp>
        <p:sp>
          <p:nvSpPr>
            <p:cNvPr id="38" name="OLTP and...">
              <a:extLst>
                <a:ext uri="{FF2B5EF4-FFF2-40B4-BE49-F238E27FC236}">
                  <a16:creationId xmlns:a16="http://schemas.microsoft.com/office/drawing/2014/main" id="{D2DC5CAA-A6F8-9C42-8985-94C606A17A4D}"/>
                </a:ext>
              </a:extLst>
            </p:cNvPr>
            <p:cNvSpPr/>
            <p:nvPr/>
          </p:nvSpPr>
          <p:spPr>
            <a:xfrm>
              <a:off x="7148991" y="3959662"/>
              <a:ext cx="2829945" cy="169085"/>
            </a:xfrm>
            <a:prstGeom prst="rect">
              <a:avLst/>
            </a:prstGeom>
            <a:noFill/>
            <a:ln/>
          </p:spPr>
          <p:txBody>
            <a:bodyPr wrap="square" lIns="0" tIns="0" rIns="0" bIns="0" rtlCol="0" anchor="t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ts val="12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AE562C"/>
                  </a:solidFill>
                  <a:effectLst/>
                  <a:uLnTx/>
                  <a:uFillTx/>
                  <a:latin typeface="Oracle Sans Bold" pitchFamily="34" charset="0"/>
                  <a:ea typeface="Oracle Sans Bold" pitchFamily="34" charset="-122"/>
                  <a:cs typeface="Oracle Sans Bold" pitchFamily="34" charset="-120"/>
                </a:rPr>
                <a:t>OLTP and data warehouse</a:t>
              </a: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AE562C"/>
                </a:solidFill>
                <a:effectLst/>
                <a:uLnTx/>
                <a:uFillTx/>
                <a:latin typeface="Oracle Sans Tab"/>
                <a:ea typeface="+mn-ea"/>
                <a:cs typeface="+mn-cs"/>
              </a:endParaRPr>
            </a:p>
          </p:txBody>
        </p:sp>
        <p:grpSp>
          <p:nvGrpSpPr>
            <p:cNvPr id="39" name="Group 38">
              <a:extLst>
                <a:ext uri="{FF2B5EF4-FFF2-40B4-BE49-F238E27FC236}">
                  <a16:creationId xmlns:a16="http://schemas.microsoft.com/office/drawing/2014/main" id="{186DEF49-6BF9-0D4C-96EC-F79A7ADEABF0}"/>
                </a:ext>
              </a:extLst>
            </p:cNvPr>
            <p:cNvGrpSpPr/>
            <p:nvPr/>
          </p:nvGrpSpPr>
          <p:grpSpPr>
            <a:xfrm>
              <a:off x="7292796" y="2494363"/>
              <a:ext cx="1724114" cy="383433"/>
              <a:chOff x="10344150" y="2857500"/>
              <a:chExt cx="2038350" cy="666750"/>
            </a:xfrm>
            <a:grpFill/>
          </p:grpSpPr>
          <p:pic>
            <p:nvPicPr>
              <p:cNvPr id="41" name="Database icon" descr="preencoded.png">
                <a:extLst>
                  <a:ext uri="{FF2B5EF4-FFF2-40B4-BE49-F238E27FC236}">
                    <a16:creationId xmlns:a16="http://schemas.microsoft.com/office/drawing/2014/main" id="{F70C31D0-7441-514C-AEEC-EFE0919CBA4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5" cstate="email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xmlns="" r:embed="rId46"/>
                  </a:ext>
                </a:extLst>
              </a:blip>
              <a:srcRect/>
              <a:stretch/>
            </p:blipFill>
            <p:spPr>
              <a:xfrm>
                <a:off x="10344150" y="2857500"/>
                <a:ext cx="438150" cy="457200"/>
              </a:xfrm>
              <a:prstGeom prst="rect">
                <a:avLst/>
              </a:prstGeom>
            </p:spPr>
          </p:pic>
          <p:pic>
            <p:nvPicPr>
              <p:cNvPr id="42" name="Database icon" descr="preencoded.png">
                <a:extLst>
                  <a:ext uri="{FF2B5EF4-FFF2-40B4-BE49-F238E27FC236}">
                    <a16:creationId xmlns:a16="http://schemas.microsoft.com/office/drawing/2014/main" id="{70CE1D7B-BE22-BA46-AEED-412E0440AEE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7" cstate="email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xmlns="" r:embed="rId48"/>
                  </a:ext>
                </a:extLst>
              </a:blip>
              <a:srcRect/>
              <a:stretch/>
            </p:blipFill>
            <p:spPr>
              <a:xfrm>
                <a:off x="10525125" y="3048000"/>
                <a:ext cx="438150" cy="476250"/>
              </a:xfrm>
              <a:prstGeom prst="rect">
                <a:avLst/>
              </a:prstGeom>
            </p:spPr>
          </p:pic>
          <p:pic>
            <p:nvPicPr>
              <p:cNvPr id="43" name="Database icon" descr="preencoded.png">
                <a:extLst>
                  <a:ext uri="{FF2B5EF4-FFF2-40B4-BE49-F238E27FC236}">
                    <a16:creationId xmlns:a16="http://schemas.microsoft.com/office/drawing/2014/main" id="{49B34614-E321-EA46-A74C-47731BA06D1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9" cstate="email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xmlns="" r:embed="rId50"/>
                  </a:ext>
                </a:extLst>
              </a:blip>
              <a:srcRect/>
              <a:stretch/>
            </p:blipFill>
            <p:spPr>
              <a:xfrm>
                <a:off x="11001375" y="3048000"/>
                <a:ext cx="438150" cy="476250"/>
              </a:xfrm>
              <a:prstGeom prst="rect">
                <a:avLst/>
              </a:prstGeom>
            </p:spPr>
          </p:pic>
          <p:pic>
            <p:nvPicPr>
              <p:cNvPr id="44" name="Object 61" descr="preencoded.png">
                <a:extLst>
                  <a:ext uri="{FF2B5EF4-FFF2-40B4-BE49-F238E27FC236}">
                    <a16:creationId xmlns:a16="http://schemas.microsoft.com/office/drawing/2014/main" id="{5ECAEFDE-316D-8840-A792-6991D07F7D0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1">
                <a:extLst>
                  <a:ext uri="{96DAC541-7B7A-43D3-8B79-37D633B846F1}">
                    <asvg:svgBlip xmlns:asvg="http://schemas.microsoft.com/office/drawing/2016/SVG/main" xmlns="" r:embed="rId52"/>
                  </a:ext>
                </a:extLst>
              </a:blip>
              <a:srcRect/>
              <a:stretch/>
            </p:blipFill>
            <p:spPr>
              <a:xfrm>
                <a:off x="10820400" y="3105150"/>
                <a:ext cx="38100" cy="19050"/>
              </a:xfrm>
              <a:prstGeom prst="rect">
                <a:avLst/>
              </a:prstGeom>
            </p:spPr>
          </p:pic>
          <p:pic>
            <p:nvPicPr>
              <p:cNvPr id="45" name="Object 62" descr="preencoded.png">
                <a:extLst>
                  <a:ext uri="{FF2B5EF4-FFF2-40B4-BE49-F238E27FC236}">
                    <a16:creationId xmlns:a16="http://schemas.microsoft.com/office/drawing/2014/main" id="{6411A650-32C8-CE4C-B160-4F2A59DBF19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3">
                <a:extLst>
                  <a:ext uri="{96DAC541-7B7A-43D3-8B79-37D633B846F1}">
                    <asvg:svgBlip xmlns:asvg="http://schemas.microsoft.com/office/drawing/2016/SVG/main" xmlns="" r:embed="rId54"/>
                  </a:ext>
                </a:extLst>
              </a:blip>
              <a:srcRect/>
              <a:stretch/>
            </p:blipFill>
            <p:spPr>
              <a:xfrm>
                <a:off x="10963275" y="3390900"/>
                <a:ext cx="19050" cy="38100"/>
              </a:xfrm>
              <a:prstGeom prst="rect">
                <a:avLst/>
              </a:prstGeom>
            </p:spPr>
          </p:pic>
          <p:pic>
            <p:nvPicPr>
              <p:cNvPr id="46" name="Object 63" descr="preencoded.png">
                <a:extLst>
                  <a:ext uri="{FF2B5EF4-FFF2-40B4-BE49-F238E27FC236}">
                    <a16:creationId xmlns:a16="http://schemas.microsoft.com/office/drawing/2014/main" id="{25C36C17-4212-5646-83C0-ACF4F44CD19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5">
                <a:extLst>
                  <a:ext uri="{96DAC541-7B7A-43D3-8B79-37D633B846F1}">
                    <asvg:svgBlip xmlns:asvg="http://schemas.microsoft.com/office/drawing/2016/SVG/main" xmlns="" r:embed="rId56"/>
                  </a:ext>
                </a:extLst>
              </a:blip>
              <a:srcRect/>
              <a:stretch/>
            </p:blipFill>
            <p:spPr>
              <a:xfrm>
                <a:off x="10934698" y="3048000"/>
                <a:ext cx="95250" cy="57151"/>
              </a:xfrm>
              <a:prstGeom prst="rect">
                <a:avLst/>
              </a:prstGeom>
            </p:spPr>
          </p:pic>
          <p:pic>
            <p:nvPicPr>
              <p:cNvPr id="47" name="Database icon" descr="preencoded.png">
                <a:extLst>
                  <a:ext uri="{FF2B5EF4-FFF2-40B4-BE49-F238E27FC236}">
                    <a16:creationId xmlns:a16="http://schemas.microsoft.com/office/drawing/2014/main" id="{CDEA37C0-A0DE-0A4C-A818-3581F51C379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7">
                <a:extLst>
                  <a:ext uri="{96DAC541-7B7A-43D3-8B79-37D633B846F1}">
                    <asvg:svgBlip xmlns:asvg="http://schemas.microsoft.com/office/drawing/2016/SVG/main" xmlns="" r:embed="rId58"/>
                  </a:ext>
                </a:extLst>
              </a:blip>
              <a:srcRect/>
              <a:stretch/>
            </p:blipFill>
            <p:spPr>
              <a:xfrm>
                <a:off x="10963275" y="3286125"/>
                <a:ext cx="19050" cy="38100"/>
              </a:xfrm>
              <a:prstGeom prst="rect">
                <a:avLst/>
              </a:prstGeom>
            </p:spPr>
          </p:pic>
          <p:pic>
            <p:nvPicPr>
              <p:cNvPr id="48" name="Database icon" descr="preencoded.png">
                <a:extLst>
                  <a:ext uri="{FF2B5EF4-FFF2-40B4-BE49-F238E27FC236}">
                    <a16:creationId xmlns:a16="http://schemas.microsoft.com/office/drawing/2014/main" id="{5655B31E-4AAD-B14D-BB6D-48348398F4B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9" cstate="email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xmlns="" r:embed="rId60"/>
                  </a:ext>
                </a:extLst>
              </a:blip>
              <a:srcRect/>
              <a:stretch/>
            </p:blipFill>
            <p:spPr>
              <a:xfrm>
                <a:off x="10820400" y="2857500"/>
                <a:ext cx="438150" cy="190500"/>
              </a:xfrm>
              <a:prstGeom prst="rect">
                <a:avLst/>
              </a:prstGeom>
            </p:spPr>
          </p:pic>
          <p:pic>
            <p:nvPicPr>
              <p:cNvPr id="49" name="Database icon" descr="preencoded.png">
                <a:extLst>
                  <a:ext uri="{FF2B5EF4-FFF2-40B4-BE49-F238E27FC236}">
                    <a16:creationId xmlns:a16="http://schemas.microsoft.com/office/drawing/2014/main" id="{CE6F41E3-9EAA-C641-BC86-02989DD0254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1" cstate="email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xmlns="" r:embed="rId62"/>
                  </a:ext>
                </a:extLst>
              </a:blip>
              <a:srcRect/>
              <a:stretch/>
            </p:blipFill>
            <p:spPr>
              <a:xfrm>
                <a:off x="11477625" y="3048000"/>
                <a:ext cx="438150" cy="476250"/>
              </a:xfrm>
              <a:prstGeom prst="rect">
                <a:avLst/>
              </a:prstGeom>
            </p:spPr>
          </p:pic>
          <p:pic>
            <p:nvPicPr>
              <p:cNvPr id="50" name="Database icon" descr="preencoded.png">
                <a:extLst>
                  <a:ext uri="{FF2B5EF4-FFF2-40B4-BE49-F238E27FC236}">
                    <a16:creationId xmlns:a16="http://schemas.microsoft.com/office/drawing/2014/main" id="{1A28B799-7245-DC43-BD8C-79241DA4538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3">
                <a:extLst>
                  <a:ext uri="{96DAC541-7B7A-43D3-8B79-37D633B846F1}">
                    <asvg:svgBlip xmlns:asvg="http://schemas.microsoft.com/office/drawing/2016/SVG/main" xmlns="" r:embed="rId64"/>
                  </a:ext>
                </a:extLst>
              </a:blip>
              <a:srcRect/>
              <a:stretch/>
            </p:blipFill>
            <p:spPr>
              <a:xfrm>
                <a:off x="11296650" y="3105150"/>
                <a:ext cx="38100" cy="19050"/>
              </a:xfrm>
              <a:prstGeom prst="rect">
                <a:avLst/>
              </a:prstGeom>
            </p:spPr>
          </p:pic>
          <p:pic>
            <p:nvPicPr>
              <p:cNvPr id="51" name="Database icon" descr="preencoded.png">
                <a:extLst>
                  <a:ext uri="{FF2B5EF4-FFF2-40B4-BE49-F238E27FC236}">
                    <a16:creationId xmlns:a16="http://schemas.microsoft.com/office/drawing/2014/main" id="{6BC335E9-1F80-4645-984D-72904814628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5">
                <a:extLst>
                  <a:ext uri="{96DAC541-7B7A-43D3-8B79-37D633B846F1}">
                    <asvg:svgBlip xmlns:asvg="http://schemas.microsoft.com/office/drawing/2016/SVG/main" xmlns="" r:embed="rId66"/>
                  </a:ext>
                </a:extLst>
              </a:blip>
              <a:srcRect/>
              <a:stretch/>
            </p:blipFill>
            <p:spPr>
              <a:xfrm>
                <a:off x="11439525" y="3390900"/>
                <a:ext cx="19050" cy="38100"/>
              </a:xfrm>
              <a:prstGeom prst="rect">
                <a:avLst/>
              </a:prstGeom>
            </p:spPr>
          </p:pic>
          <p:pic>
            <p:nvPicPr>
              <p:cNvPr id="52" name="Database icon" descr="preencoded.png">
                <a:extLst>
                  <a:ext uri="{FF2B5EF4-FFF2-40B4-BE49-F238E27FC236}">
                    <a16:creationId xmlns:a16="http://schemas.microsoft.com/office/drawing/2014/main" id="{1E59D336-348D-2045-84A5-D8C4AFF2D38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7">
                <a:extLst>
                  <a:ext uri="{96DAC541-7B7A-43D3-8B79-37D633B846F1}">
                    <asvg:svgBlip xmlns:asvg="http://schemas.microsoft.com/office/drawing/2016/SVG/main" xmlns="" r:embed="rId68"/>
                  </a:ext>
                </a:extLst>
              </a:blip>
              <a:srcRect/>
              <a:stretch/>
            </p:blipFill>
            <p:spPr>
              <a:xfrm>
                <a:off x="11410950" y="3048000"/>
                <a:ext cx="95250" cy="57150"/>
              </a:xfrm>
              <a:prstGeom prst="rect">
                <a:avLst/>
              </a:prstGeom>
            </p:spPr>
          </p:pic>
          <p:pic>
            <p:nvPicPr>
              <p:cNvPr id="53" name="Database icon" descr="preencoded.png">
                <a:extLst>
                  <a:ext uri="{FF2B5EF4-FFF2-40B4-BE49-F238E27FC236}">
                    <a16:creationId xmlns:a16="http://schemas.microsoft.com/office/drawing/2014/main" id="{3E7FD1C0-74C5-8245-9C91-E984D5924F0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9">
                <a:extLst>
                  <a:ext uri="{96DAC541-7B7A-43D3-8B79-37D633B846F1}">
                    <asvg:svgBlip xmlns:asvg="http://schemas.microsoft.com/office/drawing/2016/SVG/main" xmlns="" r:embed="rId70"/>
                  </a:ext>
                </a:extLst>
              </a:blip>
              <a:srcRect/>
              <a:stretch/>
            </p:blipFill>
            <p:spPr>
              <a:xfrm>
                <a:off x="11439525" y="3286125"/>
                <a:ext cx="19050" cy="38100"/>
              </a:xfrm>
              <a:prstGeom prst="rect">
                <a:avLst/>
              </a:prstGeom>
            </p:spPr>
          </p:pic>
          <p:pic>
            <p:nvPicPr>
              <p:cNvPr id="54" name="Database icon" descr="preencoded.png">
                <a:extLst>
                  <a:ext uri="{FF2B5EF4-FFF2-40B4-BE49-F238E27FC236}">
                    <a16:creationId xmlns:a16="http://schemas.microsoft.com/office/drawing/2014/main" id="{2F88C5A9-8462-0242-B36D-950DE489C45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1" cstate="email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xmlns="" r:embed="rId72"/>
                  </a:ext>
                </a:extLst>
              </a:blip>
              <a:srcRect/>
              <a:stretch/>
            </p:blipFill>
            <p:spPr>
              <a:xfrm>
                <a:off x="11296650" y="2857500"/>
                <a:ext cx="438150" cy="190500"/>
              </a:xfrm>
              <a:prstGeom prst="rect">
                <a:avLst/>
              </a:prstGeom>
            </p:spPr>
          </p:pic>
          <p:pic>
            <p:nvPicPr>
              <p:cNvPr id="55" name="Database icon" descr="preencoded.png">
                <a:extLst>
                  <a:ext uri="{FF2B5EF4-FFF2-40B4-BE49-F238E27FC236}">
                    <a16:creationId xmlns:a16="http://schemas.microsoft.com/office/drawing/2014/main" id="{04726857-93EE-8B4A-8AF6-2ACBDBBEDD8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3" cstate="email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xmlns="" r:embed="rId74"/>
                  </a:ext>
                </a:extLst>
              </a:blip>
              <a:srcRect/>
              <a:stretch/>
            </p:blipFill>
            <p:spPr>
              <a:xfrm>
                <a:off x="11963400" y="3048000"/>
                <a:ext cx="419100" cy="476250"/>
              </a:xfrm>
              <a:prstGeom prst="rect">
                <a:avLst/>
              </a:prstGeom>
            </p:spPr>
          </p:pic>
          <p:pic>
            <p:nvPicPr>
              <p:cNvPr id="56" name="Object 73" descr="preencoded.png">
                <a:extLst>
                  <a:ext uri="{FF2B5EF4-FFF2-40B4-BE49-F238E27FC236}">
                    <a16:creationId xmlns:a16="http://schemas.microsoft.com/office/drawing/2014/main" id="{F1BA9D79-742E-2D4A-9BB0-45DAE5F04C7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5">
                <a:extLst>
                  <a:ext uri="{96DAC541-7B7A-43D3-8B79-37D633B846F1}">
                    <asvg:svgBlip xmlns:asvg="http://schemas.microsoft.com/office/drawing/2016/SVG/main" xmlns="" r:embed="rId76"/>
                  </a:ext>
                </a:extLst>
              </a:blip>
              <a:srcRect/>
              <a:stretch/>
            </p:blipFill>
            <p:spPr>
              <a:xfrm>
                <a:off x="11772900" y="3105150"/>
                <a:ext cx="38100" cy="19050"/>
              </a:xfrm>
              <a:prstGeom prst="rect">
                <a:avLst/>
              </a:prstGeom>
            </p:spPr>
          </p:pic>
          <p:pic>
            <p:nvPicPr>
              <p:cNvPr id="57" name="Object 74" descr="preencoded.png">
                <a:extLst>
                  <a:ext uri="{FF2B5EF4-FFF2-40B4-BE49-F238E27FC236}">
                    <a16:creationId xmlns:a16="http://schemas.microsoft.com/office/drawing/2014/main" id="{78F42839-0BE7-9441-A247-241EC4E2FFE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7">
                <a:extLst>
                  <a:ext uri="{96DAC541-7B7A-43D3-8B79-37D633B846F1}">
                    <asvg:svgBlip xmlns:asvg="http://schemas.microsoft.com/office/drawing/2016/SVG/main" xmlns="" r:embed="rId78"/>
                  </a:ext>
                </a:extLst>
              </a:blip>
              <a:srcRect/>
              <a:stretch/>
            </p:blipFill>
            <p:spPr>
              <a:xfrm>
                <a:off x="11915775" y="3390900"/>
                <a:ext cx="19050" cy="38100"/>
              </a:xfrm>
              <a:prstGeom prst="rect">
                <a:avLst/>
              </a:prstGeom>
            </p:spPr>
          </p:pic>
          <p:pic>
            <p:nvPicPr>
              <p:cNvPr id="58" name="Object 75" descr="preencoded.png">
                <a:extLst>
                  <a:ext uri="{FF2B5EF4-FFF2-40B4-BE49-F238E27FC236}">
                    <a16:creationId xmlns:a16="http://schemas.microsoft.com/office/drawing/2014/main" id="{2FF35A58-514C-A14A-9466-29BC87EBD64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9">
                <a:extLst>
                  <a:ext uri="{96DAC541-7B7A-43D3-8B79-37D633B846F1}">
                    <asvg:svgBlip xmlns:asvg="http://schemas.microsoft.com/office/drawing/2016/SVG/main" xmlns="" r:embed="rId80"/>
                  </a:ext>
                </a:extLst>
              </a:blip>
              <a:srcRect/>
              <a:stretch/>
            </p:blipFill>
            <p:spPr>
              <a:xfrm>
                <a:off x="11877675" y="3048000"/>
                <a:ext cx="95250" cy="57150"/>
              </a:xfrm>
              <a:prstGeom prst="rect">
                <a:avLst/>
              </a:prstGeom>
            </p:spPr>
          </p:pic>
          <p:pic>
            <p:nvPicPr>
              <p:cNvPr id="59" name="Object 76" descr="preencoded.png">
                <a:extLst>
                  <a:ext uri="{FF2B5EF4-FFF2-40B4-BE49-F238E27FC236}">
                    <a16:creationId xmlns:a16="http://schemas.microsoft.com/office/drawing/2014/main" id="{1BCEA7F5-49AD-6E44-809F-A8246F356A6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1">
                <a:extLst>
                  <a:ext uri="{96DAC541-7B7A-43D3-8B79-37D633B846F1}">
                    <asvg:svgBlip xmlns:asvg="http://schemas.microsoft.com/office/drawing/2016/SVG/main" xmlns="" r:embed="rId82"/>
                  </a:ext>
                </a:extLst>
              </a:blip>
              <a:srcRect/>
              <a:stretch/>
            </p:blipFill>
            <p:spPr>
              <a:xfrm>
                <a:off x="11915775" y="3286125"/>
                <a:ext cx="19050" cy="38100"/>
              </a:xfrm>
              <a:prstGeom prst="rect">
                <a:avLst/>
              </a:prstGeom>
            </p:spPr>
          </p:pic>
          <p:pic>
            <p:nvPicPr>
              <p:cNvPr id="60" name="Object 77" descr="preencoded.png">
                <a:extLst>
                  <a:ext uri="{FF2B5EF4-FFF2-40B4-BE49-F238E27FC236}">
                    <a16:creationId xmlns:a16="http://schemas.microsoft.com/office/drawing/2014/main" id="{31123E40-D489-0B45-ACA2-5C5B836660E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3" cstate="email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xmlns="" r:embed="rId84"/>
                  </a:ext>
                </a:extLst>
              </a:blip>
              <a:srcRect/>
              <a:stretch/>
            </p:blipFill>
            <p:spPr>
              <a:xfrm>
                <a:off x="11772900" y="2857500"/>
                <a:ext cx="438150" cy="190500"/>
              </a:xfrm>
              <a:prstGeom prst="rect">
                <a:avLst/>
              </a:prstGeom>
            </p:spPr>
          </p:pic>
        </p:grpSp>
        <p:sp>
          <p:nvSpPr>
            <p:cNvPr id="40" name="Consolidate up to..">
              <a:extLst>
                <a:ext uri="{FF2B5EF4-FFF2-40B4-BE49-F238E27FC236}">
                  <a16:creationId xmlns:a16="http://schemas.microsoft.com/office/drawing/2014/main" id="{9F7C10D3-E70F-7941-BCC5-9E7B1DFFC143}"/>
                </a:ext>
              </a:extLst>
            </p:cNvPr>
            <p:cNvSpPr/>
            <p:nvPr/>
          </p:nvSpPr>
          <p:spPr>
            <a:xfrm>
              <a:off x="5993647" y="1824605"/>
              <a:ext cx="4752975" cy="299762"/>
            </a:xfrm>
            <a:prstGeom prst="rect">
              <a:avLst/>
            </a:prstGeom>
            <a:noFill/>
            <a:ln/>
          </p:spPr>
          <p:txBody>
            <a:bodyPr wrap="square" lIns="0" tIns="0" rIns="0" bIns="0" rtlCol="0" anchor="t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ts val="24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AE562C"/>
                  </a:solidFill>
                  <a:effectLst/>
                  <a:uLnTx/>
                  <a:uFillTx/>
                  <a:latin typeface="Oracle Sans Bold" pitchFamily="34" charset="0"/>
                  <a:ea typeface="Oracle Sans Bold" pitchFamily="34" charset="-122"/>
                  <a:cs typeface="Oracle Sans Bold" pitchFamily="34" charset="-120"/>
                </a:rPr>
                <a:t>Consolidate up to thousands of databases</a:t>
              </a: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AE562C"/>
                </a:solidFill>
                <a:effectLst/>
                <a:uLnTx/>
                <a:uFillTx/>
                <a:latin typeface="Oracle Sans Tab"/>
                <a:ea typeface="+mn-ea"/>
                <a:cs typeface="+mn-cs"/>
              </a:endParaRPr>
            </a:p>
          </p:txBody>
        </p:sp>
      </p:grpSp>
      <p:pic>
        <p:nvPicPr>
          <p:cNvPr id="82" name="Line - up for compute scaling" descr="preencoded.png">
            <a:extLst>
              <a:ext uri="{FF2B5EF4-FFF2-40B4-BE49-F238E27FC236}">
                <a16:creationId xmlns:a16="http://schemas.microsoft.com/office/drawing/2014/main" id="{14C9BE88-AD26-3748-836A-3FBF46450A0E}"/>
              </a:ext>
            </a:extLst>
          </p:cNvPr>
          <p:cNvPicPr>
            <a:picLocks noChangeAspect="1"/>
          </p:cNvPicPr>
          <p:nvPr/>
        </p:nvPicPr>
        <p:blipFill>
          <a:blip r:embed="rId85">
            <a:extLst>
              <a:ext uri="{96DAC541-7B7A-43D3-8B79-37D633B846F1}">
                <asvg:svgBlip xmlns:asvg="http://schemas.microsoft.com/office/drawing/2016/SVG/main" xmlns="" r:embed="rId86"/>
              </a:ext>
            </a:extLst>
          </a:blip>
          <a:srcRect/>
          <a:stretch/>
        </p:blipFill>
        <p:spPr>
          <a:xfrm>
            <a:off x="1051559" y="1707062"/>
            <a:ext cx="46434" cy="4117151"/>
          </a:xfrm>
          <a:prstGeom prst="rect">
            <a:avLst/>
          </a:prstGeom>
        </p:spPr>
      </p:pic>
      <p:grpSp>
        <p:nvGrpSpPr>
          <p:cNvPr id="84" name="Group 83">
            <a:extLst>
              <a:ext uri="{FF2B5EF4-FFF2-40B4-BE49-F238E27FC236}">
                <a16:creationId xmlns:a16="http://schemas.microsoft.com/office/drawing/2014/main" id="{B40E5DDD-9DFB-4E46-8B6B-A0FB77627501}"/>
              </a:ext>
            </a:extLst>
          </p:cNvPr>
          <p:cNvGrpSpPr/>
          <p:nvPr/>
        </p:nvGrpSpPr>
        <p:grpSpPr>
          <a:xfrm>
            <a:off x="7770092" y="4244478"/>
            <a:ext cx="3353882" cy="1362864"/>
            <a:chOff x="7770092" y="4244478"/>
            <a:chExt cx="3353882" cy="1362864"/>
          </a:xfrm>
          <a:solidFill>
            <a:schemeClr val="tx2"/>
          </a:solidFill>
        </p:grpSpPr>
        <p:pic>
          <p:nvPicPr>
            <p:cNvPr id="86" name="Arrow for SS" descr="preencoded.png">
              <a:extLst>
                <a:ext uri="{FF2B5EF4-FFF2-40B4-BE49-F238E27FC236}">
                  <a16:creationId xmlns:a16="http://schemas.microsoft.com/office/drawing/2014/main" id="{5A699B56-8D01-8D40-BA91-61B741FFEA33}"/>
                </a:ext>
              </a:extLst>
            </p:cNvPr>
            <p:cNvPicPr>
              <a:picLocks/>
            </p:cNvPicPr>
            <p:nvPr/>
          </p:nvPicPr>
          <p:blipFill>
            <a:blip r:embed="rId87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xmlns="" r:embed="rId88"/>
                </a:ext>
              </a:extLst>
            </a:blip>
            <a:srcRect/>
            <a:stretch/>
          </p:blipFill>
          <p:spPr>
            <a:xfrm>
              <a:off x="7911727" y="5244015"/>
              <a:ext cx="123017" cy="218756"/>
            </a:xfrm>
            <a:prstGeom prst="rect">
              <a:avLst/>
            </a:prstGeom>
          </p:spPr>
        </p:pic>
        <p:sp>
          <p:nvSpPr>
            <p:cNvPr id="87" name="Petabyte dw">
              <a:extLst>
                <a:ext uri="{FF2B5EF4-FFF2-40B4-BE49-F238E27FC236}">
                  <a16:creationId xmlns:a16="http://schemas.microsoft.com/office/drawing/2014/main" id="{74691EAC-951C-4D4F-8FE8-8127242B836A}"/>
                </a:ext>
              </a:extLst>
            </p:cNvPr>
            <p:cNvSpPr/>
            <p:nvPr/>
          </p:nvSpPr>
          <p:spPr>
            <a:xfrm>
              <a:off x="7770092" y="4244478"/>
              <a:ext cx="3353882" cy="299762"/>
            </a:xfrm>
            <a:prstGeom prst="rect">
              <a:avLst/>
            </a:prstGeom>
            <a:noFill/>
            <a:ln/>
          </p:spPr>
          <p:txBody>
            <a:bodyPr wrap="square" lIns="0" tIns="0" rIns="0" bIns="0" rtlCol="0" anchor="t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ts val="24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759C6C"/>
                  </a:solidFill>
                  <a:effectLst/>
                  <a:uLnTx/>
                  <a:uFillTx/>
                  <a:latin typeface="Oracle Sans Bold" pitchFamily="34" charset="0"/>
                  <a:ea typeface="Oracle Sans Bold" pitchFamily="34" charset="-122"/>
                  <a:cs typeface="Oracle Sans Bold" pitchFamily="34" charset="-120"/>
                </a:rPr>
                <a:t>Petabyte data warehouse</a:t>
              </a: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759C6C"/>
                </a:solidFill>
                <a:effectLst/>
                <a:uLnTx/>
                <a:uFillTx/>
                <a:latin typeface="Oracle Sans Tab"/>
                <a:ea typeface="+mn-ea"/>
                <a:cs typeface="+mn-cs"/>
              </a:endParaRPr>
            </a:p>
          </p:txBody>
        </p:sp>
        <p:grpSp>
          <p:nvGrpSpPr>
            <p:cNvPr id="88" name="Group 87">
              <a:extLst>
                <a:ext uri="{FF2B5EF4-FFF2-40B4-BE49-F238E27FC236}">
                  <a16:creationId xmlns:a16="http://schemas.microsoft.com/office/drawing/2014/main" id="{924E0824-05C8-4F4B-ADA1-9B29B762F058}"/>
                </a:ext>
              </a:extLst>
            </p:cNvPr>
            <p:cNvGrpSpPr/>
            <p:nvPr/>
          </p:nvGrpSpPr>
          <p:grpSpPr>
            <a:xfrm>
              <a:off x="8367299" y="4613625"/>
              <a:ext cx="2119098" cy="993717"/>
              <a:chOff x="2053657" y="4332222"/>
              <a:chExt cx="2050809" cy="1001935"/>
            </a:xfrm>
            <a:grpFill/>
          </p:grpSpPr>
          <p:pic>
            <p:nvPicPr>
              <p:cNvPr id="89" name="Object 16" descr="preencoded.png">
                <a:extLst>
                  <a:ext uri="{FF2B5EF4-FFF2-40B4-BE49-F238E27FC236}">
                    <a16:creationId xmlns:a16="http://schemas.microsoft.com/office/drawing/2014/main" id="{7369E14A-7717-8549-9C44-BF7AAF82B4F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xmlns="" r:embed="rId89"/>
                  </a:ext>
                </a:extLst>
              </a:blip>
              <a:srcRect/>
              <a:stretch/>
            </p:blipFill>
            <p:spPr>
              <a:xfrm>
                <a:off x="2053657" y="4756685"/>
                <a:ext cx="666750" cy="171450"/>
              </a:xfrm>
              <a:prstGeom prst="rect">
                <a:avLst/>
              </a:prstGeom>
            </p:spPr>
          </p:pic>
          <p:pic>
            <p:nvPicPr>
              <p:cNvPr id="90" name="Object 25" descr="preencoded.png">
                <a:extLst>
                  <a:ext uri="{FF2B5EF4-FFF2-40B4-BE49-F238E27FC236}">
                    <a16:creationId xmlns:a16="http://schemas.microsoft.com/office/drawing/2014/main" id="{59EB7840-B7A2-054F-92D3-042A97CAB2B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>
                <a:extLst>
                  <a:ext uri="{96DAC541-7B7A-43D3-8B79-37D633B846F1}">
                    <asvg:svgBlip xmlns:asvg="http://schemas.microsoft.com/office/drawing/2016/SVG/main" xmlns="" r:embed="rId90"/>
                  </a:ext>
                </a:extLst>
              </a:blip>
              <a:srcRect/>
              <a:stretch/>
            </p:blipFill>
            <p:spPr>
              <a:xfrm>
                <a:off x="2053657" y="4947185"/>
                <a:ext cx="666750" cy="190500"/>
              </a:xfrm>
              <a:prstGeom prst="rect">
                <a:avLst/>
              </a:prstGeom>
            </p:spPr>
          </p:pic>
          <p:pic>
            <p:nvPicPr>
              <p:cNvPr id="91" name="Object 33" descr="preencoded.png">
                <a:extLst>
                  <a:ext uri="{FF2B5EF4-FFF2-40B4-BE49-F238E27FC236}">
                    <a16:creationId xmlns:a16="http://schemas.microsoft.com/office/drawing/2014/main" id="{FA8A3C8E-4E79-A243-8A42-C814D87896A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>
                <a:extLst>
                  <a:ext uri="{96DAC541-7B7A-43D3-8B79-37D633B846F1}">
                    <asvg:svgBlip xmlns:asvg="http://schemas.microsoft.com/office/drawing/2016/SVG/main" xmlns="" r:embed="rId91"/>
                  </a:ext>
                </a:extLst>
              </a:blip>
              <a:srcRect/>
              <a:stretch/>
            </p:blipFill>
            <p:spPr>
              <a:xfrm>
                <a:off x="2053657" y="5141237"/>
                <a:ext cx="666750" cy="190500"/>
              </a:xfrm>
              <a:prstGeom prst="rect">
                <a:avLst/>
              </a:prstGeom>
            </p:spPr>
          </p:pic>
          <p:pic>
            <p:nvPicPr>
              <p:cNvPr id="92" name="Object 53" descr="preencoded.png">
                <a:extLst>
                  <a:ext uri="{FF2B5EF4-FFF2-40B4-BE49-F238E27FC236}">
                    <a16:creationId xmlns:a16="http://schemas.microsoft.com/office/drawing/2014/main" id="{A14DDA72-482D-1347-9F1F-19710F7E748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1">
                <a:extLst>
                  <a:ext uri="{96DAC541-7B7A-43D3-8B79-37D633B846F1}">
                    <asvg:svgBlip xmlns:asvg="http://schemas.microsoft.com/office/drawing/2016/SVG/main" xmlns="" r:embed="rId92"/>
                  </a:ext>
                </a:extLst>
              </a:blip>
              <a:srcRect/>
              <a:stretch/>
            </p:blipFill>
            <p:spPr>
              <a:xfrm>
                <a:off x="2053657" y="4332222"/>
                <a:ext cx="666750" cy="209550"/>
              </a:xfrm>
              <a:prstGeom prst="rect">
                <a:avLst/>
              </a:prstGeom>
            </p:spPr>
          </p:pic>
          <p:pic>
            <p:nvPicPr>
              <p:cNvPr id="93" name="Object 44" descr="preencoded.png">
                <a:extLst>
                  <a:ext uri="{FF2B5EF4-FFF2-40B4-BE49-F238E27FC236}">
                    <a16:creationId xmlns:a16="http://schemas.microsoft.com/office/drawing/2014/main" id="{CB45CA58-C968-1A48-894E-1BC29ECF6E4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">
                <a:extLst>
                  <a:ext uri="{96DAC541-7B7A-43D3-8B79-37D633B846F1}">
                    <asvg:svgBlip xmlns:asvg="http://schemas.microsoft.com/office/drawing/2016/SVG/main" xmlns="" r:embed="rId93"/>
                  </a:ext>
                </a:extLst>
              </a:blip>
              <a:srcRect/>
              <a:stretch/>
            </p:blipFill>
            <p:spPr>
              <a:xfrm>
                <a:off x="2053657" y="4557270"/>
                <a:ext cx="666750" cy="190500"/>
              </a:xfrm>
              <a:prstGeom prst="rect">
                <a:avLst/>
              </a:prstGeom>
            </p:spPr>
          </p:pic>
          <p:pic>
            <p:nvPicPr>
              <p:cNvPr id="94" name="Object 16" descr="preencoded.png">
                <a:extLst>
                  <a:ext uri="{FF2B5EF4-FFF2-40B4-BE49-F238E27FC236}">
                    <a16:creationId xmlns:a16="http://schemas.microsoft.com/office/drawing/2014/main" id="{ACDFC5D7-6B4B-FB4F-89EC-082E0ACEADA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xmlns="" r:embed="rId89"/>
                  </a:ext>
                </a:extLst>
              </a:blip>
              <a:srcRect/>
              <a:stretch/>
            </p:blipFill>
            <p:spPr>
              <a:xfrm>
                <a:off x="2740795" y="4977274"/>
                <a:ext cx="666750" cy="171450"/>
              </a:xfrm>
              <a:prstGeom prst="rect">
                <a:avLst/>
              </a:prstGeom>
            </p:spPr>
          </p:pic>
          <p:pic>
            <p:nvPicPr>
              <p:cNvPr id="95" name="Object 16" descr="preencoded.png">
                <a:extLst>
                  <a:ext uri="{FF2B5EF4-FFF2-40B4-BE49-F238E27FC236}">
                    <a16:creationId xmlns:a16="http://schemas.microsoft.com/office/drawing/2014/main" id="{8C3FBEF1-A654-6F4C-BEDB-BF3FDC571F5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xmlns="" r:embed="rId89"/>
                  </a:ext>
                </a:extLst>
              </a:blip>
              <a:srcRect/>
              <a:stretch/>
            </p:blipFill>
            <p:spPr>
              <a:xfrm>
                <a:off x="2735905" y="5162707"/>
                <a:ext cx="666750" cy="171450"/>
              </a:xfrm>
              <a:prstGeom prst="rect">
                <a:avLst/>
              </a:prstGeom>
            </p:spPr>
          </p:pic>
          <p:pic>
            <p:nvPicPr>
              <p:cNvPr id="96" name="Object 16" descr="preencoded.png">
                <a:extLst>
                  <a:ext uri="{FF2B5EF4-FFF2-40B4-BE49-F238E27FC236}">
                    <a16:creationId xmlns:a16="http://schemas.microsoft.com/office/drawing/2014/main" id="{BC1C7497-4F9C-9D4C-AE6E-1F830B41DCB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xmlns="" r:embed="rId89"/>
                  </a:ext>
                </a:extLst>
              </a:blip>
              <a:srcRect/>
              <a:stretch/>
            </p:blipFill>
            <p:spPr>
              <a:xfrm>
                <a:off x="2742418" y="4790770"/>
                <a:ext cx="666750" cy="171450"/>
              </a:xfrm>
              <a:prstGeom prst="rect">
                <a:avLst/>
              </a:prstGeom>
            </p:spPr>
          </p:pic>
          <p:pic>
            <p:nvPicPr>
              <p:cNvPr id="97" name="Object 16" descr="preencoded.png">
                <a:extLst>
                  <a:ext uri="{FF2B5EF4-FFF2-40B4-BE49-F238E27FC236}">
                    <a16:creationId xmlns:a16="http://schemas.microsoft.com/office/drawing/2014/main" id="{263C1F5F-1DF8-C948-8BB9-4562B344636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xmlns="" r:embed="rId89"/>
                  </a:ext>
                </a:extLst>
              </a:blip>
              <a:srcRect/>
              <a:stretch/>
            </p:blipFill>
            <p:spPr>
              <a:xfrm>
                <a:off x="2744367" y="4592602"/>
                <a:ext cx="666750" cy="171450"/>
              </a:xfrm>
              <a:prstGeom prst="rect">
                <a:avLst/>
              </a:prstGeom>
            </p:spPr>
          </p:pic>
          <p:pic>
            <p:nvPicPr>
              <p:cNvPr id="98" name="Object 16" descr="preencoded.png">
                <a:extLst>
                  <a:ext uri="{FF2B5EF4-FFF2-40B4-BE49-F238E27FC236}">
                    <a16:creationId xmlns:a16="http://schemas.microsoft.com/office/drawing/2014/main" id="{6CD9516F-E45D-6A4A-9C5A-E7E3D1285BA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xmlns="" r:embed="rId89"/>
                  </a:ext>
                </a:extLst>
              </a:blip>
              <a:srcRect/>
              <a:stretch/>
            </p:blipFill>
            <p:spPr>
              <a:xfrm>
                <a:off x="2742418" y="4416134"/>
                <a:ext cx="666750" cy="171450"/>
              </a:xfrm>
              <a:prstGeom prst="rect">
                <a:avLst/>
              </a:prstGeom>
            </p:spPr>
          </p:pic>
          <p:pic>
            <p:nvPicPr>
              <p:cNvPr id="99" name="Object 16" descr="preencoded.png">
                <a:extLst>
                  <a:ext uri="{FF2B5EF4-FFF2-40B4-BE49-F238E27FC236}">
                    <a16:creationId xmlns:a16="http://schemas.microsoft.com/office/drawing/2014/main" id="{5837882F-2244-9143-9B42-F094DCD3BE7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xmlns="" r:embed="rId89"/>
                  </a:ext>
                </a:extLst>
              </a:blip>
              <a:srcRect/>
              <a:stretch/>
            </p:blipFill>
            <p:spPr>
              <a:xfrm>
                <a:off x="3436093" y="4977274"/>
                <a:ext cx="666750" cy="171450"/>
              </a:xfrm>
              <a:prstGeom prst="rect">
                <a:avLst/>
              </a:prstGeom>
            </p:spPr>
          </p:pic>
          <p:pic>
            <p:nvPicPr>
              <p:cNvPr id="100" name="Object 16" descr="preencoded.png">
                <a:extLst>
                  <a:ext uri="{FF2B5EF4-FFF2-40B4-BE49-F238E27FC236}">
                    <a16:creationId xmlns:a16="http://schemas.microsoft.com/office/drawing/2014/main" id="{0E508E9A-4E15-6C4E-BBC2-D5B83A10453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xmlns="" r:embed="rId89"/>
                  </a:ext>
                </a:extLst>
              </a:blip>
              <a:srcRect/>
              <a:stretch/>
            </p:blipFill>
            <p:spPr>
              <a:xfrm>
                <a:off x="3431702" y="5162707"/>
                <a:ext cx="666750" cy="171450"/>
              </a:xfrm>
              <a:prstGeom prst="rect">
                <a:avLst/>
              </a:prstGeom>
            </p:spPr>
          </p:pic>
          <p:pic>
            <p:nvPicPr>
              <p:cNvPr id="101" name="Object 16" descr="preencoded.png">
                <a:extLst>
                  <a:ext uri="{FF2B5EF4-FFF2-40B4-BE49-F238E27FC236}">
                    <a16:creationId xmlns:a16="http://schemas.microsoft.com/office/drawing/2014/main" id="{91B477C0-80E1-3D44-AA57-1E5061A01D8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xmlns="" r:embed="rId89"/>
                  </a:ext>
                </a:extLst>
              </a:blip>
              <a:srcRect/>
              <a:stretch/>
            </p:blipFill>
            <p:spPr>
              <a:xfrm>
                <a:off x="3437716" y="4790770"/>
                <a:ext cx="666750" cy="171450"/>
              </a:xfrm>
              <a:prstGeom prst="rect">
                <a:avLst/>
              </a:prstGeom>
            </p:spPr>
          </p:pic>
          <p:pic>
            <p:nvPicPr>
              <p:cNvPr id="102" name="Object 16" descr="preencoded.png">
                <a:extLst>
                  <a:ext uri="{FF2B5EF4-FFF2-40B4-BE49-F238E27FC236}">
                    <a16:creationId xmlns:a16="http://schemas.microsoft.com/office/drawing/2014/main" id="{75324E2C-4EB9-8F4B-8E54-FEE750E779C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xmlns="" r:embed="rId89"/>
                  </a:ext>
                </a:extLst>
              </a:blip>
              <a:srcRect/>
              <a:stretch/>
            </p:blipFill>
            <p:spPr>
              <a:xfrm>
                <a:off x="3424666" y="4592602"/>
                <a:ext cx="666750" cy="171450"/>
              </a:xfrm>
              <a:prstGeom prst="rect">
                <a:avLst/>
              </a:prstGeom>
            </p:spPr>
          </p:pic>
          <p:pic>
            <p:nvPicPr>
              <p:cNvPr id="103" name="Object 16" descr="preencoded.png">
                <a:extLst>
                  <a:ext uri="{FF2B5EF4-FFF2-40B4-BE49-F238E27FC236}">
                    <a16:creationId xmlns:a16="http://schemas.microsoft.com/office/drawing/2014/main" id="{24792F3D-BD08-BA4C-B43A-FD468192945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xmlns="" r:embed="rId89"/>
                  </a:ext>
                </a:extLst>
              </a:blip>
              <a:srcRect/>
              <a:stretch/>
            </p:blipFill>
            <p:spPr>
              <a:xfrm>
                <a:off x="3437716" y="4416134"/>
                <a:ext cx="666750" cy="171450"/>
              </a:xfrm>
              <a:prstGeom prst="rect">
                <a:avLst/>
              </a:prstGeom>
            </p:spPr>
          </p:pic>
        </p:grpSp>
      </p:grpSp>
      <p:sp>
        <p:nvSpPr>
          <p:cNvPr id="105" name="TextBox 104">
            <a:extLst>
              <a:ext uri="{FF2B5EF4-FFF2-40B4-BE49-F238E27FC236}">
                <a16:creationId xmlns:a16="http://schemas.microsoft.com/office/drawing/2014/main" id="{DE6A9DC4-2039-9748-AB3D-0D10E77FBEDC}"/>
              </a:ext>
            </a:extLst>
          </p:cNvPr>
          <p:cNvSpPr txBox="1"/>
          <p:nvPr/>
        </p:nvSpPr>
        <p:spPr>
          <a:xfrm>
            <a:off x="7235874" y="6224602"/>
            <a:ext cx="356657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315357"/>
                </a:solidFill>
                <a:effectLst/>
                <a:uLnTx/>
                <a:uFillTx/>
                <a:latin typeface="Oracle Sans Tab"/>
                <a:ea typeface="+mn-ea"/>
                <a:cs typeface="+mn-cs"/>
              </a:rPr>
              <a:t>Online – No downtime scaling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F077FEFE-0A82-4BCC-A9DA-D2D0E0AE33DF}"/>
              </a:ext>
            </a:extLst>
          </p:cNvPr>
          <p:cNvGrpSpPr/>
          <p:nvPr/>
        </p:nvGrpSpPr>
        <p:grpSpPr>
          <a:xfrm>
            <a:off x="1051560" y="5700388"/>
            <a:ext cx="10203181" cy="247650"/>
            <a:chOff x="1051560" y="5700388"/>
            <a:chExt cx="10203181" cy="247650"/>
          </a:xfrm>
        </p:grpSpPr>
        <p:pic>
          <p:nvPicPr>
            <p:cNvPr id="83" name="Object 7" descr="preencoded.png">
              <a:extLst>
                <a:ext uri="{FF2B5EF4-FFF2-40B4-BE49-F238E27FC236}">
                  <a16:creationId xmlns:a16="http://schemas.microsoft.com/office/drawing/2014/main" id="{AAA06329-255B-324F-9DE8-FC8C7F51A593}"/>
                </a:ext>
              </a:extLst>
            </p:cNvPr>
            <p:cNvPicPr>
              <a:picLocks noChangeAspect="1"/>
            </p:cNvPicPr>
            <p:nvPr/>
          </p:nvPicPr>
          <p:blipFill>
            <a:blip r:embed="rId85">
              <a:extLst>
                <a:ext uri="{96DAC541-7B7A-43D3-8B79-37D633B846F1}">
                  <asvg:svgBlip xmlns:asvg="http://schemas.microsoft.com/office/drawing/2016/SVG/main" xmlns="" r:embed="rId94"/>
                </a:ext>
              </a:extLst>
            </a:blip>
            <a:srcRect/>
            <a:stretch/>
          </p:blipFill>
          <p:spPr>
            <a:xfrm rot="5400000" flipH="1">
              <a:off x="6097724" y="761948"/>
              <a:ext cx="57511" cy="10149840"/>
            </a:xfrm>
            <a:prstGeom prst="rect">
              <a:avLst/>
            </a:prstGeom>
          </p:spPr>
        </p:pic>
        <p:pic>
          <p:nvPicPr>
            <p:cNvPr id="120" name="Arrow for compute scaling" descr="preencoded.png">
              <a:extLst>
                <a:ext uri="{FF2B5EF4-FFF2-40B4-BE49-F238E27FC236}">
                  <a16:creationId xmlns:a16="http://schemas.microsoft.com/office/drawing/2014/main" id="{D8B357B0-45A9-4123-B149-EF8ABAC56A65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>
              <a:extLst>
                <a:ext uri="{96DAC541-7B7A-43D3-8B79-37D633B846F1}">
                  <asvg:svgBlip xmlns:asvg="http://schemas.microsoft.com/office/drawing/2016/SVG/main" xmlns="" r:embed="rId14"/>
                </a:ext>
              </a:extLst>
            </a:blip>
            <a:srcRect/>
            <a:stretch/>
          </p:blipFill>
          <p:spPr>
            <a:xfrm rot="5400000">
              <a:off x="11016616" y="5709913"/>
              <a:ext cx="247650" cy="228600"/>
            </a:xfrm>
            <a:prstGeom prst="rect">
              <a:avLst/>
            </a:prstGeom>
          </p:spPr>
        </p:pic>
      </p:grpSp>
      <p:grpSp>
        <p:nvGrpSpPr>
          <p:cNvPr id="122" name="Group 121">
            <a:extLst>
              <a:ext uri="{FF2B5EF4-FFF2-40B4-BE49-F238E27FC236}">
                <a16:creationId xmlns:a16="http://schemas.microsoft.com/office/drawing/2014/main" id="{667139A1-CD84-4613-B910-7BDE166E567F}"/>
              </a:ext>
            </a:extLst>
          </p:cNvPr>
          <p:cNvGrpSpPr/>
          <p:nvPr/>
        </p:nvGrpSpPr>
        <p:grpSpPr>
          <a:xfrm>
            <a:off x="3064768" y="2930261"/>
            <a:ext cx="3859019" cy="1389746"/>
            <a:chOff x="3064768" y="2930261"/>
            <a:chExt cx="3859019" cy="1389746"/>
          </a:xfrm>
        </p:grpSpPr>
        <p:sp>
          <p:nvSpPr>
            <p:cNvPr id="80" name="Object 35" descr="preencoded.png">
              <a:extLst>
                <a:ext uri="{FF2B5EF4-FFF2-40B4-BE49-F238E27FC236}">
                  <a16:creationId xmlns:a16="http://schemas.microsoft.com/office/drawing/2014/main" id="{FC609FCD-DB4B-6D45-9D69-C0A31642159A}"/>
                </a:ext>
              </a:extLst>
            </p:cNvPr>
            <p:cNvSpPr/>
            <p:nvPr/>
          </p:nvSpPr>
          <p:spPr>
            <a:xfrm rot="21225952">
              <a:off x="3064768" y="3259097"/>
              <a:ext cx="3836923" cy="1060910"/>
            </a:xfrm>
            <a:custGeom>
              <a:avLst/>
              <a:gdLst>
                <a:gd name="connsiteX0" fmla="*/ 0 w 5067300"/>
                <a:gd name="connsiteY0" fmla="*/ 2170502 h 2170501"/>
                <a:gd name="connsiteX1" fmla="*/ 5067300 w 5067300"/>
                <a:gd name="connsiteY1" fmla="*/ 0 h 21705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067300" h="2170501">
                  <a:moveTo>
                    <a:pt x="0" y="2170502"/>
                  </a:moveTo>
                  <a:lnTo>
                    <a:pt x="5067300" y="0"/>
                  </a:lnTo>
                </a:path>
              </a:pathLst>
            </a:custGeom>
            <a:solidFill>
              <a:srgbClr val="CE9BA7"/>
            </a:solidFill>
            <a:ln w="38100" cap="flat">
              <a:solidFill>
                <a:schemeClr val="accent5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312D2A"/>
                </a:solidFill>
                <a:effectLst/>
                <a:uLnTx/>
                <a:uFillTx/>
                <a:latin typeface="Oracle Sans Tab"/>
                <a:ea typeface="+mn-ea"/>
                <a:cs typeface="+mn-cs"/>
              </a:endParaRPr>
            </a:p>
          </p:txBody>
        </p:sp>
        <p:pic>
          <p:nvPicPr>
            <p:cNvPr id="121" name="Arrow for compute scaling" descr="preencoded.png">
              <a:extLst>
                <a:ext uri="{FF2B5EF4-FFF2-40B4-BE49-F238E27FC236}">
                  <a16:creationId xmlns:a16="http://schemas.microsoft.com/office/drawing/2014/main" id="{193F4318-ED76-4408-B281-E63943A7F93F}"/>
                </a:ext>
              </a:extLst>
            </p:cNvPr>
            <p:cNvPicPr>
              <a:picLocks noChangeAspect="1"/>
            </p:cNvPicPr>
            <p:nvPr/>
          </p:nvPicPr>
          <p:blipFill>
            <a:blip r:embed="rId95">
              <a:extLst>
                <a:ext uri="{96DAC541-7B7A-43D3-8B79-37D633B846F1}">
                  <asvg:svgBlip xmlns:asvg="http://schemas.microsoft.com/office/drawing/2016/SVG/main" xmlns="" r:embed="rId96"/>
                </a:ext>
              </a:extLst>
            </a:blip>
            <a:srcRect/>
            <a:stretch/>
          </p:blipFill>
          <p:spPr>
            <a:xfrm rot="3808858">
              <a:off x="6691884" y="2946007"/>
              <a:ext cx="247650" cy="216157"/>
            </a:xfrm>
            <a:prstGeom prst="rect">
              <a:avLst/>
            </a:prstGeom>
          </p:spPr>
        </p:pic>
      </p:grpSp>
      <p:sp>
        <p:nvSpPr>
          <p:cNvPr id="79" name="Slide Number Placeholder 78"/>
          <p:cNvSpPr>
            <a:spLocks noGrp="1"/>
          </p:cNvSpPr>
          <p:nvPr>
            <p:ph type="sldNum" sz="quarter" idx="47"/>
          </p:nvPr>
        </p:nvSpPr>
        <p:spPr/>
        <p:txBody>
          <a:bodyPr/>
          <a:lstStyle/>
          <a:p>
            <a:fld id="{345D60D9-5372-5F40-9443-0F9AE5BDC3C8}" type="slidenum">
              <a:rPr lang="en-US" smtClean="0"/>
              <a:pPr/>
              <a:t>1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631776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75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750"/>
                            </p:stCondLst>
                            <p:childTnLst>
                              <p:par>
                                <p:cTn id="14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6" dur="500"/>
                                        <p:tgtEl>
                                          <p:spTgt spid="8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1" dur="500"/>
                                        <p:tgtEl>
                                          <p:spTgt spid="1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500"/>
                            </p:stCondLst>
                            <p:childTnLst>
                              <p:par>
                                <p:cTn id="23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5" dur="75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3"/>
          <p:cNvSpPr>
            <a:spLocks noGrp="1"/>
          </p:cNvSpPr>
          <p:nvPr>
            <p:ph type="title"/>
          </p:nvPr>
        </p:nvSpPr>
        <p:spPr>
          <a:xfrm>
            <a:off x="304799" y="489942"/>
            <a:ext cx="10343805" cy="321393"/>
          </a:xfrm>
        </p:spPr>
        <p:txBody>
          <a:bodyPr>
            <a:noAutofit/>
          </a:bodyPr>
          <a:lstStyle/>
          <a:p>
            <a:r>
              <a:rPr lang="en-US" dirty="0" smtClean="0">
                <a:solidFill>
                  <a:schemeClr val="tx1"/>
                </a:solidFill>
              </a:rPr>
              <a:t>     SQL&gt; select  *  from person where name = ‘</a:t>
            </a:r>
            <a:r>
              <a:rPr lang="en-US" dirty="0" smtClean="0"/>
              <a:t>Marcel Lamarca</a:t>
            </a:r>
            <a:r>
              <a:rPr lang="en-US" dirty="0" smtClean="0">
                <a:solidFill>
                  <a:schemeClr val="tx1"/>
                </a:solidFill>
              </a:rPr>
              <a:t>’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6063395" y="1157158"/>
            <a:ext cx="4985407" cy="5280222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lvl="0" eaLnBrk="1" fontAlgn="auto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endParaRPr kumimoji="0" lang="en-US" sz="1400" b="0" i="0" u="none" strike="noStrike" kern="1200" cap="none" spc="0" normalizeH="0" baseline="0" noProof="0" dirty="0" smtClean="0">
              <a:ln>
                <a:noFill/>
              </a:ln>
              <a:solidFill>
                <a:srgbClr val="312D2A"/>
              </a:solidFill>
              <a:effectLst/>
              <a:uLnTx/>
              <a:uFillTx/>
              <a:latin typeface="Oracle Sans"/>
              <a:cs typeface="Arial"/>
            </a:endParaRPr>
          </a:p>
          <a:p>
            <a:pPr lvl="0" eaLnBrk="1" fontAlgn="auto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pt-BR" sz="1600" b="1" dirty="0" smtClean="0">
                <a:solidFill>
                  <a:srgbClr val="312D2A"/>
                </a:solidFill>
                <a:latin typeface="Oracle Sans"/>
              </a:rPr>
              <a:t>About My </a:t>
            </a:r>
            <a:r>
              <a:rPr lang="pt-BR" sz="1600" b="1" dirty="0">
                <a:solidFill>
                  <a:srgbClr val="312D2A"/>
                </a:solidFill>
                <a:latin typeface="Oracle Sans"/>
              </a:rPr>
              <a:t>C</a:t>
            </a:r>
            <a:r>
              <a:rPr lang="pt-BR" sz="1600" b="1" dirty="0" smtClean="0">
                <a:solidFill>
                  <a:srgbClr val="312D2A"/>
                </a:solidFill>
                <a:latin typeface="Oracle Sans"/>
              </a:rPr>
              <a:t>areer</a:t>
            </a:r>
          </a:p>
          <a:p>
            <a:pPr lvl="0" eaLnBrk="1" fontAlgn="auto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en-US" sz="800" b="1" dirty="0" smtClean="0">
              <a:solidFill>
                <a:srgbClr val="312D2A"/>
              </a:solidFill>
              <a:latin typeface="Oracle Sans"/>
            </a:endParaRPr>
          </a:p>
          <a:p>
            <a:pPr marL="171450" lvl="0" indent="-171450" eaLnBrk="1" fontAlgn="auto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en-US" sz="1200" dirty="0" smtClean="0">
                <a:solidFill>
                  <a:srgbClr val="312D2A"/>
                </a:solidFill>
                <a:latin typeface="Oracle Sans"/>
              </a:rPr>
              <a:t>22 </a:t>
            </a:r>
            <a:r>
              <a:rPr lang="en-US" sz="1200" dirty="0">
                <a:solidFill>
                  <a:srgbClr val="312D2A"/>
                </a:solidFill>
                <a:latin typeface="Oracle Sans"/>
              </a:rPr>
              <a:t>Y</a:t>
            </a:r>
            <a:r>
              <a:rPr lang="en-US" sz="1200" dirty="0" smtClean="0">
                <a:solidFill>
                  <a:srgbClr val="312D2A"/>
                </a:solidFill>
                <a:latin typeface="Oracle Sans"/>
              </a:rPr>
              <a:t>ears </a:t>
            </a:r>
            <a:r>
              <a:rPr lang="en-US" sz="1200" dirty="0">
                <a:solidFill>
                  <a:srgbClr val="312D2A"/>
                </a:solidFill>
                <a:latin typeface="Oracle Sans"/>
              </a:rPr>
              <a:t>dedicated to study and support Oracle Databases</a:t>
            </a:r>
            <a:r>
              <a:rPr lang="en-US" sz="1200" dirty="0" smtClean="0">
                <a:solidFill>
                  <a:srgbClr val="312D2A"/>
                </a:solidFill>
                <a:latin typeface="Oracle Sans"/>
              </a:rPr>
              <a:t>. </a:t>
            </a:r>
          </a:p>
          <a:p>
            <a:pPr marL="171450" lvl="0" indent="-171450" eaLnBrk="1" fontAlgn="auto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en-US" sz="1200" dirty="0" smtClean="0">
                <a:solidFill>
                  <a:srgbClr val="312D2A"/>
                </a:solidFill>
                <a:latin typeface="Oracle Sans"/>
              </a:rPr>
              <a:t>12 </a:t>
            </a:r>
            <a:r>
              <a:rPr lang="en-US" sz="1200" dirty="0">
                <a:solidFill>
                  <a:srgbClr val="312D2A"/>
                </a:solidFill>
                <a:latin typeface="Oracle Sans"/>
              </a:rPr>
              <a:t>Y</a:t>
            </a:r>
            <a:r>
              <a:rPr lang="en-US" sz="1200" dirty="0" smtClean="0">
                <a:solidFill>
                  <a:srgbClr val="312D2A"/>
                </a:solidFill>
                <a:latin typeface="Oracle Sans"/>
              </a:rPr>
              <a:t>ears </a:t>
            </a:r>
            <a:r>
              <a:rPr lang="en-US" sz="1200" dirty="0">
                <a:solidFill>
                  <a:srgbClr val="312D2A"/>
                </a:solidFill>
                <a:latin typeface="Oracle Sans"/>
              </a:rPr>
              <a:t>working with </a:t>
            </a:r>
            <a:r>
              <a:rPr lang="en-US" sz="1200" dirty="0" err="1">
                <a:solidFill>
                  <a:srgbClr val="312D2A"/>
                </a:solidFill>
                <a:latin typeface="Oracle Sans"/>
              </a:rPr>
              <a:t>Exadata</a:t>
            </a:r>
            <a:r>
              <a:rPr lang="en-US" sz="1200" dirty="0">
                <a:solidFill>
                  <a:srgbClr val="312D2A"/>
                </a:solidFill>
                <a:latin typeface="Oracle Sans"/>
              </a:rPr>
              <a:t> (On-</a:t>
            </a:r>
            <a:r>
              <a:rPr lang="en-US" sz="1200" dirty="0" err="1">
                <a:solidFill>
                  <a:srgbClr val="312D2A"/>
                </a:solidFill>
                <a:latin typeface="Oracle Sans"/>
              </a:rPr>
              <a:t>prem</a:t>
            </a:r>
            <a:r>
              <a:rPr lang="en-US" sz="1200" dirty="0">
                <a:solidFill>
                  <a:srgbClr val="312D2A"/>
                </a:solidFill>
                <a:latin typeface="Oracle Sans"/>
              </a:rPr>
              <a:t>, </a:t>
            </a:r>
            <a:r>
              <a:rPr lang="en-US" sz="1200" dirty="0" smtClean="0">
                <a:solidFill>
                  <a:srgbClr val="312D2A"/>
                </a:solidFill>
                <a:latin typeface="Oracle Sans"/>
              </a:rPr>
              <a:t>C@C and Cloud Services) .</a:t>
            </a:r>
          </a:p>
          <a:p>
            <a:pPr marL="171450" lvl="0" indent="-171450" eaLnBrk="1" fontAlgn="auto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en-US" sz="1200" dirty="0">
                <a:solidFill>
                  <a:srgbClr val="312D2A"/>
                </a:solidFill>
                <a:latin typeface="Oracle Sans"/>
              </a:rPr>
              <a:t>5</a:t>
            </a:r>
            <a:r>
              <a:rPr lang="en-US" sz="1200" dirty="0" smtClean="0">
                <a:solidFill>
                  <a:srgbClr val="312D2A"/>
                </a:solidFill>
                <a:latin typeface="Oracle Sans"/>
              </a:rPr>
              <a:t>  Year working for Oracle do Brasil</a:t>
            </a:r>
          </a:p>
          <a:p>
            <a:pPr marL="171450" lvl="0" indent="-171450" eaLnBrk="1" fontAlgn="auto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en-US" sz="1200" dirty="0">
                <a:solidFill>
                  <a:srgbClr val="312D2A"/>
                </a:solidFill>
                <a:latin typeface="Oracle Sans"/>
              </a:rPr>
              <a:t>2</a:t>
            </a:r>
            <a:r>
              <a:rPr lang="en-US" sz="1200" dirty="0" smtClean="0">
                <a:solidFill>
                  <a:srgbClr val="312D2A"/>
                </a:solidFill>
                <a:latin typeface="Oracle Sans"/>
              </a:rPr>
              <a:t>   Year on  Alliances LAD knowledge Team</a:t>
            </a:r>
            <a:endParaRPr lang="en-US" sz="1200" dirty="0">
              <a:solidFill>
                <a:srgbClr val="312D2A"/>
              </a:solidFill>
              <a:latin typeface="Oracle Sans"/>
            </a:endParaRPr>
          </a:p>
          <a:p>
            <a:pPr lvl="0">
              <a:lnSpc>
                <a:spcPct val="90000"/>
              </a:lnSpc>
              <a:defRPr/>
            </a:pPr>
            <a:endParaRPr lang="pt-BR" sz="800" b="1" dirty="0" smtClean="0">
              <a:solidFill>
                <a:srgbClr val="312D2A"/>
              </a:solidFill>
              <a:cs typeface="Arial"/>
            </a:endParaRPr>
          </a:p>
          <a:p>
            <a:pPr lvl="0">
              <a:lnSpc>
                <a:spcPct val="90000"/>
              </a:lnSpc>
              <a:defRPr/>
            </a:pPr>
            <a:r>
              <a:rPr lang="pt-BR" sz="1600" b="1" dirty="0" smtClean="0">
                <a:solidFill>
                  <a:srgbClr val="312D2A"/>
                </a:solidFill>
                <a:cs typeface="Arial"/>
              </a:rPr>
              <a:t>Certifications</a:t>
            </a:r>
            <a:endParaRPr lang="pt-BR" sz="1600" b="1" dirty="0">
              <a:solidFill>
                <a:srgbClr val="312D2A"/>
              </a:solidFill>
              <a:cs typeface="Arial"/>
            </a:endParaRPr>
          </a:p>
          <a:p>
            <a:pPr lvl="0">
              <a:lnSpc>
                <a:spcPct val="90000"/>
              </a:lnSpc>
              <a:defRPr/>
            </a:pPr>
            <a:endParaRPr lang="pt-BR" sz="1400" dirty="0">
              <a:solidFill>
                <a:srgbClr val="312D2A"/>
              </a:solidFill>
              <a:latin typeface="Oracle Sans"/>
              <a:cs typeface="Arial"/>
            </a:endParaRPr>
          </a:p>
          <a:p>
            <a:pPr>
              <a:lnSpc>
                <a:spcPct val="90000"/>
              </a:lnSpc>
              <a:defRPr/>
            </a:pPr>
            <a:r>
              <a:rPr lang="pt-BR" sz="1400" b="1" dirty="0">
                <a:solidFill>
                  <a:srgbClr val="312D2A"/>
                </a:solidFill>
                <a:latin typeface="Oracle Sans"/>
                <a:cs typeface="Arial"/>
              </a:rPr>
              <a:t>Oracle Cloud Specialist (OCS</a:t>
            </a:r>
            <a:r>
              <a:rPr lang="pt-BR" sz="1400" b="1" dirty="0" smtClean="0">
                <a:solidFill>
                  <a:srgbClr val="312D2A"/>
                </a:solidFill>
                <a:latin typeface="Oracle Sans"/>
                <a:cs typeface="Arial"/>
              </a:rPr>
              <a:t>)</a:t>
            </a:r>
          </a:p>
          <a:p>
            <a:pPr>
              <a:lnSpc>
                <a:spcPct val="90000"/>
              </a:lnSpc>
              <a:defRPr/>
            </a:pPr>
            <a:endParaRPr lang="pt-BR" sz="800" b="1" dirty="0">
              <a:solidFill>
                <a:srgbClr val="312D2A"/>
              </a:solidFill>
              <a:latin typeface="Oracle Sans"/>
              <a:cs typeface="Arial"/>
            </a:endParaRPr>
          </a:p>
          <a:p>
            <a:pPr marL="171450" lvl="0" indent="-171450">
              <a:lnSpc>
                <a:spcPct val="90000"/>
              </a:lnSpc>
              <a:buFont typeface="Arial" panose="020B0604020202020204" pitchFamily="34" charset="0"/>
              <a:buChar char="•"/>
              <a:defRPr/>
            </a:pPr>
            <a:r>
              <a:rPr lang="pt-BR" sz="1200" dirty="0" smtClean="0">
                <a:solidFill>
                  <a:srgbClr val="312D2A"/>
                </a:solidFill>
                <a:latin typeface="Oracle Sans"/>
                <a:cs typeface="Arial"/>
              </a:rPr>
              <a:t>Exadata Database Machine X9M Certified Specialist</a:t>
            </a:r>
          </a:p>
          <a:p>
            <a:pPr marL="171450" indent="-171450">
              <a:lnSpc>
                <a:spcPct val="90000"/>
              </a:lnSpc>
              <a:buFont typeface="Arial" panose="020B0604020202020204" pitchFamily="34" charset="0"/>
              <a:buChar char="•"/>
              <a:defRPr/>
            </a:pPr>
            <a:r>
              <a:rPr lang="pt-BR" sz="1200" dirty="0" smtClean="0">
                <a:solidFill>
                  <a:srgbClr val="312D2A"/>
                </a:solidFill>
                <a:latin typeface="Oracle Sans"/>
                <a:cs typeface="Arial"/>
              </a:rPr>
              <a:t>OCI Foundation 2020 / 2023</a:t>
            </a:r>
          </a:p>
          <a:p>
            <a:pPr marL="171450" indent="-171450">
              <a:lnSpc>
                <a:spcPct val="90000"/>
              </a:lnSpc>
              <a:buFont typeface="Arial" panose="020B0604020202020204" pitchFamily="34" charset="0"/>
              <a:buChar char="•"/>
              <a:defRPr/>
            </a:pPr>
            <a:r>
              <a:rPr lang="pt-BR" sz="1200" dirty="0" smtClean="0">
                <a:solidFill>
                  <a:srgbClr val="312D2A"/>
                </a:solidFill>
                <a:latin typeface="Oracle Sans"/>
                <a:cs typeface="Arial"/>
              </a:rPr>
              <a:t>Oracle </a:t>
            </a:r>
            <a:r>
              <a:rPr lang="pt-BR" sz="1200" dirty="0">
                <a:solidFill>
                  <a:srgbClr val="312D2A"/>
                </a:solidFill>
                <a:latin typeface="Oracle Sans"/>
                <a:cs typeface="Arial"/>
              </a:rPr>
              <a:t>Autonomous </a:t>
            </a:r>
            <a:r>
              <a:rPr lang="pt-BR" sz="1200" dirty="0" smtClean="0">
                <a:solidFill>
                  <a:srgbClr val="312D2A"/>
                </a:solidFill>
                <a:latin typeface="Oracle Sans"/>
                <a:cs typeface="Arial"/>
              </a:rPr>
              <a:t>Database professional Administrator 2019 / 2023</a:t>
            </a:r>
            <a:endParaRPr lang="pt-BR" sz="1200" dirty="0">
              <a:solidFill>
                <a:srgbClr val="312D2A"/>
              </a:solidFill>
              <a:latin typeface="Oracle Sans"/>
              <a:cs typeface="Arial"/>
            </a:endParaRPr>
          </a:p>
          <a:p>
            <a:pPr marL="171450" indent="-171450">
              <a:lnSpc>
                <a:spcPct val="90000"/>
              </a:lnSpc>
              <a:buFont typeface="Arial" panose="020B0604020202020204" pitchFamily="34" charset="0"/>
              <a:buChar char="•"/>
              <a:defRPr/>
            </a:pPr>
            <a:r>
              <a:rPr lang="pt-BR" sz="1200" dirty="0">
                <a:solidFill>
                  <a:srgbClr val="312D2A"/>
                </a:solidFill>
                <a:latin typeface="Oracle Sans"/>
                <a:cs typeface="Arial"/>
              </a:rPr>
              <a:t>Oracle Cloud Database Migration and </a:t>
            </a:r>
            <a:r>
              <a:rPr lang="pt-BR" sz="1200" dirty="0" smtClean="0">
                <a:solidFill>
                  <a:srgbClr val="312D2A"/>
                </a:solidFill>
                <a:latin typeface="Oracle Sans"/>
                <a:cs typeface="Arial"/>
              </a:rPr>
              <a:t>Integration 2021</a:t>
            </a:r>
          </a:p>
          <a:p>
            <a:pPr marL="171450" indent="-171450">
              <a:lnSpc>
                <a:spcPct val="90000"/>
              </a:lnSpc>
              <a:buFont typeface="Arial" panose="020B0604020202020204" pitchFamily="34" charset="0"/>
              <a:buChar char="•"/>
              <a:defRPr/>
            </a:pPr>
            <a:r>
              <a:rPr lang="pt-BR" sz="1200" dirty="0" smtClean="0">
                <a:solidFill>
                  <a:srgbClr val="312D2A"/>
                </a:solidFill>
                <a:latin typeface="Oracle Sans"/>
                <a:cs typeface="Arial"/>
              </a:rPr>
              <a:t>OCI Cloud Certified Architect Associate 2022</a:t>
            </a:r>
          </a:p>
          <a:p>
            <a:pPr marL="171450" indent="-171450">
              <a:lnSpc>
                <a:spcPct val="90000"/>
              </a:lnSpc>
              <a:buFont typeface="Arial" panose="020B0604020202020204" pitchFamily="34" charset="0"/>
              <a:buChar char="•"/>
              <a:defRPr/>
            </a:pPr>
            <a:r>
              <a:rPr lang="pt-BR" sz="1200" dirty="0" smtClean="0">
                <a:solidFill>
                  <a:srgbClr val="312D2A"/>
                </a:solidFill>
                <a:latin typeface="Oracle Sans"/>
                <a:cs typeface="Arial"/>
              </a:rPr>
              <a:t>OCI Cloud Certified Architect Professional 2022</a:t>
            </a:r>
          </a:p>
          <a:p>
            <a:pPr marL="171450" indent="-171450">
              <a:lnSpc>
                <a:spcPct val="90000"/>
              </a:lnSpc>
              <a:buFont typeface="Arial" panose="020B0604020202020204" pitchFamily="34" charset="0"/>
              <a:buChar char="•"/>
              <a:defRPr/>
            </a:pPr>
            <a:r>
              <a:rPr lang="pt-BR" sz="1200" dirty="0" smtClean="0">
                <a:solidFill>
                  <a:srgbClr val="312D2A"/>
                </a:solidFill>
                <a:latin typeface="Oracle Sans"/>
                <a:cs typeface="Arial"/>
              </a:rPr>
              <a:t>OCI Multi-Cloud Architect Professional 2023</a:t>
            </a:r>
          </a:p>
          <a:p>
            <a:pPr marL="171450" indent="-171450">
              <a:lnSpc>
                <a:spcPct val="90000"/>
              </a:lnSpc>
              <a:buFont typeface="Arial" panose="020B0604020202020204" pitchFamily="34" charset="0"/>
              <a:buChar char="•"/>
              <a:defRPr/>
            </a:pPr>
            <a:r>
              <a:rPr lang="pt-BR" sz="1200" dirty="0" smtClean="0">
                <a:solidFill>
                  <a:srgbClr val="312D2A"/>
                </a:solidFill>
                <a:latin typeface="Oracle Sans"/>
                <a:cs typeface="Arial"/>
              </a:rPr>
              <a:t>Oracle Database Services Certified Professional 2023</a:t>
            </a:r>
          </a:p>
          <a:p>
            <a:pPr>
              <a:lnSpc>
                <a:spcPct val="90000"/>
              </a:lnSpc>
              <a:defRPr/>
            </a:pPr>
            <a:endParaRPr lang="en-US" sz="1400" dirty="0">
              <a:solidFill>
                <a:srgbClr val="312D2A"/>
              </a:solidFill>
              <a:latin typeface="Oracle Sans"/>
            </a:endParaRPr>
          </a:p>
          <a:p>
            <a:pPr marR="0" lvl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pt-BR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12D2A"/>
                </a:solidFill>
                <a:effectLst/>
                <a:uLnTx/>
                <a:uFillTx/>
                <a:latin typeface="Oracle Sans"/>
                <a:cs typeface="Arial"/>
              </a:rPr>
              <a:t> Oracle</a:t>
            </a:r>
            <a:r>
              <a:rPr kumimoji="0" lang="pt-BR" sz="1400" b="1" i="0" u="none" strike="noStrike" kern="1200" cap="none" spc="0" normalizeH="0" noProof="0" dirty="0" smtClean="0">
                <a:ln>
                  <a:noFill/>
                </a:ln>
                <a:solidFill>
                  <a:srgbClr val="312D2A"/>
                </a:solidFill>
                <a:effectLst/>
                <a:uLnTx/>
                <a:uFillTx/>
                <a:latin typeface="Oracle Sans"/>
                <a:cs typeface="Arial"/>
              </a:rPr>
              <a:t> Certified Professional (OCP)</a:t>
            </a:r>
          </a:p>
          <a:p>
            <a:pPr marR="0" lvl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kumimoji="0" lang="pt-BR" sz="800" b="1" i="0" u="none" strike="noStrike" kern="1200" cap="none" spc="0" normalizeH="0" noProof="0" dirty="0" smtClean="0">
              <a:ln>
                <a:noFill/>
              </a:ln>
              <a:solidFill>
                <a:srgbClr val="312D2A"/>
              </a:solidFill>
              <a:effectLst/>
              <a:uLnTx/>
              <a:uFillTx/>
              <a:latin typeface="Oracle Sans"/>
              <a:cs typeface="Arial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pt-BR" sz="1200" baseline="0" dirty="0" smtClean="0">
                <a:solidFill>
                  <a:srgbClr val="312D2A"/>
                </a:solidFill>
                <a:latin typeface="Oracle Sans"/>
                <a:cs typeface="Arial"/>
              </a:rPr>
              <a:t>Oracle Database certified professional  10g,</a:t>
            </a:r>
            <a:r>
              <a:rPr lang="pt-BR" sz="1200" dirty="0" smtClean="0">
                <a:solidFill>
                  <a:srgbClr val="312D2A"/>
                </a:solidFill>
                <a:latin typeface="Oracle Sans"/>
                <a:cs typeface="Arial"/>
              </a:rPr>
              <a:t> 11g, 12c and 19c.</a:t>
            </a:r>
          </a:p>
          <a:p>
            <a:pPr marL="171450" marR="0" lvl="0" indent="-17145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pt-BR" sz="1200" dirty="0" smtClean="0">
                <a:solidFill>
                  <a:srgbClr val="312D2A"/>
                </a:solidFill>
                <a:latin typeface="Oracle Sans"/>
                <a:cs typeface="Arial"/>
              </a:rPr>
              <a:t>Mysql 8.0 Database Administrator Certified Professional</a:t>
            </a:r>
          </a:p>
          <a:p>
            <a:pPr marR="0" lvl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kumimoji="0" lang="pt-BR" sz="800" b="0" i="0" u="none" strike="noStrike" kern="1200" cap="none" spc="0" normalizeH="0" baseline="0" noProof="0" dirty="0">
              <a:ln>
                <a:noFill/>
              </a:ln>
              <a:solidFill>
                <a:srgbClr val="312D2A"/>
              </a:solidFill>
              <a:effectLst/>
              <a:uLnTx/>
              <a:uFillTx/>
              <a:latin typeface="Oracle Sans"/>
              <a:cs typeface="Arial"/>
            </a:endParaRPr>
          </a:p>
          <a:p>
            <a:pPr marR="0" lvl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pt-BR" sz="1400" b="1" dirty="0" smtClean="0">
                <a:solidFill>
                  <a:srgbClr val="312D2A"/>
                </a:solidFill>
                <a:latin typeface="Oracle Sans"/>
                <a:cs typeface="Arial"/>
              </a:rPr>
              <a:t>Oracle Certified Specialist (OCE)</a:t>
            </a:r>
          </a:p>
          <a:p>
            <a:pPr marR="0" lvl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lang="pt-BR" sz="800" b="1" dirty="0" smtClean="0">
              <a:solidFill>
                <a:srgbClr val="312D2A"/>
              </a:solidFill>
              <a:latin typeface="Oracle Sans"/>
              <a:cs typeface="Arial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pt-BR" sz="1200" b="0" i="0" u="none" strike="noStrike" kern="1200" cap="none" spc="0" normalizeH="0" noProof="0" dirty="0" smtClean="0">
                <a:ln>
                  <a:noFill/>
                </a:ln>
                <a:solidFill>
                  <a:srgbClr val="312D2A"/>
                </a:solidFill>
                <a:effectLst/>
                <a:uLnTx/>
                <a:uFillTx/>
                <a:latin typeface="Oracle Sans"/>
                <a:cs typeface="Arial"/>
              </a:rPr>
              <a:t>Grid/RAC </a:t>
            </a:r>
            <a:r>
              <a:rPr lang="pt-BR" sz="1200" dirty="0">
                <a:solidFill>
                  <a:srgbClr val="312D2A"/>
                </a:solidFill>
                <a:latin typeface="Oracle Sans"/>
                <a:cs typeface="Arial"/>
              </a:rPr>
              <a:t>D</a:t>
            </a:r>
            <a:r>
              <a:rPr kumimoji="0" lang="pt-BR" sz="1200" b="0" i="0" u="none" strike="noStrike" kern="1200" cap="none" spc="0" normalizeH="0" noProof="0" dirty="0" smtClean="0">
                <a:ln>
                  <a:noFill/>
                </a:ln>
                <a:solidFill>
                  <a:srgbClr val="312D2A"/>
                </a:solidFill>
                <a:effectLst/>
                <a:uLnTx/>
                <a:uFillTx/>
                <a:latin typeface="Oracle Sans"/>
                <a:cs typeface="Arial"/>
              </a:rPr>
              <a:t>atabase </a:t>
            </a:r>
            <a:r>
              <a:rPr lang="pt-BR" sz="1200" dirty="0" smtClean="0">
                <a:solidFill>
                  <a:srgbClr val="312D2A"/>
                </a:solidFill>
                <a:latin typeface="Oracle Sans"/>
                <a:cs typeface="Arial"/>
              </a:rPr>
              <a:t>A</a:t>
            </a:r>
            <a:r>
              <a:rPr kumimoji="0" lang="pt-BR" sz="1200" b="0" i="0" u="none" strike="noStrike" kern="1200" cap="none" spc="0" normalizeH="0" noProof="0" dirty="0" smtClean="0">
                <a:ln>
                  <a:noFill/>
                </a:ln>
                <a:solidFill>
                  <a:srgbClr val="312D2A"/>
                </a:solidFill>
                <a:effectLst/>
                <a:uLnTx/>
                <a:uFillTx/>
                <a:latin typeface="Oracle Sans"/>
                <a:cs typeface="Arial"/>
              </a:rPr>
              <a:t>dministrator 11g</a:t>
            </a:r>
            <a:endParaRPr lang="pt-BR" sz="1200" dirty="0">
              <a:solidFill>
                <a:srgbClr val="312D2A"/>
              </a:solidFill>
              <a:latin typeface="Oracle Sans"/>
              <a:cs typeface="Arial"/>
            </a:endParaRPr>
          </a:p>
          <a:p>
            <a:pPr marL="171450" indent="-171450">
              <a:lnSpc>
                <a:spcPct val="90000"/>
              </a:lnSpc>
              <a:buFont typeface="Arial" panose="020B0604020202020204" pitchFamily="34" charset="0"/>
              <a:buChar char="•"/>
              <a:defRPr/>
            </a:pPr>
            <a:r>
              <a:rPr lang="pt-BR" sz="1200" dirty="0">
                <a:solidFill>
                  <a:srgbClr val="312D2A"/>
                </a:solidFill>
                <a:latin typeface="Oracle Sans"/>
              </a:rPr>
              <a:t>Oracle Golden Gate 12c Certified Implementation Specialist</a:t>
            </a:r>
          </a:p>
          <a:p>
            <a:pPr marR="0" lvl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lang="pt-BR" sz="1600" dirty="0" smtClean="0">
              <a:solidFill>
                <a:srgbClr val="312D2A"/>
              </a:solidFill>
              <a:latin typeface="Oracle Sans"/>
              <a:cs typeface="Arial"/>
            </a:endParaRPr>
          </a:p>
          <a:p>
            <a:pPr marR="0" lvl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lang="pt-BR" sz="1600" dirty="0" smtClean="0">
              <a:solidFill>
                <a:srgbClr val="312D2A"/>
              </a:solidFill>
              <a:latin typeface="Oracle Sans"/>
              <a:cs typeface="Arial"/>
            </a:endParaRPr>
          </a:p>
          <a:p>
            <a:pPr marR="0" lvl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kumimoji="0" lang="pt-BR" sz="1600" b="0" i="0" u="none" strike="noStrike" kern="1200" cap="none" spc="0" normalizeH="0" noProof="0" dirty="0" smtClean="0">
              <a:ln>
                <a:noFill/>
              </a:ln>
              <a:solidFill>
                <a:srgbClr val="312D2A"/>
              </a:solidFill>
              <a:effectLst/>
              <a:uLnTx/>
              <a:uFillTx/>
              <a:latin typeface="Oracle Sans"/>
              <a:cs typeface="Arial"/>
            </a:endParaRPr>
          </a:p>
          <a:p>
            <a:pPr marR="0" lvl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pt-BR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12D2A"/>
                </a:solidFill>
                <a:effectLst/>
                <a:uLnTx/>
                <a:uFillTx/>
                <a:latin typeface="Oracle Sans"/>
                <a:ea typeface="+mn-ea"/>
                <a:cs typeface="Arial"/>
              </a:rPr>
              <a:t>     </a:t>
            </a:r>
            <a:endParaRPr kumimoji="0" lang="en-US" sz="1800" b="0" i="0" u="none" strike="noStrike" kern="1200" cap="none" spc="0" normalizeH="0" baseline="0" noProof="0" dirty="0" smtClean="0">
              <a:ln>
                <a:noFill/>
              </a:ln>
              <a:solidFill>
                <a:srgbClr val="312D2A"/>
              </a:solidFill>
              <a:effectLst/>
              <a:uLnTx/>
              <a:uFillTx/>
              <a:latin typeface="Oracle Sans"/>
              <a:ea typeface="+mn-ea"/>
              <a:cs typeface="Arial"/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525706" y="1"/>
            <a:ext cx="656636" cy="820156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66142" y="1245653"/>
            <a:ext cx="2479423" cy="2690115"/>
          </a:xfrm>
          <a:prstGeom prst="flowChartConnector">
            <a:avLst/>
          </a:prstGeom>
        </p:spPr>
      </p:pic>
      <p:sp>
        <p:nvSpPr>
          <p:cNvPr id="8" name="object 13"/>
          <p:cNvSpPr txBox="1"/>
          <p:nvPr/>
        </p:nvSpPr>
        <p:spPr>
          <a:xfrm>
            <a:off x="1065611" y="4239668"/>
            <a:ext cx="4848051" cy="1427955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ts val="1914"/>
              </a:lnSpc>
              <a:spcBef>
                <a:spcPts val="95"/>
              </a:spcBef>
            </a:pPr>
            <a:r>
              <a:rPr lang="pt-BR" sz="1600" b="1" spc="185" dirty="0" smtClean="0">
                <a:solidFill>
                  <a:srgbClr val="302D2A"/>
                </a:solidFill>
                <a:latin typeface="+mj-lt"/>
                <a:cs typeface="Trebuchet MS"/>
              </a:rPr>
              <a:t>MARCEL LAMARCA</a:t>
            </a:r>
            <a:endParaRPr sz="1600" dirty="0">
              <a:latin typeface="+mj-lt"/>
              <a:cs typeface="Trebuchet MS"/>
            </a:endParaRPr>
          </a:p>
          <a:p>
            <a:pPr marL="12700">
              <a:lnSpc>
                <a:spcPts val="1675"/>
              </a:lnSpc>
            </a:pPr>
            <a:r>
              <a:rPr lang="pt-BR" sz="1200" spc="100" dirty="0" smtClean="0">
                <a:solidFill>
                  <a:srgbClr val="302D2A"/>
                </a:solidFill>
                <a:latin typeface="Cambria" panose="02040503050406030204" pitchFamily="18" charset="0"/>
                <a:ea typeface="Cambria" panose="02040503050406030204" pitchFamily="18" charset="0"/>
                <a:cs typeface="Cambria"/>
              </a:rPr>
              <a:t>Exadata Cloud Specialist</a:t>
            </a:r>
            <a:endParaRPr sz="1200" dirty="0">
              <a:latin typeface="Cambria" panose="02040503050406030204" pitchFamily="18" charset="0"/>
              <a:ea typeface="Cambria" panose="02040503050406030204" pitchFamily="18" charset="0"/>
              <a:cs typeface="Cambria"/>
            </a:endParaRPr>
          </a:p>
          <a:p>
            <a:pPr marL="12700">
              <a:spcBef>
                <a:spcPts val="5"/>
              </a:spcBef>
            </a:pPr>
            <a:r>
              <a:rPr lang="pt-BR" sz="1200" spc="125" dirty="0">
                <a:solidFill>
                  <a:srgbClr val="302D2A"/>
                </a:solidFill>
                <a:latin typeface="Cambria" panose="02040503050406030204" pitchFamily="18" charset="0"/>
                <a:ea typeface="Cambria" panose="02040503050406030204" pitchFamily="18" charset="0"/>
                <a:cs typeface="Cambria"/>
              </a:rPr>
              <a:t>Upgrade,</a:t>
            </a:r>
            <a:r>
              <a:rPr lang="pt-BR" sz="1200" spc="100" dirty="0">
                <a:solidFill>
                  <a:srgbClr val="302D2A"/>
                </a:solidFill>
                <a:latin typeface="Cambria" panose="02040503050406030204" pitchFamily="18" charset="0"/>
                <a:ea typeface="Cambria" panose="02040503050406030204" pitchFamily="18" charset="0"/>
                <a:cs typeface="Times New Roman"/>
              </a:rPr>
              <a:t> </a:t>
            </a:r>
            <a:r>
              <a:rPr lang="pt-BR" sz="1200" spc="65" dirty="0">
                <a:solidFill>
                  <a:srgbClr val="302D2A"/>
                </a:solidFill>
                <a:latin typeface="Cambria" panose="02040503050406030204" pitchFamily="18" charset="0"/>
                <a:ea typeface="Cambria" panose="02040503050406030204" pitchFamily="18" charset="0"/>
                <a:cs typeface="Cambria"/>
              </a:rPr>
              <a:t>Utilities</a:t>
            </a:r>
            <a:r>
              <a:rPr lang="pt-BR" sz="1200" spc="90" dirty="0">
                <a:solidFill>
                  <a:srgbClr val="302D2A"/>
                </a:solidFill>
                <a:latin typeface="Cambria" panose="02040503050406030204" pitchFamily="18" charset="0"/>
                <a:ea typeface="Cambria" panose="02040503050406030204" pitchFamily="18" charset="0"/>
                <a:cs typeface="Times New Roman"/>
              </a:rPr>
              <a:t>, </a:t>
            </a:r>
            <a:r>
              <a:rPr lang="pt-BR" sz="1200" spc="85" dirty="0">
                <a:solidFill>
                  <a:srgbClr val="302D2A"/>
                </a:solidFill>
                <a:latin typeface="Cambria" panose="02040503050406030204" pitchFamily="18" charset="0"/>
                <a:ea typeface="Cambria" panose="02040503050406030204" pitchFamily="18" charset="0"/>
                <a:cs typeface="Cambria"/>
              </a:rPr>
              <a:t>Patching, Performance &amp; Migrations</a:t>
            </a:r>
          </a:p>
          <a:p>
            <a:pPr marL="12700">
              <a:lnSpc>
                <a:spcPct val="100000"/>
              </a:lnSpc>
              <a:spcBef>
                <a:spcPts val="5"/>
              </a:spcBef>
            </a:pPr>
            <a:endParaRPr lang="pt-BR" sz="1400" spc="85" dirty="0">
              <a:solidFill>
                <a:srgbClr val="302D2A"/>
              </a:solidFill>
              <a:latin typeface="Cambria" panose="02040503050406030204" pitchFamily="18" charset="0"/>
              <a:ea typeface="Cambria" panose="02040503050406030204" pitchFamily="18" charset="0"/>
              <a:cs typeface="Cambria"/>
            </a:endParaRPr>
          </a:p>
          <a:p>
            <a:pPr marL="12700">
              <a:lnSpc>
                <a:spcPct val="100000"/>
              </a:lnSpc>
              <a:spcBef>
                <a:spcPts val="5"/>
              </a:spcBef>
            </a:pPr>
            <a:r>
              <a:rPr lang="pt-BR" sz="1200" spc="85" dirty="0" smtClean="0">
                <a:solidFill>
                  <a:srgbClr val="302D2A"/>
                </a:solidFill>
                <a:latin typeface="Cambria" panose="02040503050406030204" pitchFamily="18" charset="0"/>
                <a:ea typeface="Cambria" panose="02040503050406030204" pitchFamily="18" charset="0"/>
                <a:cs typeface="Times New Roman"/>
              </a:rPr>
              <a:t>       </a:t>
            </a:r>
            <a:r>
              <a:rPr lang="pt-BR" sz="1200" spc="80" dirty="0" smtClean="0">
                <a:solidFill>
                  <a:srgbClr val="302D2A"/>
                </a:solidFill>
                <a:cs typeface="Times New Roman"/>
              </a:rPr>
              <a:t>marcel-lamar</a:t>
            </a:r>
            <a:r>
              <a:rPr lang="pt-BR" sz="1200" spc="85" dirty="0" smtClean="0">
                <a:solidFill>
                  <a:srgbClr val="302D2A"/>
                </a:solidFill>
                <a:cs typeface="Times New Roman"/>
              </a:rPr>
              <a:t>ca</a:t>
            </a:r>
          </a:p>
          <a:p>
            <a:pPr marL="12700">
              <a:lnSpc>
                <a:spcPct val="100000"/>
              </a:lnSpc>
              <a:spcBef>
                <a:spcPts val="5"/>
              </a:spcBef>
            </a:pPr>
            <a:endParaRPr lang="pt-BR" sz="1200" spc="85" dirty="0" smtClean="0">
              <a:solidFill>
                <a:srgbClr val="302D2A"/>
              </a:solidFill>
              <a:cs typeface="Times New Roman"/>
            </a:endParaRPr>
          </a:p>
          <a:p>
            <a:pPr marL="12700">
              <a:lnSpc>
                <a:spcPct val="100000"/>
              </a:lnSpc>
              <a:spcBef>
                <a:spcPts val="5"/>
              </a:spcBef>
            </a:pPr>
            <a:r>
              <a:rPr lang="pt-BR" sz="1200" spc="85" dirty="0">
                <a:solidFill>
                  <a:srgbClr val="302D2A"/>
                </a:solidFill>
                <a:cs typeface="Times New Roman"/>
              </a:rPr>
              <a:t> </a:t>
            </a:r>
            <a:r>
              <a:rPr lang="pt-BR" sz="1200" spc="85" dirty="0" smtClean="0">
                <a:solidFill>
                  <a:srgbClr val="302D2A"/>
                </a:solidFill>
                <a:cs typeface="Times New Roman"/>
              </a:rPr>
              <a:t>     </a:t>
            </a:r>
            <a:r>
              <a:rPr lang="pt-BR" sz="1200" dirty="0" smtClean="0">
                <a:cs typeface="Cambria"/>
              </a:rPr>
              <a:t>marcel.lamarca@oracle.com</a:t>
            </a:r>
            <a:endParaRPr lang="pt-BR" sz="1200" dirty="0">
              <a:cs typeface="Cambria"/>
            </a:endParaRP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 flipH="1">
            <a:off x="1023884" y="5433314"/>
            <a:ext cx="267915" cy="234309"/>
          </a:xfrm>
          <a:prstGeom prst="rect">
            <a:avLst/>
          </a:prstGeom>
        </p:spPr>
      </p:pic>
      <p:sp>
        <p:nvSpPr>
          <p:cNvPr id="5" name="Rectangle 4"/>
          <p:cNvSpPr/>
          <p:nvPr/>
        </p:nvSpPr>
        <p:spPr>
          <a:xfrm>
            <a:off x="5972569" y="3244334"/>
            <a:ext cx="24686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pt-BR" spc="85" dirty="0">
                <a:solidFill>
                  <a:srgbClr val="302D2A"/>
                </a:solidFill>
                <a:latin typeface="Cambria" panose="02040503050406030204" pitchFamily="18" charset="0"/>
                <a:ea typeface="Cambria" panose="02040503050406030204" pitchFamily="18" charset="0"/>
                <a:cs typeface="Times New Roman"/>
              </a:rPr>
              <a:t> </a:t>
            </a:r>
            <a:endParaRPr lang="pt-BR" dirty="0"/>
          </a:p>
        </p:txBody>
      </p:sp>
      <p:pic>
        <p:nvPicPr>
          <p:cNvPr id="13" name="object 11"/>
          <p:cNvPicPr/>
          <p:nvPr/>
        </p:nvPicPr>
        <p:blipFill>
          <a:blip r:embed="rId6" cstate="print"/>
          <a:stretch>
            <a:fillRect/>
          </a:stretch>
        </p:blipFill>
        <p:spPr>
          <a:xfrm>
            <a:off x="966142" y="5049914"/>
            <a:ext cx="383400" cy="383400"/>
          </a:xfrm>
          <a:prstGeom prst="rect">
            <a:avLst/>
          </a:prstGeom>
        </p:spPr>
      </p:pic>
      <p:sp>
        <p:nvSpPr>
          <p:cNvPr id="14" name="object 14"/>
          <p:cNvSpPr/>
          <p:nvPr/>
        </p:nvSpPr>
        <p:spPr>
          <a:xfrm>
            <a:off x="1127760" y="4095434"/>
            <a:ext cx="320040" cy="0"/>
          </a:xfrm>
          <a:custGeom>
            <a:avLst/>
            <a:gdLst/>
            <a:ahLst/>
            <a:cxnLst/>
            <a:rect l="l" t="t" r="r" b="b"/>
            <a:pathLst>
              <a:path w="320040">
                <a:moveTo>
                  <a:pt x="320038" y="0"/>
                </a:moveTo>
                <a:lnTo>
                  <a:pt x="0" y="0"/>
                </a:lnTo>
              </a:path>
            </a:pathLst>
          </a:custGeom>
          <a:ln w="38159">
            <a:solidFill>
              <a:srgbClr val="FACD61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250071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15"/>
          </p:nvPr>
        </p:nvSpPr>
        <p:spPr>
          <a:xfrm>
            <a:off x="1125023" y="6390557"/>
            <a:ext cx="5745379" cy="365125"/>
          </a:xfrm>
        </p:spPr>
        <p:txBody>
          <a:bodyPr/>
          <a:lstStyle/>
          <a:p>
            <a:r>
              <a:rPr lang="en-US" smtClean="0"/>
              <a:t>Copyright © 2024, Oracle and/or its affiliates. All rights reserved   </a:t>
            </a:r>
            <a:endParaRPr lang="en-US" dirty="0"/>
          </a:p>
        </p:txBody>
      </p:sp>
      <p:sp>
        <p:nvSpPr>
          <p:cNvPr id="20" name="Rectangle 19"/>
          <p:cNvSpPr/>
          <p:nvPr/>
        </p:nvSpPr>
        <p:spPr>
          <a:xfrm>
            <a:off x="333519" y="284649"/>
            <a:ext cx="7105984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800" b="1" dirty="0" err="1"/>
              <a:t>Exadata</a:t>
            </a:r>
            <a:r>
              <a:rPr lang="en-US" sz="2800" b="1" dirty="0"/>
              <a:t> </a:t>
            </a:r>
            <a:r>
              <a:rPr lang="en-US" sz="2800" b="1" dirty="0" err="1"/>
              <a:t>Cloud@Customer</a:t>
            </a:r>
            <a:r>
              <a:rPr lang="en-US" sz="2800" b="1" dirty="0"/>
              <a:t> X10M Shapes</a:t>
            </a:r>
            <a:endParaRPr lang="pt-BR" sz="2800" b="1" dirty="0"/>
          </a:p>
        </p:txBody>
      </p:sp>
      <p:pic>
        <p:nvPicPr>
          <p:cNvPr id="21" name="Picture 20">
            <a:extLst>
              <a:ext uri="{FF2B5EF4-FFF2-40B4-BE49-F238E27FC236}">
                <a16:creationId xmlns:a16="http://schemas.microsoft.com/office/drawing/2014/main" id="{423C035D-48C4-EF23-76E2-D4F44B69207B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961099" y="2237075"/>
            <a:ext cx="682958" cy="1962024"/>
          </a:xfrm>
          <a:prstGeom prst="rect">
            <a:avLst/>
          </a:prstGeom>
        </p:spPr>
      </p:pic>
      <p:sp>
        <p:nvSpPr>
          <p:cNvPr id="22" name="Text Placeholder 7">
            <a:extLst>
              <a:ext uri="{FF2B5EF4-FFF2-40B4-BE49-F238E27FC236}">
                <a16:creationId xmlns:a16="http://schemas.microsoft.com/office/drawing/2014/main" id="{66144868-D3B3-9626-9E91-6DE0629690F3}"/>
              </a:ext>
            </a:extLst>
          </p:cNvPr>
          <p:cNvSpPr txBox="1">
            <a:spLocks/>
          </p:cNvSpPr>
          <p:nvPr/>
        </p:nvSpPr>
        <p:spPr>
          <a:xfrm>
            <a:off x="333519" y="716995"/>
            <a:ext cx="10671048" cy="330540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5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 sz="1800" b="0" i="0" kern="1200">
                <a:solidFill>
                  <a:schemeClr val="tx1"/>
                </a:solidFill>
                <a:latin typeface="+mn-lt"/>
                <a:ea typeface="+mn-ea"/>
                <a:cs typeface="Oracle Sans Tab" panose="020B0503020204020204" pitchFamily="34" charset="0"/>
              </a:defRPr>
            </a:lvl1pPr>
            <a:lvl2pPr marL="365760" marR="0" indent="-182880" algn="l" defTabSz="914400" rtl="0" eaLnBrk="1" fontAlgn="auto" latinLnBrk="0" hangingPunct="1">
              <a:lnSpc>
                <a:spcPct val="95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 sz="1800" b="0" i="0" kern="1200">
                <a:solidFill>
                  <a:schemeClr val="tx1"/>
                </a:solidFill>
                <a:latin typeface="+mn-lt"/>
                <a:ea typeface="+mn-ea"/>
                <a:cs typeface="Oracle Sans Tab" panose="020B0503020204020204" pitchFamily="34" charset="0"/>
              </a:defRPr>
            </a:lvl2pPr>
            <a:lvl3pPr marL="547688" marR="0" indent="-182563" algn="l" defTabSz="914400" rtl="0" eaLnBrk="1" fontAlgn="auto" latinLnBrk="0" hangingPunct="1">
              <a:lnSpc>
                <a:spcPct val="95000"/>
              </a:lnSpc>
              <a:spcBef>
                <a:spcPts val="4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Oracle Sans Tab Light" panose="020B0403020204020204" pitchFamily="34" charset="0"/>
                <a:ea typeface="+mn-ea"/>
                <a:cs typeface="Oracle Sans Tab Light" panose="020B0403020204020204" pitchFamily="34" charset="0"/>
              </a:defRPr>
            </a:lvl3pPr>
            <a:lvl4pPr marL="730250" marR="0" indent="-182563" algn="l" defTabSz="914400" rtl="0" eaLnBrk="1" fontAlgn="auto" latinLnBrk="0" hangingPunct="1">
              <a:lnSpc>
                <a:spcPct val="95000"/>
              </a:lnSpc>
              <a:spcBef>
                <a:spcPts val="4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 sz="1400" kern="1200">
                <a:solidFill>
                  <a:schemeClr val="tx1"/>
                </a:solidFill>
                <a:latin typeface="Oracle Sans Tab Light" panose="020B0403020204020204" pitchFamily="34" charset="0"/>
                <a:ea typeface="+mn-ea"/>
                <a:cs typeface="Oracle Sans Tab Light" panose="020B0403020204020204" pitchFamily="34" charset="0"/>
              </a:defRPr>
            </a:lvl4pPr>
            <a:lvl5pPr marL="914400" marR="0" indent="-182880" algn="l" defTabSz="914400" rtl="0" eaLnBrk="1" fontAlgn="auto" latinLnBrk="0" hangingPunct="1">
              <a:lnSpc>
                <a:spcPct val="95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 typeface="System Font Regular"/>
              <a:buChar char="•"/>
              <a:tabLst/>
              <a:defRPr sz="1200" kern="1200">
                <a:solidFill>
                  <a:schemeClr val="tx1"/>
                </a:solidFill>
                <a:latin typeface="Oracle Sans Tab Light" panose="020B0403020204020204" pitchFamily="34" charset="0"/>
                <a:ea typeface="+mn-ea"/>
                <a:cs typeface="Oracle Sans Tab Light" panose="020B0403020204020204" pitchFamily="34" charset="0"/>
              </a:defRPr>
            </a:lvl5pPr>
            <a:lvl6pPr marL="1097280" indent="-182880" algn="l" defTabSz="914400" rtl="0" eaLnBrk="1" latinLnBrk="0" hangingPunct="1">
              <a:lnSpc>
                <a:spcPct val="95000"/>
              </a:lnSpc>
              <a:spcBef>
                <a:spcPts val="40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200" b="0" i="0" kern="1200">
                <a:solidFill>
                  <a:schemeClr val="tx1"/>
                </a:solidFill>
                <a:latin typeface="Oracle Sans Light" panose="020B0403020204020204" pitchFamily="34" charset="0"/>
                <a:ea typeface="+mn-ea"/>
                <a:cs typeface="Oracle Sans Light" panose="020B0403020204020204" pitchFamily="34" charset="0"/>
              </a:defRPr>
            </a:lvl6pPr>
            <a:lvl7pPr marL="1280160" indent="-182880" algn="l" defTabSz="914400" rtl="0" eaLnBrk="1" latinLnBrk="0" hangingPunct="1">
              <a:lnSpc>
                <a:spcPct val="95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b="0" i="0" kern="1200">
                <a:solidFill>
                  <a:schemeClr val="tx1"/>
                </a:solidFill>
                <a:latin typeface="Oracle Sans Light" panose="020B0403020204020204" pitchFamily="34" charset="0"/>
                <a:ea typeface="+mn-ea"/>
                <a:cs typeface="Oracle Sans Light" panose="020B0403020204020204" pitchFamily="34" charset="0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smtClean="0"/>
              <a:t>All Configurations greater than a Quarter Rack are elastic</a:t>
            </a:r>
            <a:endParaRPr lang="en-US" dirty="0"/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7A4A60C5-9B4C-4D86-A7B4-EE741B184FA1}"/>
              </a:ext>
            </a:extLst>
          </p:cNvPr>
          <p:cNvSpPr txBox="1"/>
          <p:nvPr/>
        </p:nvSpPr>
        <p:spPr>
          <a:xfrm>
            <a:off x="207829" y="4598235"/>
            <a:ext cx="3235886" cy="116955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racle Sans Tab"/>
                <a:ea typeface="+mn-ea"/>
                <a:cs typeface="+mn-cs"/>
              </a:rPr>
              <a:t>Start with a Standard </a:t>
            </a:r>
            <a:r>
              <a:rPr kumimoji="0" lang="en-US" sz="1400" b="1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Oracle Sans Tab"/>
                <a:ea typeface="+mn-ea"/>
                <a:cs typeface="+mn-cs"/>
              </a:rPr>
              <a:t>Configuration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racle Sans Tab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312D2A"/>
                </a:solidFill>
                <a:effectLst/>
                <a:uLnTx/>
                <a:uFillTx/>
                <a:latin typeface="Oracle Sans Tab"/>
                <a:ea typeface="+mn-ea"/>
                <a:cs typeface="+mn-cs"/>
              </a:rPr>
              <a:t>Quarter Rack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312D2A"/>
                </a:solidFill>
                <a:effectLst/>
                <a:uLnTx/>
                <a:uFillTx/>
                <a:latin typeface="Oracle Sans Tab"/>
                <a:ea typeface="+mn-ea"/>
                <a:cs typeface="+mn-cs"/>
              </a:rPr>
              <a:t>Quarter Rack-L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312D2A"/>
                </a:solidFill>
                <a:effectLst/>
                <a:uLnTx/>
                <a:uFillTx/>
                <a:latin typeface="Oracle Sans Tab"/>
                <a:ea typeface="+mn-ea"/>
                <a:cs typeface="+mn-cs"/>
              </a:rPr>
              <a:t>Quarter Rack – XL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417CCD25-AFD6-4C4F-A4AB-DA522619C9FB}"/>
              </a:ext>
            </a:extLst>
          </p:cNvPr>
          <p:cNvSpPr txBox="1"/>
          <p:nvPr/>
        </p:nvSpPr>
        <p:spPr>
          <a:xfrm>
            <a:off x="282665" y="1718336"/>
            <a:ext cx="2070863" cy="307777"/>
          </a:xfrm>
          <a:prstGeom prst="rect">
            <a:avLst/>
          </a:prstGeom>
          <a:noFill/>
          <a:ln w="28575">
            <a:solidFill>
              <a:srgbClr val="2C5967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312D2A"/>
                </a:solidFill>
                <a:effectLst/>
                <a:uLnTx/>
                <a:uFillTx/>
                <a:latin typeface="Oracle Sans Tab"/>
                <a:ea typeface="+mn-ea"/>
                <a:cs typeface="+mn-cs"/>
              </a:rPr>
              <a:t>Standard Configuration</a:t>
            </a:r>
          </a:p>
        </p:txBody>
      </p:sp>
      <p:sp>
        <p:nvSpPr>
          <p:cNvPr id="25" name="Arrow: Right 11">
            <a:extLst>
              <a:ext uri="{FF2B5EF4-FFF2-40B4-BE49-F238E27FC236}">
                <a16:creationId xmlns:a16="http://schemas.microsoft.com/office/drawing/2014/main" id="{C48DA5F4-98D8-412D-A18B-A1C8BA7AAB3D}"/>
              </a:ext>
            </a:extLst>
          </p:cNvPr>
          <p:cNvSpPr/>
          <p:nvPr/>
        </p:nvSpPr>
        <p:spPr>
          <a:xfrm>
            <a:off x="1915906" y="2659904"/>
            <a:ext cx="1538734" cy="1226607"/>
          </a:xfrm>
          <a:prstGeom prst="rightArrow">
            <a:avLst/>
          </a:prstGeom>
          <a:solidFill>
            <a:srgbClr val="2C5967"/>
          </a:solidFill>
          <a:ln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FCFBFA"/>
                </a:solidFill>
                <a:effectLst/>
                <a:uLnTx/>
                <a:uFillTx/>
                <a:latin typeface="Oracle Sans Tab"/>
                <a:ea typeface="+mn-ea"/>
                <a:cs typeface="+mn-cs"/>
              </a:rPr>
              <a:t>Incrementally add 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Oracle Sans Tab"/>
                <a:ea typeface="+mn-ea"/>
                <a:cs typeface="+mn-cs"/>
              </a:rPr>
              <a:t>Database and Storage Servers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95374C60-F256-45DF-8FFB-FEEC576FC394}"/>
              </a:ext>
            </a:extLst>
          </p:cNvPr>
          <p:cNvSpPr txBox="1"/>
          <p:nvPr/>
        </p:nvSpPr>
        <p:spPr>
          <a:xfrm>
            <a:off x="3552525" y="4598235"/>
            <a:ext cx="3619049" cy="187743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Oracle Sans Tab"/>
                <a:ea typeface="+mn-ea"/>
                <a:cs typeface="+mn-cs"/>
              </a:rPr>
              <a:t>Elastically Expand Rack with Server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 smtClean="0">
              <a:ln>
                <a:noFill/>
              </a:ln>
              <a:effectLst/>
              <a:uLnTx/>
              <a:uFillTx/>
              <a:latin typeface="Oracle Sans Tab"/>
              <a:ea typeface="+mn-ea"/>
              <a:cs typeface="+mn-cs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12D2A"/>
                </a:solidFill>
                <a:effectLst/>
                <a:uLnTx/>
                <a:uFillTx/>
                <a:latin typeface="Oracle Sans Tab"/>
                <a:ea typeface="+mn-ea"/>
                <a:cs typeface="+mn-cs"/>
              </a:rPr>
              <a:t>Database Server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12D2A"/>
                </a:solidFill>
                <a:effectLst/>
                <a:uLnTx/>
                <a:uFillTx/>
                <a:latin typeface="Oracle Sans Tab"/>
                <a:ea typeface="+mn-ea"/>
                <a:cs typeface="+mn-cs"/>
              </a:rPr>
              <a:t>Storage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312D2A"/>
                </a:solidFill>
                <a:effectLst/>
                <a:uLnTx/>
                <a:uFillTx/>
                <a:latin typeface="Oracle Sans Tab"/>
                <a:ea typeface="+mn-ea"/>
                <a:cs typeface="+mn-cs"/>
              </a:rPr>
              <a:t>Server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312D2A"/>
              </a:solidFill>
              <a:effectLst/>
              <a:uLnTx/>
              <a:uFillTx/>
              <a:latin typeface="Oracle Sans Tab"/>
              <a:ea typeface="+mn-ea"/>
              <a:cs typeface="+mn-cs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1D1C1D"/>
                </a:solidFill>
                <a:effectLst/>
                <a:uLnTx/>
                <a:uFillTx/>
                <a:ea typeface="+mn-ea"/>
                <a:cs typeface="+mn-cs"/>
              </a:rPr>
              <a:t>Can NOT mix Database Servers with different memory configurations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312D2A"/>
              </a:solidFill>
              <a:effectLst/>
              <a:uLnTx/>
              <a:uFillTx/>
              <a:ea typeface="+mn-ea"/>
              <a:cs typeface="+mn-cs"/>
            </a:endParaRPr>
          </a:p>
          <a:p>
            <a:pPr marL="407988" marR="0" lvl="1" indent="-22542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312D2A"/>
                </a:solidFill>
                <a:effectLst/>
                <a:uLnTx/>
                <a:uFillTx/>
                <a:ea typeface="+mn-ea"/>
                <a:cs typeface="+mn-cs"/>
              </a:rPr>
              <a:t>e.g. X10M cannot be mixed with X10M-XL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312D2A"/>
              </a:solidFill>
              <a:effectLst/>
              <a:uLnTx/>
              <a:uFillTx/>
              <a:latin typeface="Cambria Math" panose="02040503050406030204" pitchFamily="18" charset="0"/>
              <a:ea typeface="+mn-ea"/>
              <a:cs typeface="+mn-cs"/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D0C40945-0007-4CA1-963A-B231661C9BED}"/>
              </a:ext>
            </a:extLst>
          </p:cNvPr>
          <p:cNvSpPr txBox="1"/>
          <p:nvPr/>
        </p:nvSpPr>
        <p:spPr>
          <a:xfrm>
            <a:off x="3997713" y="1718597"/>
            <a:ext cx="1993351" cy="307777"/>
          </a:xfrm>
          <a:prstGeom prst="rect">
            <a:avLst/>
          </a:prstGeom>
          <a:noFill/>
          <a:ln w="28575">
            <a:solidFill>
              <a:srgbClr val="2C5967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2C5967"/>
                </a:solidFill>
                <a:effectLst/>
                <a:uLnTx/>
                <a:uFillTx/>
                <a:latin typeface="Oracle Sans Tab"/>
                <a:ea typeface="+mn-ea"/>
                <a:cs typeface="+mn-cs"/>
              </a:rPr>
              <a:t>Elastic Configuration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BDA9C92B-E497-44EA-A41C-EFBC44A4E08C}"/>
              </a:ext>
            </a:extLst>
          </p:cNvPr>
          <p:cNvSpPr txBox="1"/>
          <p:nvPr/>
        </p:nvSpPr>
        <p:spPr>
          <a:xfrm>
            <a:off x="3790041" y="3212400"/>
            <a:ext cx="688009" cy="4154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srgbClr val="312D2A"/>
                </a:solidFill>
                <a:effectLst/>
                <a:uLnTx/>
                <a:uFillTx/>
                <a:latin typeface="Oracle Sans Tab"/>
                <a:ea typeface="+mn-ea"/>
                <a:cs typeface="+mn-cs"/>
              </a:rPr>
              <a:t>Storag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srgbClr val="312D2A"/>
                </a:solidFill>
                <a:effectLst/>
                <a:uLnTx/>
                <a:uFillTx/>
                <a:latin typeface="Oracle Sans Tab"/>
                <a:ea typeface="+mn-ea"/>
                <a:cs typeface="+mn-cs"/>
              </a:rPr>
              <a:t>Server</a:t>
            </a:r>
          </a:p>
        </p:txBody>
      </p:sp>
      <p:sp>
        <p:nvSpPr>
          <p:cNvPr id="29" name="Arrow: Right 24">
            <a:extLst>
              <a:ext uri="{FF2B5EF4-FFF2-40B4-BE49-F238E27FC236}">
                <a16:creationId xmlns:a16="http://schemas.microsoft.com/office/drawing/2014/main" id="{B38CC8C3-7209-49D2-9912-9A6665F0F5FF}"/>
              </a:ext>
            </a:extLst>
          </p:cNvPr>
          <p:cNvSpPr/>
          <p:nvPr/>
        </p:nvSpPr>
        <p:spPr>
          <a:xfrm>
            <a:off x="4483826" y="3561164"/>
            <a:ext cx="119507" cy="193505"/>
          </a:xfrm>
          <a:prstGeom prst="rightArrow">
            <a:avLst/>
          </a:prstGeom>
          <a:solidFill>
            <a:schemeClr val="accent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CFBFA"/>
              </a:solidFill>
              <a:effectLst/>
              <a:uLnTx/>
              <a:uFillTx/>
              <a:latin typeface="Oracle Sans Tab"/>
              <a:ea typeface="+mn-ea"/>
              <a:cs typeface="+mn-cs"/>
            </a:endParaRP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F66C630D-A70C-4939-BA55-BD5CC1BCFD79}"/>
              </a:ext>
            </a:extLst>
          </p:cNvPr>
          <p:cNvSpPr txBox="1"/>
          <p:nvPr/>
        </p:nvSpPr>
        <p:spPr>
          <a:xfrm>
            <a:off x="3742752" y="2720229"/>
            <a:ext cx="782587" cy="4154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srgbClr val="312D2A"/>
                </a:solidFill>
                <a:effectLst/>
                <a:uLnTx/>
                <a:uFillTx/>
                <a:latin typeface="Oracle Sans Tab"/>
                <a:ea typeface="+mn-ea"/>
                <a:cs typeface="+mn-cs"/>
              </a:rPr>
              <a:t>Databas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srgbClr val="312D2A"/>
                </a:solidFill>
                <a:effectLst/>
                <a:uLnTx/>
                <a:uFillTx/>
                <a:latin typeface="Oracle Sans Tab"/>
                <a:ea typeface="+mn-ea"/>
                <a:cs typeface="+mn-cs"/>
              </a:rPr>
              <a:t>Server</a:t>
            </a:r>
          </a:p>
        </p:txBody>
      </p:sp>
      <p:sp>
        <p:nvSpPr>
          <p:cNvPr id="31" name="Arrow: Right 21">
            <a:extLst>
              <a:ext uri="{FF2B5EF4-FFF2-40B4-BE49-F238E27FC236}">
                <a16:creationId xmlns:a16="http://schemas.microsoft.com/office/drawing/2014/main" id="{79B49171-7F25-44B2-8311-4F01AE49A3FA}"/>
              </a:ext>
            </a:extLst>
          </p:cNvPr>
          <p:cNvSpPr/>
          <p:nvPr/>
        </p:nvSpPr>
        <p:spPr>
          <a:xfrm>
            <a:off x="4484952" y="3065947"/>
            <a:ext cx="119507" cy="193505"/>
          </a:xfrm>
          <a:prstGeom prst="rightArrow">
            <a:avLst/>
          </a:prstGeom>
          <a:solidFill>
            <a:schemeClr val="accent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CFBFA"/>
              </a:solidFill>
              <a:effectLst/>
              <a:uLnTx/>
              <a:uFillTx/>
              <a:latin typeface="Oracle Sans Tab"/>
              <a:ea typeface="+mn-ea"/>
              <a:cs typeface="+mn-cs"/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DCFA7914-5A53-DD8B-E39F-060C1846C969}"/>
              </a:ext>
            </a:extLst>
          </p:cNvPr>
          <p:cNvSpPr/>
          <p:nvPr/>
        </p:nvSpPr>
        <p:spPr>
          <a:xfrm>
            <a:off x="7362161" y="4612890"/>
            <a:ext cx="4829839" cy="17748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685656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100"/>
              </a:spcAft>
              <a:buClr>
                <a:srgbClr val="312D2A"/>
              </a:buClr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racle Sans Tab"/>
                <a:ea typeface="Oracle Sans" charset="0"/>
                <a:cs typeface="Oracle Sans" charset="0"/>
              </a:rPr>
              <a:t>Continue to Expand Servers using Expansion Rack(s</a:t>
            </a:r>
            <a:r>
              <a:rPr kumimoji="0" lang="en-US" sz="1400" b="1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Oracle Sans Tab"/>
                <a:ea typeface="Oracle Sans" charset="0"/>
                <a:cs typeface="Oracle Sans" charset="0"/>
              </a:rPr>
              <a:t>)</a:t>
            </a:r>
          </a:p>
          <a:p>
            <a:pPr marL="0" marR="0" lvl="0" indent="0" algn="l" defTabSz="685656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100"/>
              </a:spcAft>
              <a:buClr>
                <a:srgbClr val="312D2A"/>
              </a:buClr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racle Sans Tab"/>
              <a:ea typeface="Oracle Sans" charset="0"/>
              <a:cs typeface="Oracle Sans" charset="0"/>
            </a:endParaRPr>
          </a:p>
          <a:p>
            <a:pPr marL="171450" marR="0" lvl="0" indent="-171450" algn="l" defTabSz="685656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100"/>
              </a:spcAft>
              <a:buClr>
                <a:srgbClr val="312D2A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312D2A"/>
                </a:solidFill>
                <a:effectLst/>
                <a:uLnTx/>
                <a:uFillTx/>
                <a:latin typeface="Oracle Sans Tab"/>
                <a:ea typeface="Oracle Sans" charset="0"/>
                <a:cs typeface="Oracle Sans" charset="0"/>
              </a:rPr>
              <a:t>Up to 6 Racks including primary rack</a:t>
            </a:r>
          </a:p>
          <a:p>
            <a:pPr marL="171450" marR="0" lvl="0" indent="-171450" algn="l" defTabSz="685656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100"/>
              </a:spcAft>
              <a:buClr>
                <a:srgbClr val="312D2A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312D2A"/>
                </a:solidFill>
                <a:effectLst/>
                <a:uLnTx/>
                <a:uFillTx/>
                <a:latin typeface="Oracle Sans Tab"/>
                <a:ea typeface="Oracle Sans" charset="0"/>
                <a:cs typeface="Oracle Sans" charset="0"/>
              </a:rPr>
              <a:t>Max 32 Database Servers</a:t>
            </a:r>
          </a:p>
          <a:p>
            <a:pPr marL="171450" marR="0" lvl="0" indent="-171450" algn="l" defTabSz="685656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100"/>
              </a:spcAft>
              <a:buClr>
                <a:srgbClr val="312D2A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312D2A"/>
                </a:solidFill>
                <a:effectLst/>
                <a:uLnTx/>
                <a:uFillTx/>
                <a:latin typeface="Oracle Sans Tab"/>
                <a:ea typeface="Oracle Sans" charset="0"/>
                <a:cs typeface="Oracle Sans" charset="0"/>
              </a:rPr>
              <a:t>Max 64 Storage Servers</a:t>
            </a:r>
          </a:p>
          <a:p>
            <a:pPr marL="171450" marR="0" lvl="0" indent="-171450" algn="l" defTabSz="685656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100"/>
              </a:spcAft>
              <a:buClr>
                <a:srgbClr val="312D2A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312D2A"/>
                </a:solidFill>
                <a:effectLst/>
                <a:uLnTx/>
                <a:uFillTx/>
                <a:latin typeface="Oracle Sans Tab"/>
                <a:ea typeface="Oracle Sans" charset="0"/>
                <a:cs typeface="Oracle Sans" charset="0"/>
              </a:rPr>
              <a:t>Max 5 Expansion Rack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312D2A"/>
              </a:solidFill>
              <a:effectLst/>
              <a:uLnTx/>
              <a:uFillTx/>
              <a:latin typeface="Oracle Sans Tab"/>
              <a:ea typeface="+mn-ea"/>
              <a:cs typeface="+mn-cs"/>
            </a:endParaRPr>
          </a:p>
        </p:txBody>
      </p:sp>
      <p:sp>
        <p:nvSpPr>
          <p:cNvPr id="33" name="Arrow: Right 11">
            <a:extLst>
              <a:ext uri="{FF2B5EF4-FFF2-40B4-BE49-F238E27FC236}">
                <a16:creationId xmlns:a16="http://schemas.microsoft.com/office/drawing/2014/main" id="{D5D6C9FD-E102-2559-B5DA-B5C112A21CF5}"/>
              </a:ext>
            </a:extLst>
          </p:cNvPr>
          <p:cNvSpPr/>
          <p:nvPr/>
        </p:nvSpPr>
        <p:spPr>
          <a:xfrm>
            <a:off x="5478705" y="2601243"/>
            <a:ext cx="1429076" cy="1226607"/>
          </a:xfrm>
          <a:prstGeom prst="rightArrow">
            <a:avLst/>
          </a:prstGeom>
          <a:solidFill>
            <a:srgbClr val="2C5967"/>
          </a:solidFill>
          <a:ln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FCFBFA"/>
                </a:solidFill>
                <a:effectLst/>
                <a:uLnTx/>
                <a:uFillTx/>
                <a:latin typeface="Oracle Sans Tab"/>
                <a:ea typeface="+mn-ea"/>
                <a:cs typeface="+mn-cs"/>
              </a:rPr>
              <a:t>Add 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Oracle Sans Tab"/>
                <a:ea typeface="+mn-ea"/>
                <a:cs typeface="+mn-cs"/>
              </a:rPr>
              <a:t>Racks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FCFBFA"/>
                </a:solidFill>
                <a:effectLst/>
                <a:uLnTx/>
                <a:uFillTx/>
                <a:latin typeface="Oracle Sans Tab"/>
                <a:ea typeface="+mn-ea"/>
                <a:cs typeface="+mn-cs"/>
              </a:rPr>
              <a:t> to Continue Scaling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1BE26E8B-9C4E-08B1-A105-12DE3FD2E597}"/>
              </a:ext>
            </a:extLst>
          </p:cNvPr>
          <p:cNvSpPr/>
          <p:nvPr/>
        </p:nvSpPr>
        <p:spPr>
          <a:xfrm>
            <a:off x="9768980" y="2659545"/>
            <a:ext cx="657636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srgbClr val="FCFBFA"/>
                </a:solidFill>
                <a:effectLst/>
                <a:uLnTx/>
                <a:uFillTx/>
                <a:latin typeface="Oracle Sans Tab"/>
                <a:ea typeface="+mn-ea"/>
                <a:cs typeface="+mn-cs"/>
              </a:rPr>
              <a:t>Expansion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srgbClr val="FCFBFA"/>
                </a:solidFill>
                <a:effectLst/>
                <a:uLnTx/>
                <a:uFillTx/>
                <a:latin typeface="Oracle Sans Tab"/>
                <a:ea typeface="+mn-ea"/>
                <a:cs typeface="+mn-cs"/>
              </a:rPr>
              <a:t>Rack(s)</a:t>
            </a: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570567A9-2C96-46E4-8EDE-1847DF76BD2E}"/>
              </a:ext>
            </a:extLst>
          </p:cNvPr>
          <p:cNvSpPr/>
          <p:nvPr/>
        </p:nvSpPr>
        <p:spPr>
          <a:xfrm>
            <a:off x="7620228" y="2650866"/>
            <a:ext cx="626917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srgbClr val="FCFBFA"/>
                </a:solidFill>
                <a:effectLst/>
                <a:uLnTx/>
                <a:uFillTx/>
                <a:latin typeface="Oracle Sans Tab"/>
                <a:ea typeface="+mn-ea"/>
                <a:cs typeface="+mn-cs"/>
              </a:rPr>
              <a:t>Primary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srgbClr val="FCFBFA"/>
                </a:solidFill>
                <a:effectLst/>
                <a:uLnTx/>
                <a:uFillTx/>
                <a:latin typeface="Oracle Sans Tab"/>
                <a:ea typeface="+mn-ea"/>
                <a:cs typeface="+mn-cs"/>
              </a:rPr>
              <a:t> Rack</a:t>
            </a:r>
          </a:p>
        </p:txBody>
      </p:sp>
      <p:grpSp>
        <p:nvGrpSpPr>
          <p:cNvPr id="36" name="Group 35">
            <a:extLst>
              <a:ext uri="{FF2B5EF4-FFF2-40B4-BE49-F238E27FC236}">
                <a16:creationId xmlns:a16="http://schemas.microsoft.com/office/drawing/2014/main" id="{32B79F2B-372F-4E13-8D71-69CED4E908ED}"/>
              </a:ext>
            </a:extLst>
          </p:cNvPr>
          <p:cNvGrpSpPr/>
          <p:nvPr/>
        </p:nvGrpSpPr>
        <p:grpSpPr>
          <a:xfrm>
            <a:off x="7694174" y="2691937"/>
            <a:ext cx="836798" cy="1040926"/>
            <a:chOff x="4050523" y="2151501"/>
            <a:chExt cx="1284671" cy="1276335"/>
          </a:xfrm>
        </p:grpSpPr>
        <p:pic>
          <p:nvPicPr>
            <p:cNvPr id="37" name="Picture 36">
              <a:extLst>
                <a:ext uri="{FF2B5EF4-FFF2-40B4-BE49-F238E27FC236}">
                  <a16:creationId xmlns:a16="http://schemas.microsoft.com/office/drawing/2014/main" id="{51E3AB4C-0E2D-4161-9878-7E2D1CD08AAC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4219891" y="3198259"/>
              <a:ext cx="888907" cy="162144"/>
            </a:xfrm>
            <a:prstGeom prst="rect">
              <a:avLst/>
            </a:prstGeom>
          </p:spPr>
        </p:pic>
        <p:sp>
          <p:nvSpPr>
            <p:cNvPr id="38" name="TextBox 37">
              <a:extLst>
                <a:ext uri="{FF2B5EF4-FFF2-40B4-BE49-F238E27FC236}">
                  <a16:creationId xmlns:a16="http://schemas.microsoft.com/office/drawing/2014/main" id="{85BD0064-B508-480A-BC76-39FA22C798AE}"/>
                </a:ext>
              </a:extLst>
            </p:cNvPr>
            <p:cNvSpPr txBox="1"/>
            <p:nvPr/>
          </p:nvSpPr>
          <p:spPr>
            <a:xfrm>
              <a:off x="4064587" y="2741422"/>
              <a:ext cx="1056247" cy="50946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1" i="0" u="none" strike="noStrike" kern="1200" cap="none" spc="0" normalizeH="0" baseline="0" noProof="0" dirty="0">
                  <a:ln>
                    <a:noFill/>
                  </a:ln>
                  <a:solidFill>
                    <a:srgbClr val="312D2A"/>
                  </a:solidFill>
                  <a:effectLst/>
                  <a:uLnTx/>
                  <a:uFillTx/>
                  <a:latin typeface="Oracle Sans Tab"/>
                  <a:ea typeface="+mn-ea"/>
                  <a:cs typeface="+mn-cs"/>
                </a:rPr>
                <a:t>Storage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1" i="0" u="none" strike="noStrike" kern="1200" cap="none" spc="0" normalizeH="0" baseline="0" noProof="0" dirty="0">
                  <a:ln>
                    <a:noFill/>
                  </a:ln>
                  <a:solidFill>
                    <a:srgbClr val="312D2A"/>
                  </a:solidFill>
                  <a:effectLst/>
                  <a:uLnTx/>
                  <a:uFillTx/>
                  <a:latin typeface="Oracle Sans Tab"/>
                  <a:ea typeface="+mn-ea"/>
                  <a:cs typeface="+mn-cs"/>
                </a:rPr>
                <a:t>Server</a:t>
              </a:r>
            </a:p>
          </p:txBody>
        </p:sp>
        <p:sp>
          <p:nvSpPr>
            <p:cNvPr id="39" name="Arrow: Right 46">
              <a:extLst>
                <a:ext uri="{FF2B5EF4-FFF2-40B4-BE49-F238E27FC236}">
                  <a16:creationId xmlns:a16="http://schemas.microsoft.com/office/drawing/2014/main" id="{02366183-69D5-47C1-BE4F-B3D30B492B81}"/>
                </a:ext>
              </a:extLst>
            </p:cNvPr>
            <p:cNvSpPr/>
            <p:nvPr/>
          </p:nvSpPr>
          <p:spPr>
            <a:xfrm>
              <a:off x="5164770" y="3190570"/>
              <a:ext cx="168832" cy="237266"/>
            </a:xfrm>
            <a:prstGeom prst="rightArrow">
              <a:avLst/>
            </a:prstGeom>
            <a:solidFill>
              <a:schemeClr val="accent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CFBFA"/>
                </a:solidFill>
                <a:effectLst/>
                <a:uLnTx/>
                <a:uFillTx/>
                <a:latin typeface="Oracle Sans Tab"/>
                <a:ea typeface="+mn-ea"/>
                <a:cs typeface="+mn-cs"/>
              </a:endParaRPr>
            </a:p>
          </p:txBody>
        </p:sp>
        <p:sp>
          <p:nvSpPr>
            <p:cNvPr id="40" name="TextBox 39">
              <a:extLst>
                <a:ext uri="{FF2B5EF4-FFF2-40B4-BE49-F238E27FC236}">
                  <a16:creationId xmlns:a16="http://schemas.microsoft.com/office/drawing/2014/main" id="{90B68BFE-C393-4C32-A086-74C9CC4886E4}"/>
                </a:ext>
              </a:extLst>
            </p:cNvPr>
            <p:cNvSpPr txBox="1"/>
            <p:nvPr/>
          </p:nvSpPr>
          <p:spPr>
            <a:xfrm>
              <a:off x="4050523" y="2151501"/>
              <a:ext cx="1201445" cy="50946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1" i="0" u="none" strike="noStrike" kern="1200" cap="none" spc="0" normalizeH="0" baseline="0" noProof="0" dirty="0">
                  <a:ln>
                    <a:noFill/>
                  </a:ln>
                  <a:solidFill>
                    <a:srgbClr val="312D2A"/>
                  </a:solidFill>
                  <a:effectLst/>
                  <a:uLnTx/>
                  <a:uFillTx/>
                  <a:latin typeface="Oracle Sans Tab"/>
                  <a:ea typeface="+mn-ea"/>
                  <a:cs typeface="+mn-cs"/>
                </a:rPr>
                <a:t>Database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1" i="0" u="none" strike="noStrike" kern="1200" cap="none" spc="0" normalizeH="0" baseline="0" noProof="0" dirty="0">
                  <a:ln>
                    <a:noFill/>
                  </a:ln>
                  <a:solidFill>
                    <a:srgbClr val="312D2A"/>
                  </a:solidFill>
                  <a:effectLst/>
                  <a:uLnTx/>
                  <a:uFillTx/>
                  <a:latin typeface="Oracle Sans Tab"/>
                  <a:ea typeface="+mn-ea"/>
                  <a:cs typeface="+mn-cs"/>
                </a:rPr>
                <a:t>Server</a:t>
              </a:r>
            </a:p>
          </p:txBody>
        </p:sp>
        <p:sp>
          <p:nvSpPr>
            <p:cNvPr id="41" name="Arrow: Right 48">
              <a:extLst>
                <a:ext uri="{FF2B5EF4-FFF2-40B4-BE49-F238E27FC236}">
                  <a16:creationId xmlns:a16="http://schemas.microsoft.com/office/drawing/2014/main" id="{A0FD622E-44B5-4CAD-8C84-E5F33F5BADAE}"/>
                </a:ext>
              </a:extLst>
            </p:cNvPr>
            <p:cNvSpPr/>
            <p:nvPr/>
          </p:nvSpPr>
          <p:spPr>
            <a:xfrm>
              <a:off x="5166362" y="2583358"/>
              <a:ext cx="168832" cy="237266"/>
            </a:xfrm>
            <a:prstGeom prst="rightArrow">
              <a:avLst/>
            </a:prstGeom>
            <a:solidFill>
              <a:schemeClr val="accent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CFBFA"/>
                </a:solidFill>
                <a:effectLst/>
                <a:uLnTx/>
                <a:uFillTx/>
                <a:latin typeface="Oracle Sans Tab"/>
                <a:ea typeface="+mn-ea"/>
                <a:cs typeface="+mn-cs"/>
              </a:endParaRPr>
            </a:p>
          </p:txBody>
        </p:sp>
        <p:pic>
          <p:nvPicPr>
            <p:cNvPr id="42" name="Picture 41">
              <a:extLst>
                <a:ext uri="{FF2B5EF4-FFF2-40B4-BE49-F238E27FC236}">
                  <a16:creationId xmlns:a16="http://schemas.microsoft.com/office/drawing/2014/main" id="{1852DD16-9062-449F-9AC0-2D5B3B3ED781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4210038" y="2613962"/>
              <a:ext cx="875334" cy="164977"/>
            </a:xfrm>
            <a:prstGeom prst="rect">
              <a:avLst/>
            </a:prstGeom>
          </p:spPr>
        </p:pic>
      </p:grpSp>
      <p:cxnSp>
        <p:nvCxnSpPr>
          <p:cNvPr id="43" name="Connector: Elbow 50">
            <a:extLst>
              <a:ext uri="{FF2B5EF4-FFF2-40B4-BE49-F238E27FC236}">
                <a16:creationId xmlns:a16="http://schemas.microsoft.com/office/drawing/2014/main" id="{84E911E5-8599-4E8A-976B-51D7AB1B1A5C}"/>
              </a:ext>
            </a:extLst>
          </p:cNvPr>
          <p:cNvCxnSpPr>
            <a:cxnSpLocks/>
          </p:cNvCxnSpPr>
          <p:nvPr/>
        </p:nvCxnSpPr>
        <p:spPr>
          <a:xfrm rot="5400000" flipH="1" flipV="1">
            <a:off x="11475153" y="3827536"/>
            <a:ext cx="486" cy="717121"/>
          </a:xfrm>
          <a:prstGeom prst="bentConnector3">
            <a:avLst>
              <a:gd name="adj1" fmla="val -47037037"/>
            </a:avLst>
          </a:prstGeom>
          <a:ln w="76200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4" name="Connector: Elbow 51">
            <a:extLst>
              <a:ext uri="{FF2B5EF4-FFF2-40B4-BE49-F238E27FC236}">
                <a16:creationId xmlns:a16="http://schemas.microsoft.com/office/drawing/2014/main" id="{000CAAF5-EB48-4B24-9123-0A22EB2D94B4}"/>
              </a:ext>
            </a:extLst>
          </p:cNvPr>
          <p:cNvCxnSpPr>
            <a:cxnSpLocks/>
          </p:cNvCxnSpPr>
          <p:nvPr/>
        </p:nvCxnSpPr>
        <p:spPr>
          <a:xfrm rot="16200000" flipH="1">
            <a:off x="10758276" y="3827780"/>
            <a:ext cx="12700" cy="717121"/>
          </a:xfrm>
          <a:prstGeom prst="bentConnector3">
            <a:avLst>
              <a:gd name="adj1" fmla="val 1875000"/>
            </a:avLst>
          </a:prstGeom>
          <a:ln w="76200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5" name="Connector: Elbow 52">
            <a:extLst>
              <a:ext uri="{FF2B5EF4-FFF2-40B4-BE49-F238E27FC236}">
                <a16:creationId xmlns:a16="http://schemas.microsoft.com/office/drawing/2014/main" id="{5FFE2A25-AD76-40A9-A27A-952811025C9D}"/>
              </a:ext>
            </a:extLst>
          </p:cNvPr>
          <p:cNvCxnSpPr>
            <a:cxnSpLocks/>
          </p:cNvCxnSpPr>
          <p:nvPr/>
        </p:nvCxnSpPr>
        <p:spPr>
          <a:xfrm rot="5400000" flipH="1" flipV="1">
            <a:off x="10034392" y="3825273"/>
            <a:ext cx="4256" cy="726390"/>
          </a:xfrm>
          <a:prstGeom prst="bentConnector3">
            <a:avLst>
              <a:gd name="adj1" fmla="val -5371241"/>
            </a:avLst>
          </a:prstGeom>
          <a:ln w="76200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6" name="Connector: Elbow 53">
            <a:extLst>
              <a:ext uri="{FF2B5EF4-FFF2-40B4-BE49-F238E27FC236}">
                <a16:creationId xmlns:a16="http://schemas.microsoft.com/office/drawing/2014/main" id="{767BCB1E-06E2-46EF-B7F6-93B6EA8065C0}"/>
              </a:ext>
            </a:extLst>
          </p:cNvPr>
          <p:cNvCxnSpPr>
            <a:cxnSpLocks/>
          </p:cNvCxnSpPr>
          <p:nvPr/>
        </p:nvCxnSpPr>
        <p:spPr>
          <a:xfrm rot="16200000" flipH="1">
            <a:off x="9307062" y="3833858"/>
            <a:ext cx="4256" cy="728270"/>
          </a:xfrm>
          <a:prstGeom prst="bentConnector3">
            <a:avLst>
              <a:gd name="adj1" fmla="val 5471241"/>
            </a:avLst>
          </a:prstGeom>
          <a:ln w="76200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47" name="Picture 46">
            <a:extLst>
              <a:ext uri="{FF2B5EF4-FFF2-40B4-BE49-F238E27FC236}">
                <a16:creationId xmlns:a16="http://schemas.microsoft.com/office/drawing/2014/main" id="{8598301E-087D-A634-9D2E-D70E3969B942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829563" y="3666320"/>
            <a:ext cx="608965" cy="110490"/>
          </a:xfrm>
          <a:prstGeom prst="rect">
            <a:avLst/>
          </a:prstGeom>
        </p:spPr>
      </p:pic>
      <p:pic>
        <p:nvPicPr>
          <p:cNvPr id="48" name="Picture 2">
            <a:extLst>
              <a:ext uri="{FF2B5EF4-FFF2-40B4-BE49-F238E27FC236}">
                <a16:creationId xmlns:a16="http://schemas.microsoft.com/office/drawing/2014/main" id="{F1704399-15CF-7185-2001-19C52794A17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3829563" y="3121082"/>
            <a:ext cx="608965" cy="111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9" name="Picture 48">
            <a:extLst>
              <a:ext uri="{FF2B5EF4-FFF2-40B4-BE49-F238E27FC236}">
                <a16:creationId xmlns:a16="http://schemas.microsoft.com/office/drawing/2014/main" id="{BE629E2F-46A4-B5DE-22CC-A92F27046FEB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76617" y="2237075"/>
            <a:ext cx="682958" cy="1962024"/>
          </a:xfrm>
          <a:prstGeom prst="rect">
            <a:avLst/>
          </a:prstGeom>
        </p:spPr>
      </p:pic>
      <p:pic>
        <p:nvPicPr>
          <p:cNvPr id="50" name="Picture 49">
            <a:extLst>
              <a:ext uri="{FF2B5EF4-FFF2-40B4-BE49-F238E27FC236}">
                <a16:creationId xmlns:a16="http://schemas.microsoft.com/office/drawing/2014/main" id="{79C0C9C7-9B61-6868-BCAC-1AA80AC8FCBD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646445" y="2237075"/>
            <a:ext cx="682958" cy="1962024"/>
          </a:xfrm>
          <a:prstGeom prst="rect">
            <a:avLst/>
          </a:prstGeom>
        </p:spPr>
      </p:pic>
      <p:pic>
        <p:nvPicPr>
          <p:cNvPr id="51" name="Picture 50">
            <a:extLst>
              <a:ext uri="{FF2B5EF4-FFF2-40B4-BE49-F238E27FC236}">
                <a16:creationId xmlns:a16="http://schemas.microsoft.com/office/drawing/2014/main" id="{039AA40A-D6D6-111A-9B5F-66C0F3F2131E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551651" y="2237075"/>
            <a:ext cx="682958" cy="1962024"/>
          </a:xfrm>
          <a:prstGeom prst="rect">
            <a:avLst/>
          </a:prstGeom>
        </p:spPr>
      </p:pic>
      <p:pic>
        <p:nvPicPr>
          <p:cNvPr id="52" name="Picture 51">
            <a:extLst>
              <a:ext uri="{FF2B5EF4-FFF2-40B4-BE49-F238E27FC236}">
                <a16:creationId xmlns:a16="http://schemas.microsoft.com/office/drawing/2014/main" id="{0AEF2AB6-A0A1-B05A-9C86-B90DEA4C39AD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325496" y="2237075"/>
            <a:ext cx="682958" cy="1962024"/>
          </a:xfrm>
          <a:prstGeom prst="rect">
            <a:avLst/>
          </a:prstGeom>
        </p:spPr>
      </p:pic>
      <p:pic>
        <p:nvPicPr>
          <p:cNvPr id="53" name="Picture 52">
            <a:extLst>
              <a:ext uri="{FF2B5EF4-FFF2-40B4-BE49-F238E27FC236}">
                <a16:creationId xmlns:a16="http://schemas.microsoft.com/office/drawing/2014/main" id="{13CBDAD7-0514-0D8B-DA0A-BA158EE0B491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012644" y="2237075"/>
            <a:ext cx="682958" cy="1962024"/>
          </a:xfrm>
          <a:prstGeom prst="rect">
            <a:avLst/>
          </a:prstGeom>
        </p:spPr>
      </p:pic>
      <p:pic>
        <p:nvPicPr>
          <p:cNvPr id="54" name="Picture 53">
            <a:extLst>
              <a:ext uri="{FF2B5EF4-FFF2-40B4-BE49-F238E27FC236}">
                <a16:creationId xmlns:a16="http://schemas.microsoft.com/office/drawing/2014/main" id="{C30C0A68-7DBD-7A1B-D51A-7C75148485CF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764626" y="2237075"/>
            <a:ext cx="682958" cy="1962024"/>
          </a:xfrm>
          <a:prstGeom prst="rect">
            <a:avLst/>
          </a:prstGeom>
        </p:spPr>
      </p:pic>
      <p:cxnSp>
        <p:nvCxnSpPr>
          <p:cNvPr id="55" name="Connector: Elbow 40">
            <a:extLst>
              <a:ext uri="{FF2B5EF4-FFF2-40B4-BE49-F238E27FC236}">
                <a16:creationId xmlns:a16="http://schemas.microsoft.com/office/drawing/2014/main" id="{75D2A8EA-CC5B-4BBE-9A3E-982D0F75D391}"/>
              </a:ext>
            </a:extLst>
          </p:cNvPr>
          <p:cNvCxnSpPr>
            <a:cxnSpLocks/>
          </p:cNvCxnSpPr>
          <p:nvPr/>
        </p:nvCxnSpPr>
        <p:spPr>
          <a:xfrm rot="5400000" flipH="1" flipV="1">
            <a:off x="8122508" y="3407205"/>
            <a:ext cx="43411" cy="1601682"/>
          </a:xfrm>
          <a:prstGeom prst="bentConnector3">
            <a:avLst>
              <a:gd name="adj1" fmla="val -460770"/>
            </a:avLst>
          </a:prstGeom>
          <a:ln w="76200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345D60D9-5372-5F40-9443-0F9AE5BDC3C8}" type="slidenum">
              <a:rPr lang="en-US" smtClean="0"/>
              <a:pPr/>
              <a:t>2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399673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31535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C38B6F3C-673A-2C4F-BDD8-A174DA9D4B4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12" r="91391"/>
          <a:stretch/>
        </p:blipFill>
        <p:spPr>
          <a:xfrm>
            <a:off x="-1" y="0"/>
            <a:ext cx="1083365" cy="6858000"/>
          </a:xfrm>
          <a:prstGeom prst="rect">
            <a:avLst/>
          </a:prstGeom>
        </p:spPr>
      </p:pic>
      <p:sp>
        <p:nvSpPr>
          <p:cNvPr id="10" name="Title 6"/>
          <p:cNvSpPr txBox="1">
            <a:spLocks/>
          </p:cNvSpPr>
          <p:nvPr/>
        </p:nvSpPr>
        <p:spPr>
          <a:xfrm>
            <a:off x="2493919" y="3111287"/>
            <a:ext cx="8315107" cy="822960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noAutofit/>
          </a:bodyPr>
          <a:lstStyle>
            <a:lvl1pPr algn="l" defTabSz="914400" rtl="0" eaLnBrk="1" latinLnBrk="0" hangingPunct="1">
              <a:lnSpc>
                <a:spcPct val="95000"/>
              </a:lnSpc>
              <a:spcBef>
                <a:spcPct val="0"/>
              </a:spcBef>
              <a:buNone/>
              <a:defRPr lang="en-US" sz="4000" b="0" i="0" kern="1200" baseline="0" dirty="0">
                <a:solidFill>
                  <a:schemeClr val="tx1"/>
                </a:solidFill>
                <a:latin typeface="+mj-lt"/>
                <a:ea typeface="+mn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5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>
                <a:solidFill>
                  <a:srgbClr val="FCFBFA"/>
                </a:solidFill>
                <a:latin typeface="Georgia"/>
              </a:rPr>
              <a:t>Exadata</a:t>
            </a:r>
            <a:r>
              <a:rPr lang="en-US" dirty="0" smtClean="0">
                <a:solidFill>
                  <a:srgbClr val="FCFBFA"/>
                </a:solidFill>
                <a:latin typeface="Georgia"/>
              </a:rPr>
              <a:t> Cloud  tools</a:t>
            </a:r>
            <a:endParaRPr kumimoji="0" lang="en-US" sz="4000" b="0" i="0" u="none" strike="noStrike" kern="1200" cap="none" spc="0" normalizeH="0" baseline="0" noProof="0" dirty="0">
              <a:ln>
                <a:noFill/>
              </a:ln>
              <a:solidFill>
                <a:srgbClr val="FCFBFA"/>
              </a:solidFill>
              <a:effectLst/>
              <a:uLnTx/>
              <a:uFillTx/>
              <a:latin typeface="Georgia"/>
              <a:ea typeface="+mn-ea"/>
              <a:cs typeface="+mj-cs"/>
            </a:endParaRP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Copyright © 2024, Oracle and/or its affiliates. All rights reserved   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5D60D9-5372-5F40-9443-0F9AE5BDC3C8}" type="slidenum">
              <a:rPr lang="en-US" smtClean="0"/>
              <a:pPr/>
              <a:t>2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091156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screenshot of a cell phone&#10;&#10;Description automatically generated">
            <a:extLst>
              <a:ext uri="{FF2B5EF4-FFF2-40B4-BE49-F238E27FC236}">
                <a16:creationId xmlns:a16="http://schemas.microsoft.com/office/drawing/2014/main" id="{3606525D-7704-8048-843E-B83CD8F2395B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1"/>
          <a:stretch/>
        </p:blipFill>
        <p:spPr>
          <a:xfrm>
            <a:off x="957248" y="3882356"/>
            <a:ext cx="3459005" cy="215796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26627" name="Content Placeholder 2"/>
          <p:cNvSpPr>
            <a:spLocks noGrp="1"/>
          </p:cNvSpPr>
          <p:nvPr>
            <p:ph sz="quarter" idx="13"/>
          </p:nvPr>
        </p:nvSpPr>
        <p:spPr>
          <a:xfrm>
            <a:off x="957248" y="1472954"/>
            <a:ext cx="7770591" cy="2755900"/>
          </a:xfrm>
          <a:noFill/>
        </p:spPr>
        <p:txBody>
          <a:bodyPr/>
          <a:lstStyle/>
          <a:p>
            <a:pPr marL="11113" lvl="1" indent="0" defTabSz="304735" fontAlgn="base">
              <a:spcBef>
                <a:spcPts val="0"/>
              </a:spcBef>
              <a:spcAft>
                <a:spcPts val="1200"/>
              </a:spcAft>
              <a:buClr>
                <a:schemeClr val="tx1"/>
              </a:buClr>
              <a:buNone/>
              <a:defRPr/>
            </a:pPr>
            <a:r>
              <a:rPr lang="en-US" sz="2000" b="1" dirty="0">
                <a:latin typeface="Oracle Sans Semi Bold" panose="020B0503020204020204" pitchFamily="34" charset="0"/>
                <a:cs typeface="Oracle Sans Semi Bold" panose="020B0503020204020204" pitchFamily="34" charset="0"/>
              </a:rPr>
              <a:t>Oracle Cloud Web base UI, REST APIs, SDK, CLI, Terraform</a:t>
            </a:r>
          </a:p>
          <a:p>
            <a:pPr marL="208915" indent="-285750" defTabSz="304735" fontAlgn="base"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/>
            </a:pPr>
            <a:r>
              <a:rPr lang="en-US" dirty="0">
                <a:cs typeface="Arial" pitchFamily="34" charset="0"/>
              </a:rPr>
              <a:t>Scale OCPUs</a:t>
            </a:r>
          </a:p>
          <a:p>
            <a:pPr marL="208915" indent="-285750" defTabSz="304735" fontAlgn="base"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/>
            </a:pPr>
            <a:r>
              <a:rPr lang="en-US" dirty="0">
                <a:cs typeface="Arial" pitchFamily="34" charset="0"/>
              </a:rPr>
              <a:t>Create Database Homes and Databases</a:t>
            </a:r>
          </a:p>
          <a:p>
            <a:pPr marL="208915" indent="-285750" defTabSz="304735" fontAlgn="base"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/>
            </a:pPr>
            <a:r>
              <a:rPr lang="en-US" dirty="0">
                <a:cs typeface="Arial" pitchFamily="34" charset="0"/>
              </a:rPr>
              <a:t>Schedule Infrastructure Maintenance</a:t>
            </a:r>
          </a:p>
          <a:p>
            <a:pPr marL="208915" indent="-285750" defTabSz="304735" fontAlgn="base"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/>
            </a:pPr>
            <a:r>
              <a:rPr lang="en-US" dirty="0">
                <a:cs typeface="Arial" pitchFamily="34" charset="0"/>
              </a:rPr>
              <a:t>Update Operating System, Grid Infrastructure, and Databases</a:t>
            </a:r>
          </a:p>
          <a:p>
            <a:pPr marL="208915" indent="-285750" defTabSz="304735" fontAlgn="base"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/>
            </a:pPr>
            <a:r>
              <a:rPr lang="en-US" dirty="0">
                <a:cs typeface="Arial" pitchFamily="34" charset="0"/>
              </a:rPr>
              <a:t>Backup and recovery </a:t>
            </a:r>
          </a:p>
          <a:p>
            <a:pPr marL="208915" indent="-285750" defTabSz="304735" fontAlgn="base"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/>
            </a:pPr>
            <a:r>
              <a:rPr lang="en-US" dirty="0">
                <a:cs typeface="Arial" pitchFamily="34" charset="0"/>
              </a:rPr>
              <a:t>Enable Data Guard</a:t>
            </a:r>
          </a:p>
        </p:txBody>
      </p:sp>
      <p:sp>
        <p:nvSpPr>
          <p:cNvPr id="26626" name="Title 1"/>
          <p:cNvSpPr>
            <a:spLocks noGrp="1"/>
          </p:cNvSpPr>
          <p:nvPr>
            <p:ph type="title"/>
          </p:nvPr>
        </p:nvSpPr>
        <p:spPr>
          <a:xfrm>
            <a:off x="746573" y="128212"/>
            <a:ext cx="10671048" cy="822960"/>
          </a:xfrm>
        </p:spPr>
        <p:txBody>
          <a:bodyPr anchor="b"/>
          <a:lstStyle/>
          <a:p>
            <a:r>
              <a:rPr lang="en-US" dirty="0">
                <a:solidFill>
                  <a:schemeClr val="tx1"/>
                </a:solidFill>
              </a:rPr>
              <a:t>Cloud Automation for Common Lifecycle Tasks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D45FB4C7-BF7E-C443-81C0-406E2C964E7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8B8580"/>
                </a:solidFill>
                <a:effectLst/>
                <a:uLnTx/>
                <a:uFillTx/>
                <a:latin typeface="Oracle Sans Tab"/>
                <a:ea typeface="+mn-ea"/>
                <a:cs typeface="+mn-cs"/>
              </a:rPr>
              <a:t>Copyright © 2024, Oracle and/or its affiliates. All rights reserved   </a:t>
            </a: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8B8580"/>
              </a:solidFill>
              <a:effectLst/>
              <a:uLnTx/>
              <a:uFillTx/>
              <a:latin typeface="Oracle Sans Tab"/>
              <a:ea typeface="+mn-ea"/>
              <a:cs typeface="+mn-cs"/>
            </a:endParaRPr>
          </a:p>
        </p:txBody>
      </p:sp>
      <p:pic>
        <p:nvPicPr>
          <p:cNvPr id="5" name="Picture 4" descr="A screenshot of a cell phone&#10;&#10;Description automatically generated">
            <a:extLst>
              <a:ext uri="{FF2B5EF4-FFF2-40B4-BE49-F238E27FC236}">
                <a16:creationId xmlns:a16="http://schemas.microsoft.com/office/drawing/2014/main" id="{69757F32-6D6F-7D49-8CFB-FBA6D3EC117F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565088" y="3882356"/>
            <a:ext cx="3429431" cy="215796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3" name="Picture 12" descr="Graphical user interface, text, application, email, Teams&#10;&#10;Description automatically generated">
            <a:extLst>
              <a:ext uri="{FF2B5EF4-FFF2-40B4-BE49-F238E27FC236}">
                <a16:creationId xmlns:a16="http://schemas.microsoft.com/office/drawing/2014/main" id="{F5EEFB23-D06F-8E43-9D2F-D849A6B86A56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172926" y="1554480"/>
            <a:ext cx="3459004" cy="2176574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4" name="Picture 3" descr="Graphical user interface, text, application, email&#10;&#10;Description automatically generated">
            <a:extLst>
              <a:ext uri="{FF2B5EF4-FFF2-40B4-BE49-F238E27FC236}">
                <a16:creationId xmlns:a16="http://schemas.microsoft.com/office/drawing/2014/main" id="{382D8868-BC8B-A744-9F45-FCC0651C8B85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172926" y="3882356"/>
            <a:ext cx="3459004" cy="215796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7" name="Slide Number Placeholder 6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345D60D9-5372-5F40-9443-0F9AE5BDC3C8}" type="slidenum">
              <a:rPr lang="en-US" smtClean="0"/>
              <a:pPr/>
              <a:t>22</a:t>
            </a:fld>
            <a:endParaRPr 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3882794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178D846F-6B31-F04B-ADD2-F48097F54D3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7113" y="-83339"/>
            <a:ext cx="10671048" cy="822960"/>
          </a:xfrm>
        </p:spPr>
        <p:txBody>
          <a:bodyPr/>
          <a:lstStyle/>
          <a:p>
            <a:r>
              <a:rPr lang="en-US" dirty="0" err="1" smtClean="0"/>
              <a:t>Exadata</a:t>
            </a:r>
            <a:r>
              <a:rPr lang="en-US" dirty="0" smtClean="0"/>
              <a:t> Cloud  Command Line Interface (</a:t>
            </a:r>
            <a:r>
              <a:rPr lang="en-US" i="1" dirty="0" err="1" smtClean="0"/>
              <a:t>dbaascli</a:t>
            </a:r>
            <a:r>
              <a:rPr lang="en-US" dirty="0" smtClean="0"/>
              <a:t>)</a:t>
            </a:r>
            <a:endParaRPr lang="en-US" dirty="0"/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F3011DB4-2B00-484C-946F-C52DC58BD65E}"/>
              </a:ext>
            </a:extLst>
          </p:cNvPr>
          <p:cNvGrpSpPr/>
          <p:nvPr/>
        </p:nvGrpSpPr>
        <p:grpSpPr>
          <a:xfrm>
            <a:off x="310723" y="1760728"/>
            <a:ext cx="3690090" cy="4308822"/>
            <a:chOff x="3228774" y="1775267"/>
            <a:chExt cx="2733409" cy="4199998"/>
          </a:xfrm>
        </p:grpSpPr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936B778E-860C-2947-BC8B-CB04A65180FA}"/>
                </a:ext>
              </a:extLst>
            </p:cNvPr>
            <p:cNvSpPr/>
            <p:nvPr/>
          </p:nvSpPr>
          <p:spPr>
            <a:xfrm>
              <a:off x="3228774" y="1775267"/>
              <a:ext cx="2733409" cy="4054960"/>
            </a:xfrm>
            <a:prstGeom prst="rect">
              <a:avLst/>
            </a:prstGeom>
            <a:solidFill>
              <a:srgbClr val="41817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2880" tIns="274320" rIns="182880" rtlCol="0" anchor="t" anchorCtr="0"/>
            <a:lstStyle/>
            <a:p>
              <a:pPr>
                <a:spcBef>
                  <a:spcPts val="600"/>
                </a:spcBef>
              </a:pPr>
              <a:r>
                <a:rPr lang="en-US" sz="2000" b="1" dirty="0" smtClean="0">
                  <a:solidFill>
                    <a:schemeClr val="bg1"/>
                  </a:solidFill>
                  <a:latin typeface="Oracle Sans Extra Bold" panose="020B0503020204020204" pitchFamily="34" charset="0"/>
                  <a:cs typeface="Oracle Sans Extra Bold" panose="020B0503020204020204" pitchFamily="34" charset="0"/>
                </a:rPr>
                <a:t>Database Commands </a:t>
              </a:r>
              <a:endParaRPr lang="en-US" sz="1200" b="1" dirty="0">
                <a:solidFill>
                  <a:schemeClr val="bg1"/>
                </a:solidFill>
                <a:latin typeface="Oracle Sans" panose="020B0503020204020204" pitchFamily="34" charset="0"/>
                <a:cs typeface="Oracle Sans" panose="020B0503020204020204" pitchFamily="34" charset="0"/>
              </a:endParaRPr>
            </a:p>
            <a:p>
              <a:pPr>
                <a:spcBef>
                  <a:spcPts val="600"/>
                </a:spcBef>
                <a:buClr>
                  <a:schemeClr val="bg1"/>
                </a:buClr>
              </a:pPr>
              <a:endParaRPr lang="en-US" sz="2000" dirty="0"/>
            </a:p>
            <a:p>
              <a:pPr marL="285750" indent="-285750">
                <a:spcBef>
                  <a:spcPts val="600"/>
                </a:spcBef>
                <a:buClr>
                  <a:schemeClr val="bg1"/>
                </a:buClr>
                <a:buFont typeface="Arial" panose="020B0604020202020204" pitchFamily="34" charset="0"/>
                <a:buChar char="•"/>
              </a:pPr>
              <a:r>
                <a:rPr lang="en-US" sz="2000" b="1" i="1" dirty="0" err="1" smtClean="0"/>
                <a:t>dbaascli</a:t>
              </a:r>
              <a:r>
                <a:rPr lang="en-US" sz="2000" dirty="0" smtClean="0"/>
                <a:t> database create</a:t>
              </a:r>
              <a:endParaRPr lang="en-US" sz="2000" dirty="0"/>
            </a:p>
            <a:p>
              <a:pPr marL="285750" indent="-285750">
                <a:spcBef>
                  <a:spcPts val="600"/>
                </a:spcBef>
                <a:buClr>
                  <a:schemeClr val="bg1"/>
                </a:buClr>
                <a:buFont typeface="Arial" panose="020B0604020202020204" pitchFamily="34" charset="0"/>
                <a:buChar char="•"/>
              </a:pPr>
              <a:r>
                <a:rPr lang="en-US" sz="2000" b="1" i="1" dirty="0" err="1" smtClean="0"/>
                <a:t>dbaascli</a:t>
              </a:r>
              <a:r>
                <a:rPr lang="en-US" sz="2000" dirty="0" smtClean="0"/>
                <a:t> </a:t>
              </a:r>
              <a:r>
                <a:rPr lang="en-US" sz="2000" dirty="0" err="1" smtClean="0"/>
                <a:t>pdb</a:t>
              </a:r>
              <a:r>
                <a:rPr lang="en-US" sz="2000" dirty="0" smtClean="0"/>
                <a:t> create</a:t>
              </a:r>
              <a:endParaRPr lang="en-US" sz="2000" dirty="0"/>
            </a:p>
            <a:p>
              <a:pPr marL="285750" indent="-285750">
                <a:spcBef>
                  <a:spcPts val="600"/>
                </a:spcBef>
                <a:buClr>
                  <a:schemeClr val="bg1"/>
                </a:buClr>
                <a:buFont typeface="Arial" panose="020B0604020202020204" pitchFamily="34" charset="0"/>
                <a:buChar char="•"/>
              </a:pPr>
              <a:r>
                <a:rPr lang="en-US" sz="2000" b="1" i="1" dirty="0" err="1" smtClean="0"/>
                <a:t>dbaascli</a:t>
              </a:r>
              <a:r>
                <a:rPr lang="en-US" sz="2000" dirty="0" smtClean="0"/>
                <a:t> </a:t>
              </a:r>
              <a:r>
                <a:rPr lang="en-US" sz="2000" dirty="0" err="1" smtClean="0"/>
                <a:t>pdb</a:t>
              </a:r>
              <a:r>
                <a:rPr lang="en-US" sz="2000" dirty="0" smtClean="0"/>
                <a:t> relocate</a:t>
              </a:r>
              <a:endParaRPr lang="en-US" sz="2000" dirty="0"/>
            </a:p>
          </p:txBody>
        </p:sp>
        <p:pic>
          <p:nvPicPr>
            <p:cNvPr id="3" name="Graphic 2">
              <a:extLst>
                <a:ext uri="{FF2B5EF4-FFF2-40B4-BE49-F238E27FC236}">
                  <a16:creationId xmlns:a16="http://schemas.microsoft.com/office/drawing/2014/main" id="{EBD99785-A4C6-714D-855C-66484E63DFA2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alphaModFix amt="50000"/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xmlns="" r:embed="rId5"/>
                </a:ext>
              </a:extLst>
            </a:blip>
            <a:stretch>
              <a:fillRect/>
            </a:stretch>
          </p:blipFill>
          <p:spPr>
            <a:xfrm>
              <a:off x="4607465" y="5008926"/>
              <a:ext cx="1130503" cy="966339"/>
            </a:xfrm>
            <a:prstGeom prst="rect">
              <a:avLst/>
            </a:prstGeom>
          </p:spPr>
        </p:pic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id="{3076AE38-9801-C24E-9A2C-E6879F6348EB}"/>
              </a:ext>
            </a:extLst>
          </p:cNvPr>
          <p:cNvGrpSpPr/>
          <p:nvPr/>
        </p:nvGrpSpPr>
        <p:grpSpPr>
          <a:xfrm>
            <a:off x="4306842" y="1760728"/>
            <a:ext cx="3695728" cy="4114426"/>
            <a:chOff x="746372" y="1989180"/>
            <a:chExt cx="2707780" cy="3616393"/>
          </a:xfrm>
        </p:grpSpPr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B1BCCB80-920A-4B48-9233-307DC16200F6}"/>
                </a:ext>
              </a:extLst>
            </p:cNvPr>
            <p:cNvSpPr/>
            <p:nvPr/>
          </p:nvSpPr>
          <p:spPr>
            <a:xfrm>
              <a:off x="746372" y="1989180"/>
              <a:ext cx="2707780" cy="3604423"/>
            </a:xfrm>
            <a:prstGeom prst="rect">
              <a:avLst/>
            </a:prstGeom>
            <a:solidFill>
              <a:srgbClr val="2C596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2880" tIns="274320" rIns="182880" rtlCol="0" anchor="t" anchorCtr="0"/>
            <a:lstStyle/>
            <a:p>
              <a:pPr>
                <a:spcBef>
                  <a:spcPts val="600"/>
                </a:spcBef>
              </a:pPr>
              <a:r>
                <a:rPr lang="en-US" sz="2000" b="1" dirty="0" smtClean="0">
                  <a:solidFill>
                    <a:schemeClr val="bg1"/>
                  </a:solidFill>
                  <a:latin typeface="Oracle Sans Tab Extra Bold" panose="020B0803020204020204" pitchFamily="34" charset="0"/>
                  <a:cs typeface="Oracle Sans Tab Extra Bold" panose="020B0803020204020204" pitchFamily="34" charset="0"/>
                </a:rPr>
                <a:t>Backup Commands</a:t>
              </a:r>
            </a:p>
            <a:p>
              <a:pPr>
                <a:spcBef>
                  <a:spcPts val="600"/>
                </a:spcBef>
              </a:pPr>
              <a:endParaRPr lang="en-US" sz="2000" b="1" dirty="0">
                <a:solidFill>
                  <a:schemeClr val="bg1"/>
                </a:solidFill>
                <a:latin typeface="Oracle Sans Tab Extra Bold" panose="020B0803020204020204" pitchFamily="34" charset="0"/>
                <a:cs typeface="Oracle Sans Tab Extra Bold" panose="020B0803020204020204" pitchFamily="34" charset="0"/>
              </a:endParaRPr>
            </a:p>
            <a:p>
              <a:pPr marL="285750" indent="-285750">
                <a:spcBef>
                  <a:spcPts val="600"/>
                </a:spcBef>
                <a:buFont typeface="Arial" panose="020B0604020202020204" pitchFamily="34" charset="0"/>
                <a:buChar char="•"/>
              </a:pPr>
              <a:r>
                <a:rPr lang="en-US" sz="2000" b="1" i="1" dirty="0" err="1" smtClean="0"/>
                <a:t>dbaascli</a:t>
              </a:r>
              <a:r>
                <a:rPr lang="en-US" sz="2000" b="1" dirty="0" smtClean="0"/>
                <a:t> </a:t>
              </a:r>
              <a:r>
                <a:rPr lang="en-US" sz="2000" dirty="0" smtClean="0"/>
                <a:t>database backup</a:t>
              </a:r>
              <a:endParaRPr lang="en-US" sz="2000" dirty="0"/>
            </a:p>
            <a:p>
              <a:pPr marL="285750" indent="-285750">
                <a:spcBef>
                  <a:spcPts val="600"/>
                </a:spcBef>
                <a:buFont typeface="Arial" panose="020B0604020202020204" pitchFamily="34" charset="0"/>
                <a:buChar char="•"/>
              </a:pPr>
              <a:r>
                <a:rPr lang="en-US" sz="2000" b="1" i="1" dirty="0" err="1" smtClean="0"/>
                <a:t>dbaascli</a:t>
              </a:r>
              <a:r>
                <a:rPr lang="en-US" sz="2000" dirty="0" smtClean="0"/>
                <a:t> database recover</a:t>
              </a:r>
              <a:endParaRPr lang="en-US" sz="2000" dirty="0"/>
            </a:p>
            <a:p>
              <a:pPr marL="285750" indent="-285750">
                <a:spcBef>
                  <a:spcPts val="600"/>
                </a:spcBef>
                <a:buFont typeface="Arial" panose="020B0604020202020204" pitchFamily="34" charset="0"/>
                <a:buChar char="•"/>
              </a:pPr>
              <a:r>
                <a:rPr lang="en-US" sz="2000" b="1" i="1" dirty="0" err="1" smtClean="0"/>
                <a:t>dbaascli</a:t>
              </a:r>
              <a:r>
                <a:rPr lang="en-US" sz="2000" dirty="0" smtClean="0"/>
                <a:t> create-</a:t>
              </a:r>
              <a:r>
                <a:rPr lang="en-US" sz="2000" dirty="0" err="1" smtClean="0"/>
                <a:t>dbstorage</a:t>
              </a:r>
              <a:endParaRPr lang="en-US" sz="2000" dirty="0" smtClean="0"/>
            </a:p>
            <a:p>
              <a:pPr marL="285750" indent="-285750">
                <a:spcBef>
                  <a:spcPts val="600"/>
                </a:spcBef>
                <a:buFont typeface="Arial" panose="020B0604020202020204" pitchFamily="34" charset="0"/>
                <a:buChar char="•"/>
              </a:pPr>
              <a:endParaRPr lang="en-US" sz="2000" dirty="0"/>
            </a:p>
            <a:p>
              <a:endParaRPr lang="en-US" dirty="0"/>
            </a:p>
          </p:txBody>
        </p:sp>
        <p:pic>
          <p:nvPicPr>
            <p:cNvPr id="9" name="Graphic 8">
              <a:extLst>
                <a:ext uri="{FF2B5EF4-FFF2-40B4-BE49-F238E27FC236}">
                  <a16:creationId xmlns:a16="http://schemas.microsoft.com/office/drawing/2014/main" id="{A1C6AB4E-387B-7740-A629-344C24318D0D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alphaModFix amt="50000"/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xmlns="" r:embed="rId7"/>
                </a:ext>
              </a:extLst>
            </a:blip>
            <a:stretch>
              <a:fillRect/>
            </a:stretch>
          </p:blipFill>
          <p:spPr>
            <a:xfrm>
              <a:off x="2084797" y="4479567"/>
              <a:ext cx="1157726" cy="1126006"/>
            </a:xfrm>
            <a:prstGeom prst="rect">
              <a:avLst/>
            </a:prstGeom>
          </p:spPr>
        </p:pic>
      </p:grpSp>
      <p:sp>
        <p:nvSpPr>
          <p:cNvPr id="6" name="Rectangle 5">
            <a:extLst>
              <a:ext uri="{FF2B5EF4-FFF2-40B4-BE49-F238E27FC236}">
                <a16:creationId xmlns:a16="http://schemas.microsoft.com/office/drawing/2014/main" id="{D5CD2159-3A67-F342-9283-6BE43832064A}"/>
              </a:ext>
            </a:extLst>
          </p:cNvPr>
          <p:cNvSpPr/>
          <p:nvPr/>
        </p:nvSpPr>
        <p:spPr>
          <a:xfrm>
            <a:off x="8251466" y="1760728"/>
            <a:ext cx="3840990" cy="4114426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2880" tIns="274320" rIns="182880" rtlCol="0" anchor="t" anchorCtr="0"/>
          <a:lstStyle/>
          <a:p>
            <a:pPr>
              <a:spcBef>
                <a:spcPts val="600"/>
              </a:spcBef>
            </a:pPr>
            <a:r>
              <a:rPr lang="en-US" sz="2000" b="1" dirty="0" smtClean="0">
                <a:solidFill>
                  <a:schemeClr val="bg1"/>
                </a:solidFill>
                <a:latin typeface="Oracle Sans Tab Extra Bold" panose="020B0803020204020204" pitchFamily="34" charset="0"/>
                <a:cs typeface="Oracle Sans Tab Extra Bold" panose="020B0803020204020204" pitchFamily="34" charset="0"/>
              </a:rPr>
              <a:t>Database Home Patch</a:t>
            </a:r>
          </a:p>
          <a:p>
            <a:pPr>
              <a:spcBef>
                <a:spcPts val="600"/>
              </a:spcBef>
            </a:pPr>
            <a:endParaRPr lang="en-US" sz="2000" b="1" dirty="0">
              <a:solidFill>
                <a:schemeClr val="bg1"/>
              </a:solidFill>
              <a:latin typeface="Oracle Sans Tab Extra Bold" panose="020B0803020204020204" pitchFamily="34" charset="0"/>
              <a:cs typeface="Oracle Sans Tab Extra Bold" panose="020B0803020204020204" pitchFamily="34" charset="0"/>
            </a:endParaRPr>
          </a:p>
          <a:p>
            <a:pPr marL="342900" indent="-3429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2000" b="1" i="1" dirty="0" err="1" smtClean="0"/>
              <a:t>dbaascli</a:t>
            </a:r>
            <a:r>
              <a:rPr lang="en-US" sz="2000" dirty="0" smtClean="0"/>
              <a:t> database upgrade</a:t>
            </a:r>
          </a:p>
          <a:p>
            <a:pPr marL="342900" indent="-3429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2000" b="1" i="1" dirty="0" err="1" smtClean="0"/>
              <a:t>dbaascli</a:t>
            </a:r>
            <a:r>
              <a:rPr lang="en-US" sz="2000" dirty="0" smtClean="0"/>
              <a:t> </a:t>
            </a:r>
            <a:r>
              <a:rPr lang="en-US" sz="2000" dirty="0" err="1" smtClean="0"/>
              <a:t>db</a:t>
            </a:r>
            <a:r>
              <a:rPr lang="en-US" sz="2000" dirty="0" smtClean="0"/>
              <a:t> home patch</a:t>
            </a:r>
          </a:p>
          <a:p>
            <a:pPr marL="342900" indent="-3429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2000" b="1" i="1" dirty="0" err="1" smtClean="0"/>
              <a:t>dbaascli</a:t>
            </a:r>
            <a:r>
              <a:rPr lang="en-US" sz="2000" dirty="0" smtClean="0"/>
              <a:t> grid patch </a:t>
            </a:r>
            <a:endParaRPr lang="en-US" sz="2000" dirty="0"/>
          </a:p>
          <a:p>
            <a:pPr marL="342900" indent="-3429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2000" b="1" i="1" dirty="0" err="1" smtClean="0"/>
              <a:t>dbaascli</a:t>
            </a:r>
            <a:r>
              <a:rPr lang="en-US" sz="2000" b="1" i="1" dirty="0" smtClean="0"/>
              <a:t> </a:t>
            </a:r>
            <a:r>
              <a:rPr lang="en-US" sz="2000" dirty="0" smtClean="0"/>
              <a:t>update-</a:t>
            </a:r>
            <a:r>
              <a:rPr lang="en-US" sz="2000" dirty="0" err="1" smtClean="0"/>
              <a:t>dbhome</a:t>
            </a:r>
            <a:endParaRPr lang="en-US" sz="2000" dirty="0"/>
          </a:p>
          <a:p>
            <a:pPr marL="234950" indent="-234950">
              <a:lnSpc>
                <a:spcPts val="1600"/>
              </a:lnSpc>
              <a:spcBef>
                <a:spcPts val="1000"/>
              </a:spcBef>
              <a:buFont typeface="Arial" panose="020B0604020202020204" pitchFamily="34" charset="0"/>
              <a:buChar char="•"/>
            </a:pP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23" name="Text Placeholder 1">
            <a:extLst>
              <a:ext uri="{FF2B5EF4-FFF2-40B4-BE49-F238E27FC236}">
                <a16:creationId xmlns:a16="http://schemas.microsoft.com/office/drawing/2014/main" id="{FA281968-B996-4996-BDE8-A2EEDAC4DB99}"/>
              </a:ext>
            </a:extLst>
          </p:cNvPr>
          <p:cNvSpPr>
            <a:spLocks noGrp="1"/>
          </p:cNvSpPr>
          <p:nvPr>
            <p:ph type="body" sz="quarter" idx="11"/>
            <p:custDataLst>
              <p:tags r:id="rId1"/>
            </p:custDataLst>
          </p:nvPr>
        </p:nvSpPr>
        <p:spPr>
          <a:xfrm>
            <a:off x="310723" y="851155"/>
            <a:ext cx="10671048" cy="330540"/>
          </a:xfrm>
        </p:spPr>
        <p:txBody>
          <a:bodyPr/>
          <a:lstStyle/>
          <a:p>
            <a:r>
              <a:rPr lang="en-US" sz="1800" dirty="0"/>
              <a:t>How to upgrade DBAAS Cloud Tooling using </a:t>
            </a:r>
            <a:r>
              <a:rPr lang="en-US" sz="1800" dirty="0" err="1"/>
              <a:t>dbaascli</a:t>
            </a:r>
            <a:r>
              <a:rPr lang="en-US" sz="1800" dirty="0"/>
              <a:t> (Doc ID 2350471.1)</a:t>
            </a:r>
            <a:endParaRPr lang="en-US" sz="1800" dirty="0">
              <a:latin typeface="+mn-lt"/>
            </a:endParaRPr>
          </a:p>
        </p:txBody>
      </p:sp>
      <p:cxnSp>
        <p:nvCxnSpPr>
          <p:cNvPr id="27" name="Straight Arrow Connector 26">
            <a:extLst>
              <a:ext uri="{FF2B5EF4-FFF2-40B4-BE49-F238E27FC236}">
                <a16:creationId xmlns:a16="http://schemas.microsoft.com/office/drawing/2014/main" id="{4E546260-F165-454A-ADD9-C82BD8C03A36}"/>
              </a:ext>
            </a:extLst>
          </p:cNvPr>
          <p:cNvCxnSpPr/>
          <p:nvPr/>
        </p:nvCxnSpPr>
        <p:spPr>
          <a:xfrm>
            <a:off x="10664875" y="5557464"/>
            <a:ext cx="901153" cy="0"/>
          </a:xfrm>
          <a:prstGeom prst="straightConnector1">
            <a:avLst/>
          </a:prstGeom>
          <a:ln w="47625">
            <a:solidFill>
              <a:schemeClr val="accent3">
                <a:lumMod val="40000"/>
                <a:lumOff val="60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Arc 27">
            <a:extLst>
              <a:ext uri="{FF2B5EF4-FFF2-40B4-BE49-F238E27FC236}">
                <a16:creationId xmlns:a16="http://schemas.microsoft.com/office/drawing/2014/main" id="{7AB0DE46-0A36-4F2E-97FB-A756002AE65F}"/>
              </a:ext>
            </a:extLst>
          </p:cNvPr>
          <p:cNvSpPr/>
          <p:nvPr/>
        </p:nvSpPr>
        <p:spPr>
          <a:xfrm>
            <a:off x="10387732" y="5168778"/>
            <a:ext cx="557915" cy="832405"/>
          </a:xfrm>
          <a:prstGeom prst="arc">
            <a:avLst>
              <a:gd name="adj1" fmla="val 16200000"/>
              <a:gd name="adj2" fmla="val 21562996"/>
            </a:avLst>
          </a:prstGeom>
          <a:ln w="53975">
            <a:solidFill>
              <a:schemeClr val="accent3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9" name="Arc 28">
            <a:extLst>
              <a:ext uri="{FF2B5EF4-FFF2-40B4-BE49-F238E27FC236}">
                <a16:creationId xmlns:a16="http://schemas.microsoft.com/office/drawing/2014/main" id="{43CFCC80-B230-4D5C-B426-17009369BB97}"/>
              </a:ext>
            </a:extLst>
          </p:cNvPr>
          <p:cNvSpPr/>
          <p:nvPr/>
        </p:nvSpPr>
        <p:spPr>
          <a:xfrm flipV="1">
            <a:off x="10390907" y="5083053"/>
            <a:ext cx="557915" cy="832405"/>
          </a:xfrm>
          <a:prstGeom prst="arc">
            <a:avLst>
              <a:gd name="adj1" fmla="val 16200000"/>
              <a:gd name="adj2" fmla="val 21562996"/>
            </a:avLst>
          </a:prstGeom>
          <a:ln w="53975">
            <a:solidFill>
              <a:schemeClr val="accent3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smtClean="0"/>
              <a:t>Copyright © 2024, Oracle and/or its affiliates. All rights reserved   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345D60D9-5372-5F40-9443-0F9AE5BDC3C8}" type="slidenum">
              <a:rPr lang="en-US" smtClean="0"/>
              <a:t>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339732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p15="http://schemas.microsoft.com/office/powerpoint/2012/main" xmlns:a14="http://schemas.microsoft.com/office/drawing/2010/main"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after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>
                                      <p:cBhvr>
                                        <p:cTn id="8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 nodeType="afterGroup">
                            <p:stCondLst>
                              <p:cond delay="500"/>
                            </p:stCondLst>
                            <p:childTnLst>
                              <p:par>
                                <p:cTn id="10" presetID="12" presetClass="entr" presetSubtype="8" fill="hold" nodeType="after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" dur="500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>
                                      <p:cBhvr>
                                        <p:cTn id="13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31535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C38B6F3C-673A-2C4F-BDD8-A174DA9D4B4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12" r="91391"/>
          <a:stretch/>
        </p:blipFill>
        <p:spPr>
          <a:xfrm>
            <a:off x="-1" y="0"/>
            <a:ext cx="1083365" cy="6858000"/>
          </a:xfrm>
          <a:prstGeom prst="rect">
            <a:avLst/>
          </a:prstGeom>
        </p:spPr>
      </p:pic>
      <p:sp>
        <p:nvSpPr>
          <p:cNvPr id="10" name="Title 6"/>
          <p:cNvSpPr txBox="1">
            <a:spLocks/>
          </p:cNvSpPr>
          <p:nvPr/>
        </p:nvSpPr>
        <p:spPr>
          <a:xfrm>
            <a:off x="2493919" y="3111287"/>
            <a:ext cx="8315107" cy="822960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noAutofit/>
          </a:bodyPr>
          <a:lstStyle>
            <a:lvl1pPr algn="l" defTabSz="914400" rtl="0" eaLnBrk="1" latinLnBrk="0" hangingPunct="1">
              <a:lnSpc>
                <a:spcPct val="95000"/>
              </a:lnSpc>
              <a:spcBef>
                <a:spcPct val="0"/>
              </a:spcBef>
              <a:buNone/>
              <a:defRPr lang="en-US" sz="4000" b="0" i="0" kern="1200" baseline="0" dirty="0">
                <a:solidFill>
                  <a:schemeClr val="tx1"/>
                </a:solidFill>
                <a:latin typeface="+mj-lt"/>
                <a:ea typeface="+mn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5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>
                <a:solidFill>
                  <a:srgbClr val="FCFBFA"/>
                </a:solidFill>
                <a:latin typeface="Georgia"/>
              </a:rPr>
              <a:t>Exadata</a:t>
            </a:r>
            <a:r>
              <a:rPr lang="en-US" dirty="0" smtClean="0">
                <a:solidFill>
                  <a:srgbClr val="FCFBFA"/>
                </a:solidFill>
                <a:latin typeface="Georgia"/>
              </a:rPr>
              <a:t> Cloud Pathing</a:t>
            </a:r>
            <a:endParaRPr kumimoji="0" lang="en-US" sz="4000" b="0" i="0" u="none" strike="noStrike" kern="1200" cap="none" spc="0" normalizeH="0" baseline="0" noProof="0" dirty="0">
              <a:ln>
                <a:noFill/>
              </a:ln>
              <a:solidFill>
                <a:srgbClr val="FCFBFA"/>
              </a:solidFill>
              <a:effectLst/>
              <a:uLnTx/>
              <a:uFillTx/>
              <a:latin typeface="Georgia"/>
              <a:ea typeface="+mn-ea"/>
              <a:cs typeface="+mj-cs"/>
            </a:endParaRP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Copyright © 2024, Oracle and/or its affiliates. All rights reserved   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5D60D9-5372-5F40-9443-0F9AE5BDC3C8}" type="slidenum">
              <a:rPr lang="en-US" smtClean="0"/>
              <a:pPr/>
              <a:t>2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706845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smtClean="0"/>
              <a:t>Copyright © 2024, Oracle and/or its affiliates. All rights reserved   </a:t>
            </a:r>
            <a:endParaRPr lang="en-US" dirty="0"/>
          </a:p>
        </p:txBody>
      </p:sp>
      <p:sp>
        <p:nvSpPr>
          <p:cNvPr id="12" name="Retângulo 45">
            <a:extLst>
              <a:ext uri="{FF2B5EF4-FFF2-40B4-BE49-F238E27FC236}">
                <a16:creationId xmlns:a16="http://schemas.microsoft.com/office/drawing/2014/main" id="{09F130FC-A048-4C6A-A5F1-336D07652F19}"/>
              </a:ext>
            </a:extLst>
          </p:cNvPr>
          <p:cNvSpPr>
            <a:spLocks/>
          </p:cNvSpPr>
          <p:nvPr/>
        </p:nvSpPr>
        <p:spPr>
          <a:xfrm>
            <a:off x="452582" y="1080655"/>
            <a:ext cx="11188378" cy="5046969"/>
          </a:xfrm>
          <a:prstGeom prst="roundRect">
            <a:avLst>
              <a:gd name="adj" fmla="val 11446"/>
            </a:avLst>
          </a:prstGeom>
          <a:noFill/>
          <a:ln w="12700" cap="flat" cmpd="sng" algn="ctr">
            <a:solidFill>
              <a:sysClr val="window" lastClr="FFFFFF">
                <a:lumMod val="65000"/>
              </a:sysClr>
            </a:solidFill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91424" tIns="45712" rIns="91424" bIns="45712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pt-BR" sz="1600" kern="0" dirty="0">
              <a:solidFill>
                <a:sysClr val="window" lastClr="FFFFFF"/>
              </a:solidFill>
              <a:latin typeface="Calibri"/>
            </a:endParaRPr>
          </a:p>
        </p:txBody>
      </p:sp>
      <p:grpSp>
        <p:nvGrpSpPr>
          <p:cNvPr id="13" name="Group 12"/>
          <p:cNvGrpSpPr/>
          <p:nvPr/>
        </p:nvGrpSpPr>
        <p:grpSpPr>
          <a:xfrm>
            <a:off x="1127759" y="4491277"/>
            <a:ext cx="3529498" cy="1451767"/>
            <a:chOff x="320518" y="4819678"/>
            <a:chExt cx="4387518" cy="1561825"/>
          </a:xfrm>
        </p:grpSpPr>
        <p:grpSp>
          <p:nvGrpSpPr>
            <p:cNvPr id="14" name="Group 13"/>
            <p:cNvGrpSpPr/>
            <p:nvPr/>
          </p:nvGrpSpPr>
          <p:grpSpPr>
            <a:xfrm>
              <a:off x="320518" y="4819678"/>
              <a:ext cx="4387518" cy="1561825"/>
              <a:chOff x="320518" y="4819678"/>
              <a:chExt cx="4387518" cy="1561825"/>
            </a:xfrm>
          </p:grpSpPr>
          <p:pic>
            <p:nvPicPr>
              <p:cNvPr id="16" name="Picture 15"/>
              <p:cNvPicPr>
                <a:picLocks noChangeAspect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320518" y="4960238"/>
                <a:ext cx="2898671" cy="1421265"/>
              </a:xfrm>
              <a:prstGeom prst="rect">
                <a:avLst/>
              </a:prstGeom>
              <a:ln>
                <a:noFill/>
              </a:ln>
              <a:effectLst>
                <a:outerShdw blurRad="292100" dist="139700" dir="2700000" algn="tl" rotWithShape="0">
                  <a:srgbClr val="333333">
                    <a:alpha val="65000"/>
                  </a:srgbClr>
                </a:outerShdw>
              </a:effectLst>
            </p:spPr>
            <p:style>
              <a:lnRef idx="0">
                <a:scrgbClr r="0" g="0" b="0"/>
              </a:lnRef>
              <a:fillRef idx="1001">
                <a:schemeClr val="lt1"/>
              </a:fillRef>
              <a:effectRef idx="0">
                <a:scrgbClr r="0" g="0" b="0"/>
              </a:effectRef>
              <a:fontRef idx="major"/>
            </p:style>
          </p:pic>
          <p:pic>
            <p:nvPicPr>
              <p:cNvPr id="17" name="Picture 16"/>
              <p:cNvPicPr>
                <a:picLocks noChangeAspect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2491491" y="4819678"/>
                <a:ext cx="2216545" cy="799469"/>
              </a:xfrm>
              <a:prstGeom prst="rect">
                <a:avLst/>
              </a:prstGeom>
              <a:ln w="38100" cap="sq">
                <a:solidFill>
                  <a:srgbClr val="000000"/>
                </a:solidFill>
                <a:prstDash val="solid"/>
                <a:miter lim="800000"/>
              </a:ln>
              <a:effectLst>
                <a:outerShdw blurRad="50800" dist="38100" dir="2700000" algn="tl" rotWithShape="0">
                  <a:srgbClr val="000000">
                    <a:alpha val="43000"/>
                  </a:srgbClr>
                </a:outerShdw>
              </a:effectLst>
            </p:spPr>
            <p:style>
              <a:lnRef idx="0">
                <a:scrgbClr r="0" g="0" b="0"/>
              </a:lnRef>
              <a:fillRef idx="1001">
                <a:schemeClr val="lt1"/>
              </a:fillRef>
              <a:effectRef idx="0">
                <a:scrgbClr r="0" g="0" b="0"/>
              </a:effectRef>
              <a:fontRef idx="major"/>
            </p:style>
          </p:pic>
        </p:grpSp>
        <p:cxnSp>
          <p:nvCxnSpPr>
            <p:cNvPr id="15" name="Elbow Connector 14"/>
            <p:cNvCxnSpPr/>
            <p:nvPr/>
          </p:nvCxnSpPr>
          <p:spPr>
            <a:xfrm flipV="1">
              <a:off x="3019882" y="5670870"/>
              <a:ext cx="788030" cy="441831"/>
            </a:xfrm>
            <a:prstGeom prst="bentConnector3">
              <a:avLst>
                <a:gd name="adj1" fmla="val 100865"/>
              </a:avLst>
            </a:prstGeom>
            <a:ln>
              <a:tailEnd type="triangle"/>
            </a:ln>
          </p:spPr>
          <p:style>
            <a:lnRef idx="1">
              <a:schemeClr val="accent1"/>
            </a:lnRef>
            <a:fillRef idx="1001">
              <a:schemeClr val="l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23" name="Picture 22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157928" y="4905286"/>
            <a:ext cx="4880525" cy="754403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27" name="Rounded Rectangle 26"/>
          <p:cNvSpPr/>
          <p:nvPr/>
        </p:nvSpPr>
        <p:spPr>
          <a:xfrm>
            <a:off x="6234459" y="1504854"/>
            <a:ext cx="4664450" cy="402594"/>
          </a:xfrm>
          <a:prstGeom prst="roundRect">
            <a:avLst/>
          </a:prstGeom>
          <a:gradFill flip="none" rotWithShape="1">
            <a:gsLst>
              <a:gs pos="0">
                <a:schemeClr val="dk1">
                  <a:lumMod val="67000"/>
                </a:schemeClr>
              </a:gs>
              <a:gs pos="48000">
                <a:schemeClr val="dk1">
                  <a:lumMod val="97000"/>
                  <a:lumOff val="3000"/>
                </a:schemeClr>
              </a:gs>
              <a:gs pos="100000">
                <a:schemeClr val="dk1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600" b="1" dirty="0" smtClean="0"/>
              <a:t>DOM0 </a:t>
            </a:r>
            <a:r>
              <a:rPr lang="en-US" sz="1600" b="1" dirty="0"/>
              <a:t>- </a:t>
            </a:r>
            <a:r>
              <a:rPr lang="en-US" sz="1600" b="1" dirty="0" smtClean="0"/>
              <a:t>ORACLE </a:t>
            </a:r>
            <a:r>
              <a:rPr lang="en-US" sz="1600" b="1" dirty="0"/>
              <a:t>RESPONSIBILITY</a:t>
            </a:r>
          </a:p>
        </p:txBody>
      </p:sp>
      <p:sp>
        <p:nvSpPr>
          <p:cNvPr id="28" name="Rectangle 27"/>
          <p:cNvSpPr/>
          <p:nvPr/>
        </p:nvSpPr>
        <p:spPr>
          <a:xfrm>
            <a:off x="805142" y="2067281"/>
            <a:ext cx="4672022" cy="230832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600" dirty="0">
                <a:latin typeface="Calibri" panose="020F0502020204030204" pitchFamily="34" charset="0"/>
                <a:cs typeface="Calibri" panose="020F0502020204030204" pitchFamily="34" charset="0"/>
              </a:rPr>
              <a:t>Maintaining a secure </a:t>
            </a:r>
            <a:r>
              <a:rPr lang="en-US" sz="1600" dirty="0" err="1">
                <a:latin typeface="Calibri" panose="020F0502020204030204" pitchFamily="34" charset="0"/>
                <a:cs typeface="Calibri" panose="020F0502020204030204" pitchFamily="34" charset="0"/>
              </a:rPr>
              <a:t>Exadata</a:t>
            </a:r>
            <a:r>
              <a:rPr lang="en-US" sz="1600" dirty="0">
                <a:latin typeface="Calibri" panose="020F0502020204030204" pitchFamily="34" charset="0"/>
                <a:cs typeface="Calibri" panose="020F0502020204030204" pitchFamily="34" charset="0"/>
              </a:rPr>
              <a:t> Service instance in the best working order requires you to perform the following tasks regularly</a:t>
            </a:r>
            <a:r>
              <a:rPr lang="en-US" sz="1600" dirty="0" smtClean="0">
                <a:latin typeface="Calibri" panose="020F0502020204030204" pitchFamily="34" charset="0"/>
                <a:cs typeface="Calibri" panose="020F0502020204030204" pitchFamily="34" charset="0"/>
              </a:rPr>
              <a:t>:</a:t>
            </a:r>
          </a:p>
          <a:p>
            <a:endParaRPr lang="en-US" sz="1600" dirty="0" smtClean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r>
              <a:rPr lang="en-US" sz="16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600" b="1" dirty="0">
                <a:latin typeface="Calibri" panose="020F0502020204030204" pitchFamily="34" charset="0"/>
                <a:cs typeface="Calibri" panose="020F0502020204030204" pitchFamily="34" charset="0"/>
              </a:rPr>
              <a:t>- Patching Grid Infrastructure.</a:t>
            </a:r>
          </a:p>
          <a:p>
            <a:r>
              <a:rPr lang="en-US" sz="16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600" b="1" dirty="0">
                <a:latin typeface="Calibri" panose="020F0502020204030204" pitchFamily="34" charset="0"/>
                <a:cs typeface="Calibri" panose="020F0502020204030204" pitchFamily="34" charset="0"/>
              </a:rPr>
              <a:t>- Patching Database software.</a:t>
            </a:r>
          </a:p>
          <a:p>
            <a:r>
              <a:rPr lang="en-US" sz="16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600" b="1" dirty="0">
                <a:latin typeface="Calibri" panose="020F0502020204030204" pitchFamily="34" charset="0"/>
                <a:cs typeface="Calibri" panose="020F0502020204030204" pitchFamily="34" charset="0"/>
              </a:rPr>
              <a:t>- Patching </a:t>
            </a:r>
            <a:r>
              <a:rPr lang="en-US" sz="1600" b="1" dirty="0" err="1">
                <a:latin typeface="Calibri" panose="020F0502020204030204" pitchFamily="34" charset="0"/>
                <a:cs typeface="Calibri" panose="020F0502020204030204" pitchFamily="34" charset="0"/>
              </a:rPr>
              <a:t>Exadata</a:t>
            </a:r>
            <a:r>
              <a:rPr lang="en-US" sz="1600" b="1" dirty="0">
                <a:latin typeface="Calibri" panose="020F0502020204030204" pitchFamily="34" charset="0"/>
                <a:cs typeface="Calibri" panose="020F0502020204030204" pitchFamily="34" charset="0"/>
              </a:rPr>
              <a:t> Software Image (SO).</a:t>
            </a:r>
          </a:p>
          <a:p>
            <a:r>
              <a:rPr lang="en-US" sz="16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600" b="1" dirty="0">
                <a:latin typeface="Calibri" panose="020F0502020204030204" pitchFamily="34" charset="0"/>
                <a:cs typeface="Calibri" panose="020F0502020204030204" pitchFamily="34" charset="0"/>
              </a:rPr>
              <a:t>- Patching Tooling (</a:t>
            </a:r>
            <a:r>
              <a:rPr lang="en-US" sz="1600" b="1" dirty="0" err="1">
                <a:latin typeface="Calibri" panose="020F0502020204030204" pitchFamily="34" charset="0"/>
                <a:cs typeface="Calibri" panose="020F0502020204030204" pitchFamily="34" charset="0"/>
              </a:rPr>
              <a:t>dbaascli</a:t>
            </a:r>
            <a:r>
              <a:rPr lang="en-US" sz="1600" b="1" dirty="0">
                <a:latin typeface="Calibri" panose="020F0502020204030204" pitchFamily="34" charset="0"/>
                <a:cs typeface="Calibri" panose="020F0502020204030204" pitchFamily="34" charset="0"/>
              </a:rPr>
              <a:t>).</a:t>
            </a:r>
          </a:p>
          <a:p>
            <a:r>
              <a:rPr lang="en-US" sz="16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600" b="1" dirty="0">
                <a:latin typeface="Calibri" panose="020F0502020204030204" pitchFamily="34" charset="0"/>
                <a:cs typeface="Calibri" panose="020F0502020204030204" pitchFamily="34" charset="0"/>
              </a:rPr>
              <a:t>- Patching other components installed on </a:t>
            </a:r>
            <a:r>
              <a:rPr lang="en-US" sz="1600" b="1" dirty="0" err="1">
                <a:latin typeface="Calibri" panose="020F0502020204030204" pitchFamily="34" charset="0"/>
                <a:cs typeface="Calibri" panose="020F0502020204030204" pitchFamily="34" charset="0"/>
              </a:rPr>
              <a:t>DomU</a:t>
            </a:r>
            <a:r>
              <a:rPr lang="en-US" sz="1600" b="1" dirty="0">
                <a:latin typeface="Calibri" panose="020F0502020204030204" pitchFamily="34" charset="0"/>
                <a:cs typeface="Calibri" panose="020F0502020204030204" pitchFamily="34" charset="0"/>
              </a:rPr>
              <a:t>.</a:t>
            </a:r>
          </a:p>
        </p:txBody>
      </p:sp>
      <p:sp>
        <p:nvSpPr>
          <p:cNvPr id="29" name="Rectangle 28"/>
          <p:cNvSpPr/>
          <p:nvPr/>
        </p:nvSpPr>
        <p:spPr>
          <a:xfrm>
            <a:off x="6157928" y="2025748"/>
            <a:ext cx="5696727" cy="252376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600" dirty="0">
                <a:latin typeface="Calibri" panose="020F0502020204030204" pitchFamily="34" charset="0"/>
                <a:cs typeface="Calibri" panose="020F0502020204030204" pitchFamily="34" charset="0"/>
              </a:rPr>
              <a:t>Oracle manages quarterly infrastructure maintenance updates of all other infrastructure </a:t>
            </a:r>
            <a:r>
              <a:rPr lang="en-US" sz="1600" dirty="0" smtClean="0">
                <a:latin typeface="Calibri" panose="020F0502020204030204" pitchFamily="34" charset="0"/>
                <a:cs typeface="Calibri" panose="020F0502020204030204" pitchFamily="34" charset="0"/>
              </a:rPr>
              <a:t>components:</a:t>
            </a:r>
          </a:p>
          <a:p>
            <a:endParaRPr lang="en-US" sz="16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r>
              <a:rPr lang="en-US" sz="16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- </a:t>
            </a:r>
            <a:r>
              <a:rPr lang="en-US" sz="1600" b="1" dirty="0">
                <a:latin typeface="Calibri" panose="020F0502020204030204" pitchFamily="34" charset="0"/>
                <a:cs typeface="Calibri" panose="020F0502020204030204" pitchFamily="34" charset="0"/>
              </a:rPr>
              <a:t>Patching Database Servers (Dom0</a:t>
            </a:r>
            <a:r>
              <a:rPr lang="en-US" sz="16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).</a:t>
            </a:r>
            <a:endParaRPr lang="en-US" sz="1600" b="1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r>
              <a:rPr lang="en-US" sz="16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- </a:t>
            </a:r>
            <a:r>
              <a:rPr lang="en-US" sz="1600" b="1" dirty="0">
                <a:latin typeface="Calibri" panose="020F0502020204030204" pitchFamily="34" charset="0"/>
                <a:cs typeface="Calibri" panose="020F0502020204030204" pitchFamily="34" charset="0"/>
              </a:rPr>
              <a:t>Patching Storage </a:t>
            </a:r>
            <a:r>
              <a:rPr lang="en-US" sz="16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servers.</a:t>
            </a:r>
            <a:endParaRPr lang="en-US" sz="1600" b="1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r>
              <a:rPr lang="en-US" sz="16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- </a:t>
            </a:r>
            <a:r>
              <a:rPr lang="en-US" sz="1600" b="1" dirty="0">
                <a:latin typeface="Calibri" panose="020F0502020204030204" pitchFamily="34" charset="0"/>
                <a:cs typeface="Calibri" panose="020F0502020204030204" pitchFamily="34" charset="0"/>
              </a:rPr>
              <a:t>Patching Network </a:t>
            </a:r>
            <a:r>
              <a:rPr lang="en-US" sz="16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switches.</a:t>
            </a:r>
            <a:endParaRPr lang="en-US" sz="1600" b="1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r>
              <a:rPr lang="en-US" sz="16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- </a:t>
            </a:r>
            <a:r>
              <a:rPr lang="en-US" sz="1600" b="1" dirty="0">
                <a:latin typeface="Calibri" panose="020F0502020204030204" pitchFamily="34" charset="0"/>
                <a:cs typeface="Calibri" panose="020F0502020204030204" pitchFamily="34" charset="0"/>
              </a:rPr>
              <a:t>Patching Control </a:t>
            </a:r>
            <a:r>
              <a:rPr lang="en-US" sz="16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Planes.</a:t>
            </a:r>
            <a:endParaRPr lang="en-US" sz="1600" b="1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endParaRPr lang="en-US" sz="1400" dirty="0">
              <a:solidFill>
                <a:srgbClr val="333333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r>
              <a:rPr lang="en-US" sz="1600" dirty="0">
                <a:latin typeface="Calibri" panose="020F0502020204030204" pitchFamily="34" charset="0"/>
                <a:cs typeface="Calibri" panose="020F0502020204030204" pitchFamily="34" charset="0"/>
              </a:rPr>
              <a:t>Quarterly maintenance updates may require a restart of the customer-managed guest virtual servers.</a:t>
            </a:r>
          </a:p>
        </p:txBody>
      </p:sp>
      <p:sp>
        <p:nvSpPr>
          <p:cNvPr id="30" name="Rounded Rectangle 29"/>
          <p:cNvSpPr/>
          <p:nvPr/>
        </p:nvSpPr>
        <p:spPr>
          <a:xfrm>
            <a:off x="762000" y="1525024"/>
            <a:ext cx="4715164" cy="382424"/>
          </a:xfrm>
          <a:prstGeom prst="roundRect">
            <a:avLst/>
          </a:prstGeom>
          <a:gradFill flip="none" rotWithShape="1">
            <a:gsLst>
              <a:gs pos="0">
                <a:schemeClr val="dk1">
                  <a:lumMod val="67000"/>
                </a:schemeClr>
              </a:gs>
              <a:gs pos="48000">
                <a:schemeClr val="dk1">
                  <a:lumMod val="97000"/>
                  <a:lumOff val="3000"/>
                </a:schemeClr>
              </a:gs>
              <a:gs pos="100000">
                <a:schemeClr val="dk1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600" b="1" dirty="0"/>
              <a:t>DOMU - CUSTOMER RESPONSIBILITY</a:t>
            </a:r>
          </a:p>
        </p:txBody>
      </p:sp>
      <p:sp>
        <p:nvSpPr>
          <p:cNvPr id="18" name="Title 2"/>
          <p:cNvSpPr>
            <a:spLocks noGrp="1"/>
          </p:cNvSpPr>
          <p:nvPr>
            <p:ph type="title"/>
          </p:nvPr>
        </p:nvSpPr>
        <p:spPr>
          <a:xfrm>
            <a:off x="563417" y="195930"/>
            <a:ext cx="7860145" cy="634865"/>
          </a:xfrm>
        </p:spPr>
        <p:txBody>
          <a:bodyPr/>
          <a:lstStyle/>
          <a:p>
            <a:r>
              <a:rPr lang="pt-BR" dirty="0" smtClean="0"/>
              <a:t>Exadata Cloud  Pathing </a:t>
            </a:r>
            <a:br>
              <a:rPr lang="pt-BR" dirty="0" smtClean="0"/>
            </a:br>
            <a:r>
              <a:rPr lang="en-US" sz="1800" b="0" dirty="0" smtClean="0">
                <a:solidFill>
                  <a:schemeClr val="accent6">
                    <a:lumMod val="50000"/>
                  </a:schemeClr>
                </a:solidFill>
              </a:rPr>
              <a:t>Pathing dom0, </a:t>
            </a:r>
            <a:r>
              <a:rPr lang="en-US" sz="1800" b="0" dirty="0" err="1" smtClean="0">
                <a:solidFill>
                  <a:schemeClr val="accent6">
                    <a:lumMod val="50000"/>
                  </a:schemeClr>
                </a:solidFill>
              </a:rPr>
              <a:t>domU</a:t>
            </a:r>
            <a:r>
              <a:rPr lang="en-US" sz="1800" b="0" dirty="0" smtClean="0">
                <a:solidFill>
                  <a:schemeClr val="accent6">
                    <a:lumMod val="50000"/>
                  </a:schemeClr>
                </a:solidFill>
              </a:rPr>
              <a:t>, Tooling, Grid and Oracle home, how and how to do</a:t>
            </a:r>
            <a:endParaRPr lang="en-US" sz="1800" dirty="0">
              <a:solidFill>
                <a:schemeClr val="accent6">
                  <a:lumMod val="50000"/>
                </a:schemeClr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345D60D9-5372-5F40-9443-0F9AE5BDC3C8}" type="slidenum">
              <a:rPr lang="en-US" smtClean="0"/>
              <a:pPr/>
              <a:t>2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256420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31535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C38B6F3C-673A-2C4F-BDD8-A174DA9D4B4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12" r="91391"/>
          <a:stretch/>
        </p:blipFill>
        <p:spPr>
          <a:xfrm>
            <a:off x="-1" y="0"/>
            <a:ext cx="1083365" cy="6858000"/>
          </a:xfrm>
          <a:prstGeom prst="rect">
            <a:avLst/>
          </a:prstGeom>
        </p:spPr>
      </p:pic>
      <p:sp>
        <p:nvSpPr>
          <p:cNvPr id="10" name="Title 6"/>
          <p:cNvSpPr txBox="1">
            <a:spLocks/>
          </p:cNvSpPr>
          <p:nvPr/>
        </p:nvSpPr>
        <p:spPr>
          <a:xfrm>
            <a:off x="2493919" y="3111287"/>
            <a:ext cx="8315107" cy="822960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noAutofit/>
          </a:bodyPr>
          <a:lstStyle>
            <a:lvl1pPr algn="l" defTabSz="914400" rtl="0" eaLnBrk="1" latinLnBrk="0" hangingPunct="1">
              <a:lnSpc>
                <a:spcPct val="95000"/>
              </a:lnSpc>
              <a:spcBef>
                <a:spcPct val="0"/>
              </a:spcBef>
              <a:buNone/>
              <a:defRPr lang="en-US" sz="4000" b="0" i="0" kern="1200" baseline="0" dirty="0">
                <a:solidFill>
                  <a:schemeClr val="tx1"/>
                </a:solidFill>
                <a:latin typeface="+mj-lt"/>
                <a:ea typeface="+mn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5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>
                <a:solidFill>
                  <a:srgbClr val="FCFBFA"/>
                </a:solidFill>
                <a:latin typeface="Georgia"/>
              </a:rPr>
              <a:t>Exadata</a:t>
            </a:r>
            <a:r>
              <a:rPr lang="en-US" dirty="0" smtClean="0">
                <a:solidFill>
                  <a:srgbClr val="FCFBFA"/>
                </a:solidFill>
                <a:latin typeface="Georgia"/>
              </a:rPr>
              <a:t> Cloud  Features</a:t>
            </a:r>
            <a:endParaRPr kumimoji="0" lang="en-US" sz="4000" b="0" i="0" u="none" strike="noStrike" kern="1200" cap="none" spc="0" normalizeH="0" baseline="0" noProof="0" dirty="0">
              <a:ln>
                <a:noFill/>
              </a:ln>
              <a:solidFill>
                <a:srgbClr val="FCFBFA"/>
              </a:solidFill>
              <a:effectLst/>
              <a:uLnTx/>
              <a:uFillTx/>
              <a:latin typeface="Georgia"/>
              <a:ea typeface="+mn-ea"/>
              <a:cs typeface="+mj-cs"/>
            </a:endParaRP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Copyright © 2024, Oracle and/or its affiliates. All rights reserved   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5D60D9-5372-5F40-9443-0F9AE5BDC3C8}" type="slidenum">
              <a:rPr lang="en-US" smtClean="0"/>
              <a:pPr/>
              <a:t>2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923625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0" name="Title 5">
            <a:extLst>
              <a:ext uri="{FF2B5EF4-FFF2-40B4-BE49-F238E27FC236}">
                <a16:creationId xmlns:a16="http://schemas.microsoft.com/office/drawing/2014/main" id="{6C60C661-F918-544B-937C-9FA4374FD53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racle Database and Exadata Platform Innovations</a:t>
            </a:r>
          </a:p>
        </p:txBody>
      </p:sp>
      <p:grpSp>
        <p:nvGrpSpPr>
          <p:cNvPr id="139" name="Group 138">
            <a:extLst>
              <a:ext uri="{FF2B5EF4-FFF2-40B4-BE49-F238E27FC236}">
                <a16:creationId xmlns:a16="http://schemas.microsoft.com/office/drawing/2014/main" id="{238F794F-B6FC-DF43-A9B0-04098AB3AC91}"/>
              </a:ext>
            </a:extLst>
          </p:cNvPr>
          <p:cNvGrpSpPr/>
          <p:nvPr/>
        </p:nvGrpSpPr>
        <p:grpSpPr>
          <a:xfrm>
            <a:off x="887976" y="1359198"/>
            <a:ext cx="10345187" cy="4898660"/>
            <a:chOff x="887976" y="1359198"/>
            <a:chExt cx="10345187" cy="4898660"/>
          </a:xfrm>
        </p:grpSpPr>
        <p:sp>
          <p:nvSpPr>
            <p:cNvPr id="7" name="Freeform 6">
              <a:extLst>
                <a:ext uri="{FF2B5EF4-FFF2-40B4-BE49-F238E27FC236}">
                  <a16:creationId xmlns:a16="http://schemas.microsoft.com/office/drawing/2014/main" id="{4742F104-D63F-6D46-9995-90EAE504A0A7}"/>
                </a:ext>
              </a:extLst>
            </p:cNvPr>
            <p:cNvSpPr/>
            <p:nvPr/>
          </p:nvSpPr>
          <p:spPr>
            <a:xfrm>
              <a:off x="6370395" y="1470399"/>
              <a:ext cx="2107869" cy="4581921"/>
            </a:xfrm>
            <a:custGeom>
              <a:avLst/>
              <a:gdLst>
                <a:gd name="connsiteX0" fmla="*/ 152400 w 1622612"/>
                <a:gd name="connsiteY0" fmla="*/ 1640541 h 4679576"/>
                <a:gd name="connsiteX1" fmla="*/ 1595718 w 1622612"/>
                <a:gd name="connsiteY1" fmla="*/ 0 h 4679576"/>
                <a:gd name="connsiteX2" fmla="*/ 1622612 w 1622612"/>
                <a:gd name="connsiteY2" fmla="*/ 4679576 h 4679576"/>
                <a:gd name="connsiteX3" fmla="*/ 0 w 1622612"/>
                <a:gd name="connsiteY3" fmla="*/ 3173506 h 4679576"/>
                <a:gd name="connsiteX4" fmla="*/ 152400 w 1622612"/>
                <a:gd name="connsiteY4" fmla="*/ 1640541 h 4679576"/>
                <a:gd name="connsiteX0" fmla="*/ 152400 w 1595718"/>
                <a:gd name="connsiteY0" fmla="*/ 1640541 h 4626310"/>
                <a:gd name="connsiteX1" fmla="*/ 1595718 w 1595718"/>
                <a:gd name="connsiteY1" fmla="*/ 0 h 4626310"/>
                <a:gd name="connsiteX2" fmla="*/ 1424612 w 1595718"/>
                <a:gd name="connsiteY2" fmla="*/ 4626310 h 4626310"/>
                <a:gd name="connsiteX3" fmla="*/ 0 w 1595718"/>
                <a:gd name="connsiteY3" fmla="*/ 3173506 h 4626310"/>
                <a:gd name="connsiteX4" fmla="*/ 152400 w 1595718"/>
                <a:gd name="connsiteY4" fmla="*/ 1640541 h 4626310"/>
                <a:gd name="connsiteX0" fmla="*/ 152400 w 1424612"/>
                <a:gd name="connsiteY0" fmla="*/ 1596152 h 4581921"/>
                <a:gd name="connsiteX1" fmla="*/ 1415718 w 1424612"/>
                <a:gd name="connsiteY1" fmla="*/ 0 h 4581921"/>
                <a:gd name="connsiteX2" fmla="*/ 1424612 w 1424612"/>
                <a:gd name="connsiteY2" fmla="*/ 4581921 h 4581921"/>
                <a:gd name="connsiteX3" fmla="*/ 0 w 1424612"/>
                <a:gd name="connsiteY3" fmla="*/ 3129117 h 4581921"/>
                <a:gd name="connsiteX4" fmla="*/ 152400 w 1424612"/>
                <a:gd name="connsiteY4" fmla="*/ 1596152 h 45819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24612" h="4581921">
                  <a:moveTo>
                    <a:pt x="152400" y="1596152"/>
                  </a:moveTo>
                  <a:lnTo>
                    <a:pt x="1415718" y="0"/>
                  </a:lnTo>
                  <a:cubicBezTo>
                    <a:pt x="1418683" y="1527307"/>
                    <a:pt x="1421647" y="3054614"/>
                    <a:pt x="1424612" y="4581921"/>
                  </a:cubicBezTo>
                  <a:lnTo>
                    <a:pt x="0" y="3129117"/>
                  </a:lnTo>
                  <a:lnTo>
                    <a:pt x="152400" y="1596152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698997">
                    <a:alpha val="47000"/>
                  </a:srgbClr>
                </a:gs>
                <a:gs pos="50000">
                  <a:srgbClr val="8EA5B0">
                    <a:alpha val="62000"/>
                  </a:srgbClr>
                </a:gs>
                <a:gs pos="100000">
                  <a:srgbClr val="FDFDFD">
                    <a:alpha val="16078"/>
                  </a:srgbClr>
                </a:gs>
              </a:gsLst>
              <a:lin ang="0" scaled="1"/>
              <a:tileRect/>
            </a:gradFill>
            <a:ln w="19050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US" dirty="0"/>
            </a:p>
          </p:txBody>
        </p:sp>
        <p:pic>
          <p:nvPicPr>
            <p:cNvPr id="8" name="Picture 7" descr="Cloud graphic arts available for use in Cloud Campaign layouts">
              <a:extLst>
                <a:ext uri="{FF2B5EF4-FFF2-40B4-BE49-F238E27FC236}">
                  <a16:creationId xmlns:a16="http://schemas.microsoft.com/office/drawing/2014/main" id="{884D0D1D-BC81-8F43-BC1E-F8475EFC05E6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email">
              <a:lum contrast="3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634372" y="4816542"/>
              <a:ext cx="2726267" cy="1441316"/>
            </a:xfrm>
            <a:prstGeom prst="rect">
              <a:avLst/>
            </a:prstGeom>
          </p:spPr>
        </p:pic>
        <p:sp>
          <p:nvSpPr>
            <p:cNvPr id="9" name="Freeform 8">
              <a:extLst>
                <a:ext uri="{FF2B5EF4-FFF2-40B4-BE49-F238E27FC236}">
                  <a16:creationId xmlns:a16="http://schemas.microsoft.com/office/drawing/2014/main" id="{EE2D5D59-BA36-7842-A407-86DAFD47D519}"/>
                </a:ext>
              </a:extLst>
            </p:cNvPr>
            <p:cNvSpPr/>
            <p:nvPr/>
          </p:nvSpPr>
          <p:spPr>
            <a:xfrm flipH="1">
              <a:off x="3519186" y="1470399"/>
              <a:ext cx="2107869" cy="4581921"/>
            </a:xfrm>
            <a:custGeom>
              <a:avLst/>
              <a:gdLst>
                <a:gd name="connsiteX0" fmla="*/ 152400 w 1622612"/>
                <a:gd name="connsiteY0" fmla="*/ 1640541 h 4679576"/>
                <a:gd name="connsiteX1" fmla="*/ 1595718 w 1622612"/>
                <a:gd name="connsiteY1" fmla="*/ 0 h 4679576"/>
                <a:gd name="connsiteX2" fmla="*/ 1622612 w 1622612"/>
                <a:gd name="connsiteY2" fmla="*/ 4679576 h 4679576"/>
                <a:gd name="connsiteX3" fmla="*/ 0 w 1622612"/>
                <a:gd name="connsiteY3" fmla="*/ 3173506 h 4679576"/>
                <a:gd name="connsiteX4" fmla="*/ 152400 w 1622612"/>
                <a:gd name="connsiteY4" fmla="*/ 1640541 h 4679576"/>
                <a:gd name="connsiteX0" fmla="*/ 152400 w 1595718"/>
                <a:gd name="connsiteY0" fmla="*/ 1640541 h 4626310"/>
                <a:gd name="connsiteX1" fmla="*/ 1595718 w 1595718"/>
                <a:gd name="connsiteY1" fmla="*/ 0 h 4626310"/>
                <a:gd name="connsiteX2" fmla="*/ 1424612 w 1595718"/>
                <a:gd name="connsiteY2" fmla="*/ 4626310 h 4626310"/>
                <a:gd name="connsiteX3" fmla="*/ 0 w 1595718"/>
                <a:gd name="connsiteY3" fmla="*/ 3173506 h 4626310"/>
                <a:gd name="connsiteX4" fmla="*/ 152400 w 1595718"/>
                <a:gd name="connsiteY4" fmla="*/ 1640541 h 4626310"/>
                <a:gd name="connsiteX0" fmla="*/ 152400 w 1424612"/>
                <a:gd name="connsiteY0" fmla="*/ 1596152 h 4581921"/>
                <a:gd name="connsiteX1" fmla="*/ 1415718 w 1424612"/>
                <a:gd name="connsiteY1" fmla="*/ 0 h 4581921"/>
                <a:gd name="connsiteX2" fmla="*/ 1424612 w 1424612"/>
                <a:gd name="connsiteY2" fmla="*/ 4581921 h 4581921"/>
                <a:gd name="connsiteX3" fmla="*/ 0 w 1424612"/>
                <a:gd name="connsiteY3" fmla="*/ 3129117 h 4581921"/>
                <a:gd name="connsiteX4" fmla="*/ 152400 w 1424612"/>
                <a:gd name="connsiteY4" fmla="*/ 1596152 h 45819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24612" h="4581921">
                  <a:moveTo>
                    <a:pt x="152400" y="1596152"/>
                  </a:moveTo>
                  <a:lnTo>
                    <a:pt x="1415718" y="0"/>
                  </a:lnTo>
                  <a:cubicBezTo>
                    <a:pt x="1418683" y="1527307"/>
                    <a:pt x="1421647" y="3054614"/>
                    <a:pt x="1424612" y="4581921"/>
                  </a:cubicBezTo>
                  <a:lnTo>
                    <a:pt x="0" y="3129117"/>
                  </a:lnTo>
                  <a:lnTo>
                    <a:pt x="152400" y="1596152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698997">
                    <a:alpha val="63000"/>
                  </a:srgbClr>
                </a:gs>
                <a:gs pos="48000">
                  <a:srgbClr val="8EA5B0">
                    <a:alpha val="47000"/>
                  </a:srgbClr>
                </a:gs>
                <a:gs pos="100000">
                  <a:srgbClr val="FDFDFD">
                    <a:alpha val="16078"/>
                  </a:srgbClr>
                </a:gs>
              </a:gsLst>
              <a:lin ang="0" scaled="1"/>
              <a:tileRect/>
            </a:gradFill>
            <a:ln w="19050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US" dirty="0"/>
            </a:p>
          </p:txBody>
        </p: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94FCCA3D-7978-774D-B1D4-FD1BC84FF9F2}"/>
                </a:ext>
              </a:extLst>
            </p:cNvPr>
            <p:cNvSpPr txBox="1"/>
            <p:nvPr/>
          </p:nvSpPr>
          <p:spPr>
            <a:xfrm>
              <a:off x="6655680" y="3252343"/>
              <a:ext cx="1754543" cy="109944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ctr">
                <a:lnSpc>
                  <a:spcPct val="90000"/>
                </a:lnSpc>
              </a:pPr>
              <a:r>
                <a:rPr lang="en-US" sz="2000" b="1" dirty="0">
                  <a:solidFill>
                    <a:srgbClr val="C74634"/>
                  </a:solidFill>
                </a:rPr>
                <a:t>All Exadata</a:t>
              </a:r>
            </a:p>
            <a:p>
              <a:pPr algn="ctr">
                <a:lnSpc>
                  <a:spcPct val="90000"/>
                </a:lnSpc>
              </a:pPr>
              <a:r>
                <a:rPr lang="en-US" sz="2000" b="1" dirty="0">
                  <a:solidFill>
                    <a:srgbClr val="C74634"/>
                  </a:solidFill>
                </a:rPr>
                <a:t>DB Machine Innovations</a:t>
              </a:r>
            </a:p>
          </p:txBody>
        </p:sp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385B5114-1F01-DD45-9284-CC44EE4289C0}"/>
                </a:ext>
              </a:extLst>
            </p:cNvPr>
            <p:cNvSpPr txBox="1"/>
            <p:nvPr/>
          </p:nvSpPr>
          <p:spPr>
            <a:xfrm>
              <a:off x="3554217" y="3252343"/>
              <a:ext cx="1820807" cy="109944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ctr">
                <a:lnSpc>
                  <a:spcPct val="90000"/>
                </a:lnSpc>
              </a:pPr>
              <a:r>
                <a:rPr lang="en-US" sz="2000" b="1" dirty="0">
                  <a:solidFill>
                    <a:srgbClr val="C74634"/>
                  </a:solidFill>
                </a:rPr>
                <a:t>All Oracle Database Innovations</a:t>
              </a:r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C7060D7C-5F65-3B41-BD18-AF2C0840DC03}"/>
                </a:ext>
              </a:extLst>
            </p:cNvPr>
            <p:cNvSpPr/>
            <p:nvPr/>
          </p:nvSpPr>
          <p:spPr>
            <a:xfrm>
              <a:off x="1748042" y="2051291"/>
              <a:ext cx="1073948" cy="276999"/>
            </a:xfrm>
            <a:prstGeom prst="rect">
              <a:avLst/>
            </a:prstGeom>
          </p:spPr>
          <p:txBody>
            <a:bodyPr wrap="none" lIns="0" rIns="0">
              <a:spAutoFit/>
            </a:bodyPr>
            <a:lstStyle/>
            <a:p>
              <a:r>
                <a:rPr lang="en-US" sz="1200" b="1" dirty="0"/>
                <a:t>In-Memory DB</a:t>
              </a:r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507F6327-4976-AD40-946B-7BDB9CE8662A}"/>
                </a:ext>
              </a:extLst>
            </p:cNvPr>
            <p:cNvSpPr/>
            <p:nvPr/>
          </p:nvSpPr>
          <p:spPr>
            <a:xfrm>
              <a:off x="1735029" y="2458594"/>
              <a:ext cx="1276546" cy="369332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r>
                <a:rPr lang="en-US" sz="1200" b="1" dirty="0"/>
                <a:t>Real Application Clusters</a:t>
              </a:r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CFA0F4D3-34AE-8546-927B-23FCC64D237E}"/>
                </a:ext>
              </a:extLst>
            </p:cNvPr>
            <p:cNvSpPr/>
            <p:nvPr/>
          </p:nvSpPr>
          <p:spPr>
            <a:xfrm>
              <a:off x="1735029" y="2977524"/>
              <a:ext cx="1338688" cy="184666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r>
                <a:rPr lang="en-US" sz="1200" b="1" dirty="0"/>
                <a:t>Active Data Guard</a:t>
              </a:r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4091E1ED-B4B7-F64E-88C4-62139E9EE65C}"/>
                </a:ext>
              </a:extLst>
            </p:cNvPr>
            <p:cNvSpPr/>
            <p:nvPr/>
          </p:nvSpPr>
          <p:spPr>
            <a:xfrm>
              <a:off x="1735256" y="3846475"/>
              <a:ext cx="1150892" cy="336823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>
                <a:lnSpc>
                  <a:spcPct val="90000"/>
                </a:lnSpc>
              </a:pPr>
              <a:r>
                <a:rPr lang="en-US" sz="1200" b="1" dirty="0"/>
                <a:t>Advanced</a:t>
              </a:r>
            </a:p>
            <a:p>
              <a:pPr>
                <a:lnSpc>
                  <a:spcPct val="90000"/>
                </a:lnSpc>
              </a:pPr>
              <a:r>
                <a:rPr lang="en-US" sz="1200" b="1" dirty="0"/>
                <a:t>Compression</a:t>
              </a:r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3FEEA915-7948-574F-B502-33A8640BD0D5}"/>
                </a:ext>
              </a:extLst>
            </p:cNvPr>
            <p:cNvSpPr/>
            <p:nvPr/>
          </p:nvSpPr>
          <p:spPr>
            <a:xfrm>
              <a:off x="1733455" y="4298286"/>
              <a:ext cx="1769402" cy="336823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>
                <a:lnSpc>
                  <a:spcPct val="90000"/>
                </a:lnSpc>
              </a:pPr>
              <a:r>
                <a:rPr lang="en-US" sz="1200" b="1" dirty="0"/>
                <a:t>Advanced Security, Label Security, DB Vault</a:t>
              </a:r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E5B77B85-5702-A24A-AACD-04C21C64DA5A}"/>
                </a:ext>
              </a:extLst>
            </p:cNvPr>
            <p:cNvSpPr/>
            <p:nvPr/>
          </p:nvSpPr>
          <p:spPr>
            <a:xfrm>
              <a:off x="1748042" y="4758600"/>
              <a:ext cx="1587232" cy="336823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>
                <a:lnSpc>
                  <a:spcPct val="90000"/>
                </a:lnSpc>
              </a:pPr>
              <a:r>
                <a:rPr lang="en-US" sz="1200" b="1" dirty="0"/>
                <a:t>Real Application Testing</a:t>
              </a:r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6C35479F-CDC6-1C45-BD14-5C12587A80DC}"/>
                </a:ext>
              </a:extLst>
            </p:cNvPr>
            <p:cNvSpPr/>
            <p:nvPr/>
          </p:nvSpPr>
          <p:spPr>
            <a:xfrm>
              <a:off x="1735029" y="5211707"/>
              <a:ext cx="1697850" cy="336823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>
                <a:lnSpc>
                  <a:spcPct val="90000"/>
                </a:lnSpc>
              </a:pPr>
              <a:r>
                <a:rPr lang="en-US" sz="1200" b="1" dirty="0"/>
                <a:t>Advanced Analytics, Spatial and Graph</a:t>
              </a:r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AC6B691D-1C99-884B-9ADA-49645D6D9FAA}"/>
                </a:ext>
              </a:extLst>
            </p:cNvPr>
            <p:cNvSpPr/>
            <p:nvPr/>
          </p:nvSpPr>
          <p:spPr>
            <a:xfrm>
              <a:off x="1735029" y="5710478"/>
              <a:ext cx="1697850" cy="336823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>
                <a:lnSpc>
                  <a:spcPct val="90000"/>
                </a:lnSpc>
              </a:pPr>
              <a:r>
                <a:rPr lang="en-US" sz="1200" b="1" dirty="0"/>
                <a:t>Management Packs for</a:t>
              </a:r>
              <a:br>
                <a:rPr lang="en-US" sz="1200" b="1" dirty="0"/>
              </a:br>
              <a:r>
                <a:rPr lang="en-US" sz="1200" b="1" dirty="0"/>
                <a:t>Oracle Database</a:t>
              </a:r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AD50382-C0BB-7746-9D5F-635089DC31B8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>
            <a:xfrm>
              <a:off x="931903" y="1447852"/>
              <a:ext cx="612736" cy="461639"/>
            </a:xfrm>
            <a:prstGeom prst="rect">
              <a:avLst/>
            </a:prstGeom>
          </p:spPr>
        </p:pic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260453B6-22D3-A441-9A2F-CC1D892127EB}"/>
                </a:ext>
              </a:extLst>
            </p:cNvPr>
            <p:cNvSpPr/>
            <p:nvPr/>
          </p:nvSpPr>
          <p:spPr>
            <a:xfrm>
              <a:off x="1748042" y="1580170"/>
              <a:ext cx="873701" cy="276999"/>
            </a:xfrm>
            <a:prstGeom prst="rect">
              <a:avLst/>
            </a:prstGeom>
          </p:spPr>
          <p:txBody>
            <a:bodyPr wrap="none" lIns="0" rIns="0">
              <a:spAutoFit/>
            </a:bodyPr>
            <a:lstStyle/>
            <a:p>
              <a:r>
                <a:rPr lang="en-US" sz="1200" b="1" dirty="0"/>
                <a:t>Multitenant</a:t>
              </a:r>
            </a:p>
          </p:txBody>
        </p:sp>
        <p:pic>
          <p:nvPicPr>
            <p:cNvPr id="23" name="Picture 22" descr="table-column-2.png">
              <a:extLst>
                <a:ext uri="{FF2B5EF4-FFF2-40B4-BE49-F238E27FC236}">
                  <a16:creationId xmlns:a16="http://schemas.microsoft.com/office/drawing/2014/main" id="{7941151E-BCF8-DF44-8C19-D9544FD77B15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 flipH="1">
              <a:off x="937160" y="1973796"/>
              <a:ext cx="602223" cy="394667"/>
            </a:xfrm>
            <a:prstGeom prst="rect">
              <a:avLst/>
            </a:prstGeom>
          </p:spPr>
        </p:pic>
        <p:grpSp>
          <p:nvGrpSpPr>
            <p:cNvPr id="24" name="Group 59">
              <a:extLst>
                <a:ext uri="{FF2B5EF4-FFF2-40B4-BE49-F238E27FC236}">
                  <a16:creationId xmlns:a16="http://schemas.microsoft.com/office/drawing/2014/main" id="{89123F9C-D83F-AB42-A97E-AD9D65D58619}"/>
                </a:ext>
              </a:extLst>
            </p:cNvPr>
            <p:cNvGrpSpPr/>
            <p:nvPr/>
          </p:nvGrpSpPr>
          <p:grpSpPr>
            <a:xfrm>
              <a:off x="889263" y="2478075"/>
              <a:ext cx="698017" cy="296778"/>
              <a:chOff x="1272407" y="2562726"/>
              <a:chExt cx="698017" cy="296778"/>
            </a:xfrm>
          </p:grpSpPr>
          <p:grpSp>
            <p:nvGrpSpPr>
              <p:cNvPr id="38" name="Group 55">
                <a:extLst>
                  <a:ext uri="{FF2B5EF4-FFF2-40B4-BE49-F238E27FC236}">
                    <a16:creationId xmlns:a16="http://schemas.microsoft.com/office/drawing/2014/main" id="{47274CF9-F718-D349-B900-ACB66F71565A}"/>
                  </a:ext>
                </a:extLst>
              </p:cNvPr>
              <p:cNvGrpSpPr/>
              <p:nvPr/>
            </p:nvGrpSpPr>
            <p:grpSpPr>
              <a:xfrm>
                <a:off x="1272407" y="2620664"/>
                <a:ext cx="698017" cy="238840"/>
                <a:chOff x="1129846" y="2763185"/>
                <a:chExt cx="1629398" cy="557531"/>
              </a:xfrm>
            </p:grpSpPr>
            <p:cxnSp>
              <p:nvCxnSpPr>
                <p:cNvPr id="42" name="Straight Connector 41">
                  <a:extLst>
                    <a:ext uri="{FF2B5EF4-FFF2-40B4-BE49-F238E27FC236}">
                      <a16:creationId xmlns:a16="http://schemas.microsoft.com/office/drawing/2014/main" id="{16F0102E-AA47-BA48-B887-F713AC1A8F3D}"/>
                    </a:ext>
                  </a:extLst>
                </p:cNvPr>
                <p:cNvCxnSpPr/>
                <p:nvPr/>
              </p:nvCxnSpPr>
              <p:spPr>
                <a:xfrm>
                  <a:off x="1747127" y="2763185"/>
                  <a:ext cx="0" cy="209802"/>
                </a:xfrm>
                <a:prstGeom prst="line">
                  <a:avLst/>
                </a:prstGeom>
                <a:ln w="19050">
                  <a:solidFill>
                    <a:schemeClr val="accent5"/>
                  </a:solidFill>
                  <a:miter lim="800000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3" name="Straight Connector 42">
                  <a:extLst>
                    <a:ext uri="{FF2B5EF4-FFF2-40B4-BE49-F238E27FC236}">
                      <a16:creationId xmlns:a16="http://schemas.microsoft.com/office/drawing/2014/main" id="{3D07E485-9CFC-8D46-ABEE-E7B4DE121FA5}"/>
                    </a:ext>
                  </a:extLst>
                </p:cNvPr>
                <p:cNvCxnSpPr/>
                <p:nvPr/>
              </p:nvCxnSpPr>
              <p:spPr>
                <a:xfrm>
                  <a:off x="1364012" y="2763185"/>
                  <a:ext cx="0" cy="209802"/>
                </a:xfrm>
                <a:prstGeom prst="line">
                  <a:avLst/>
                </a:prstGeom>
                <a:ln w="19050">
                  <a:solidFill>
                    <a:schemeClr val="accent5"/>
                  </a:solidFill>
                  <a:miter lim="800000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pic>
              <p:nvPicPr>
                <p:cNvPr id="44" name="Picture 43">
                  <a:extLst>
                    <a:ext uri="{FF2B5EF4-FFF2-40B4-BE49-F238E27FC236}">
                      <a16:creationId xmlns:a16="http://schemas.microsoft.com/office/drawing/2014/main" id="{14426A68-0CA2-9741-8346-F43B0B6B0361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6" cstate="email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129846" y="2837319"/>
                  <a:ext cx="482371" cy="482370"/>
                </a:xfrm>
                <a:prstGeom prst="rect">
                  <a:avLst/>
                </a:prstGeom>
              </p:spPr>
            </p:pic>
            <p:pic>
              <p:nvPicPr>
                <p:cNvPr id="45" name="Picture 44">
                  <a:extLst>
                    <a:ext uri="{FF2B5EF4-FFF2-40B4-BE49-F238E27FC236}">
                      <a16:creationId xmlns:a16="http://schemas.microsoft.com/office/drawing/2014/main" id="{105EE847-3E3F-1544-B901-F13AFE8DAE1A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6" cstate="email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513757" y="2838346"/>
                  <a:ext cx="482371" cy="482370"/>
                </a:xfrm>
                <a:prstGeom prst="rect">
                  <a:avLst/>
                </a:prstGeom>
              </p:spPr>
            </p:pic>
            <p:cxnSp>
              <p:nvCxnSpPr>
                <p:cNvPr id="46" name="Straight Connector 45">
                  <a:extLst>
                    <a:ext uri="{FF2B5EF4-FFF2-40B4-BE49-F238E27FC236}">
                      <a16:creationId xmlns:a16="http://schemas.microsoft.com/office/drawing/2014/main" id="{FE61D268-C214-D145-9A66-AC60451732C8}"/>
                    </a:ext>
                  </a:extLst>
                </p:cNvPr>
                <p:cNvCxnSpPr/>
                <p:nvPr/>
              </p:nvCxnSpPr>
              <p:spPr>
                <a:xfrm>
                  <a:off x="2130037" y="2763185"/>
                  <a:ext cx="0" cy="209802"/>
                </a:xfrm>
                <a:prstGeom prst="line">
                  <a:avLst/>
                </a:prstGeom>
                <a:ln w="19050">
                  <a:solidFill>
                    <a:schemeClr val="accent5"/>
                  </a:solidFill>
                  <a:miter lim="800000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pic>
              <p:nvPicPr>
                <p:cNvPr id="47" name="Picture 46">
                  <a:extLst>
                    <a:ext uri="{FF2B5EF4-FFF2-40B4-BE49-F238E27FC236}">
                      <a16:creationId xmlns:a16="http://schemas.microsoft.com/office/drawing/2014/main" id="{8825A869-3462-1942-B4EB-34E457EB9740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6" cstate="email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895871" y="2837318"/>
                  <a:ext cx="482371" cy="482370"/>
                </a:xfrm>
                <a:prstGeom prst="rect">
                  <a:avLst/>
                </a:prstGeom>
              </p:spPr>
            </p:pic>
            <p:cxnSp>
              <p:nvCxnSpPr>
                <p:cNvPr id="48" name="Straight Connector 47">
                  <a:extLst>
                    <a:ext uri="{FF2B5EF4-FFF2-40B4-BE49-F238E27FC236}">
                      <a16:creationId xmlns:a16="http://schemas.microsoft.com/office/drawing/2014/main" id="{93DC56F4-8BEF-0945-B3E4-DAFAE071E62B}"/>
                    </a:ext>
                  </a:extLst>
                </p:cNvPr>
                <p:cNvCxnSpPr/>
                <p:nvPr/>
              </p:nvCxnSpPr>
              <p:spPr>
                <a:xfrm>
                  <a:off x="2511039" y="2763185"/>
                  <a:ext cx="0" cy="209802"/>
                </a:xfrm>
                <a:prstGeom prst="line">
                  <a:avLst/>
                </a:prstGeom>
                <a:ln w="19050">
                  <a:solidFill>
                    <a:schemeClr val="accent5"/>
                  </a:solidFill>
                  <a:miter lim="800000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pic>
              <p:nvPicPr>
                <p:cNvPr id="49" name="Picture 48">
                  <a:extLst>
                    <a:ext uri="{FF2B5EF4-FFF2-40B4-BE49-F238E27FC236}">
                      <a16:creationId xmlns:a16="http://schemas.microsoft.com/office/drawing/2014/main" id="{E5D54800-14D6-5445-9C4B-FC51909697D6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6" cstate="email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2276873" y="2837319"/>
                  <a:ext cx="482371" cy="482370"/>
                </a:xfrm>
                <a:prstGeom prst="rect">
                  <a:avLst/>
                </a:prstGeom>
              </p:spPr>
            </p:pic>
          </p:grpSp>
          <p:grpSp>
            <p:nvGrpSpPr>
              <p:cNvPr id="39" name="Group 58">
                <a:extLst>
                  <a:ext uri="{FF2B5EF4-FFF2-40B4-BE49-F238E27FC236}">
                    <a16:creationId xmlns:a16="http://schemas.microsoft.com/office/drawing/2014/main" id="{0E7819F3-9629-D143-908B-28FF67624FCD}"/>
                  </a:ext>
                </a:extLst>
              </p:cNvPr>
              <p:cNvGrpSpPr/>
              <p:nvPr/>
            </p:nvGrpSpPr>
            <p:grpSpPr>
              <a:xfrm>
                <a:off x="1285785" y="2562726"/>
                <a:ext cx="671260" cy="59430"/>
                <a:chOff x="1279761" y="2562726"/>
                <a:chExt cx="671260" cy="59430"/>
              </a:xfrm>
            </p:grpSpPr>
            <p:pic>
              <p:nvPicPr>
                <p:cNvPr id="40" name="Picture 39">
                  <a:extLst>
                    <a:ext uri="{FF2B5EF4-FFF2-40B4-BE49-F238E27FC236}">
                      <a16:creationId xmlns:a16="http://schemas.microsoft.com/office/drawing/2014/main" id="{08A10EB3-72BC-A747-BBB5-CC832E080BD7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7" cstate="email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279761" y="2562726"/>
                  <a:ext cx="475447" cy="59430"/>
                </a:xfrm>
                <a:prstGeom prst="rect">
                  <a:avLst/>
                </a:prstGeom>
              </p:spPr>
            </p:pic>
            <p:pic>
              <p:nvPicPr>
                <p:cNvPr id="41" name="Picture 40">
                  <a:extLst>
                    <a:ext uri="{FF2B5EF4-FFF2-40B4-BE49-F238E27FC236}">
                      <a16:creationId xmlns:a16="http://schemas.microsoft.com/office/drawing/2014/main" id="{B3D41FFB-D721-B14D-8C95-1DEDDC9D6D5B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7" cstate="email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475574" y="2562726"/>
                  <a:ext cx="475447" cy="59430"/>
                </a:xfrm>
                <a:prstGeom prst="rect">
                  <a:avLst/>
                </a:prstGeom>
              </p:spPr>
            </p:pic>
          </p:grpSp>
        </p:grpSp>
        <p:grpSp>
          <p:nvGrpSpPr>
            <p:cNvPr id="25" name="Group 172">
              <a:extLst>
                <a:ext uri="{FF2B5EF4-FFF2-40B4-BE49-F238E27FC236}">
                  <a16:creationId xmlns:a16="http://schemas.microsoft.com/office/drawing/2014/main" id="{9CD806E5-ECB6-CA4A-BD50-3AE9593DC4F1}"/>
                </a:ext>
              </a:extLst>
            </p:cNvPr>
            <p:cNvGrpSpPr/>
            <p:nvPr/>
          </p:nvGrpSpPr>
          <p:grpSpPr>
            <a:xfrm>
              <a:off x="947124" y="2859403"/>
              <a:ext cx="582295" cy="417250"/>
              <a:chOff x="1183839" y="3018409"/>
              <a:chExt cx="582295" cy="417250"/>
            </a:xfrm>
          </p:grpSpPr>
          <p:pic>
            <p:nvPicPr>
              <p:cNvPr id="35" name="Picture 34">
                <a:extLst>
                  <a:ext uri="{FF2B5EF4-FFF2-40B4-BE49-F238E27FC236}">
                    <a16:creationId xmlns:a16="http://schemas.microsoft.com/office/drawing/2014/main" id="{6905C00E-A168-0240-9EF8-9C8C4B23A9D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1441024" y="3018409"/>
                <a:ext cx="325110" cy="309318"/>
              </a:xfrm>
              <a:prstGeom prst="rect">
                <a:avLst/>
              </a:prstGeom>
            </p:spPr>
          </p:pic>
          <p:sp>
            <p:nvSpPr>
              <p:cNvPr id="36" name="Bent Arrow 35">
                <a:extLst>
                  <a:ext uri="{FF2B5EF4-FFF2-40B4-BE49-F238E27FC236}">
                    <a16:creationId xmlns:a16="http://schemas.microsoft.com/office/drawing/2014/main" id="{4E469E33-29A0-1D41-AB7F-012CA2E9536F}"/>
                  </a:ext>
                </a:extLst>
              </p:cNvPr>
              <p:cNvSpPr/>
              <p:nvPr/>
            </p:nvSpPr>
            <p:spPr>
              <a:xfrm rot="16200000" flipV="1">
                <a:off x="1472205" y="3196858"/>
                <a:ext cx="131610" cy="209029"/>
              </a:xfrm>
              <a:prstGeom prst="bentArrow">
                <a:avLst>
                  <a:gd name="adj1" fmla="val 25000"/>
                  <a:gd name="adj2" fmla="val 25909"/>
                  <a:gd name="adj3" fmla="val 25000"/>
                  <a:gd name="adj4" fmla="val 43750"/>
                </a:avLst>
              </a:prstGeom>
              <a:solidFill>
                <a:srgbClr val="41555E"/>
              </a:solidFill>
              <a:ln w="19050">
                <a:noFill/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lnSpc>
                    <a:spcPct val="90000"/>
                  </a:lnSpc>
                </a:pPr>
                <a:endParaRPr lang="en-US" sz="1400" b="1" dirty="0">
                  <a:solidFill>
                    <a:schemeClr val="tx1">
                      <a:lumMod val="50000"/>
                    </a:schemeClr>
                  </a:solidFill>
                </a:endParaRPr>
              </a:p>
            </p:txBody>
          </p:sp>
          <p:pic>
            <p:nvPicPr>
              <p:cNvPr id="37" name="Picture 36">
                <a:extLst>
                  <a:ext uri="{FF2B5EF4-FFF2-40B4-BE49-F238E27FC236}">
                    <a16:creationId xmlns:a16="http://schemas.microsoft.com/office/drawing/2014/main" id="{D94DAD6C-1C2E-F643-8DD2-742275252E5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1183839" y="3126341"/>
                <a:ext cx="325110" cy="309318"/>
              </a:xfrm>
              <a:prstGeom prst="rect">
                <a:avLst/>
              </a:prstGeom>
            </p:spPr>
          </p:pic>
        </p:grpSp>
        <p:grpSp>
          <p:nvGrpSpPr>
            <p:cNvPr id="26" name="Group 18">
              <a:extLst>
                <a:ext uri="{FF2B5EF4-FFF2-40B4-BE49-F238E27FC236}">
                  <a16:creationId xmlns:a16="http://schemas.microsoft.com/office/drawing/2014/main" id="{4AE45DAA-2203-044B-90F0-AE9F775159B0}"/>
                </a:ext>
              </a:extLst>
            </p:cNvPr>
            <p:cNvGrpSpPr/>
            <p:nvPr/>
          </p:nvGrpSpPr>
          <p:grpSpPr>
            <a:xfrm>
              <a:off x="887976" y="3365076"/>
              <a:ext cx="700590" cy="301994"/>
              <a:chOff x="6113008" y="3484394"/>
              <a:chExt cx="872946" cy="240504"/>
            </a:xfrm>
          </p:grpSpPr>
          <p:pic>
            <p:nvPicPr>
              <p:cNvPr id="33" name="Picture 32">
                <a:extLst>
                  <a:ext uri="{FF2B5EF4-FFF2-40B4-BE49-F238E27FC236}">
                    <a16:creationId xmlns:a16="http://schemas.microsoft.com/office/drawing/2014/main" id="{AB2346DA-2641-5344-A101-A727BCBC0B8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 rot="16200000">
                <a:off x="6214578" y="3389459"/>
                <a:ext cx="233869" cy="437010"/>
              </a:xfrm>
              <a:prstGeom prst="rect">
                <a:avLst/>
              </a:prstGeom>
            </p:spPr>
          </p:pic>
          <p:pic>
            <p:nvPicPr>
              <p:cNvPr id="34" name="Picture 33">
                <a:extLst>
                  <a:ext uri="{FF2B5EF4-FFF2-40B4-BE49-F238E27FC236}">
                    <a16:creationId xmlns:a16="http://schemas.microsoft.com/office/drawing/2014/main" id="{5119830A-347A-8744-AE1B-C648583FAF2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0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 rot="16200000">
                <a:off x="6645655" y="3381352"/>
                <a:ext cx="237257" cy="443341"/>
              </a:xfrm>
              <a:prstGeom prst="rect">
                <a:avLst/>
              </a:prstGeom>
            </p:spPr>
          </p:pic>
        </p:grpSp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1E731A82-CEA0-B84E-8EF1-AD8F735C9CD0}"/>
                </a:ext>
              </a:extLst>
            </p:cNvPr>
            <p:cNvSpPr/>
            <p:nvPr/>
          </p:nvSpPr>
          <p:spPr>
            <a:xfrm>
              <a:off x="1735029" y="3388547"/>
              <a:ext cx="883127" cy="276999"/>
            </a:xfrm>
            <a:prstGeom prst="rect">
              <a:avLst/>
            </a:prstGeom>
          </p:spPr>
          <p:txBody>
            <a:bodyPr wrap="none" lIns="0" rIns="0">
              <a:spAutoFit/>
            </a:bodyPr>
            <a:lstStyle/>
            <a:p>
              <a:r>
                <a:rPr lang="en-US" sz="1200" b="1" dirty="0"/>
                <a:t>Partitioning</a:t>
              </a:r>
            </a:p>
          </p:txBody>
        </p:sp>
        <p:pic>
          <p:nvPicPr>
            <p:cNvPr id="28" name="Picture 27">
              <a:extLst>
                <a:ext uri="{FF2B5EF4-FFF2-40B4-BE49-F238E27FC236}">
                  <a16:creationId xmlns:a16="http://schemas.microsoft.com/office/drawing/2014/main" id="{C08F0782-3514-884D-9CDA-C52A8E8DB5F7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117061" y="3815394"/>
              <a:ext cx="242420" cy="411338"/>
            </a:xfrm>
            <a:prstGeom prst="rect">
              <a:avLst/>
            </a:prstGeom>
          </p:spPr>
        </p:pic>
        <p:pic>
          <p:nvPicPr>
            <p:cNvPr id="29" name="Picture 28">
              <a:extLst>
                <a:ext uri="{FF2B5EF4-FFF2-40B4-BE49-F238E27FC236}">
                  <a16:creationId xmlns:a16="http://schemas.microsoft.com/office/drawing/2014/main" id="{75C8DA02-7FAA-5845-ABA0-9BD10B14B855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025120" y="4208809"/>
              <a:ext cx="426302" cy="426300"/>
            </a:xfrm>
            <a:prstGeom prst="rect">
              <a:avLst/>
            </a:prstGeom>
          </p:spPr>
        </p:pic>
        <p:pic>
          <p:nvPicPr>
            <p:cNvPr id="30" name="Picture 29" descr="download.png">
              <a:extLst>
                <a:ext uri="{FF2B5EF4-FFF2-40B4-BE49-F238E27FC236}">
                  <a16:creationId xmlns:a16="http://schemas.microsoft.com/office/drawing/2014/main" id="{396EC463-FEE0-5C46-BA0E-EDA3F2FF9B33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024103" y="4678639"/>
              <a:ext cx="428337" cy="428337"/>
            </a:xfrm>
            <a:prstGeom prst="rect">
              <a:avLst/>
            </a:prstGeom>
          </p:spPr>
        </p:pic>
        <p:pic>
          <p:nvPicPr>
            <p:cNvPr id="31" name="Picture 30" descr="download.png">
              <a:extLst>
                <a:ext uri="{FF2B5EF4-FFF2-40B4-BE49-F238E27FC236}">
                  <a16:creationId xmlns:a16="http://schemas.microsoft.com/office/drawing/2014/main" id="{FEEF51A4-F997-A848-AA5F-995D1784471B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48956" y="5173891"/>
              <a:ext cx="578631" cy="358254"/>
            </a:xfrm>
            <a:prstGeom prst="rect">
              <a:avLst/>
            </a:prstGeom>
            <a:ln>
              <a:solidFill>
                <a:schemeClr val="tx1"/>
              </a:solidFill>
            </a:ln>
          </p:spPr>
        </p:pic>
        <p:pic>
          <p:nvPicPr>
            <p:cNvPr id="32" name="Picture 31" descr="download.png">
              <a:extLst>
                <a:ext uri="{FF2B5EF4-FFF2-40B4-BE49-F238E27FC236}">
                  <a16:creationId xmlns:a16="http://schemas.microsoft.com/office/drawing/2014/main" id="{CF1436DC-A5C7-214C-8E22-74793F50212A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035251" y="5630266"/>
              <a:ext cx="406041" cy="406041"/>
            </a:xfrm>
            <a:prstGeom prst="rect">
              <a:avLst/>
            </a:prstGeom>
          </p:spPr>
        </p:pic>
        <p:sp>
          <p:nvSpPr>
            <p:cNvPr id="50" name="Rectangle 49">
              <a:extLst>
                <a:ext uri="{FF2B5EF4-FFF2-40B4-BE49-F238E27FC236}">
                  <a16:creationId xmlns:a16="http://schemas.microsoft.com/office/drawing/2014/main" id="{AE340BFC-35CC-6148-8C67-E65AD3FB25E7}"/>
                </a:ext>
              </a:extLst>
            </p:cNvPr>
            <p:cNvSpPr/>
            <p:nvPr/>
          </p:nvSpPr>
          <p:spPr>
            <a:xfrm>
              <a:off x="8538654" y="1791640"/>
              <a:ext cx="1381331" cy="170624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>
                <a:lnSpc>
                  <a:spcPct val="90000"/>
                </a:lnSpc>
              </a:pPr>
              <a:r>
                <a:rPr lang="en-US" sz="1200" b="1" dirty="0"/>
                <a:t>RoCE Fabric</a:t>
              </a:r>
            </a:p>
          </p:txBody>
        </p:sp>
        <p:sp>
          <p:nvSpPr>
            <p:cNvPr id="51" name="Rectangle 50">
              <a:extLst>
                <a:ext uri="{FF2B5EF4-FFF2-40B4-BE49-F238E27FC236}">
                  <a16:creationId xmlns:a16="http://schemas.microsoft.com/office/drawing/2014/main" id="{8D814A6E-8E1A-B742-BC1D-82BB060E0982}"/>
                </a:ext>
              </a:extLst>
            </p:cNvPr>
            <p:cNvSpPr/>
            <p:nvPr/>
          </p:nvSpPr>
          <p:spPr>
            <a:xfrm>
              <a:off x="8538654" y="3695454"/>
              <a:ext cx="1697850" cy="170624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>
                <a:lnSpc>
                  <a:spcPct val="90000"/>
                </a:lnSpc>
              </a:pPr>
              <a:r>
                <a:rPr lang="en-US" sz="1200" b="1" dirty="0"/>
                <a:t>Columnar Flash Cache</a:t>
              </a:r>
            </a:p>
          </p:txBody>
        </p:sp>
        <p:sp>
          <p:nvSpPr>
            <p:cNvPr id="52" name="Rectangle 51">
              <a:extLst>
                <a:ext uri="{FF2B5EF4-FFF2-40B4-BE49-F238E27FC236}">
                  <a16:creationId xmlns:a16="http://schemas.microsoft.com/office/drawing/2014/main" id="{3830DA1A-D873-794F-AE8A-F11FD60B3AF5}"/>
                </a:ext>
              </a:extLst>
            </p:cNvPr>
            <p:cNvSpPr/>
            <p:nvPr/>
          </p:nvSpPr>
          <p:spPr>
            <a:xfrm>
              <a:off x="8538654" y="3226401"/>
              <a:ext cx="1169872" cy="170624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>
                <a:lnSpc>
                  <a:spcPct val="90000"/>
                </a:lnSpc>
              </a:pPr>
              <a:r>
                <a:rPr lang="en-US" sz="1200" b="1" dirty="0"/>
                <a:t>Storage Indexes</a:t>
              </a:r>
            </a:p>
          </p:txBody>
        </p:sp>
        <p:sp>
          <p:nvSpPr>
            <p:cNvPr id="53" name="Rectangle 52">
              <a:extLst>
                <a:ext uri="{FF2B5EF4-FFF2-40B4-BE49-F238E27FC236}">
                  <a16:creationId xmlns:a16="http://schemas.microsoft.com/office/drawing/2014/main" id="{015A3582-A261-4843-8105-791DFF44458A}"/>
                </a:ext>
              </a:extLst>
            </p:cNvPr>
            <p:cNvSpPr/>
            <p:nvPr/>
          </p:nvSpPr>
          <p:spPr>
            <a:xfrm>
              <a:off x="8538654" y="4070307"/>
              <a:ext cx="1253548" cy="336823"/>
            </a:xfrm>
            <a:prstGeom prst="rect">
              <a:avLst/>
            </a:prstGeom>
          </p:spPr>
          <p:txBody>
            <a:bodyPr wrap="none" lIns="0" tIns="0" rIns="0" bIns="0">
              <a:spAutoFit/>
            </a:bodyPr>
            <a:lstStyle/>
            <a:p>
              <a:pPr>
                <a:lnSpc>
                  <a:spcPct val="90000"/>
                </a:lnSpc>
              </a:pPr>
              <a:r>
                <a:rPr lang="en-US" sz="1200" b="1" dirty="0"/>
                <a:t>Hybrid Columnar</a:t>
              </a:r>
            </a:p>
            <a:p>
              <a:pPr>
                <a:lnSpc>
                  <a:spcPct val="90000"/>
                </a:lnSpc>
              </a:pPr>
              <a:r>
                <a:rPr lang="en-US" sz="1200" b="1" dirty="0"/>
                <a:t>Compression</a:t>
              </a:r>
            </a:p>
          </p:txBody>
        </p:sp>
        <p:sp>
          <p:nvSpPr>
            <p:cNvPr id="54" name="Rectangle 53">
              <a:extLst>
                <a:ext uri="{FF2B5EF4-FFF2-40B4-BE49-F238E27FC236}">
                  <a16:creationId xmlns:a16="http://schemas.microsoft.com/office/drawing/2014/main" id="{3A4E0783-25A5-794B-AEE2-CBFC459509B8}"/>
                </a:ext>
              </a:extLst>
            </p:cNvPr>
            <p:cNvSpPr/>
            <p:nvPr/>
          </p:nvSpPr>
          <p:spPr>
            <a:xfrm>
              <a:off x="8538654" y="4541737"/>
              <a:ext cx="1345821" cy="336823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>
                <a:lnSpc>
                  <a:spcPct val="90000"/>
                </a:lnSpc>
              </a:pPr>
              <a:r>
                <a:rPr lang="en-US" sz="1200" b="1" dirty="0"/>
                <a:t>I/O Resource Management</a:t>
              </a:r>
            </a:p>
          </p:txBody>
        </p:sp>
        <p:sp>
          <p:nvSpPr>
            <p:cNvPr id="55" name="Rectangle 54">
              <a:extLst>
                <a:ext uri="{FF2B5EF4-FFF2-40B4-BE49-F238E27FC236}">
                  <a16:creationId xmlns:a16="http://schemas.microsoft.com/office/drawing/2014/main" id="{A30D58CB-1C78-0B40-AD25-427DEE0B63E8}"/>
                </a:ext>
              </a:extLst>
            </p:cNvPr>
            <p:cNvSpPr/>
            <p:nvPr/>
          </p:nvSpPr>
          <p:spPr>
            <a:xfrm>
              <a:off x="8538654" y="5914458"/>
              <a:ext cx="1944209" cy="336823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>
                <a:lnSpc>
                  <a:spcPct val="90000"/>
                </a:lnSpc>
              </a:pPr>
              <a:r>
                <a:rPr lang="en-US" sz="1200" b="1" dirty="0"/>
                <a:t>Exafusion </a:t>
              </a:r>
              <a:br>
                <a:rPr lang="en-US" sz="1200" b="1" dirty="0"/>
              </a:br>
              <a:r>
                <a:rPr lang="en-US" sz="1200" b="1" dirty="0"/>
                <a:t>Direct-to-Wire Protocol</a:t>
              </a:r>
            </a:p>
          </p:txBody>
        </p:sp>
        <p:sp>
          <p:nvSpPr>
            <p:cNvPr id="56" name="Rectangle 55">
              <a:extLst>
                <a:ext uri="{FF2B5EF4-FFF2-40B4-BE49-F238E27FC236}">
                  <a16:creationId xmlns:a16="http://schemas.microsoft.com/office/drawing/2014/main" id="{F5A62802-2822-E049-9041-316EB2BF5BE5}"/>
                </a:ext>
              </a:extLst>
            </p:cNvPr>
            <p:cNvSpPr/>
            <p:nvPr/>
          </p:nvSpPr>
          <p:spPr>
            <a:xfrm>
              <a:off x="8538654" y="1415534"/>
              <a:ext cx="1694631" cy="184666"/>
            </a:xfrm>
            <a:prstGeom prst="rect">
              <a:avLst/>
            </a:prstGeom>
          </p:spPr>
          <p:txBody>
            <a:bodyPr wrap="none" lIns="0" tIns="0" rIns="0" bIns="0">
              <a:spAutoFit/>
            </a:bodyPr>
            <a:lstStyle/>
            <a:p>
              <a:r>
                <a:rPr lang="en-US" sz="1200" b="1" dirty="0"/>
                <a:t>Offload SQL to Storage</a:t>
              </a:r>
            </a:p>
          </p:txBody>
        </p:sp>
        <p:sp>
          <p:nvSpPr>
            <p:cNvPr id="57" name="Rectangle 56">
              <a:extLst>
                <a:ext uri="{FF2B5EF4-FFF2-40B4-BE49-F238E27FC236}">
                  <a16:creationId xmlns:a16="http://schemas.microsoft.com/office/drawing/2014/main" id="{5A63C1FF-2139-7E4C-AC07-240C48D8F087}"/>
                </a:ext>
              </a:extLst>
            </p:cNvPr>
            <p:cNvSpPr/>
            <p:nvPr/>
          </p:nvSpPr>
          <p:spPr>
            <a:xfrm>
              <a:off x="8538654" y="4972679"/>
              <a:ext cx="1769402" cy="336823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>
                <a:lnSpc>
                  <a:spcPct val="90000"/>
                </a:lnSpc>
              </a:pPr>
              <a:r>
                <a:rPr lang="en-US" sz="1200" b="1" dirty="0"/>
                <a:t>Network Resource Management</a:t>
              </a:r>
            </a:p>
          </p:txBody>
        </p:sp>
        <p:sp>
          <p:nvSpPr>
            <p:cNvPr id="58" name="Rectangle 57">
              <a:extLst>
                <a:ext uri="{FF2B5EF4-FFF2-40B4-BE49-F238E27FC236}">
                  <a16:creationId xmlns:a16="http://schemas.microsoft.com/office/drawing/2014/main" id="{DD25B2AB-EC44-074B-9D1A-331B054B39AD}"/>
                </a:ext>
              </a:extLst>
            </p:cNvPr>
            <p:cNvSpPr/>
            <p:nvPr/>
          </p:nvSpPr>
          <p:spPr>
            <a:xfrm>
              <a:off x="8538654" y="5460787"/>
              <a:ext cx="1697850" cy="336823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>
                <a:lnSpc>
                  <a:spcPct val="90000"/>
                </a:lnSpc>
              </a:pPr>
              <a:r>
                <a:rPr lang="en-US" sz="1200" b="1" dirty="0"/>
                <a:t>In-Memory Fault Tolerance</a:t>
              </a:r>
            </a:p>
          </p:txBody>
        </p:sp>
        <p:sp>
          <p:nvSpPr>
            <p:cNvPr id="59" name="Rectangle 58">
              <a:extLst>
                <a:ext uri="{FF2B5EF4-FFF2-40B4-BE49-F238E27FC236}">
                  <a16:creationId xmlns:a16="http://schemas.microsoft.com/office/drawing/2014/main" id="{BCD061D7-9041-014B-AF9D-52E2FE691E2D}"/>
                </a:ext>
              </a:extLst>
            </p:cNvPr>
            <p:cNvSpPr/>
            <p:nvPr/>
          </p:nvSpPr>
          <p:spPr>
            <a:xfrm>
              <a:off x="8538654" y="2729653"/>
              <a:ext cx="1360629" cy="184666"/>
            </a:xfrm>
            <a:prstGeom prst="rect">
              <a:avLst/>
            </a:prstGeom>
          </p:spPr>
          <p:txBody>
            <a:bodyPr wrap="none" lIns="0" tIns="0" rIns="0" bIns="0">
              <a:spAutoFit/>
            </a:bodyPr>
            <a:lstStyle/>
            <a:p>
              <a:r>
                <a:rPr lang="en-US" sz="1200" b="1" dirty="0"/>
                <a:t>Smart Flash Cache</a:t>
              </a:r>
            </a:p>
          </p:txBody>
        </p:sp>
        <p:grpSp>
          <p:nvGrpSpPr>
            <p:cNvPr id="61" name="Group 29">
              <a:extLst>
                <a:ext uri="{FF2B5EF4-FFF2-40B4-BE49-F238E27FC236}">
                  <a16:creationId xmlns:a16="http://schemas.microsoft.com/office/drawing/2014/main" id="{E23D4BF6-8F9C-184B-AFF2-A9853CF641E4}"/>
                </a:ext>
              </a:extLst>
            </p:cNvPr>
            <p:cNvGrpSpPr/>
            <p:nvPr/>
          </p:nvGrpSpPr>
          <p:grpSpPr>
            <a:xfrm>
              <a:off x="10397152" y="3966580"/>
              <a:ext cx="758497" cy="428268"/>
              <a:chOff x="9248161" y="3760237"/>
              <a:chExt cx="2170934" cy="1324958"/>
            </a:xfrm>
          </p:grpSpPr>
          <p:pic>
            <p:nvPicPr>
              <p:cNvPr id="63" name="Picture 62" descr="db-red.png">
                <a:extLst>
                  <a:ext uri="{FF2B5EF4-FFF2-40B4-BE49-F238E27FC236}">
                    <a16:creationId xmlns:a16="http://schemas.microsoft.com/office/drawing/2014/main" id="{0D1598F2-C1A1-304D-BC98-2D41B023FE3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6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9248161" y="4203408"/>
                <a:ext cx="539652" cy="539652"/>
              </a:xfrm>
              <a:prstGeom prst="rect">
                <a:avLst/>
              </a:prstGeom>
            </p:spPr>
          </p:pic>
          <p:sp>
            <p:nvSpPr>
              <p:cNvPr id="64" name="Left Arrow 63">
                <a:extLst>
                  <a:ext uri="{FF2B5EF4-FFF2-40B4-BE49-F238E27FC236}">
                    <a16:creationId xmlns:a16="http://schemas.microsoft.com/office/drawing/2014/main" id="{5ADF24D5-CDEA-7C4B-BF48-14AA050302DC}"/>
                  </a:ext>
                </a:extLst>
              </p:cNvPr>
              <p:cNvSpPr/>
              <p:nvPr/>
            </p:nvSpPr>
            <p:spPr>
              <a:xfrm>
                <a:off x="9703836" y="4208095"/>
                <a:ext cx="634482" cy="522514"/>
              </a:xfrm>
              <a:prstGeom prst="leftArrow">
                <a:avLst/>
              </a:prstGeom>
              <a:solidFill>
                <a:srgbClr val="41555E"/>
              </a:solidFill>
              <a:ln w="19050">
                <a:noFill/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lnSpc>
                    <a:spcPct val="90000"/>
                  </a:lnSpc>
                </a:pPr>
                <a:r>
                  <a:rPr lang="en-US" sz="600" b="1" dirty="0"/>
                  <a:t>HCC</a:t>
                </a:r>
              </a:p>
            </p:txBody>
          </p:sp>
          <p:pic>
            <p:nvPicPr>
              <p:cNvPr id="65" name="Picture 64" descr="db-red.png">
                <a:extLst>
                  <a:ext uri="{FF2B5EF4-FFF2-40B4-BE49-F238E27FC236}">
                    <a16:creationId xmlns:a16="http://schemas.microsoft.com/office/drawing/2014/main" id="{6D11EB19-0A58-4C45-8263-20507E43CF5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7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10094137" y="3760237"/>
                <a:ext cx="1324958" cy="1324958"/>
              </a:xfrm>
              <a:prstGeom prst="rect">
                <a:avLst/>
              </a:prstGeom>
            </p:spPr>
          </p:pic>
        </p:grpSp>
        <p:sp>
          <p:nvSpPr>
            <p:cNvPr id="62" name="TextBox 61">
              <a:extLst>
                <a:ext uri="{FF2B5EF4-FFF2-40B4-BE49-F238E27FC236}">
                  <a16:creationId xmlns:a16="http://schemas.microsoft.com/office/drawing/2014/main" id="{6A9FB337-7C6D-D049-AECC-42B83B429306}"/>
                </a:ext>
              </a:extLst>
            </p:cNvPr>
            <p:cNvSpPr txBox="1"/>
            <p:nvPr/>
          </p:nvSpPr>
          <p:spPr>
            <a:xfrm>
              <a:off x="10368946" y="4301113"/>
              <a:ext cx="299054" cy="9597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ctr">
                <a:lnSpc>
                  <a:spcPct val="90000"/>
                </a:lnSpc>
              </a:pPr>
              <a:r>
                <a:rPr lang="en-US" sz="900" b="1" dirty="0"/>
                <a:t>10:1</a:t>
              </a:r>
            </a:p>
          </p:txBody>
        </p:sp>
        <p:sp>
          <p:nvSpPr>
            <p:cNvPr id="67" name="Up Arrow 66">
              <a:extLst>
                <a:ext uri="{FF2B5EF4-FFF2-40B4-BE49-F238E27FC236}">
                  <a16:creationId xmlns:a16="http://schemas.microsoft.com/office/drawing/2014/main" id="{9E880BF2-E510-A849-A508-21280AD7E062}"/>
                </a:ext>
              </a:extLst>
            </p:cNvPr>
            <p:cNvSpPr/>
            <p:nvPr/>
          </p:nvSpPr>
          <p:spPr>
            <a:xfrm>
              <a:off x="10919591" y="1359198"/>
              <a:ext cx="45615" cy="114251"/>
            </a:xfrm>
            <a:prstGeom prst="upArrow">
              <a:avLst>
                <a:gd name="adj1" fmla="val 42308"/>
                <a:gd name="adj2" fmla="val 78000"/>
              </a:avLst>
            </a:prstGeom>
            <a:solidFill>
              <a:schemeClr val="accent1"/>
            </a:solidFill>
            <a:ln w="19050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US" sz="1000" dirty="0"/>
            </a:p>
          </p:txBody>
        </p:sp>
        <p:pic>
          <p:nvPicPr>
            <p:cNvPr id="68" name="Picture 67" descr="exadata_x5_2_stor-serv-hc_la1.png">
              <a:extLst>
                <a:ext uri="{FF2B5EF4-FFF2-40B4-BE49-F238E27FC236}">
                  <a16:creationId xmlns:a16="http://schemas.microsoft.com/office/drawing/2014/main" id="{E09D4E95-DEA5-7B4D-A615-CA7702D9ACE9}"/>
                </a:ext>
              </a:extLst>
            </p:cNvPr>
            <p:cNvPicPr>
              <a:picLocks noChangeAspect="1"/>
            </p:cNvPicPr>
            <p:nvPr/>
          </p:nvPicPr>
          <p:blipFill>
            <a:blip r:embed="rId18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0416195" y="1547490"/>
              <a:ext cx="698907" cy="128910"/>
            </a:xfrm>
            <a:prstGeom prst="rect">
              <a:avLst/>
            </a:prstGeom>
          </p:spPr>
        </p:pic>
        <p:sp>
          <p:nvSpPr>
            <p:cNvPr id="69" name="Down Arrow 68">
              <a:extLst>
                <a:ext uri="{FF2B5EF4-FFF2-40B4-BE49-F238E27FC236}">
                  <a16:creationId xmlns:a16="http://schemas.microsoft.com/office/drawing/2014/main" id="{BCCA9129-C8DA-DC49-88D0-624573E8249F}"/>
                </a:ext>
              </a:extLst>
            </p:cNvPr>
            <p:cNvSpPr/>
            <p:nvPr/>
          </p:nvSpPr>
          <p:spPr>
            <a:xfrm>
              <a:off x="10472922" y="1436820"/>
              <a:ext cx="142373" cy="163380"/>
            </a:xfrm>
            <a:prstGeom prst="downArrow">
              <a:avLst>
                <a:gd name="adj1" fmla="val 50000"/>
                <a:gd name="adj2" fmla="val 63115"/>
              </a:avLst>
            </a:prstGeom>
            <a:solidFill>
              <a:srgbClr val="C74634"/>
            </a:solidFill>
            <a:ln w="19050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18288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80000"/>
                </a:lnSpc>
              </a:pPr>
              <a:endParaRPr lang="en-US" sz="1000" b="1" dirty="0"/>
            </a:p>
          </p:txBody>
        </p:sp>
        <p:grpSp>
          <p:nvGrpSpPr>
            <p:cNvPr id="72" name="Group 97">
              <a:extLst>
                <a:ext uri="{FF2B5EF4-FFF2-40B4-BE49-F238E27FC236}">
                  <a16:creationId xmlns:a16="http://schemas.microsoft.com/office/drawing/2014/main" id="{F62C5CE7-135D-E745-94EC-F21FBB9F6BFF}"/>
                </a:ext>
              </a:extLst>
            </p:cNvPr>
            <p:cNvGrpSpPr/>
            <p:nvPr/>
          </p:nvGrpSpPr>
          <p:grpSpPr>
            <a:xfrm>
              <a:off x="10381361" y="4472920"/>
              <a:ext cx="265635" cy="432943"/>
              <a:chOff x="2167096" y="5082988"/>
              <a:chExt cx="366267" cy="596955"/>
            </a:xfrm>
          </p:grpSpPr>
          <p:pic>
            <p:nvPicPr>
              <p:cNvPr id="83" name="Picture 82" descr="db-blue.png">
                <a:extLst>
                  <a:ext uri="{FF2B5EF4-FFF2-40B4-BE49-F238E27FC236}">
                    <a16:creationId xmlns:a16="http://schemas.microsoft.com/office/drawing/2014/main" id="{C4F25166-19B9-F24C-A221-1BA67F17675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9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2167096" y="5313677"/>
                <a:ext cx="366267" cy="366266"/>
              </a:xfrm>
              <a:prstGeom prst="rect">
                <a:avLst/>
              </a:prstGeom>
            </p:spPr>
          </p:pic>
          <p:pic>
            <p:nvPicPr>
              <p:cNvPr id="84" name="Picture 83" descr="gauge-level-5.png">
                <a:extLst>
                  <a:ext uri="{FF2B5EF4-FFF2-40B4-BE49-F238E27FC236}">
                    <a16:creationId xmlns:a16="http://schemas.microsoft.com/office/drawing/2014/main" id="{3409BEBD-1203-AD40-AB79-3DDB981B8F9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0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2230278" y="5376858"/>
                <a:ext cx="239904" cy="239904"/>
              </a:xfrm>
              <a:prstGeom prst="rect">
                <a:avLst/>
              </a:prstGeom>
            </p:spPr>
          </p:pic>
          <p:sp>
            <p:nvSpPr>
              <p:cNvPr id="85" name="Down Arrow 84">
                <a:extLst>
                  <a:ext uri="{FF2B5EF4-FFF2-40B4-BE49-F238E27FC236}">
                    <a16:creationId xmlns:a16="http://schemas.microsoft.com/office/drawing/2014/main" id="{60D13EC9-B071-F148-9B96-C2463B9FC1DE}"/>
                  </a:ext>
                </a:extLst>
              </p:cNvPr>
              <p:cNvSpPr/>
              <p:nvPr/>
            </p:nvSpPr>
            <p:spPr>
              <a:xfrm>
                <a:off x="2281232" y="5187775"/>
                <a:ext cx="137995" cy="177251"/>
              </a:xfrm>
              <a:prstGeom prst="downArrow">
                <a:avLst>
                  <a:gd name="adj1" fmla="val 50000"/>
                  <a:gd name="adj2" fmla="val 74194"/>
                </a:avLst>
              </a:prstGeom>
              <a:solidFill>
                <a:srgbClr val="C74634"/>
              </a:solidFill>
              <a:ln w="19050">
                <a:noFill/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lnSpc>
                    <a:spcPct val="90000"/>
                  </a:lnSpc>
                </a:pPr>
                <a:endParaRPr lang="en-US" sz="900" b="1" dirty="0"/>
              </a:p>
            </p:txBody>
          </p:sp>
          <p:sp>
            <p:nvSpPr>
              <p:cNvPr id="86" name="TextBox 85">
                <a:extLst>
                  <a:ext uri="{FF2B5EF4-FFF2-40B4-BE49-F238E27FC236}">
                    <a16:creationId xmlns:a16="http://schemas.microsoft.com/office/drawing/2014/main" id="{2871E20B-7C90-7145-B098-9FB2CC9A33A5}"/>
                  </a:ext>
                </a:extLst>
              </p:cNvPr>
              <p:cNvSpPr txBox="1"/>
              <p:nvPr/>
            </p:nvSpPr>
            <p:spPr>
              <a:xfrm>
                <a:off x="2217638" y="5082988"/>
                <a:ext cx="259997" cy="141816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noAutofit/>
              </a:bodyPr>
              <a:lstStyle/>
              <a:p>
                <a:pPr algn="ctr">
                  <a:lnSpc>
                    <a:spcPct val="90000"/>
                  </a:lnSpc>
                </a:pPr>
                <a:r>
                  <a:rPr lang="en-US" sz="700" b="1" dirty="0">
                    <a:solidFill>
                      <a:srgbClr val="C74634"/>
                    </a:solidFill>
                  </a:rPr>
                  <a:t>I/O</a:t>
                </a:r>
              </a:p>
            </p:txBody>
          </p:sp>
        </p:grpSp>
        <p:grpSp>
          <p:nvGrpSpPr>
            <p:cNvPr id="73" name="Group 102">
              <a:extLst>
                <a:ext uri="{FF2B5EF4-FFF2-40B4-BE49-F238E27FC236}">
                  <a16:creationId xmlns:a16="http://schemas.microsoft.com/office/drawing/2014/main" id="{4260CA29-2679-C642-977A-981A04CACEEE}"/>
                </a:ext>
              </a:extLst>
            </p:cNvPr>
            <p:cNvGrpSpPr/>
            <p:nvPr/>
          </p:nvGrpSpPr>
          <p:grpSpPr>
            <a:xfrm>
              <a:off x="10633333" y="4479422"/>
              <a:ext cx="264632" cy="432091"/>
              <a:chOff x="2598503" y="5082988"/>
              <a:chExt cx="364884" cy="595781"/>
            </a:xfrm>
          </p:grpSpPr>
          <p:pic>
            <p:nvPicPr>
              <p:cNvPr id="79" name="Picture 78" descr="db-orange.png">
                <a:extLst>
                  <a:ext uri="{FF2B5EF4-FFF2-40B4-BE49-F238E27FC236}">
                    <a16:creationId xmlns:a16="http://schemas.microsoft.com/office/drawing/2014/main" id="{020A9542-E7A0-A440-A3C8-CE1AC75C291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1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2598503" y="5313885"/>
                <a:ext cx="364884" cy="364884"/>
              </a:xfrm>
              <a:prstGeom prst="rect">
                <a:avLst/>
              </a:prstGeom>
            </p:spPr>
          </p:pic>
          <p:pic>
            <p:nvPicPr>
              <p:cNvPr id="80" name="Picture 79" descr="gauge-level-1.png">
                <a:extLst>
                  <a:ext uri="{FF2B5EF4-FFF2-40B4-BE49-F238E27FC236}">
                    <a16:creationId xmlns:a16="http://schemas.microsoft.com/office/drawing/2014/main" id="{B5CA4519-F72A-0F47-8502-74A0E3EEEA5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2660646" y="5376027"/>
                <a:ext cx="240599" cy="240599"/>
              </a:xfrm>
              <a:prstGeom prst="rect">
                <a:avLst/>
              </a:prstGeom>
            </p:spPr>
          </p:pic>
          <p:sp>
            <p:nvSpPr>
              <p:cNvPr id="81" name="Down Arrow 80">
                <a:extLst>
                  <a:ext uri="{FF2B5EF4-FFF2-40B4-BE49-F238E27FC236}">
                    <a16:creationId xmlns:a16="http://schemas.microsoft.com/office/drawing/2014/main" id="{0FBC86EA-EB81-9844-9EB1-D5CC1C069C79}"/>
                  </a:ext>
                </a:extLst>
              </p:cNvPr>
              <p:cNvSpPr/>
              <p:nvPr/>
            </p:nvSpPr>
            <p:spPr>
              <a:xfrm>
                <a:off x="2741122" y="5187775"/>
                <a:ext cx="79646" cy="177251"/>
              </a:xfrm>
              <a:prstGeom prst="downArrow">
                <a:avLst>
                  <a:gd name="adj1" fmla="val 29167"/>
                  <a:gd name="adj2" fmla="val 93311"/>
                </a:avLst>
              </a:prstGeom>
              <a:solidFill>
                <a:srgbClr val="C74634"/>
              </a:solidFill>
              <a:ln w="19050">
                <a:noFill/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lnSpc>
                    <a:spcPct val="90000"/>
                  </a:lnSpc>
                </a:pPr>
                <a:endParaRPr lang="en-US" sz="900" b="1" dirty="0"/>
              </a:p>
            </p:txBody>
          </p:sp>
          <p:sp>
            <p:nvSpPr>
              <p:cNvPr id="82" name="TextBox 81">
                <a:extLst>
                  <a:ext uri="{FF2B5EF4-FFF2-40B4-BE49-F238E27FC236}">
                    <a16:creationId xmlns:a16="http://schemas.microsoft.com/office/drawing/2014/main" id="{80FACEBD-A544-C74E-8162-5C34FB46FC58}"/>
                  </a:ext>
                </a:extLst>
              </p:cNvPr>
              <p:cNvSpPr txBox="1"/>
              <p:nvPr/>
            </p:nvSpPr>
            <p:spPr>
              <a:xfrm>
                <a:off x="2650947" y="5082988"/>
                <a:ext cx="259997" cy="141816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noAutofit/>
              </a:bodyPr>
              <a:lstStyle/>
              <a:p>
                <a:pPr algn="ctr">
                  <a:lnSpc>
                    <a:spcPct val="90000"/>
                  </a:lnSpc>
                </a:pPr>
                <a:r>
                  <a:rPr lang="en-US" sz="700" b="1" dirty="0">
                    <a:solidFill>
                      <a:srgbClr val="C74634"/>
                    </a:solidFill>
                  </a:rPr>
                  <a:t>I/O</a:t>
                </a:r>
              </a:p>
            </p:txBody>
          </p:sp>
        </p:grpSp>
        <p:grpSp>
          <p:nvGrpSpPr>
            <p:cNvPr id="74" name="Group 101">
              <a:extLst>
                <a:ext uri="{FF2B5EF4-FFF2-40B4-BE49-F238E27FC236}">
                  <a16:creationId xmlns:a16="http://schemas.microsoft.com/office/drawing/2014/main" id="{91EA61FB-968F-1F4F-96C1-A9262507958F}"/>
                </a:ext>
              </a:extLst>
            </p:cNvPr>
            <p:cNvGrpSpPr/>
            <p:nvPr/>
          </p:nvGrpSpPr>
          <p:grpSpPr>
            <a:xfrm>
              <a:off x="10884303" y="4472920"/>
              <a:ext cx="265635" cy="432943"/>
              <a:chOff x="3012974" y="5082988"/>
              <a:chExt cx="366267" cy="596955"/>
            </a:xfrm>
          </p:grpSpPr>
          <p:pic>
            <p:nvPicPr>
              <p:cNvPr id="75" name="Picture 74" descr="db-gray.png">
                <a:extLst>
                  <a:ext uri="{FF2B5EF4-FFF2-40B4-BE49-F238E27FC236}">
                    <a16:creationId xmlns:a16="http://schemas.microsoft.com/office/drawing/2014/main" id="{FE1CF7C0-46CC-AC4F-86F9-ABCEF00A3EF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3" cstate="email">
                <a:duotone>
                  <a:prstClr val="black"/>
                  <a:srgbClr val="7030A0">
                    <a:tint val="45000"/>
                    <a:satMod val="400000"/>
                  </a:srgbClr>
                </a:duotone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3012974" y="5313677"/>
                <a:ext cx="366267" cy="366266"/>
              </a:xfrm>
              <a:prstGeom prst="rect">
                <a:avLst/>
              </a:prstGeom>
            </p:spPr>
          </p:pic>
          <p:pic>
            <p:nvPicPr>
              <p:cNvPr id="76" name="Picture 75" descr="gauge-level-8.png">
                <a:extLst>
                  <a:ext uri="{FF2B5EF4-FFF2-40B4-BE49-F238E27FC236}">
                    <a16:creationId xmlns:a16="http://schemas.microsoft.com/office/drawing/2014/main" id="{B6711149-6980-8F44-8ECD-729B76EB855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4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3075873" y="5376575"/>
                <a:ext cx="240470" cy="240469"/>
              </a:xfrm>
              <a:prstGeom prst="rect">
                <a:avLst/>
              </a:prstGeom>
            </p:spPr>
          </p:pic>
          <p:sp>
            <p:nvSpPr>
              <p:cNvPr id="77" name="Down Arrow 76">
                <a:extLst>
                  <a:ext uri="{FF2B5EF4-FFF2-40B4-BE49-F238E27FC236}">
                    <a16:creationId xmlns:a16="http://schemas.microsoft.com/office/drawing/2014/main" id="{CF4A3F40-296B-D644-B0BC-18AACFEA9C40}"/>
                  </a:ext>
                </a:extLst>
              </p:cNvPr>
              <p:cNvSpPr/>
              <p:nvPr/>
            </p:nvSpPr>
            <p:spPr>
              <a:xfrm>
                <a:off x="3056548" y="5187775"/>
                <a:ext cx="290423" cy="177251"/>
              </a:xfrm>
              <a:prstGeom prst="downArrow">
                <a:avLst>
                  <a:gd name="adj1" fmla="val 50000"/>
                  <a:gd name="adj2" fmla="val 50000"/>
                </a:avLst>
              </a:prstGeom>
              <a:solidFill>
                <a:srgbClr val="C74634"/>
              </a:solidFill>
              <a:ln w="19050">
                <a:noFill/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lnSpc>
                    <a:spcPct val="90000"/>
                  </a:lnSpc>
                </a:pPr>
                <a:endParaRPr lang="en-US" sz="900" b="1" dirty="0"/>
              </a:p>
            </p:txBody>
          </p:sp>
          <p:sp>
            <p:nvSpPr>
              <p:cNvPr id="78" name="TextBox 77">
                <a:extLst>
                  <a:ext uri="{FF2B5EF4-FFF2-40B4-BE49-F238E27FC236}">
                    <a16:creationId xmlns:a16="http://schemas.microsoft.com/office/drawing/2014/main" id="{E446A1A1-31AF-1D4B-A6DA-61E228C5759F}"/>
                  </a:ext>
                </a:extLst>
              </p:cNvPr>
              <p:cNvSpPr txBox="1"/>
              <p:nvPr/>
            </p:nvSpPr>
            <p:spPr>
              <a:xfrm>
                <a:off x="3067749" y="5082988"/>
                <a:ext cx="259997" cy="141816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noAutofit/>
              </a:bodyPr>
              <a:lstStyle/>
              <a:p>
                <a:pPr algn="ctr">
                  <a:lnSpc>
                    <a:spcPct val="90000"/>
                  </a:lnSpc>
                </a:pPr>
                <a:r>
                  <a:rPr lang="en-US" sz="700" b="1" dirty="0">
                    <a:solidFill>
                      <a:srgbClr val="C74634"/>
                    </a:solidFill>
                  </a:rPr>
                  <a:t>I/O</a:t>
                </a:r>
              </a:p>
            </p:txBody>
          </p:sp>
        </p:grpSp>
        <p:cxnSp>
          <p:nvCxnSpPr>
            <p:cNvPr id="88" name="Straight Connector 87">
              <a:extLst>
                <a:ext uri="{FF2B5EF4-FFF2-40B4-BE49-F238E27FC236}">
                  <a16:creationId xmlns:a16="http://schemas.microsoft.com/office/drawing/2014/main" id="{0F06C719-FDF0-C649-B89A-7774035526ED}"/>
                </a:ext>
              </a:extLst>
            </p:cNvPr>
            <p:cNvCxnSpPr/>
            <p:nvPr/>
          </p:nvCxnSpPr>
          <p:spPr>
            <a:xfrm>
              <a:off x="10668956" y="5959738"/>
              <a:ext cx="0" cy="102758"/>
            </a:xfrm>
            <a:prstGeom prst="line">
              <a:avLst/>
            </a:prstGeom>
            <a:ln w="19050">
              <a:solidFill>
                <a:schemeClr val="accent5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9" name="Straight Connector 88">
              <a:extLst>
                <a:ext uri="{FF2B5EF4-FFF2-40B4-BE49-F238E27FC236}">
                  <a16:creationId xmlns:a16="http://schemas.microsoft.com/office/drawing/2014/main" id="{5B1235B6-B901-8740-8084-4363E5CB4E70}"/>
                </a:ext>
              </a:extLst>
            </p:cNvPr>
            <p:cNvCxnSpPr/>
            <p:nvPr/>
          </p:nvCxnSpPr>
          <p:spPr>
            <a:xfrm>
              <a:off x="10481311" y="5959738"/>
              <a:ext cx="0" cy="102758"/>
            </a:xfrm>
            <a:prstGeom prst="line">
              <a:avLst/>
            </a:prstGeom>
            <a:ln w="19050">
              <a:solidFill>
                <a:schemeClr val="accent5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90" name="Picture 89">
              <a:extLst>
                <a:ext uri="{FF2B5EF4-FFF2-40B4-BE49-F238E27FC236}">
                  <a16:creationId xmlns:a16="http://schemas.microsoft.com/office/drawing/2014/main" id="{8A12598F-3437-974B-A397-45BF0D9B702A}"/>
                </a:ext>
              </a:extLst>
            </p:cNvPr>
            <p:cNvPicPr>
              <a:picLocks noChangeAspect="1"/>
            </p:cNvPicPr>
            <p:nvPr/>
          </p:nvPicPr>
          <p:blipFill>
            <a:blip r:embed="rId25" cstate="email">
              <a:duotone>
                <a:prstClr val="black"/>
                <a:srgbClr val="0070C0">
                  <a:tint val="45000"/>
                  <a:satMod val="400000"/>
                </a:srgbClr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0366620" y="5996048"/>
              <a:ext cx="236259" cy="236258"/>
            </a:xfrm>
            <a:prstGeom prst="rect">
              <a:avLst/>
            </a:prstGeom>
          </p:spPr>
        </p:pic>
        <p:pic>
          <p:nvPicPr>
            <p:cNvPr id="91" name="Picture 90">
              <a:extLst>
                <a:ext uri="{FF2B5EF4-FFF2-40B4-BE49-F238E27FC236}">
                  <a16:creationId xmlns:a16="http://schemas.microsoft.com/office/drawing/2014/main" id="{ECCD82B2-7DD3-C344-8C18-10C291FB66E9}"/>
                </a:ext>
              </a:extLst>
            </p:cNvPr>
            <p:cNvPicPr>
              <a:picLocks noChangeAspect="1"/>
            </p:cNvPicPr>
            <p:nvPr/>
          </p:nvPicPr>
          <p:blipFill>
            <a:blip r:embed="rId25" cstate="email">
              <a:duotone>
                <a:prstClr val="black"/>
                <a:srgbClr val="0070C0">
                  <a:tint val="45000"/>
                  <a:satMod val="400000"/>
                </a:srgbClr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0554655" y="5996551"/>
              <a:ext cx="236259" cy="236258"/>
            </a:xfrm>
            <a:prstGeom prst="rect">
              <a:avLst/>
            </a:prstGeom>
          </p:spPr>
        </p:pic>
        <p:cxnSp>
          <p:nvCxnSpPr>
            <p:cNvPr id="92" name="Straight Connector 91">
              <a:extLst>
                <a:ext uri="{FF2B5EF4-FFF2-40B4-BE49-F238E27FC236}">
                  <a16:creationId xmlns:a16="http://schemas.microsoft.com/office/drawing/2014/main" id="{DB8E6C00-98C7-D44F-BCB8-5B76CF95FF80}"/>
                </a:ext>
              </a:extLst>
            </p:cNvPr>
            <p:cNvCxnSpPr/>
            <p:nvPr/>
          </p:nvCxnSpPr>
          <p:spPr>
            <a:xfrm>
              <a:off x="10856501" y="5959738"/>
              <a:ext cx="0" cy="102758"/>
            </a:xfrm>
            <a:prstGeom prst="line">
              <a:avLst/>
            </a:prstGeom>
            <a:ln w="19050">
              <a:solidFill>
                <a:schemeClr val="accent5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93" name="Picture 92">
              <a:extLst>
                <a:ext uri="{FF2B5EF4-FFF2-40B4-BE49-F238E27FC236}">
                  <a16:creationId xmlns:a16="http://schemas.microsoft.com/office/drawing/2014/main" id="{B0AFFF74-DCB6-E444-B216-2896AAFD25B8}"/>
                </a:ext>
              </a:extLst>
            </p:cNvPr>
            <p:cNvPicPr>
              <a:picLocks noChangeAspect="1"/>
            </p:cNvPicPr>
            <p:nvPr/>
          </p:nvPicPr>
          <p:blipFill>
            <a:blip r:embed="rId25" cstate="email">
              <a:duotone>
                <a:prstClr val="black"/>
                <a:srgbClr val="0070C0">
                  <a:tint val="45000"/>
                  <a:satMod val="400000"/>
                </a:srgbClr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0741809" y="5996047"/>
              <a:ext cx="236259" cy="236258"/>
            </a:xfrm>
            <a:prstGeom prst="rect">
              <a:avLst/>
            </a:prstGeom>
          </p:spPr>
        </p:pic>
        <p:cxnSp>
          <p:nvCxnSpPr>
            <p:cNvPr id="94" name="Straight Connector 93">
              <a:extLst>
                <a:ext uri="{FF2B5EF4-FFF2-40B4-BE49-F238E27FC236}">
                  <a16:creationId xmlns:a16="http://schemas.microsoft.com/office/drawing/2014/main" id="{A31BE04F-62E4-244C-89E6-8BB4E9EC2C57}"/>
                </a:ext>
              </a:extLst>
            </p:cNvPr>
            <p:cNvCxnSpPr/>
            <p:nvPr/>
          </p:nvCxnSpPr>
          <p:spPr>
            <a:xfrm>
              <a:off x="11043110" y="5959738"/>
              <a:ext cx="0" cy="102758"/>
            </a:xfrm>
            <a:prstGeom prst="line">
              <a:avLst/>
            </a:prstGeom>
            <a:ln w="19050">
              <a:solidFill>
                <a:schemeClr val="accent5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95" name="Picture 94">
              <a:extLst>
                <a:ext uri="{FF2B5EF4-FFF2-40B4-BE49-F238E27FC236}">
                  <a16:creationId xmlns:a16="http://schemas.microsoft.com/office/drawing/2014/main" id="{6CF5E4AC-6C2A-9E42-8D31-BF08C4DDA9C5}"/>
                </a:ext>
              </a:extLst>
            </p:cNvPr>
            <p:cNvPicPr>
              <a:picLocks noChangeAspect="1"/>
            </p:cNvPicPr>
            <p:nvPr/>
          </p:nvPicPr>
          <p:blipFill>
            <a:blip r:embed="rId25" cstate="email">
              <a:duotone>
                <a:prstClr val="black"/>
                <a:srgbClr val="0070C0">
                  <a:tint val="45000"/>
                  <a:satMod val="400000"/>
                </a:srgbClr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0928419" y="5996048"/>
              <a:ext cx="236259" cy="236258"/>
            </a:xfrm>
            <a:prstGeom prst="rect">
              <a:avLst/>
            </a:prstGeom>
          </p:spPr>
        </p:pic>
        <p:sp>
          <p:nvSpPr>
            <p:cNvPr id="96" name="Left-Right Arrow 95">
              <a:extLst>
                <a:ext uri="{FF2B5EF4-FFF2-40B4-BE49-F238E27FC236}">
                  <a16:creationId xmlns:a16="http://schemas.microsoft.com/office/drawing/2014/main" id="{10A7B215-B9D1-6F4E-BE66-DA2A1E8CB6AB}"/>
                </a:ext>
              </a:extLst>
            </p:cNvPr>
            <p:cNvSpPr/>
            <p:nvPr/>
          </p:nvSpPr>
          <p:spPr>
            <a:xfrm>
              <a:off x="10396951" y="5900387"/>
              <a:ext cx="737396" cy="96481"/>
            </a:xfrm>
            <a:prstGeom prst="leftRightArrow">
              <a:avLst/>
            </a:prstGeom>
            <a:solidFill>
              <a:srgbClr val="C74634"/>
            </a:solidFill>
            <a:ln w="19050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US" dirty="0"/>
            </a:p>
          </p:txBody>
        </p:sp>
        <p:sp>
          <p:nvSpPr>
            <p:cNvPr id="98" name="Rounded Rectangle 97">
              <a:extLst>
                <a:ext uri="{FF2B5EF4-FFF2-40B4-BE49-F238E27FC236}">
                  <a16:creationId xmlns:a16="http://schemas.microsoft.com/office/drawing/2014/main" id="{D38F9866-8F9B-FD44-B441-86B1575DD5A3}"/>
                </a:ext>
              </a:extLst>
            </p:cNvPr>
            <p:cNvSpPr/>
            <p:nvPr/>
          </p:nvSpPr>
          <p:spPr>
            <a:xfrm rot="5400000">
              <a:off x="10369192" y="3672939"/>
              <a:ext cx="354791" cy="161966"/>
            </a:xfrm>
            <a:prstGeom prst="roundRect">
              <a:avLst/>
            </a:prstGeom>
            <a:solidFill>
              <a:schemeClr val="accent5">
                <a:lumMod val="75000"/>
              </a:schemeClr>
            </a:solidFill>
            <a:ln w="19050">
              <a:solidFill>
                <a:schemeClr val="bg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US" dirty="0"/>
            </a:p>
          </p:txBody>
        </p:sp>
        <p:grpSp>
          <p:nvGrpSpPr>
            <p:cNvPr id="99" name="Group 17">
              <a:extLst>
                <a:ext uri="{FF2B5EF4-FFF2-40B4-BE49-F238E27FC236}">
                  <a16:creationId xmlns:a16="http://schemas.microsoft.com/office/drawing/2014/main" id="{54377B28-555B-B343-96DD-4011D29E2070}"/>
                </a:ext>
              </a:extLst>
            </p:cNvPr>
            <p:cNvGrpSpPr/>
            <p:nvPr/>
          </p:nvGrpSpPr>
          <p:grpSpPr>
            <a:xfrm rot="5400000">
              <a:off x="10417550" y="3720799"/>
              <a:ext cx="260457" cy="54783"/>
              <a:chOff x="7297782" y="5107578"/>
              <a:chExt cx="1149531" cy="200297"/>
            </a:xfrm>
          </p:grpSpPr>
          <p:sp>
            <p:nvSpPr>
              <p:cNvPr id="100" name="Rounded Rectangle 99">
                <a:extLst>
                  <a:ext uri="{FF2B5EF4-FFF2-40B4-BE49-F238E27FC236}">
                    <a16:creationId xmlns:a16="http://schemas.microsoft.com/office/drawing/2014/main" id="{DAD37AEF-FA4A-FE45-9EA4-5F0BB1025CF6}"/>
                  </a:ext>
                </a:extLst>
              </p:cNvPr>
              <p:cNvSpPr/>
              <p:nvPr/>
            </p:nvSpPr>
            <p:spPr>
              <a:xfrm>
                <a:off x="7297782" y="5107578"/>
                <a:ext cx="330926" cy="200297"/>
              </a:xfrm>
              <a:prstGeom prst="roundRect">
                <a:avLst/>
              </a:prstGeom>
              <a:solidFill>
                <a:srgbClr val="C74634"/>
              </a:solidFill>
              <a:ln w="19050">
                <a:solidFill>
                  <a:schemeClr val="bg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lnSpc>
                    <a:spcPct val="90000"/>
                  </a:lnSpc>
                </a:pPr>
                <a:endParaRPr lang="en-US" dirty="0"/>
              </a:p>
            </p:txBody>
          </p:sp>
          <p:sp>
            <p:nvSpPr>
              <p:cNvPr id="101" name="Rounded Rectangle 100">
                <a:extLst>
                  <a:ext uri="{FF2B5EF4-FFF2-40B4-BE49-F238E27FC236}">
                    <a16:creationId xmlns:a16="http://schemas.microsoft.com/office/drawing/2014/main" id="{D2370BD5-989C-5347-9F9D-C1D2EC5B0FD9}"/>
                  </a:ext>
                </a:extLst>
              </p:cNvPr>
              <p:cNvSpPr/>
              <p:nvPr/>
            </p:nvSpPr>
            <p:spPr>
              <a:xfrm>
                <a:off x="7707084" y="5107578"/>
                <a:ext cx="330926" cy="200297"/>
              </a:xfrm>
              <a:prstGeom prst="roundRect">
                <a:avLst/>
              </a:prstGeom>
              <a:solidFill>
                <a:srgbClr val="C74634"/>
              </a:solidFill>
              <a:ln w="19050">
                <a:solidFill>
                  <a:schemeClr val="bg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lnSpc>
                    <a:spcPct val="90000"/>
                  </a:lnSpc>
                </a:pPr>
                <a:endParaRPr lang="en-US" dirty="0"/>
              </a:p>
            </p:txBody>
          </p:sp>
          <p:sp>
            <p:nvSpPr>
              <p:cNvPr id="102" name="Rounded Rectangle 101">
                <a:extLst>
                  <a:ext uri="{FF2B5EF4-FFF2-40B4-BE49-F238E27FC236}">
                    <a16:creationId xmlns:a16="http://schemas.microsoft.com/office/drawing/2014/main" id="{784C1D24-4AEE-2547-B067-A038FA4CF0DC}"/>
                  </a:ext>
                </a:extLst>
              </p:cNvPr>
              <p:cNvSpPr/>
              <p:nvPr/>
            </p:nvSpPr>
            <p:spPr>
              <a:xfrm>
                <a:off x="8116387" y="5107578"/>
                <a:ext cx="330926" cy="200297"/>
              </a:xfrm>
              <a:prstGeom prst="roundRect">
                <a:avLst/>
              </a:prstGeom>
              <a:solidFill>
                <a:srgbClr val="C74634"/>
              </a:solidFill>
              <a:ln w="19050">
                <a:solidFill>
                  <a:schemeClr val="bg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lnSpc>
                    <a:spcPct val="90000"/>
                  </a:lnSpc>
                </a:pPr>
                <a:endParaRPr lang="en-US" dirty="0"/>
              </a:p>
            </p:txBody>
          </p:sp>
        </p:grpSp>
        <p:sp>
          <p:nvSpPr>
            <p:cNvPr id="104" name="Rounded Rectangle 103">
              <a:extLst>
                <a:ext uri="{FF2B5EF4-FFF2-40B4-BE49-F238E27FC236}">
                  <a16:creationId xmlns:a16="http://schemas.microsoft.com/office/drawing/2014/main" id="{44298F00-0B3B-C947-ADDB-F3D76D55722B}"/>
                </a:ext>
              </a:extLst>
            </p:cNvPr>
            <p:cNvSpPr/>
            <p:nvPr/>
          </p:nvSpPr>
          <p:spPr>
            <a:xfrm rot="5400000">
              <a:off x="10587958" y="3675183"/>
              <a:ext cx="359279" cy="161966"/>
            </a:xfrm>
            <a:prstGeom prst="roundRect">
              <a:avLst/>
            </a:prstGeom>
            <a:solidFill>
              <a:schemeClr val="accent5">
                <a:lumMod val="75000"/>
              </a:schemeClr>
            </a:solidFill>
            <a:ln w="19050">
              <a:solidFill>
                <a:schemeClr val="bg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US" dirty="0"/>
            </a:p>
          </p:txBody>
        </p:sp>
        <p:grpSp>
          <p:nvGrpSpPr>
            <p:cNvPr id="105" name="Group 18">
              <a:extLst>
                <a:ext uri="{FF2B5EF4-FFF2-40B4-BE49-F238E27FC236}">
                  <a16:creationId xmlns:a16="http://schemas.microsoft.com/office/drawing/2014/main" id="{94D6CC60-82E5-054C-A06F-A2E8C6F7136F}"/>
                </a:ext>
              </a:extLst>
            </p:cNvPr>
            <p:cNvGrpSpPr/>
            <p:nvPr/>
          </p:nvGrpSpPr>
          <p:grpSpPr>
            <a:xfrm rot="5400000">
              <a:off x="10638560" y="3722505"/>
              <a:ext cx="260457" cy="54783"/>
              <a:chOff x="7297782" y="5107578"/>
              <a:chExt cx="1149531" cy="200297"/>
            </a:xfrm>
          </p:grpSpPr>
          <p:sp>
            <p:nvSpPr>
              <p:cNvPr id="106" name="Rounded Rectangle 105">
                <a:extLst>
                  <a:ext uri="{FF2B5EF4-FFF2-40B4-BE49-F238E27FC236}">
                    <a16:creationId xmlns:a16="http://schemas.microsoft.com/office/drawing/2014/main" id="{F9F4A7DB-C7E7-E045-A9CE-193F6BCB258B}"/>
                  </a:ext>
                </a:extLst>
              </p:cNvPr>
              <p:cNvSpPr/>
              <p:nvPr/>
            </p:nvSpPr>
            <p:spPr>
              <a:xfrm>
                <a:off x="7297782" y="5107578"/>
                <a:ext cx="330926" cy="200297"/>
              </a:xfrm>
              <a:prstGeom prst="roundRect">
                <a:avLst/>
              </a:prstGeom>
              <a:solidFill>
                <a:schemeClr val="accent3"/>
              </a:solidFill>
              <a:ln w="19050">
                <a:solidFill>
                  <a:schemeClr val="bg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lnSpc>
                    <a:spcPct val="90000"/>
                  </a:lnSpc>
                </a:pPr>
                <a:endParaRPr lang="en-US" dirty="0"/>
              </a:p>
            </p:txBody>
          </p:sp>
          <p:sp>
            <p:nvSpPr>
              <p:cNvPr id="107" name="Rounded Rectangle 106">
                <a:extLst>
                  <a:ext uri="{FF2B5EF4-FFF2-40B4-BE49-F238E27FC236}">
                    <a16:creationId xmlns:a16="http://schemas.microsoft.com/office/drawing/2014/main" id="{6F46FE55-481C-5940-91AF-87D4552A6DC2}"/>
                  </a:ext>
                </a:extLst>
              </p:cNvPr>
              <p:cNvSpPr/>
              <p:nvPr/>
            </p:nvSpPr>
            <p:spPr>
              <a:xfrm>
                <a:off x="7707084" y="5107578"/>
                <a:ext cx="330926" cy="200297"/>
              </a:xfrm>
              <a:prstGeom prst="roundRect">
                <a:avLst/>
              </a:prstGeom>
              <a:solidFill>
                <a:schemeClr val="accent3"/>
              </a:solidFill>
              <a:ln w="19050">
                <a:solidFill>
                  <a:schemeClr val="bg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lnSpc>
                    <a:spcPct val="90000"/>
                  </a:lnSpc>
                </a:pPr>
                <a:endParaRPr lang="en-US" dirty="0"/>
              </a:p>
            </p:txBody>
          </p:sp>
          <p:sp>
            <p:nvSpPr>
              <p:cNvPr id="108" name="Rounded Rectangle 107">
                <a:extLst>
                  <a:ext uri="{FF2B5EF4-FFF2-40B4-BE49-F238E27FC236}">
                    <a16:creationId xmlns:a16="http://schemas.microsoft.com/office/drawing/2014/main" id="{6E41D3E2-F089-3A49-A57E-27EA589631C4}"/>
                  </a:ext>
                </a:extLst>
              </p:cNvPr>
              <p:cNvSpPr/>
              <p:nvPr/>
            </p:nvSpPr>
            <p:spPr>
              <a:xfrm>
                <a:off x="8116387" y="5107578"/>
                <a:ext cx="330926" cy="200297"/>
              </a:xfrm>
              <a:prstGeom prst="roundRect">
                <a:avLst/>
              </a:prstGeom>
              <a:solidFill>
                <a:schemeClr val="accent3"/>
              </a:solidFill>
              <a:ln w="19050">
                <a:solidFill>
                  <a:schemeClr val="bg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lnSpc>
                    <a:spcPct val="90000"/>
                  </a:lnSpc>
                </a:pPr>
                <a:endParaRPr lang="en-US" dirty="0"/>
              </a:p>
            </p:txBody>
          </p:sp>
        </p:grpSp>
        <p:sp>
          <p:nvSpPr>
            <p:cNvPr id="110" name="Rounded Rectangle 109">
              <a:extLst>
                <a:ext uri="{FF2B5EF4-FFF2-40B4-BE49-F238E27FC236}">
                  <a16:creationId xmlns:a16="http://schemas.microsoft.com/office/drawing/2014/main" id="{353AB0C7-079C-394F-AE68-3F160C7BE0BA}"/>
                </a:ext>
              </a:extLst>
            </p:cNvPr>
            <p:cNvSpPr/>
            <p:nvPr/>
          </p:nvSpPr>
          <p:spPr>
            <a:xfrm rot="5400000">
              <a:off x="10805169" y="3678983"/>
              <a:ext cx="362982" cy="158068"/>
            </a:xfrm>
            <a:prstGeom prst="roundRect">
              <a:avLst/>
            </a:prstGeom>
            <a:solidFill>
              <a:schemeClr val="accent5">
                <a:lumMod val="75000"/>
              </a:schemeClr>
            </a:solidFill>
            <a:ln w="19050">
              <a:solidFill>
                <a:schemeClr val="bg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US" dirty="0"/>
            </a:p>
          </p:txBody>
        </p:sp>
        <p:grpSp>
          <p:nvGrpSpPr>
            <p:cNvPr id="111" name="Group 23">
              <a:extLst>
                <a:ext uri="{FF2B5EF4-FFF2-40B4-BE49-F238E27FC236}">
                  <a16:creationId xmlns:a16="http://schemas.microsoft.com/office/drawing/2014/main" id="{1BA86AF6-FD32-E941-A067-39FC8BB5AF35}"/>
                </a:ext>
              </a:extLst>
            </p:cNvPr>
            <p:cNvGrpSpPr/>
            <p:nvPr/>
          </p:nvGrpSpPr>
          <p:grpSpPr>
            <a:xfrm rot="5400000">
              <a:off x="10855783" y="3730122"/>
              <a:ext cx="264078" cy="53464"/>
              <a:chOff x="5241988" y="5313878"/>
              <a:chExt cx="1149530" cy="200298"/>
            </a:xfrm>
          </p:grpSpPr>
          <p:sp>
            <p:nvSpPr>
              <p:cNvPr id="112" name="Rounded Rectangle 111">
                <a:extLst>
                  <a:ext uri="{FF2B5EF4-FFF2-40B4-BE49-F238E27FC236}">
                    <a16:creationId xmlns:a16="http://schemas.microsoft.com/office/drawing/2014/main" id="{CE40D3CB-EF62-0940-BDEB-7D756C520D59}"/>
                  </a:ext>
                </a:extLst>
              </p:cNvPr>
              <p:cNvSpPr/>
              <p:nvPr/>
            </p:nvSpPr>
            <p:spPr>
              <a:xfrm>
                <a:off x="5241988" y="5313879"/>
                <a:ext cx="330925" cy="200297"/>
              </a:xfrm>
              <a:prstGeom prst="roundRect">
                <a:avLst/>
              </a:prstGeom>
              <a:solidFill>
                <a:schemeClr val="accent6">
                  <a:lumMod val="60000"/>
                  <a:lumOff val="40000"/>
                </a:schemeClr>
              </a:solidFill>
              <a:ln w="19050">
                <a:solidFill>
                  <a:schemeClr val="bg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lnSpc>
                    <a:spcPct val="90000"/>
                  </a:lnSpc>
                </a:pPr>
                <a:endParaRPr lang="en-US" dirty="0"/>
              </a:p>
            </p:txBody>
          </p:sp>
          <p:sp>
            <p:nvSpPr>
              <p:cNvPr id="113" name="Rounded Rectangle 112">
                <a:extLst>
                  <a:ext uri="{FF2B5EF4-FFF2-40B4-BE49-F238E27FC236}">
                    <a16:creationId xmlns:a16="http://schemas.microsoft.com/office/drawing/2014/main" id="{8026D69D-BCC0-4C4A-A9CB-19317E4CB2DF}"/>
                  </a:ext>
                </a:extLst>
              </p:cNvPr>
              <p:cNvSpPr/>
              <p:nvPr/>
            </p:nvSpPr>
            <p:spPr>
              <a:xfrm>
                <a:off x="5651288" y="5313878"/>
                <a:ext cx="330926" cy="200297"/>
              </a:xfrm>
              <a:prstGeom prst="roundRect">
                <a:avLst/>
              </a:prstGeom>
              <a:solidFill>
                <a:schemeClr val="accent6">
                  <a:lumMod val="60000"/>
                  <a:lumOff val="40000"/>
                </a:schemeClr>
              </a:solidFill>
              <a:ln w="19050">
                <a:solidFill>
                  <a:schemeClr val="bg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lnSpc>
                    <a:spcPct val="90000"/>
                  </a:lnSpc>
                </a:pPr>
                <a:endParaRPr lang="en-US" dirty="0"/>
              </a:p>
            </p:txBody>
          </p:sp>
          <p:sp>
            <p:nvSpPr>
              <p:cNvPr id="114" name="Rounded Rectangle 113">
                <a:extLst>
                  <a:ext uri="{FF2B5EF4-FFF2-40B4-BE49-F238E27FC236}">
                    <a16:creationId xmlns:a16="http://schemas.microsoft.com/office/drawing/2014/main" id="{9EE77E80-C4AC-FB4C-A83D-2A7CCFAF4A06}"/>
                  </a:ext>
                </a:extLst>
              </p:cNvPr>
              <p:cNvSpPr/>
              <p:nvPr/>
            </p:nvSpPr>
            <p:spPr>
              <a:xfrm>
                <a:off x="6060592" y="5313878"/>
                <a:ext cx="330926" cy="200297"/>
              </a:xfrm>
              <a:prstGeom prst="roundRect">
                <a:avLst/>
              </a:prstGeom>
              <a:solidFill>
                <a:schemeClr val="accent6">
                  <a:lumMod val="60000"/>
                  <a:lumOff val="40000"/>
                </a:schemeClr>
              </a:solidFill>
              <a:ln w="19050">
                <a:solidFill>
                  <a:schemeClr val="bg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lnSpc>
                    <a:spcPct val="90000"/>
                  </a:lnSpc>
                </a:pPr>
                <a:endParaRPr lang="en-US" dirty="0"/>
              </a:p>
            </p:txBody>
          </p:sp>
        </p:grpSp>
        <p:pic>
          <p:nvPicPr>
            <p:cNvPr id="115" name="Picture 3">
              <a:extLst>
                <a:ext uri="{FF2B5EF4-FFF2-40B4-BE49-F238E27FC236}">
                  <a16:creationId xmlns:a16="http://schemas.microsoft.com/office/drawing/2014/main" id="{022633E6-F6DC-8B48-A159-DFD5B7B21D5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2889" b="8222"/>
            <a:stretch>
              <a:fillRect/>
            </a:stretch>
          </p:blipFill>
          <p:spPr bwMode="auto">
            <a:xfrm>
              <a:off x="10336305" y="4974440"/>
              <a:ext cx="858689" cy="30197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17" name="Picture 116" descr="chip-dark.png">
              <a:extLst>
                <a:ext uri="{FF2B5EF4-FFF2-40B4-BE49-F238E27FC236}">
                  <a16:creationId xmlns:a16="http://schemas.microsoft.com/office/drawing/2014/main" id="{EB9CF8D4-3520-2142-9DA2-72CEF09A889F}"/>
                </a:ext>
              </a:extLst>
            </p:cNvPr>
            <p:cNvPicPr>
              <a:picLocks noChangeAspect="1"/>
            </p:cNvPicPr>
            <p:nvPr/>
          </p:nvPicPr>
          <p:blipFill>
            <a:blip r:embed="rId27" cstate="email">
              <a:duotone>
                <a:prstClr val="black"/>
                <a:srgbClr val="FFFF99">
                  <a:tint val="45000"/>
                  <a:satMod val="400000"/>
                </a:srgbClr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0564207" y="5382563"/>
              <a:ext cx="330572" cy="351139"/>
            </a:xfrm>
            <a:prstGeom prst="rect">
              <a:avLst/>
            </a:prstGeom>
          </p:spPr>
        </p:pic>
        <p:sp>
          <p:nvSpPr>
            <p:cNvPr id="118" name="Rounded Rectangle 117">
              <a:extLst>
                <a:ext uri="{FF2B5EF4-FFF2-40B4-BE49-F238E27FC236}">
                  <a16:creationId xmlns:a16="http://schemas.microsoft.com/office/drawing/2014/main" id="{A043897E-CB1F-5A41-8F3C-6327AFF25679}"/>
                </a:ext>
              </a:extLst>
            </p:cNvPr>
            <p:cNvSpPr/>
            <p:nvPr/>
          </p:nvSpPr>
          <p:spPr>
            <a:xfrm>
              <a:off x="10643692" y="5465579"/>
              <a:ext cx="171859" cy="184453"/>
            </a:xfrm>
            <a:prstGeom prst="roundRect">
              <a:avLst>
                <a:gd name="adj" fmla="val 6250"/>
              </a:avLst>
            </a:prstGeom>
            <a:solidFill>
              <a:srgbClr val="41555E"/>
            </a:solidFill>
            <a:ln w="19050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US" dirty="0"/>
            </a:p>
          </p:txBody>
        </p:sp>
        <p:pic>
          <p:nvPicPr>
            <p:cNvPr id="119" name="Picture 118" descr="table-column-2-blue.png">
              <a:extLst>
                <a:ext uri="{FF2B5EF4-FFF2-40B4-BE49-F238E27FC236}">
                  <a16:creationId xmlns:a16="http://schemas.microsoft.com/office/drawing/2014/main" id="{CA2003F6-44F2-7E43-8520-6151B9B4D415}"/>
                </a:ext>
              </a:extLst>
            </p:cNvPr>
            <p:cNvPicPr>
              <a:picLocks noChangeAspect="1"/>
            </p:cNvPicPr>
            <p:nvPr/>
          </p:nvPicPr>
          <p:blipFill>
            <a:blip r:embed="rId28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0647451" y="5482026"/>
              <a:ext cx="163188" cy="162301"/>
            </a:xfrm>
            <a:prstGeom prst="rect">
              <a:avLst/>
            </a:prstGeom>
          </p:spPr>
        </p:pic>
        <p:pic>
          <p:nvPicPr>
            <p:cNvPr id="121" name="Picture 120" descr="chip-dark.png">
              <a:extLst>
                <a:ext uri="{FF2B5EF4-FFF2-40B4-BE49-F238E27FC236}">
                  <a16:creationId xmlns:a16="http://schemas.microsoft.com/office/drawing/2014/main" id="{E3793D13-E5C7-6840-A535-2BEE94FB3CDD}"/>
                </a:ext>
              </a:extLst>
            </p:cNvPr>
            <p:cNvPicPr>
              <a:picLocks noChangeAspect="1"/>
            </p:cNvPicPr>
            <p:nvPr/>
          </p:nvPicPr>
          <p:blipFill>
            <a:blip r:embed="rId27" cstate="email">
              <a:duotone>
                <a:prstClr val="black"/>
                <a:srgbClr val="FFFF99">
                  <a:tint val="45000"/>
                  <a:satMod val="400000"/>
                </a:srgbClr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0636520" y="5459375"/>
              <a:ext cx="330572" cy="351139"/>
            </a:xfrm>
            <a:prstGeom prst="rect">
              <a:avLst/>
            </a:prstGeom>
          </p:spPr>
        </p:pic>
        <p:sp>
          <p:nvSpPr>
            <p:cNvPr id="122" name="Rounded Rectangle 121">
              <a:extLst>
                <a:ext uri="{FF2B5EF4-FFF2-40B4-BE49-F238E27FC236}">
                  <a16:creationId xmlns:a16="http://schemas.microsoft.com/office/drawing/2014/main" id="{AD8AFFB5-09B3-E94E-802F-8B32CE483688}"/>
                </a:ext>
              </a:extLst>
            </p:cNvPr>
            <p:cNvSpPr/>
            <p:nvPr/>
          </p:nvSpPr>
          <p:spPr>
            <a:xfrm>
              <a:off x="10716005" y="5542391"/>
              <a:ext cx="171859" cy="184453"/>
            </a:xfrm>
            <a:prstGeom prst="roundRect">
              <a:avLst>
                <a:gd name="adj" fmla="val 6250"/>
              </a:avLst>
            </a:prstGeom>
            <a:solidFill>
              <a:srgbClr val="41555E"/>
            </a:solidFill>
            <a:ln w="19050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US" dirty="0"/>
            </a:p>
          </p:txBody>
        </p:sp>
        <p:pic>
          <p:nvPicPr>
            <p:cNvPr id="123" name="Picture 122" descr="table-column-2-blue.png">
              <a:extLst>
                <a:ext uri="{FF2B5EF4-FFF2-40B4-BE49-F238E27FC236}">
                  <a16:creationId xmlns:a16="http://schemas.microsoft.com/office/drawing/2014/main" id="{3E03AA45-29D6-F841-BCC0-91AB3B465CFA}"/>
                </a:ext>
              </a:extLst>
            </p:cNvPr>
            <p:cNvPicPr>
              <a:picLocks noChangeAspect="1"/>
            </p:cNvPicPr>
            <p:nvPr/>
          </p:nvPicPr>
          <p:blipFill>
            <a:blip r:embed="rId28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0719764" y="5558838"/>
              <a:ext cx="163188" cy="162301"/>
            </a:xfrm>
            <a:prstGeom prst="rect">
              <a:avLst/>
            </a:prstGeom>
          </p:spPr>
        </p:pic>
        <p:pic>
          <p:nvPicPr>
            <p:cNvPr id="125" name="Picture 124">
              <a:extLst>
                <a:ext uri="{FF2B5EF4-FFF2-40B4-BE49-F238E27FC236}">
                  <a16:creationId xmlns:a16="http://schemas.microsoft.com/office/drawing/2014/main" id="{56A0E1AF-B13B-3345-859A-FDD33423F20F}"/>
                </a:ext>
              </a:extLst>
            </p:cNvPr>
            <p:cNvPicPr/>
            <p:nvPr/>
          </p:nvPicPr>
          <p:blipFill>
            <a:blip r:embed="rId29" cstate="email">
              <a:lum bright="3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0369648" y="2691156"/>
              <a:ext cx="792003" cy="346337"/>
            </a:xfrm>
            <a:prstGeom prst="rect">
              <a:avLst/>
            </a:prstGeom>
          </p:spPr>
        </p:pic>
        <p:sp>
          <p:nvSpPr>
            <p:cNvPr id="126" name="TextBox 125">
              <a:extLst>
                <a:ext uri="{FF2B5EF4-FFF2-40B4-BE49-F238E27FC236}">
                  <a16:creationId xmlns:a16="http://schemas.microsoft.com/office/drawing/2014/main" id="{05FB4D63-F629-D046-A684-B8CD19F386BC}"/>
                </a:ext>
              </a:extLst>
            </p:cNvPr>
            <p:cNvSpPr txBox="1"/>
            <p:nvPr/>
          </p:nvSpPr>
          <p:spPr>
            <a:xfrm>
              <a:off x="10465224" y="2746064"/>
              <a:ext cx="696257" cy="210305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pPr>
                <a:lnSpc>
                  <a:spcPct val="90000"/>
                </a:lnSpc>
              </a:pPr>
              <a:r>
                <a:rPr lang="en-US" sz="1200" b="1" dirty="0">
                  <a:solidFill>
                    <a:schemeClr val="bg1"/>
                  </a:solidFill>
                </a:rPr>
                <a:t>PCI Flash</a:t>
              </a:r>
            </a:p>
          </p:txBody>
        </p:sp>
        <p:pic>
          <p:nvPicPr>
            <p:cNvPr id="127" name="Picture 126" descr="storage index.png">
              <a:extLst>
                <a:ext uri="{FF2B5EF4-FFF2-40B4-BE49-F238E27FC236}">
                  <a16:creationId xmlns:a16="http://schemas.microsoft.com/office/drawing/2014/main" id="{3D8504E1-63B1-8145-8A89-491038E87281}"/>
                </a:ext>
              </a:extLst>
            </p:cNvPr>
            <p:cNvPicPr>
              <a:picLocks noChangeAspect="1"/>
            </p:cNvPicPr>
            <p:nvPr/>
          </p:nvPicPr>
          <p:blipFill>
            <a:blip r:embed="rId30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0560669" y="3076799"/>
              <a:ext cx="409960" cy="409960"/>
            </a:xfrm>
            <a:prstGeom prst="rect">
              <a:avLst/>
            </a:prstGeom>
          </p:spPr>
        </p:pic>
        <p:pic>
          <p:nvPicPr>
            <p:cNvPr id="129" name="Picture 128" descr="A close up of a logo&#10;&#10;Description automatically generated">
              <a:extLst>
                <a:ext uri="{FF2B5EF4-FFF2-40B4-BE49-F238E27FC236}">
                  <a16:creationId xmlns:a16="http://schemas.microsoft.com/office/drawing/2014/main" id="{999AA8FB-C082-6B40-9BD0-B833564DF444}"/>
                </a:ext>
              </a:extLst>
            </p:cNvPr>
            <p:cNvPicPr>
              <a:picLocks noChangeAspect="1"/>
            </p:cNvPicPr>
            <p:nvPr/>
          </p:nvPicPr>
          <p:blipFill>
            <a:blip r:embed="rId31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0497647" y="1651206"/>
              <a:ext cx="545463" cy="406194"/>
            </a:xfrm>
            <a:prstGeom prst="rect">
              <a:avLst/>
            </a:prstGeom>
          </p:spPr>
        </p:pic>
        <p:sp>
          <p:nvSpPr>
            <p:cNvPr id="130" name="TextBox 129">
              <a:extLst>
                <a:ext uri="{FF2B5EF4-FFF2-40B4-BE49-F238E27FC236}">
                  <a16:creationId xmlns:a16="http://schemas.microsoft.com/office/drawing/2014/main" id="{A5264269-A46E-C04D-917A-34C1D03EC76B}"/>
                </a:ext>
              </a:extLst>
            </p:cNvPr>
            <p:cNvSpPr txBox="1"/>
            <p:nvPr/>
          </p:nvSpPr>
          <p:spPr>
            <a:xfrm>
              <a:off x="10448866" y="1981200"/>
              <a:ext cx="784297" cy="317268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pPr>
                <a:lnSpc>
                  <a:spcPct val="90000"/>
                </a:lnSpc>
              </a:pPr>
              <a:r>
                <a:rPr lang="en-US" sz="1200" dirty="0">
                  <a:solidFill>
                    <a:srgbClr val="C74634"/>
                  </a:solidFill>
                </a:rPr>
                <a:t>100 Gbps</a:t>
              </a:r>
            </a:p>
          </p:txBody>
        </p:sp>
        <p:sp>
          <p:nvSpPr>
            <p:cNvPr id="131" name="Rectangle 130">
              <a:extLst>
                <a:ext uri="{FF2B5EF4-FFF2-40B4-BE49-F238E27FC236}">
                  <a16:creationId xmlns:a16="http://schemas.microsoft.com/office/drawing/2014/main" id="{67CB231A-45A2-5C46-AB61-9887909F6665}"/>
                </a:ext>
              </a:extLst>
            </p:cNvPr>
            <p:cNvSpPr/>
            <p:nvPr/>
          </p:nvSpPr>
          <p:spPr>
            <a:xfrm>
              <a:off x="8538654" y="2210345"/>
              <a:ext cx="1223284" cy="336823"/>
            </a:xfrm>
            <a:prstGeom prst="rect">
              <a:avLst/>
            </a:prstGeom>
          </p:spPr>
          <p:txBody>
            <a:bodyPr wrap="none" lIns="0" tIns="0" rIns="0" bIns="0">
              <a:spAutoFit/>
            </a:bodyPr>
            <a:lstStyle/>
            <a:p>
              <a:pPr>
                <a:lnSpc>
                  <a:spcPct val="90000"/>
                </a:lnSpc>
              </a:pPr>
              <a:r>
                <a:rPr lang="en-US" sz="1200" b="1" dirty="0"/>
                <a:t>XRMEM</a:t>
              </a:r>
              <a:br>
                <a:rPr lang="en-US" sz="1200" b="1" dirty="0"/>
              </a:br>
              <a:r>
                <a:rPr lang="en-US" sz="1200" b="1" dirty="0"/>
                <a:t>Data Accelerator</a:t>
              </a:r>
            </a:p>
          </p:txBody>
        </p:sp>
        <p:pic>
          <p:nvPicPr>
            <p:cNvPr id="132" name="Picture 131">
              <a:extLst>
                <a:ext uri="{FF2B5EF4-FFF2-40B4-BE49-F238E27FC236}">
                  <a16:creationId xmlns:a16="http://schemas.microsoft.com/office/drawing/2014/main" id="{D92989FC-2836-A444-AF00-079FFB434A78}"/>
                </a:ext>
              </a:extLst>
            </p:cNvPr>
            <p:cNvPicPr>
              <a:picLocks noChangeAspect="1"/>
            </p:cNvPicPr>
            <p:nvPr/>
          </p:nvPicPr>
          <p:blipFill>
            <a:blip r:embed="rId3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0415637" y="2250813"/>
              <a:ext cx="683545" cy="251891"/>
            </a:xfrm>
            <a:prstGeom prst="rect">
              <a:avLst/>
            </a:prstGeom>
          </p:spPr>
        </p:pic>
      </p:grpSp>
      <p:sp>
        <p:nvSpPr>
          <p:cNvPr id="2" name="TextBox 1">
            <a:extLst>
              <a:ext uri="{FF2B5EF4-FFF2-40B4-BE49-F238E27FC236}">
                <a16:creationId xmlns:a16="http://schemas.microsoft.com/office/drawing/2014/main" id="{AECAECE5-1438-0B4A-B4AB-8C7A65A2D43B}"/>
              </a:ext>
            </a:extLst>
          </p:cNvPr>
          <p:cNvSpPr txBox="1"/>
          <p:nvPr/>
        </p:nvSpPr>
        <p:spPr>
          <a:xfrm>
            <a:off x="11812249" y="1334125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dirty="0"/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EB0E7AF4-4ED1-4F46-1D98-84C1D8B419DD}"/>
              </a:ext>
            </a:extLst>
          </p:cNvPr>
          <p:cNvPicPr>
            <a:picLocks noChangeAspect="1"/>
          </p:cNvPicPr>
          <p:nvPr/>
        </p:nvPicPr>
        <p:blipFill>
          <a:blip r:embed="rId3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59144" y="499197"/>
            <a:ext cx="4056958" cy="5795655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CAFB6595-5272-5997-EC8C-9DE5BA47FCA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10415637" y="1321347"/>
            <a:ext cx="691444" cy="12645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Copyright © 2024, Oracle and/or its affiliates. All rights reserved   </a:t>
            </a:r>
            <a:endParaRPr lang="en-US" dirty="0"/>
          </a:p>
        </p:txBody>
      </p:sp>
      <p:sp>
        <p:nvSpPr>
          <p:cNvPr id="124" name="Rectangle 123">
            <a:extLst>
              <a:ext uri="{FF2B5EF4-FFF2-40B4-BE49-F238E27FC236}">
                <a16:creationId xmlns:a16="http://schemas.microsoft.com/office/drawing/2014/main" id="{7FBAE1F8-25AF-49C2-87A8-41FEDA082BCF}"/>
              </a:ext>
            </a:extLst>
          </p:cNvPr>
          <p:cNvSpPr/>
          <p:nvPr/>
        </p:nvSpPr>
        <p:spPr>
          <a:xfrm>
            <a:off x="8456061" y="1193814"/>
            <a:ext cx="2983862" cy="558519"/>
          </a:xfrm>
          <a:prstGeom prst="rect">
            <a:avLst/>
          </a:prstGeom>
          <a:noFill/>
          <a:ln w="12700">
            <a:solidFill>
              <a:srgbClr val="C74634"/>
            </a:solidFill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5D60D9-5372-5F40-9443-0F9AE5BDC3C8}" type="slidenum">
              <a:rPr lang="en-US" smtClean="0"/>
              <a:pPr/>
              <a:t>2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482244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4" grpId="0" animBg="1"/>
    </p:bld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B024BA12-4174-5B43-8206-FFE741DD8B17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766763" y="1332182"/>
            <a:ext cx="5443459" cy="4506912"/>
          </a:xfrm>
        </p:spPr>
        <p:txBody>
          <a:bodyPr>
            <a:normAutofit fontScale="85000" lnSpcReduction="20000"/>
          </a:bodyPr>
          <a:lstStyle/>
          <a:p>
            <a:pPr>
              <a:lnSpc>
                <a:spcPct val="120000"/>
              </a:lnSpc>
              <a:buClr>
                <a:schemeClr val="tx2"/>
              </a:buClr>
            </a:pPr>
            <a:r>
              <a:rPr lang="en-US" sz="1900" b="1" dirty="0">
                <a:solidFill>
                  <a:srgbClr val="2C5967"/>
                </a:solidFill>
              </a:rPr>
              <a:t>Unique:</a:t>
            </a:r>
            <a:r>
              <a:rPr lang="en-US" sz="1900" b="1" dirty="0"/>
              <a:t> Smart Scan (SQL Offload)</a:t>
            </a:r>
          </a:p>
          <a:p>
            <a:pPr marL="346075" lvl="1" indent="-173038">
              <a:lnSpc>
                <a:spcPct val="120000"/>
              </a:lnSpc>
            </a:pPr>
            <a:r>
              <a:rPr lang="en-US" dirty="0">
                <a:solidFill>
                  <a:schemeClr val="tx1">
                    <a:lumMod val="75000"/>
                    <a:lumOff val="25000"/>
                  </a:schemeClr>
                </a:solidFill>
              </a:rPr>
              <a:t>Data-intensive processing* runs in Exadata Storage, bypassing network bottlenecks and freeing up DB CPUs</a:t>
            </a:r>
          </a:p>
          <a:p>
            <a:pPr>
              <a:lnSpc>
                <a:spcPct val="120000"/>
              </a:lnSpc>
              <a:spcBef>
                <a:spcPts val="1200"/>
              </a:spcBef>
              <a:buClr>
                <a:schemeClr val="tx2"/>
              </a:buClr>
            </a:pPr>
            <a:r>
              <a:rPr lang="en-US" sz="1900" b="1" dirty="0">
                <a:solidFill>
                  <a:srgbClr val="2C5967"/>
                </a:solidFill>
              </a:rPr>
              <a:t>Unique: </a:t>
            </a:r>
            <a:r>
              <a:rPr lang="en-US" sz="1900" b="1" dirty="0"/>
              <a:t>Tiered Flash Cache</a:t>
            </a:r>
          </a:p>
          <a:p>
            <a:pPr marL="346075" lvl="1" indent="-173038">
              <a:lnSpc>
                <a:spcPct val="120000"/>
              </a:lnSpc>
              <a:buClr>
                <a:srgbClr val="000000"/>
              </a:buClr>
            </a:pPr>
            <a:r>
              <a:rPr lang="en-US" dirty="0">
                <a:solidFill>
                  <a:schemeClr val="tx1">
                    <a:lumMod val="75000"/>
                    <a:lumOff val="25000"/>
                  </a:schemeClr>
                </a:solidFill>
              </a:rPr>
              <a:t>Active data is automatically cached on PCI </a:t>
            </a:r>
            <a:r>
              <a:rPr lang="en-US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NVMe</a:t>
            </a:r>
            <a:r>
              <a:rPr lang="en-US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Flash, inactive data on low cost, high-capacity disks</a:t>
            </a:r>
          </a:p>
          <a:p>
            <a:pPr>
              <a:lnSpc>
                <a:spcPct val="120000"/>
              </a:lnSpc>
              <a:spcBef>
                <a:spcPts val="1200"/>
              </a:spcBef>
              <a:buClr>
                <a:schemeClr val="tx2"/>
              </a:buClr>
            </a:pPr>
            <a:r>
              <a:rPr lang="en-US" sz="1900" b="1" dirty="0">
                <a:solidFill>
                  <a:srgbClr val="2C5967"/>
                </a:solidFill>
              </a:rPr>
              <a:t>Unique: </a:t>
            </a:r>
            <a:r>
              <a:rPr lang="en-US" sz="1900" b="1" dirty="0"/>
              <a:t>Storage Indexes </a:t>
            </a:r>
          </a:p>
          <a:p>
            <a:pPr marL="346075" lvl="1" indent="-173038">
              <a:lnSpc>
                <a:spcPct val="120000"/>
              </a:lnSpc>
            </a:pPr>
            <a:r>
              <a:rPr lang="en-US" dirty="0">
                <a:solidFill>
                  <a:schemeClr val="tx1">
                    <a:lumMod val="75000"/>
                    <a:lumOff val="25000"/>
                  </a:schemeClr>
                </a:solidFill>
              </a:rPr>
              <a:t>Eliminates I/O not relevant to a particular query</a:t>
            </a:r>
          </a:p>
          <a:p>
            <a:pPr>
              <a:lnSpc>
                <a:spcPct val="120000"/>
              </a:lnSpc>
              <a:spcBef>
                <a:spcPts val="1200"/>
              </a:spcBef>
              <a:buClr>
                <a:schemeClr val="tx2"/>
              </a:buClr>
            </a:pPr>
            <a:r>
              <a:rPr lang="en-US" sz="1900" b="1" dirty="0">
                <a:solidFill>
                  <a:srgbClr val="2C5967"/>
                </a:solidFill>
              </a:rPr>
              <a:t>Unique: </a:t>
            </a:r>
            <a:r>
              <a:rPr lang="en-US" sz="1900" b="1" dirty="0"/>
              <a:t>Hybrid Columnar Compression (HCC) </a:t>
            </a:r>
          </a:p>
          <a:p>
            <a:pPr marL="346075" lvl="1" indent="-173038">
              <a:lnSpc>
                <a:spcPct val="120000"/>
              </a:lnSpc>
            </a:pPr>
            <a:r>
              <a:rPr lang="en-US" dirty="0">
                <a:solidFill>
                  <a:schemeClr val="tx1">
                    <a:lumMod val="75000"/>
                    <a:lumOff val="25000"/>
                  </a:schemeClr>
                </a:solidFill>
              </a:rPr>
              <a:t>Compressed, columnar format in storage, saving space, reducing I/O, speeding analytic queries</a:t>
            </a:r>
          </a:p>
          <a:p>
            <a:pPr>
              <a:lnSpc>
                <a:spcPct val="120000"/>
              </a:lnSpc>
              <a:spcBef>
                <a:spcPts val="1200"/>
              </a:spcBef>
              <a:buClr>
                <a:schemeClr val="tx2"/>
              </a:buClr>
            </a:pPr>
            <a:r>
              <a:rPr lang="en-US" sz="1900" b="1" dirty="0">
                <a:solidFill>
                  <a:srgbClr val="2C5967"/>
                </a:solidFill>
              </a:rPr>
              <a:t>Unique</a:t>
            </a:r>
            <a:r>
              <a:rPr lang="en-US" sz="1900" b="1" dirty="0"/>
              <a:t>: In-Memory Columnar (IMC) </a:t>
            </a:r>
          </a:p>
          <a:p>
            <a:pPr marL="346075" lvl="1" indent="-173038">
              <a:lnSpc>
                <a:spcPct val="120000"/>
              </a:lnSpc>
            </a:pPr>
            <a:r>
              <a:rPr lang="en-US" dirty="0">
                <a:solidFill>
                  <a:schemeClr val="tx1">
                    <a:lumMod val="75000"/>
                    <a:lumOff val="25000"/>
                  </a:schemeClr>
                </a:solidFill>
              </a:rPr>
              <a:t>Extends In-Memory database performance to higher capacity Flash memory in storage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DF8C37B-5CFB-4141-AE61-D61CD530F7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astest Cloud </a:t>
            </a:r>
            <a:r>
              <a:rPr lang="en-US" dirty="0" smtClean="0"/>
              <a:t>In Memory, Smart Scan and HCC </a:t>
            </a:r>
            <a:endParaRPr lang="en-US" dirty="0">
              <a:solidFill>
                <a:schemeClr val="accent1"/>
              </a:solidFill>
            </a:endParaRP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503B7B0C-4BED-44EC-984E-2FA705770187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1127760" y="6423660"/>
            <a:ext cx="3410787" cy="365125"/>
          </a:xfrm>
        </p:spPr>
        <p:txBody>
          <a:bodyPr/>
          <a:lstStyle/>
          <a:p>
            <a:r>
              <a:rPr lang="en-US" dirty="0" smtClean="0"/>
              <a:t>Copyright © 2024, Oracle and/or its affiliates. All rights reserved   </a:t>
            </a:r>
            <a:endParaRPr lang="en-US" dirty="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A0AD4BA1-F7A7-1D45-8A69-5851BE0CBB86}"/>
              </a:ext>
            </a:extLst>
          </p:cNvPr>
          <p:cNvSpPr/>
          <p:nvPr/>
        </p:nvSpPr>
        <p:spPr>
          <a:xfrm>
            <a:off x="7008857" y="3237422"/>
            <a:ext cx="3600546" cy="160428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Oracle Sans"/>
              <a:ea typeface="+mn-ea"/>
              <a:cs typeface="+mn-cs"/>
            </a:endParaRPr>
          </a:p>
        </p:txBody>
      </p:sp>
      <p:sp>
        <p:nvSpPr>
          <p:cNvPr id="67" name="Rectangle 66">
            <a:extLst>
              <a:ext uri="{FF2B5EF4-FFF2-40B4-BE49-F238E27FC236}">
                <a16:creationId xmlns:a16="http://schemas.microsoft.com/office/drawing/2014/main" id="{E99977A6-483B-2447-B4D3-AB7E677A8F4C}"/>
              </a:ext>
            </a:extLst>
          </p:cNvPr>
          <p:cNvSpPr/>
          <p:nvPr/>
        </p:nvSpPr>
        <p:spPr bwMode="gray">
          <a:xfrm>
            <a:off x="7015108" y="3237422"/>
            <a:ext cx="3600546" cy="276999"/>
          </a:xfrm>
          <a:prstGeom prst="rect">
            <a:avLst/>
          </a:prstGeom>
          <a:solidFill>
            <a:schemeClr val="tx1">
              <a:lumMod val="25000"/>
              <a:lumOff val="75000"/>
            </a:schemeClr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/>
              <a:t>Storage Index (DRAM)</a:t>
            </a:r>
          </a:p>
        </p:txBody>
      </p:sp>
      <p:sp>
        <p:nvSpPr>
          <p:cNvPr id="69" name="Rectangle 68">
            <a:extLst>
              <a:ext uri="{FF2B5EF4-FFF2-40B4-BE49-F238E27FC236}">
                <a16:creationId xmlns:a16="http://schemas.microsoft.com/office/drawing/2014/main" id="{EED6CA23-4649-0A42-A8BF-F22BC8293572}"/>
              </a:ext>
            </a:extLst>
          </p:cNvPr>
          <p:cNvSpPr/>
          <p:nvPr/>
        </p:nvSpPr>
        <p:spPr bwMode="gray">
          <a:xfrm>
            <a:off x="7015108" y="3547731"/>
            <a:ext cx="3600546" cy="276999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/>
              <a:t>PMEM Accelerator</a:t>
            </a:r>
          </a:p>
        </p:txBody>
      </p:sp>
      <p:sp>
        <p:nvSpPr>
          <p:cNvPr id="70" name="TextBox 69">
            <a:extLst>
              <a:ext uri="{FF2B5EF4-FFF2-40B4-BE49-F238E27FC236}">
                <a16:creationId xmlns:a16="http://schemas.microsoft.com/office/drawing/2014/main" id="{6A4B9111-A719-8C46-9F2F-291D73E2DCC5}"/>
              </a:ext>
            </a:extLst>
          </p:cNvPr>
          <p:cNvSpPr txBox="1"/>
          <p:nvPr/>
        </p:nvSpPr>
        <p:spPr>
          <a:xfrm>
            <a:off x="770301" y="6159581"/>
            <a:ext cx="5443459" cy="14927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racle Sans"/>
                <a:ea typeface="+mn-ea"/>
                <a:cs typeface="+mn-cs"/>
              </a:rPr>
              <a:t>*Includes long-running SQL queries, backups, decryption, aggregation, data mining  </a:t>
            </a:r>
          </a:p>
        </p:txBody>
      </p:sp>
      <p:sp>
        <p:nvSpPr>
          <p:cNvPr id="72" name="Rectangle 71">
            <a:extLst>
              <a:ext uri="{FF2B5EF4-FFF2-40B4-BE49-F238E27FC236}">
                <a16:creationId xmlns:a16="http://schemas.microsoft.com/office/drawing/2014/main" id="{BD6F7448-8403-9243-996D-066CC21523A6}"/>
              </a:ext>
            </a:extLst>
          </p:cNvPr>
          <p:cNvSpPr/>
          <p:nvPr/>
        </p:nvSpPr>
        <p:spPr bwMode="gray">
          <a:xfrm>
            <a:off x="7015108" y="3869076"/>
            <a:ext cx="3600546" cy="276999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rtlCol="0">
            <a:spAutoFit/>
          </a:bodyPr>
          <a:lstStyle/>
          <a:p>
            <a:pPr algn="ctr"/>
            <a:r>
              <a:rPr lang="en-US" sz="1200" b="1"/>
              <a:t>PCI NVMe</a:t>
            </a:r>
            <a:r>
              <a:rPr lang="en-US" sz="1200" b="1" dirty="0"/>
              <a:t> Flash</a:t>
            </a:r>
          </a:p>
        </p:txBody>
      </p:sp>
      <p:grpSp>
        <p:nvGrpSpPr>
          <p:cNvPr id="54" name="Group 53">
            <a:extLst>
              <a:ext uri="{FF2B5EF4-FFF2-40B4-BE49-F238E27FC236}">
                <a16:creationId xmlns:a16="http://schemas.microsoft.com/office/drawing/2014/main" id="{E4BF3D46-C0EF-8342-B0F6-FEDCE858575E}"/>
              </a:ext>
            </a:extLst>
          </p:cNvPr>
          <p:cNvGrpSpPr/>
          <p:nvPr/>
        </p:nvGrpSpPr>
        <p:grpSpPr>
          <a:xfrm>
            <a:off x="7245037" y="5278923"/>
            <a:ext cx="1117985" cy="844809"/>
            <a:chOff x="6886390" y="5283837"/>
            <a:chExt cx="1334633" cy="1008519"/>
          </a:xfrm>
        </p:grpSpPr>
        <p:grpSp>
          <p:nvGrpSpPr>
            <p:cNvPr id="55" name="Group 54">
              <a:extLst>
                <a:ext uri="{FF2B5EF4-FFF2-40B4-BE49-F238E27FC236}">
                  <a16:creationId xmlns:a16="http://schemas.microsoft.com/office/drawing/2014/main" id="{9523DFB1-F1DA-4040-B443-F778069CA02D}"/>
                </a:ext>
              </a:extLst>
            </p:cNvPr>
            <p:cNvGrpSpPr/>
            <p:nvPr/>
          </p:nvGrpSpPr>
          <p:grpSpPr>
            <a:xfrm>
              <a:off x="7355354" y="5283837"/>
              <a:ext cx="727226" cy="744663"/>
              <a:chOff x="8197572" y="5348780"/>
              <a:chExt cx="727226" cy="744663"/>
            </a:xfrm>
          </p:grpSpPr>
          <p:grpSp>
            <p:nvGrpSpPr>
              <p:cNvPr id="58" name="Group 57">
                <a:extLst>
                  <a:ext uri="{FF2B5EF4-FFF2-40B4-BE49-F238E27FC236}">
                    <a16:creationId xmlns:a16="http://schemas.microsoft.com/office/drawing/2014/main" id="{75A248EA-495D-B645-BA44-480AFE451841}"/>
                  </a:ext>
                </a:extLst>
              </p:cNvPr>
              <p:cNvGrpSpPr/>
              <p:nvPr/>
            </p:nvGrpSpPr>
            <p:grpSpPr>
              <a:xfrm>
                <a:off x="8340175" y="5532036"/>
                <a:ext cx="457200" cy="561407"/>
                <a:chOff x="5323562" y="5689081"/>
                <a:chExt cx="457200" cy="561407"/>
              </a:xfrm>
            </p:grpSpPr>
            <p:cxnSp>
              <p:nvCxnSpPr>
                <p:cNvPr id="60" name="Straight Connector 59">
                  <a:extLst>
                    <a:ext uri="{FF2B5EF4-FFF2-40B4-BE49-F238E27FC236}">
                      <a16:creationId xmlns:a16="http://schemas.microsoft.com/office/drawing/2014/main" id="{43D55A90-98B3-C24C-A5FA-A7C65DBCEDF1}"/>
                    </a:ext>
                  </a:extLst>
                </p:cNvPr>
                <p:cNvCxnSpPr/>
                <p:nvPr/>
              </p:nvCxnSpPr>
              <p:spPr>
                <a:xfrm>
                  <a:off x="5323562" y="5689081"/>
                  <a:ext cx="0" cy="445527"/>
                </a:xfrm>
                <a:prstGeom prst="line">
                  <a:avLst/>
                </a:prstGeom>
                <a:ln w="101600">
                  <a:solidFill>
                    <a:schemeClr val="tx1"/>
                  </a:solidFill>
                  <a:miter lim="800000"/>
                  <a:tailEnd type="non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1" name="Straight Connector 60">
                  <a:extLst>
                    <a:ext uri="{FF2B5EF4-FFF2-40B4-BE49-F238E27FC236}">
                      <a16:creationId xmlns:a16="http://schemas.microsoft.com/office/drawing/2014/main" id="{202D6A89-2F3B-7049-A43A-82D54A32B2F2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5475962" y="5689081"/>
                  <a:ext cx="0" cy="561407"/>
                </a:xfrm>
                <a:prstGeom prst="line">
                  <a:avLst/>
                </a:prstGeom>
                <a:ln w="101600">
                  <a:solidFill>
                    <a:schemeClr val="tx1"/>
                  </a:solidFill>
                  <a:miter lim="800000"/>
                  <a:tailEnd type="non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2" name="Straight Connector 61">
                  <a:extLst>
                    <a:ext uri="{FF2B5EF4-FFF2-40B4-BE49-F238E27FC236}">
                      <a16:creationId xmlns:a16="http://schemas.microsoft.com/office/drawing/2014/main" id="{3C07E447-9149-BC40-AD81-AB32993C22EC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5628362" y="5689081"/>
                  <a:ext cx="0" cy="260782"/>
                </a:xfrm>
                <a:prstGeom prst="line">
                  <a:avLst/>
                </a:prstGeom>
                <a:ln w="101600">
                  <a:solidFill>
                    <a:schemeClr val="tx1"/>
                  </a:solidFill>
                  <a:miter lim="800000"/>
                  <a:tailEnd type="non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3" name="Straight Connector 62">
                  <a:extLst>
                    <a:ext uri="{FF2B5EF4-FFF2-40B4-BE49-F238E27FC236}">
                      <a16:creationId xmlns:a16="http://schemas.microsoft.com/office/drawing/2014/main" id="{F38FF27A-D76F-FF47-AC9F-3EE98C4BCABF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5780762" y="5689081"/>
                  <a:ext cx="0" cy="348464"/>
                </a:xfrm>
                <a:prstGeom prst="line">
                  <a:avLst/>
                </a:prstGeom>
                <a:ln w="101600">
                  <a:solidFill>
                    <a:schemeClr val="tx1"/>
                  </a:solidFill>
                  <a:miter lim="800000"/>
                  <a:tailEnd type="non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sp>
            <p:nvSpPr>
              <p:cNvPr id="59" name="Left Brace 58">
                <a:extLst>
                  <a:ext uri="{FF2B5EF4-FFF2-40B4-BE49-F238E27FC236}">
                    <a16:creationId xmlns:a16="http://schemas.microsoft.com/office/drawing/2014/main" id="{58F0BE3F-6A7B-8B4B-B74E-126A56157FC2}"/>
                  </a:ext>
                </a:extLst>
              </p:cNvPr>
              <p:cNvSpPr/>
              <p:nvPr/>
            </p:nvSpPr>
            <p:spPr>
              <a:xfrm rot="5400000">
                <a:off x="8450768" y="5095584"/>
                <a:ext cx="220834" cy="727226"/>
              </a:xfrm>
              <a:prstGeom prst="leftBrace">
                <a:avLst/>
              </a:prstGeom>
              <a:ln w="19050">
                <a:solidFill>
                  <a:schemeClr val="accent1"/>
                </a:solidFill>
                <a:miter lim="800000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312D2A"/>
                  </a:solidFill>
                  <a:effectLst/>
                  <a:uLnTx/>
                  <a:uFillTx/>
                  <a:latin typeface="Oracle Sans"/>
                  <a:ea typeface="+mn-ea"/>
                  <a:cs typeface="+mn-cs"/>
                </a:endParaRPr>
              </a:p>
            </p:txBody>
          </p:sp>
        </p:grpSp>
        <p:sp>
          <p:nvSpPr>
            <p:cNvPr id="56" name="TextBox 55">
              <a:extLst>
                <a:ext uri="{FF2B5EF4-FFF2-40B4-BE49-F238E27FC236}">
                  <a16:creationId xmlns:a16="http://schemas.microsoft.com/office/drawing/2014/main" id="{36A60714-369C-8B4E-9A93-BCB062134FB8}"/>
                </a:ext>
              </a:extLst>
            </p:cNvPr>
            <p:cNvSpPr txBox="1"/>
            <p:nvPr/>
          </p:nvSpPr>
          <p:spPr>
            <a:xfrm>
              <a:off x="6886390" y="5628086"/>
              <a:ext cx="745693" cy="23767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312D2A"/>
                  </a:solidFill>
                  <a:effectLst/>
                  <a:uLnTx/>
                  <a:uFillTx/>
                  <a:latin typeface="Oracle Sans"/>
                  <a:ea typeface="+mn-ea"/>
                  <a:cs typeface="+mn-cs"/>
                </a:rPr>
                <a:t>HCC</a:t>
              </a:r>
            </a:p>
          </p:txBody>
        </p:sp>
        <p:sp>
          <p:nvSpPr>
            <p:cNvPr id="57" name="TextBox 56">
              <a:extLst>
                <a:ext uri="{FF2B5EF4-FFF2-40B4-BE49-F238E27FC236}">
                  <a16:creationId xmlns:a16="http://schemas.microsoft.com/office/drawing/2014/main" id="{69454D9D-E1E1-0B4E-A707-2D9A0DD993A2}"/>
                </a:ext>
              </a:extLst>
            </p:cNvPr>
            <p:cNvSpPr txBox="1"/>
            <p:nvPr/>
          </p:nvSpPr>
          <p:spPr>
            <a:xfrm>
              <a:off x="6886390" y="5928840"/>
              <a:ext cx="1334633" cy="36351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312D2A"/>
                  </a:solidFill>
                  <a:effectLst/>
                  <a:uLnTx/>
                  <a:uFillTx/>
                  <a:latin typeface="Oracle Sans"/>
                  <a:ea typeface="+mn-ea"/>
                  <a:cs typeface="+mn-cs"/>
                </a:rPr>
                <a:t>10:1 Compression</a:t>
              </a:r>
            </a:p>
          </p:txBody>
        </p:sp>
      </p:grpSp>
      <p:grpSp>
        <p:nvGrpSpPr>
          <p:cNvPr id="43" name="Group 42">
            <a:extLst>
              <a:ext uri="{FF2B5EF4-FFF2-40B4-BE49-F238E27FC236}">
                <a16:creationId xmlns:a16="http://schemas.microsoft.com/office/drawing/2014/main" id="{BF7B7695-DFB7-8149-8586-B9C3D56EA0E9}"/>
              </a:ext>
            </a:extLst>
          </p:cNvPr>
          <p:cNvGrpSpPr/>
          <p:nvPr/>
        </p:nvGrpSpPr>
        <p:grpSpPr>
          <a:xfrm>
            <a:off x="11079856" y="3950335"/>
            <a:ext cx="636901" cy="694569"/>
            <a:chOff x="10342300" y="3889469"/>
            <a:chExt cx="839918" cy="915968"/>
          </a:xfrm>
        </p:grpSpPr>
        <p:grpSp>
          <p:nvGrpSpPr>
            <p:cNvPr id="44" name="Group 43">
              <a:extLst>
                <a:ext uri="{FF2B5EF4-FFF2-40B4-BE49-F238E27FC236}">
                  <a16:creationId xmlns:a16="http://schemas.microsoft.com/office/drawing/2014/main" id="{E34DCBBD-D0B9-1542-B4F4-067442EEE357}"/>
                </a:ext>
              </a:extLst>
            </p:cNvPr>
            <p:cNvGrpSpPr/>
            <p:nvPr/>
          </p:nvGrpSpPr>
          <p:grpSpPr>
            <a:xfrm>
              <a:off x="10342300" y="4152098"/>
              <a:ext cx="699369" cy="653339"/>
              <a:chOff x="10342300" y="4152098"/>
              <a:chExt cx="699369" cy="653339"/>
            </a:xfrm>
          </p:grpSpPr>
          <p:grpSp>
            <p:nvGrpSpPr>
              <p:cNvPr id="46" name="Group 45">
                <a:extLst>
                  <a:ext uri="{FF2B5EF4-FFF2-40B4-BE49-F238E27FC236}">
                    <a16:creationId xmlns:a16="http://schemas.microsoft.com/office/drawing/2014/main" id="{4BB77988-5572-DA4F-BF9B-75525DD23CC7}"/>
                  </a:ext>
                </a:extLst>
              </p:cNvPr>
              <p:cNvGrpSpPr/>
              <p:nvPr/>
            </p:nvGrpSpPr>
            <p:grpSpPr>
              <a:xfrm>
                <a:off x="10584469" y="4223115"/>
                <a:ext cx="457200" cy="561407"/>
                <a:chOff x="5323562" y="5689081"/>
                <a:chExt cx="457200" cy="561407"/>
              </a:xfrm>
            </p:grpSpPr>
            <p:cxnSp>
              <p:nvCxnSpPr>
                <p:cNvPr id="48" name="Straight Connector 47">
                  <a:extLst>
                    <a:ext uri="{FF2B5EF4-FFF2-40B4-BE49-F238E27FC236}">
                      <a16:creationId xmlns:a16="http://schemas.microsoft.com/office/drawing/2014/main" id="{04793534-06CA-834A-984D-8CF2A8CB69E8}"/>
                    </a:ext>
                  </a:extLst>
                </p:cNvPr>
                <p:cNvCxnSpPr/>
                <p:nvPr/>
              </p:nvCxnSpPr>
              <p:spPr>
                <a:xfrm>
                  <a:off x="5323562" y="5689081"/>
                  <a:ext cx="0" cy="445527"/>
                </a:xfrm>
                <a:prstGeom prst="line">
                  <a:avLst/>
                </a:prstGeom>
                <a:ln w="101600">
                  <a:solidFill>
                    <a:schemeClr val="tx1"/>
                  </a:solidFill>
                  <a:miter lim="800000"/>
                  <a:tailEnd type="non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9" name="Straight Connector 48">
                  <a:extLst>
                    <a:ext uri="{FF2B5EF4-FFF2-40B4-BE49-F238E27FC236}">
                      <a16:creationId xmlns:a16="http://schemas.microsoft.com/office/drawing/2014/main" id="{3B83F6A2-CC3D-0740-9937-22393B57DBC3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5475962" y="5689081"/>
                  <a:ext cx="0" cy="561407"/>
                </a:xfrm>
                <a:prstGeom prst="line">
                  <a:avLst/>
                </a:prstGeom>
                <a:ln w="101600">
                  <a:solidFill>
                    <a:schemeClr val="tx1"/>
                  </a:solidFill>
                  <a:miter lim="800000"/>
                  <a:tailEnd type="non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0" name="Straight Connector 49">
                  <a:extLst>
                    <a:ext uri="{FF2B5EF4-FFF2-40B4-BE49-F238E27FC236}">
                      <a16:creationId xmlns:a16="http://schemas.microsoft.com/office/drawing/2014/main" id="{405EA9D1-1F7D-DE48-B67C-F1BB36DC9403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5628362" y="5689081"/>
                  <a:ext cx="0" cy="260782"/>
                </a:xfrm>
                <a:prstGeom prst="line">
                  <a:avLst/>
                </a:prstGeom>
                <a:ln w="101600">
                  <a:solidFill>
                    <a:schemeClr val="tx1"/>
                  </a:solidFill>
                  <a:miter lim="800000"/>
                  <a:tailEnd type="non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1" name="Straight Connector 50">
                  <a:extLst>
                    <a:ext uri="{FF2B5EF4-FFF2-40B4-BE49-F238E27FC236}">
                      <a16:creationId xmlns:a16="http://schemas.microsoft.com/office/drawing/2014/main" id="{3D8FF631-7E77-7340-B534-247B82BC7DC9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5780762" y="5689081"/>
                  <a:ext cx="0" cy="348464"/>
                </a:xfrm>
                <a:prstGeom prst="line">
                  <a:avLst/>
                </a:prstGeom>
                <a:ln w="101600">
                  <a:solidFill>
                    <a:schemeClr val="tx1"/>
                  </a:solidFill>
                  <a:miter lim="800000"/>
                  <a:tailEnd type="non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sp>
            <p:nvSpPr>
              <p:cNvPr id="47" name="Left Brace 46">
                <a:extLst>
                  <a:ext uri="{FF2B5EF4-FFF2-40B4-BE49-F238E27FC236}">
                    <a16:creationId xmlns:a16="http://schemas.microsoft.com/office/drawing/2014/main" id="{53BAC676-CC02-B24E-81EC-034393375687}"/>
                  </a:ext>
                </a:extLst>
              </p:cNvPr>
              <p:cNvSpPr/>
              <p:nvPr/>
            </p:nvSpPr>
            <p:spPr>
              <a:xfrm>
                <a:off x="10342300" y="4152098"/>
                <a:ext cx="167037" cy="653339"/>
              </a:xfrm>
              <a:prstGeom prst="leftBrace">
                <a:avLst/>
              </a:prstGeom>
              <a:ln w="19050">
                <a:solidFill>
                  <a:schemeClr val="accent1"/>
                </a:solidFill>
                <a:miter lim="800000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srgbClr val="312D2A"/>
                  </a:solidFill>
                  <a:effectLst/>
                  <a:uLnTx/>
                  <a:uFillTx/>
                  <a:latin typeface="Oracle Sans"/>
                  <a:ea typeface="+mn-ea"/>
                  <a:cs typeface="+mn-cs"/>
                </a:endParaRPr>
              </a:p>
            </p:txBody>
          </p:sp>
        </p:grpSp>
        <p:sp>
          <p:nvSpPr>
            <p:cNvPr id="45" name="TextBox 44">
              <a:extLst>
                <a:ext uri="{FF2B5EF4-FFF2-40B4-BE49-F238E27FC236}">
                  <a16:creationId xmlns:a16="http://schemas.microsoft.com/office/drawing/2014/main" id="{C500B738-188C-0A49-B068-64F14CC350DC}"/>
                </a:ext>
              </a:extLst>
            </p:cNvPr>
            <p:cNvSpPr txBox="1"/>
            <p:nvPr/>
          </p:nvSpPr>
          <p:spPr>
            <a:xfrm>
              <a:off x="10425818" y="3889469"/>
              <a:ext cx="756400" cy="26255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312D2A"/>
                  </a:solidFill>
                  <a:effectLst/>
                  <a:uLnTx/>
                  <a:uFillTx/>
                  <a:latin typeface="Oracle Sans"/>
                  <a:ea typeface="+mn-ea"/>
                  <a:cs typeface="+mn-cs"/>
                </a:rPr>
                <a:t>IMC</a:t>
              </a:r>
            </a:p>
          </p:txBody>
        </p:sp>
      </p:grpSp>
      <p:pic>
        <p:nvPicPr>
          <p:cNvPr id="66" name="Picture 3">
            <a:extLst>
              <a:ext uri="{FF2B5EF4-FFF2-40B4-BE49-F238E27FC236}">
                <a16:creationId xmlns:a16="http://schemas.microsoft.com/office/drawing/2014/main" id="{E48A8711-37A2-9F4C-8E5D-A6EF6DC6864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7034772" y="4174899"/>
            <a:ext cx="3600546" cy="6450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  <p:sp>
        <p:nvSpPr>
          <p:cNvPr id="53" name="TextBox 52">
            <a:extLst>
              <a:ext uri="{FF2B5EF4-FFF2-40B4-BE49-F238E27FC236}">
                <a16:creationId xmlns:a16="http://schemas.microsoft.com/office/drawing/2014/main" id="{91137162-F3D7-9F4B-8714-D1D5055F3513}"/>
              </a:ext>
            </a:extLst>
          </p:cNvPr>
          <p:cNvSpPr txBox="1"/>
          <p:nvPr/>
        </p:nvSpPr>
        <p:spPr>
          <a:xfrm>
            <a:off x="7436730" y="1499825"/>
            <a:ext cx="2796630" cy="45672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2C5967"/>
                </a:solidFill>
                <a:effectLst/>
                <a:uLnTx/>
                <a:uFillTx/>
                <a:latin typeface="Oracle Sans"/>
                <a:ea typeface="+mn-ea"/>
                <a:cs typeface="+mn-cs"/>
              </a:rPr>
              <a:t>Exadata</a:t>
            </a:r>
          </a:p>
          <a:p>
            <a:pPr marL="0" marR="0" lvl="0" indent="0" algn="ctr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2C5967"/>
                </a:solidFill>
                <a:effectLst/>
                <a:uLnTx/>
                <a:uFillTx/>
                <a:latin typeface="Oracle Sans"/>
                <a:ea typeface="+mn-ea"/>
                <a:cs typeface="+mn-cs"/>
              </a:rPr>
              <a:t>Database Cluster</a:t>
            </a:r>
          </a:p>
        </p:txBody>
      </p:sp>
      <p:sp>
        <p:nvSpPr>
          <p:cNvPr id="71" name="TextBox 70">
            <a:extLst>
              <a:ext uri="{FF2B5EF4-FFF2-40B4-BE49-F238E27FC236}">
                <a16:creationId xmlns:a16="http://schemas.microsoft.com/office/drawing/2014/main" id="{B06D8D00-BCE4-FE47-8DBE-EE230649A4EF}"/>
              </a:ext>
            </a:extLst>
          </p:cNvPr>
          <p:cNvSpPr txBox="1"/>
          <p:nvPr/>
        </p:nvSpPr>
        <p:spPr>
          <a:xfrm>
            <a:off x="8987445" y="2739893"/>
            <a:ext cx="1720004" cy="19909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312D2A"/>
                </a:solidFill>
                <a:effectLst/>
                <a:uLnTx/>
                <a:uFillTx/>
                <a:latin typeface="Oracle Sans"/>
                <a:ea typeface="+mn-ea"/>
                <a:cs typeface="+mn-cs"/>
              </a:rPr>
              <a:t>100g </a:t>
            </a:r>
            <a:r>
              <a:rPr kumimoji="0" lang="en-US" sz="1400" b="1" i="0" u="none" strike="noStrike" kern="1200" cap="none" spc="0" normalizeH="0" baseline="0" noProof="0" dirty="0" err="1">
                <a:ln>
                  <a:noFill/>
                </a:ln>
                <a:solidFill>
                  <a:srgbClr val="312D2A"/>
                </a:solidFill>
                <a:effectLst/>
                <a:uLnTx/>
                <a:uFillTx/>
                <a:latin typeface="Oracle Sans"/>
                <a:ea typeface="+mn-ea"/>
                <a:cs typeface="+mn-cs"/>
              </a:rPr>
              <a:t>RoCE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312D2A"/>
                </a:solidFill>
                <a:effectLst/>
                <a:uLnTx/>
                <a:uFillTx/>
                <a:latin typeface="Oracle Sans"/>
                <a:ea typeface="+mn-ea"/>
                <a:cs typeface="+mn-cs"/>
              </a:rPr>
              <a:t> Network</a:t>
            </a:r>
          </a:p>
        </p:txBody>
      </p:sp>
      <p:sp>
        <p:nvSpPr>
          <p:cNvPr id="65" name="Up-Down Arrow 64">
            <a:extLst>
              <a:ext uri="{FF2B5EF4-FFF2-40B4-BE49-F238E27FC236}">
                <a16:creationId xmlns:a16="http://schemas.microsoft.com/office/drawing/2014/main" id="{6CD7B790-2304-3940-9723-6D28E69E3AB7}"/>
              </a:ext>
            </a:extLst>
          </p:cNvPr>
          <p:cNvSpPr/>
          <p:nvPr/>
        </p:nvSpPr>
        <p:spPr bwMode="gray">
          <a:xfrm>
            <a:off x="8617118" y="2435346"/>
            <a:ext cx="423352" cy="785511"/>
          </a:xfrm>
          <a:prstGeom prst="upDownArrow">
            <a:avLst/>
          </a:prstGeom>
          <a:solidFill>
            <a:schemeClr val="tx1"/>
          </a:solidFill>
          <a:ln/>
          <a:effectLst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CFBFA"/>
              </a:solidFill>
              <a:effectLst/>
              <a:uLnTx/>
              <a:uFillTx/>
              <a:latin typeface="Oracle Sans"/>
              <a:ea typeface="+mn-ea"/>
              <a:cs typeface="+mn-cs"/>
            </a:endParaRPr>
          </a:p>
        </p:txBody>
      </p:sp>
      <p:sp>
        <p:nvSpPr>
          <p:cNvPr id="68" name="TextBox 67">
            <a:extLst>
              <a:ext uri="{FF2B5EF4-FFF2-40B4-BE49-F238E27FC236}">
                <a16:creationId xmlns:a16="http://schemas.microsoft.com/office/drawing/2014/main" id="{7DFB32AC-5369-934B-A922-3D383B39F1B3}"/>
              </a:ext>
            </a:extLst>
          </p:cNvPr>
          <p:cNvSpPr txBox="1"/>
          <p:nvPr/>
        </p:nvSpPr>
        <p:spPr>
          <a:xfrm>
            <a:off x="8301157" y="5443912"/>
            <a:ext cx="1884871" cy="456728"/>
          </a:xfrm>
          <a:prstGeom prst="rect">
            <a:avLst/>
          </a:prstGeom>
          <a:solidFill>
            <a:schemeClr val="bg2">
              <a:alpha val="65000"/>
            </a:schemeClr>
          </a:solidFill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2C5967"/>
                </a:solidFill>
                <a:effectLst/>
                <a:uLnTx/>
                <a:uFillTx/>
                <a:latin typeface="Oracle Sans"/>
                <a:ea typeface="+mn-ea"/>
                <a:cs typeface="+mn-cs"/>
              </a:rPr>
              <a:t>Exadata</a:t>
            </a:r>
          </a:p>
          <a:p>
            <a:pPr marL="0" marR="0" lvl="0" indent="0" algn="ctr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2C5967"/>
                </a:solidFill>
                <a:effectLst/>
                <a:uLnTx/>
                <a:uFillTx/>
                <a:latin typeface="Oracle Sans"/>
                <a:ea typeface="+mn-ea"/>
                <a:cs typeface="+mn-cs"/>
              </a:rPr>
              <a:t>Storage Server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FD43E00F-54B4-0E46-9996-CA08C2D629CC}"/>
              </a:ext>
            </a:extLst>
          </p:cNvPr>
          <p:cNvGrpSpPr/>
          <p:nvPr/>
        </p:nvGrpSpPr>
        <p:grpSpPr>
          <a:xfrm>
            <a:off x="7236389" y="3430724"/>
            <a:ext cx="3600546" cy="1596219"/>
            <a:chOff x="7383813" y="3694615"/>
            <a:chExt cx="3600546" cy="1596219"/>
          </a:xfrm>
        </p:grpSpPr>
        <p:sp>
          <p:nvSpPr>
            <p:cNvPr id="89" name="Rectangle 88">
              <a:extLst>
                <a:ext uri="{FF2B5EF4-FFF2-40B4-BE49-F238E27FC236}">
                  <a16:creationId xmlns:a16="http://schemas.microsoft.com/office/drawing/2014/main" id="{ADEC43AD-BEE0-B942-9418-6A7C0E3C2258}"/>
                </a:ext>
              </a:extLst>
            </p:cNvPr>
            <p:cNvSpPr/>
            <p:nvPr/>
          </p:nvSpPr>
          <p:spPr bwMode="gray">
            <a:xfrm>
              <a:off x="7383813" y="3694615"/>
              <a:ext cx="3600546" cy="276999"/>
            </a:xfrm>
            <a:prstGeom prst="rect">
              <a:avLst/>
            </a:prstGeom>
            <a:solidFill>
              <a:schemeClr val="tx1">
                <a:lumMod val="25000"/>
                <a:lumOff val="75000"/>
              </a:schemeClr>
            </a:solidFill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b="1" dirty="0">
                  <a:solidFill>
                    <a:schemeClr val="tx1"/>
                  </a:solidFill>
                </a:rPr>
                <a:t>Storage Index (DRAM)</a:t>
              </a:r>
            </a:p>
          </p:txBody>
        </p:sp>
        <p:sp>
          <p:nvSpPr>
            <p:cNvPr id="90" name="Rectangle 89">
              <a:extLst>
                <a:ext uri="{FF2B5EF4-FFF2-40B4-BE49-F238E27FC236}">
                  <a16:creationId xmlns:a16="http://schemas.microsoft.com/office/drawing/2014/main" id="{C8A48D47-9AB1-4D4D-ACF4-7A6A228ED227}"/>
                </a:ext>
              </a:extLst>
            </p:cNvPr>
            <p:cNvSpPr/>
            <p:nvPr/>
          </p:nvSpPr>
          <p:spPr bwMode="gray">
            <a:xfrm>
              <a:off x="7383813" y="4004924"/>
              <a:ext cx="3600546" cy="276999"/>
            </a:xfrm>
            <a:prstGeom prst="rect">
              <a:avLst/>
            </a:prstGeom>
            <a:solidFill>
              <a:schemeClr val="accent2">
                <a:lumMod val="40000"/>
                <a:lumOff val="60000"/>
              </a:schemeClr>
            </a:solidFill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b="1" dirty="0"/>
                <a:t>PMEM Accelerator</a:t>
              </a:r>
            </a:p>
          </p:txBody>
        </p:sp>
        <p:sp>
          <p:nvSpPr>
            <p:cNvPr id="91" name="Rectangle 90">
              <a:extLst>
                <a:ext uri="{FF2B5EF4-FFF2-40B4-BE49-F238E27FC236}">
                  <a16:creationId xmlns:a16="http://schemas.microsoft.com/office/drawing/2014/main" id="{4DDBC1A8-920A-A24E-A2BA-11A43ED67578}"/>
                </a:ext>
              </a:extLst>
            </p:cNvPr>
            <p:cNvSpPr/>
            <p:nvPr/>
          </p:nvSpPr>
          <p:spPr bwMode="gray">
            <a:xfrm>
              <a:off x="7383813" y="4326269"/>
              <a:ext cx="3600546" cy="276999"/>
            </a:xfrm>
            <a:prstGeom prst="rect">
              <a:avLst/>
            </a:prstGeom>
            <a:solidFill>
              <a:schemeClr val="accent3">
                <a:lumMod val="40000"/>
                <a:lumOff val="60000"/>
              </a:schemeClr>
            </a:solidFill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b="1" dirty="0">
                  <a:solidFill>
                    <a:schemeClr val="tx1"/>
                  </a:solidFill>
                </a:rPr>
                <a:t>PCI </a:t>
              </a:r>
              <a:r>
                <a:rPr lang="en-US" sz="1200" b="1" dirty="0" err="1">
                  <a:solidFill>
                    <a:schemeClr val="tx1"/>
                  </a:solidFill>
                </a:rPr>
                <a:t>NVMe</a:t>
              </a:r>
              <a:r>
                <a:rPr lang="en-US" sz="1200" b="1" dirty="0">
                  <a:solidFill>
                    <a:schemeClr val="tx1"/>
                  </a:solidFill>
                </a:rPr>
                <a:t> Flash</a:t>
              </a:r>
            </a:p>
          </p:txBody>
        </p:sp>
        <p:pic>
          <p:nvPicPr>
            <p:cNvPr id="85" name="Picture 3">
              <a:extLst>
                <a:ext uri="{FF2B5EF4-FFF2-40B4-BE49-F238E27FC236}">
                  <a16:creationId xmlns:a16="http://schemas.microsoft.com/office/drawing/2014/main" id="{16C34A8F-B789-4E4F-845F-4AD77B7FC14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7383813" y="4645737"/>
              <a:ext cx="3600546" cy="645097"/>
            </a:xfrm>
            <a:prstGeom prst="rect">
              <a:avLst/>
            </a:prstGeom>
            <a:solidFill>
              <a:schemeClr val="accent3">
                <a:lumMod val="40000"/>
                <a:lumOff val="60000"/>
              </a:schemeClr>
            </a:solidFill>
          </p:spPr>
        </p:pic>
      </p:grpSp>
      <p:grpSp>
        <p:nvGrpSpPr>
          <p:cNvPr id="14" name="Group 13">
            <a:extLst>
              <a:ext uri="{FF2B5EF4-FFF2-40B4-BE49-F238E27FC236}">
                <a16:creationId xmlns:a16="http://schemas.microsoft.com/office/drawing/2014/main" id="{F7B23EFB-9D00-4A67-921A-600A82A0F672}"/>
              </a:ext>
            </a:extLst>
          </p:cNvPr>
          <p:cNvGrpSpPr/>
          <p:nvPr/>
        </p:nvGrpSpPr>
        <p:grpSpPr>
          <a:xfrm>
            <a:off x="7433721" y="3642702"/>
            <a:ext cx="3606797" cy="1596219"/>
            <a:chOff x="9025435" y="5375937"/>
            <a:chExt cx="3606797" cy="1596219"/>
          </a:xfr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grpSpPr>
        <p:sp>
          <p:nvSpPr>
            <p:cNvPr id="100" name="Rectangle 99">
              <a:extLst>
                <a:ext uri="{FF2B5EF4-FFF2-40B4-BE49-F238E27FC236}">
                  <a16:creationId xmlns:a16="http://schemas.microsoft.com/office/drawing/2014/main" id="{A994F461-BAB8-6549-8735-E80B42337658}"/>
                </a:ext>
              </a:extLst>
            </p:cNvPr>
            <p:cNvSpPr/>
            <p:nvPr/>
          </p:nvSpPr>
          <p:spPr>
            <a:xfrm>
              <a:off x="9025435" y="5375937"/>
              <a:ext cx="3600546" cy="276999"/>
            </a:xfrm>
            <a:prstGeom prst="rect">
              <a:avLst/>
            </a:prstGeom>
            <a:solidFill>
              <a:schemeClr val="tx1">
                <a:lumMod val="25000"/>
                <a:lumOff val="75000"/>
              </a:schemeClr>
            </a:solidFill>
          </p:spPr>
          <p:txBody>
            <a:bodyPr wrap="square" rtlCol="0">
              <a:spAutoFit/>
            </a:bodyPr>
            <a:lstStyle/>
            <a:p>
              <a:pPr algn="ctr"/>
              <a:endParaRPr lang="en-US" sz="1200" b="1" dirty="0"/>
            </a:p>
          </p:txBody>
        </p:sp>
        <p:grpSp>
          <p:nvGrpSpPr>
            <p:cNvPr id="13" name="Group 12">
              <a:extLst>
                <a:ext uri="{FF2B5EF4-FFF2-40B4-BE49-F238E27FC236}">
                  <a16:creationId xmlns:a16="http://schemas.microsoft.com/office/drawing/2014/main" id="{A980D7D2-4D27-4BFD-9A35-B88AB0BCF35B}"/>
                </a:ext>
              </a:extLst>
            </p:cNvPr>
            <p:cNvGrpSpPr/>
            <p:nvPr/>
          </p:nvGrpSpPr>
          <p:grpSpPr>
            <a:xfrm>
              <a:off x="9031686" y="5375937"/>
              <a:ext cx="3600546" cy="1596219"/>
              <a:chOff x="7536213" y="3847015"/>
              <a:chExt cx="3600546" cy="1596219"/>
            </a:xfrm>
          </p:grpSpPr>
          <p:sp>
            <p:nvSpPr>
              <p:cNvPr id="95" name="Rectangle 94">
                <a:extLst>
                  <a:ext uri="{FF2B5EF4-FFF2-40B4-BE49-F238E27FC236}">
                    <a16:creationId xmlns:a16="http://schemas.microsoft.com/office/drawing/2014/main" id="{39DD91C6-5D5B-A848-85C3-ACBA4A7EEA4F}"/>
                  </a:ext>
                </a:extLst>
              </p:cNvPr>
              <p:cNvSpPr/>
              <p:nvPr/>
            </p:nvSpPr>
            <p:spPr bwMode="gray">
              <a:xfrm>
                <a:off x="7536213" y="3847015"/>
                <a:ext cx="3600546" cy="262781"/>
              </a:xfrm>
              <a:prstGeom prst="rect">
                <a:avLst/>
              </a:prstGeom>
              <a:noFill/>
              <a:ln/>
            </p:spPr>
            <p:style>
              <a:lnRef idx="0">
                <a:schemeClr val="dk1"/>
              </a:lnRef>
              <a:fillRef idx="3">
                <a:schemeClr val="dk1"/>
              </a:fillRef>
              <a:effectRef idx="3">
                <a:schemeClr val="dk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54864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312D2A">
                        <a:lumMod val="90000"/>
                        <a:lumOff val="10000"/>
                      </a:srgbClr>
                    </a:solidFill>
                    <a:effectLst/>
                    <a:uLnTx/>
                    <a:uFillTx/>
                    <a:latin typeface="Oracle Sans"/>
                    <a:ea typeface="+mn-ea"/>
                    <a:cs typeface="+mn-cs"/>
                  </a:rPr>
                  <a:t>Storage Index (DRAM)</a:t>
                </a:r>
              </a:p>
            </p:txBody>
          </p:sp>
          <p:sp>
            <p:nvSpPr>
              <p:cNvPr id="96" name="Rectangle 95">
                <a:extLst>
                  <a:ext uri="{FF2B5EF4-FFF2-40B4-BE49-F238E27FC236}">
                    <a16:creationId xmlns:a16="http://schemas.microsoft.com/office/drawing/2014/main" id="{4C84679E-367A-BB45-BAC2-E297C3122146}"/>
                  </a:ext>
                </a:extLst>
              </p:cNvPr>
              <p:cNvSpPr/>
              <p:nvPr/>
            </p:nvSpPr>
            <p:spPr bwMode="gray">
              <a:xfrm>
                <a:off x="7536213" y="4157324"/>
                <a:ext cx="3600546" cy="276999"/>
              </a:xfrm>
              <a:prstGeom prst="rect">
                <a:avLst/>
              </a:prstGeom>
              <a:solidFill>
                <a:schemeClr val="accent2">
                  <a:lumMod val="40000"/>
                  <a:lumOff val="60000"/>
                </a:schemeClr>
              </a:solidFill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200" b="1" dirty="0" err="1">
                    <a:solidFill>
                      <a:schemeClr val="tx1"/>
                    </a:solidFill>
                  </a:rPr>
                  <a:t>PMem</a:t>
                </a:r>
                <a:r>
                  <a:rPr lang="en-US" sz="1200" b="1" dirty="0">
                    <a:solidFill>
                      <a:schemeClr val="tx1"/>
                    </a:solidFill>
                  </a:rPr>
                  <a:t> Accelerator</a:t>
                </a:r>
              </a:p>
            </p:txBody>
          </p:sp>
          <p:sp>
            <p:nvSpPr>
              <p:cNvPr id="97" name="Rectangle 96">
                <a:extLst>
                  <a:ext uri="{FF2B5EF4-FFF2-40B4-BE49-F238E27FC236}">
                    <a16:creationId xmlns:a16="http://schemas.microsoft.com/office/drawing/2014/main" id="{638E0EAD-DB55-E34B-9091-7F1E9E55D25A}"/>
                  </a:ext>
                </a:extLst>
              </p:cNvPr>
              <p:cNvSpPr/>
              <p:nvPr/>
            </p:nvSpPr>
            <p:spPr bwMode="gray">
              <a:xfrm>
                <a:off x="7536213" y="4478669"/>
                <a:ext cx="3600546" cy="276999"/>
              </a:xfrm>
              <a:prstGeom prst="rect">
                <a:avLst/>
              </a:prstGeom>
              <a:solidFill>
                <a:schemeClr val="accent3">
                  <a:lumMod val="40000"/>
                  <a:lumOff val="60000"/>
                </a:schemeClr>
              </a:solidFill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200" b="1" dirty="0">
                    <a:solidFill>
                      <a:schemeClr val="tx1"/>
                    </a:solidFill>
                  </a:rPr>
                  <a:t>PCI </a:t>
                </a:r>
                <a:r>
                  <a:rPr lang="en-US" sz="1200" b="1" dirty="0" err="1">
                    <a:solidFill>
                      <a:schemeClr val="tx1"/>
                    </a:solidFill>
                  </a:rPr>
                  <a:t>NVMe</a:t>
                </a:r>
                <a:r>
                  <a:rPr lang="en-US" sz="1200" b="1" dirty="0">
                    <a:solidFill>
                      <a:schemeClr val="tx1"/>
                    </a:solidFill>
                  </a:rPr>
                  <a:t> Flash</a:t>
                </a:r>
              </a:p>
            </p:txBody>
          </p:sp>
          <p:pic>
            <p:nvPicPr>
              <p:cNvPr id="86" name="Picture 3">
                <a:extLst>
                  <a:ext uri="{FF2B5EF4-FFF2-40B4-BE49-F238E27FC236}">
                    <a16:creationId xmlns:a16="http://schemas.microsoft.com/office/drawing/2014/main" id="{FB249EA9-403C-F64B-9998-8B8A3862EAC1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3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 bwMode="auto">
              <a:xfrm>
                <a:off x="7536213" y="4798137"/>
                <a:ext cx="3600546" cy="645097"/>
              </a:xfrm>
              <a:prstGeom prst="rect">
                <a:avLst/>
              </a:prstGeom>
              <a:solidFill>
                <a:schemeClr val="accent3">
                  <a:lumMod val="40000"/>
                  <a:lumOff val="60000"/>
                </a:schemeClr>
              </a:solidFill>
              <a:ln>
                <a:noFill/>
              </a:ln>
            </p:spPr>
          </p:pic>
        </p:grpSp>
      </p:grpSp>
      <p:sp>
        <p:nvSpPr>
          <p:cNvPr id="78" name="Freeform 77">
            <a:extLst>
              <a:ext uri="{FF2B5EF4-FFF2-40B4-BE49-F238E27FC236}">
                <a16:creationId xmlns:a16="http://schemas.microsoft.com/office/drawing/2014/main" id="{DC045129-7E98-144C-98F4-66C152589CB6}"/>
              </a:ext>
            </a:extLst>
          </p:cNvPr>
          <p:cNvSpPr/>
          <p:nvPr/>
        </p:nvSpPr>
        <p:spPr>
          <a:xfrm>
            <a:off x="6878383" y="2114608"/>
            <a:ext cx="185194" cy="2314937"/>
          </a:xfrm>
          <a:custGeom>
            <a:avLst/>
            <a:gdLst>
              <a:gd name="connsiteX0" fmla="*/ 173620 w 185194"/>
              <a:gd name="connsiteY0" fmla="*/ 0 h 2314937"/>
              <a:gd name="connsiteX1" fmla="*/ 0 w 185194"/>
              <a:gd name="connsiteY1" fmla="*/ 0 h 2314937"/>
              <a:gd name="connsiteX2" fmla="*/ 0 w 185194"/>
              <a:gd name="connsiteY2" fmla="*/ 2314937 h 2314937"/>
              <a:gd name="connsiteX3" fmla="*/ 185194 w 185194"/>
              <a:gd name="connsiteY3" fmla="*/ 2314937 h 23149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85194" h="2314937">
                <a:moveTo>
                  <a:pt x="173620" y="0"/>
                </a:moveTo>
                <a:lnTo>
                  <a:pt x="0" y="0"/>
                </a:lnTo>
                <a:lnTo>
                  <a:pt x="0" y="2314937"/>
                </a:lnTo>
                <a:lnTo>
                  <a:pt x="185194" y="2314937"/>
                </a:lnTo>
              </a:path>
            </a:pathLst>
          </a:custGeom>
          <a:noFill/>
          <a:ln w="28575">
            <a:solidFill>
              <a:srgbClr val="0070C0"/>
            </a:solidFill>
            <a:tailEnd type="arrow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9" name="Freeform 78">
            <a:extLst>
              <a:ext uri="{FF2B5EF4-FFF2-40B4-BE49-F238E27FC236}">
                <a16:creationId xmlns:a16="http://schemas.microsoft.com/office/drawing/2014/main" id="{D9CF845B-F003-A646-AF98-96D3D9728E6A}"/>
              </a:ext>
            </a:extLst>
          </p:cNvPr>
          <p:cNvSpPr/>
          <p:nvPr/>
        </p:nvSpPr>
        <p:spPr>
          <a:xfrm>
            <a:off x="6764590" y="2114608"/>
            <a:ext cx="441275" cy="2500132"/>
          </a:xfrm>
          <a:custGeom>
            <a:avLst/>
            <a:gdLst>
              <a:gd name="connsiteX0" fmla="*/ 173620 w 185194"/>
              <a:gd name="connsiteY0" fmla="*/ 0 h 2314937"/>
              <a:gd name="connsiteX1" fmla="*/ 0 w 185194"/>
              <a:gd name="connsiteY1" fmla="*/ 0 h 2314937"/>
              <a:gd name="connsiteX2" fmla="*/ 0 w 185194"/>
              <a:gd name="connsiteY2" fmla="*/ 2314937 h 2314937"/>
              <a:gd name="connsiteX3" fmla="*/ 185194 w 185194"/>
              <a:gd name="connsiteY3" fmla="*/ 2314937 h 23149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85194" h="2314937">
                <a:moveTo>
                  <a:pt x="173620" y="0"/>
                </a:moveTo>
                <a:lnTo>
                  <a:pt x="0" y="0"/>
                </a:lnTo>
                <a:lnTo>
                  <a:pt x="0" y="2314937"/>
                </a:lnTo>
                <a:lnTo>
                  <a:pt x="185194" y="2314937"/>
                </a:lnTo>
              </a:path>
            </a:pathLst>
          </a:custGeom>
          <a:noFill/>
          <a:ln w="28575">
            <a:solidFill>
              <a:srgbClr val="0070C0"/>
            </a:solidFill>
            <a:tailEnd type="arrow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0" name="Freeform 79">
            <a:extLst>
              <a:ext uri="{FF2B5EF4-FFF2-40B4-BE49-F238E27FC236}">
                <a16:creationId xmlns:a16="http://schemas.microsoft.com/office/drawing/2014/main" id="{1F6CBAFB-C641-CC47-A9D3-8AE7D8C0E065}"/>
              </a:ext>
            </a:extLst>
          </p:cNvPr>
          <p:cNvSpPr/>
          <p:nvPr/>
        </p:nvSpPr>
        <p:spPr>
          <a:xfrm>
            <a:off x="6646677" y="2114608"/>
            <a:ext cx="762796" cy="2682254"/>
          </a:xfrm>
          <a:custGeom>
            <a:avLst/>
            <a:gdLst>
              <a:gd name="connsiteX0" fmla="*/ 173620 w 185194"/>
              <a:gd name="connsiteY0" fmla="*/ 0 h 2314937"/>
              <a:gd name="connsiteX1" fmla="*/ 0 w 185194"/>
              <a:gd name="connsiteY1" fmla="*/ 0 h 2314937"/>
              <a:gd name="connsiteX2" fmla="*/ 0 w 185194"/>
              <a:gd name="connsiteY2" fmla="*/ 2314937 h 2314937"/>
              <a:gd name="connsiteX3" fmla="*/ 185194 w 185194"/>
              <a:gd name="connsiteY3" fmla="*/ 2314937 h 23149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85194" h="2314937">
                <a:moveTo>
                  <a:pt x="173620" y="0"/>
                </a:moveTo>
                <a:lnTo>
                  <a:pt x="0" y="0"/>
                </a:lnTo>
                <a:lnTo>
                  <a:pt x="0" y="2314937"/>
                </a:lnTo>
                <a:lnTo>
                  <a:pt x="185194" y="2314937"/>
                </a:lnTo>
              </a:path>
            </a:pathLst>
          </a:custGeom>
          <a:noFill/>
          <a:ln w="28575">
            <a:solidFill>
              <a:srgbClr val="0070C0"/>
            </a:solidFill>
            <a:tailEnd type="arrow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1" name="TextBox 80">
            <a:extLst>
              <a:ext uri="{FF2B5EF4-FFF2-40B4-BE49-F238E27FC236}">
                <a16:creationId xmlns:a16="http://schemas.microsoft.com/office/drawing/2014/main" id="{E14E1125-E1A8-494F-83BD-0B6A8872020C}"/>
              </a:ext>
            </a:extLst>
          </p:cNvPr>
          <p:cNvSpPr txBox="1"/>
          <p:nvPr/>
        </p:nvSpPr>
        <p:spPr>
          <a:xfrm>
            <a:off x="6352510" y="2608620"/>
            <a:ext cx="825837" cy="577659"/>
          </a:xfrm>
          <a:prstGeom prst="rect">
            <a:avLst/>
          </a:prstGeom>
          <a:solidFill>
            <a:schemeClr val="bg2"/>
          </a:solidFill>
        </p:spPr>
        <p:txBody>
          <a:bodyPr wrap="square" lIns="0" tIns="91440" rIns="0" bIns="91440" rtlCol="0">
            <a:spAutoFit/>
          </a:bodyPr>
          <a:lstStyle/>
          <a:p>
            <a:pPr algn="ctr">
              <a:lnSpc>
                <a:spcPct val="90000"/>
              </a:lnSpc>
            </a:pPr>
            <a:r>
              <a:rPr lang="en-US" sz="1400" b="1" dirty="0"/>
              <a:t>SQL Offload</a:t>
            </a:r>
          </a:p>
        </p:txBody>
      </p:sp>
      <p:pic>
        <p:nvPicPr>
          <p:cNvPr id="52" name="Picture 2">
            <a:extLst>
              <a:ext uri="{FF2B5EF4-FFF2-40B4-BE49-F238E27FC236}">
                <a16:creationId xmlns:a16="http://schemas.microsoft.com/office/drawing/2014/main" id="{02995816-B51D-DF4C-A622-39DE225D75A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7034772" y="1962208"/>
            <a:ext cx="3600546" cy="3225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9" name="Picture 2">
            <a:extLst>
              <a:ext uri="{FF2B5EF4-FFF2-40B4-BE49-F238E27FC236}">
                <a16:creationId xmlns:a16="http://schemas.microsoft.com/office/drawing/2014/main" id="{727A1219-5CE8-8040-9437-276008CC6EB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7187172" y="2114608"/>
            <a:ext cx="3600546" cy="3225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Slide Number Placeholder 2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345D60D9-5372-5F40-9443-0F9AE5BDC3C8}" type="slidenum">
              <a:rPr lang="en-US" smtClean="0"/>
              <a:t>2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18484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31535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C38B6F3C-673A-2C4F-BDD8-A174DA9D4B4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12" r="91391"/>
          <a:stretch/>
        </p:blipFill>
        <p:spPr>
          <a:xfrm>
            <a:off x="-1" y="0"/>
            <a:ext cx="1083365" cy="6858000"/>
          </a:xfrm>
          <a:prstGeom prst="rect">
            <a:avLst/>
          </a:prstGeom>
        </p:spPr>
      </p:pic>
      <p:sp>
        <p:nvSpPr>
          <p:cNvPr id="10" name="Title 6"/>
          <p:cNvSpPr txBox="1">
            <a:spLocks/>
          </p:cNvSpPr>
          <p:nvPr/>
        </p:nvSpPr>
        <p:spPr>
          <a:xfrm>
            <a:off x="2454162" y="3111287"/>
            <a:ext cx="8315107" cy="822960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noAutofit/>
          </a:bodyPr>
          <a:lstStyle>
            <a:lvl1pPr algn="l" defTabSz="914400" rtl="0" eaLnBrk="1" latinLnBrk="0" hangingPunct="1">
              <a:lnSpc>
                <a:spcPct val="95000"/>
              </a:lnSpc>
              <a:spcBef>
                <a:spcPct val="0"/>
              </a:spcBef>
              <a:buNone/>
              <a:defRPr lang="en-US" sz="4000" b="0" i="0" kern="1200" baseline="0" dirty="0">
                <a:solidFill>
                  <a:schemeClr val="tx1"/>
                </a:solidFill>
                <a:latin typeface="+mj-lt"/>
                <a:ea typeface="+mn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5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noProof="0" dirty="0" smtClean="0">
                <a:solidFill>
                  <a:srgbClr val="FCFBFA"/>
                </a:solidFill>
                <a:latin typeface="Georgia"/>
              </a:rPr>
              <a:t>Smart Scan</a:t>
            </a:r>
            <a:endParaRPr kumimoji="0" lang="en-US" sz="4000" b="0" i="0" u="none" strike="noStrike" kern="1200" cap="none" spc="0" normalizeH="0" baseline="0" noProof="0" dirty="0">
              <a:ln>
                <a:noFill/>
              </a:ln>
              <a:solidFill>
                <a:srgbClr val="FCFBFA"/>
              </a:solidFill>
              <a:effectLst/>
              <a:uLnTx/>
              <a:uFillTx/>
              <a:latin typeface="Georgia"/>
              <a:ea typeface="+mn-ea"/>
              <a:cs typeface="+mj-cs"/>
            </a:endParaRP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Copyright © 2024, Oracle and/or its affiliates. All rights reserved   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5D60D9-5372-5F40-9443-0F9AE5BDC3C8}" type="slidenum">
              <a:rPr lang="en-US" smtClean="0"/>
              <a:pPr/>
              <a:t>2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117734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31535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C38B6F3C-673A-2C4F-BDD8-A174DA9D4B4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C38B6F3C-673A-2C4F-BDD8-A174DA9D4B4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12" r="91391"/>
          <a:stretch/>
        </p:blipFill>
        <p:spPr>
          <a:xfrm>
            <a:off x="-1" y="0"/>
            <a:ext cx="1083365" cy="6858000"/>
          </a:xfrm>
          <a:prstGeom prst="rect">
            <a:avLst/>
          </a:prstGeom>
        </p:spPr>
      </p:pic>
      <p:sp>
        <p:nvSpPr>
          <p:cNvPr id="10" name="Title 6"/>
          <p:cNvSpPr txBox="1">
            <a:spLocks/>
          </p:cNvSpPr>
          <p:nvPr/>
        </p:nvSpPr>
        <p:spPr>
          <a:xfrm>
            <a:off x="1852235" y="858417"/>
            <a:ext cx="9698081" cy="822960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noAutofit/>
          </a:bodyPr>
          <a:lstStyle>
            <a:lvl1pPr algn="l" defTabSz="914400" rtl="0" eaLnBrk="1" latinLnBrk="0" hangingPunct="1">
              <a:lnSpc>
                <a:spcPct val="95000"/>
              </a:lnSpc>
              <a:spcBef>
                <a:spcPct val="0"/>
              </a:spcBef>
              <a:buNone/>
              <a:defRPr lang="en-US" sz="4000" b="0" i="0" kern="1200" baseline="0" dirty="0">
                <a:solidFill>
                  <a:schemeClr val="tx1"/>
                </a:solidFill>
                <a:latin typeface="+mj-lt"/>
                <a:ea typeface="+mn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5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0" b="0" i="0" u="none" strike="noStrike" kern="1200" cap="none" spc="0" normalizeH="0" baseline="0" noProof="0" dirty="0">
                <a:ln>
                  <a:noFill/>
                </a:ln>
                <a:solidFill>
                  <a:srgbClr val="FCFBFA"/>
                </a:solidFill>
                <a:effectLst/>
                <a:uLnTx/>
                <a:uFillTx/>
                <a:latin typeface="Georgia"/>
                <a:ea typeface="+mn-ea"/>
                <a:cs typeface="+mj-cs"/>
              </a:rPr>
              <a:t>Agenda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2720253" y="2170462"/>
            <a:ext cx="6470374" cy="369332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noProof="0" dirty="0" smtClean="0">
                <a:solidFill>
                  <a:srgbClr val="FCFBFA"/>
                </a:solidFill>
                <a:latin typeface="Oracle Sans Tab"/>
              </a:rPr>
              <a:t>Oracle </a:t>
            </a:r>
            <a:r>
              <a:rPr lang="en-US" noProof="0" dirty="0" err="1" smtClean="0">
                <a:solidFill>
                  <a:srgbClr val="FCFBFA"/>
                </a:solidFill>
                <a:latin typeface="Oracle Sans Tab"/>
              </a:rPr>
              <a:t>Exadata</a:t>
            </a:r>
            <a:r>
              <a:rPr lang="en-US" noProof="0" dirty="0" smtClean="0">
                <a:solidFill>
                  <a:srgbClr val="FCFBFA"/>
                </a:solidFill>
                <a:latin typeface="Oracle Sans Tab"/>
              </a:rPr>
              <a:t> Cloud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CFBFA"/>
              </a:solidFill>
              <a:effectLst/>
              <a:uLnTx/>
              <a:uFillTx/>
              <a:latin typeface="Oracle Sans Tab"/>
              <a:ea typeface="+mn-ea"/>
              <a:cs typeface="+mn-cs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2720253" y="3163400"/>
            <a:ext cx="6869796" cy="369332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>
                <a:solidFill>
                  <a:srgbClr val="FCFBFA"/>
                </a:solidFill>
                <a:latin typeface="Oracle Sans Tab"/>
              </a:rPr>
              <a:t>OCI Backup </a:t>
            </a:r>
            <a:r>
              <a:rPr lang="en-US" dirty="0" smtClean="0">
                <a:solidFill>
                  <a:srgbClr val="FCFBFA"/>
                </a:solidFill>
                <a:latin typeface="Oracle Sans Tab"/>
              </a:rPr>
              <a:t>Database </a:t>
            </a:r>
            <a:r>
              <a:rPr lang="en-US" dirty="0">
                <a:solidFill>
                  <a:srgbClr val="FCFBFA"/>
                </a:solidFill>
                <a:latin typeface="Oracle Sans Tab"/>
              </a:rPr>
              <a:t>O</a:t>
            </a:r>
            <a:r>
              <a:rPr lang="en-US" dirty="0" smtClean="0">
                <a:solidFill>
                  <a:srgbClr val="FCFBFA"/>
                </a:solidFill>
                <a:latin typeface="Oracle Sans Tab"/>
              </a:rPr>
              <a:t>ptions  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CFBFA"/>
              </a:solidFill>
              <a:effectLst/>
              <a:uLnTx/>
              <a:uFillTx/>
              <a:latin typeface="Oracle Sans Tab"/>
              <a:ea typeface="+mn-ea"/>
              <a:cs typeface="+mn-cs"/>
            </a:endParaRPr>
          </a:p>
        </p:txBody>
      </p:sp>
      <p:sp>
        <p:nvSpPr>
          <p:cNvPr id="27" name="Rounded Rectangle 26"/>
          <p:cNvSpPr>
            <a:spLocks noChangeAspect="1"/>
          </p:cNvSpPr>
          <p:nvPr/>
        </p:nvSpPr>
        <p:spPr>
          <a:xfrm>
            <a:off x="1852235" y="2064776"/>
            <a:ext cx="587478" cy="587478"/>
          </a:xfrm>
          <a:prstGeom prst="roundRect">
            <a:avLst>
              <a:gd name="adj" fmla="val 18777"/>
            </a:avLst>
          </a:prstGeom>
          <a:solidFill>
            <a:srgbClr val="315357"/>
          </a:solidFill>
          <a:ln w="38100" cap="flat" cmpd="sng" algn="ctr">
            <a:solidFill>
              <a:srgbClr val="FCFBFA"/>
            </a:solidFill>
            <a:prstDash val="solid"/>
          </a:ln>
          <a:effectLst>
            <a:outerShdw blurRad="63500" dist="76200" dir="2700000" algn="tl" rotWithShape="0">
              <a:schemeClr val="bg2">
                <a:lumMod val="50000"/>
                <a:lumOff val="50000"/>
                <a:alpha val="40000"/>
              </a:schemeClr>
            </a:outerShdw>
          </a:effectLst>
        </p:spPr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srgbClr val="FCFBFA"/>
                </a:solidFill>
                <a:effectLst/>
                <a:uLnTx/>
                <a:uFillTx/>
                <a:latin typeface="Oracle Sans Tab"/>
                <a:ea typeface="+mn-ea"/>
                <a:cs typeface="+mn-cs"/>
              </a:rPr>
              <a:t>1</a:t>
            </a:r>
          </a:p>
        </p:txBody>
      </p:sp>
      <p:sp>
        <p:nvSpPr>
          <p:cNvPr id="28" name="Rounded Rectangle 27"/>
          <p:cNvSpPr>
            <a:spLocks noChangeAspect="1"/>
          </p:cNvSpPr>
          <p:nvPr/>
        </p:nvSpPr>
        <p:spPr>
          <a:xfrm>
            <a:off x="1852235" y="3057714"/>
            <a:ext cx="587478" cy="587478"/>
          </a:xfrm>
          <a:prstGeom prst="roundRect">
            <a:avLst>
              <a:gd name="adj" fmla="val 19816"/>
            </a:avLst>
          </a:prstGeom>
          <a:solidFill>
            <a:srgbClr val="315357"/>
          </a:solidFill>
          <a:ln w="38100" cap="flat" cmpd="sng" algn="ctr">
            <a:solidFill>
              <a:srgbClr val="FCFBFA"/>
            </a:solidFill>
            <a:prstDash val="solid"/>
          </a:ln>
          <a:effectLst>
            <a:outerShdw blurRad="63500" dist="76200" dir="2700000" algn="tl" rotWithShape="0">
              <a:schemeClr val="bg2">
                <a:lumMod val="50000"/>
                <a:lumOff val="50000"/>
                <a:alpha val="40000"/>
              </a:schemeClr>
            </a:outerShdw>
          </a:effectLst>
        </p:spPr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srgbClr val="FCFBFA"/>
                </a:solidFill>
                <a:effectLst/>
                <a:uLnTx/>
                <a:uFillTx/>
                <a:latin typeface="Oracle Sans Tab"/>
                <a:ea typeface="+mn-ea"/>
                <a:cs typeface="+mn-cs"/>
              </a:rPr>
              <a:t>2</a:t>
            </a:r>
          </a:p>
        </p:txBody>
      </p:sp>
      <p:sp>
        <p:nvSpPr>
          <p:cNvPr id="29" name="Rounded Rectangle 28"/>
          <p:cNvSpPr>
            <a:spLocks noChangeAspect="1"/>
          </p:cNvSpPr>
          <p:nvPr/>
        </p:nvSpPr>
        <p:spPr>
          <a:xfrm>
            <a:off x="1852235" y="4050652"/>
            <a:ext cx="587478" cy="587478"/>
          </a:xfrm>
          <a:prstGeom prst="roundRect">
            <a:avLst>
              <a:gd name="adj" fmla="val 24837"/>
            </a:avLst>
          </a:prstGeom>
          <a:solidFill>
            <a:srgbClr val="315357"/>
          </a:solidFill>
          <a:ln w="38100" cap="flat" cmpd="sng" algn="ctr">
            <a:solidFill>
              <a:srgbClr val="FCFBFA"/>
            </a:solidFill>
            <a:prstDash val="solid"/>
          </a:ln>
          <a:effectLst>
            <a:outerShdw blurRad="63500" dist="76200" dir="2700000" algn="tl" rotWithShape="0">
              <a:schemeClr val="bg2">
                <a:lumMod val="50000"/>
                <a:lumOff val="50000"/>
                <a:alpha val="40000"/>
              </a:schemeClr>
            </a:outerShdw>
          </a:effectLst>
        </p:spPr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srgbClr val="FCFBFA"/>
                </a:solidFill>
                <a:effectLst/>
                <a:uLnTx/>
                <a:uFillTx/>
                <a:latin typeface="Oracle Sans Tab"/>
                <a:ea typeface="+mn-ea"/>
                <a:cs typeface="+mn-cs"/>
              </a:rPr>
              <a:t>3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5000EB5B-454E-4F3F-B0A6-BB3065618C23}"/>
              </a:ext>
            </a:extLst>
          </p:cNvPr>
          <p:cNvSpPr txBox="1"/>
          <p:nvPr/>
        </p:nvSpPr>
        <p:spPr>
          <a:xfrm>
            <a:off x="2724912" y="5143623"/>
            <a:ext cx="6470374" cy="369332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>
                <a:solidFill>
                  <a:srgbClr val="FCFBFA"/>
                </a:solidFill>
                <a:latin typeface="Oracle Sans Tab"/>
              </a:rPr>
              <a:t>Resources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CFBFA"/>
              </a:solidFill>
              <a:effectLst/>
              <a:uLnTx/>
              <a:uFillTx/>
              <a:latin typeface="Oracle Sans Tab"/>
              <a:ea typeface="+mn-ea"/>
              <a:cs typeface="+mn-cs"/>
            </a:endParaRPr>
          </a:p>
        </p:txBody>
      </p:sp>
      <p:sp>
        <p:nvSpPr>
          <p:cNvPr id="15" name="Rounded Rectangle 28">
            <a:extLst>
              <a:ext uri="{FF2B5EF4-FFF2-40B4-BE49-F238E27FC236}">
                <a16:creationId xmlns:a16="http://schemas.microsoft.com/office/drawing/2014/main" id="{92B48D02-E7D3-4C4F-AA5D-7A7DA1308982}"/>
              </a:ext>
            </a:extLst>
          </p:cNvPr>
          <p:cNvSpPr>
            <a:spLocks noChangeAspect="1"/>
          </p:cNvSpPr>
          <p:nvPr/>
        </p:nvSpPr>
        <p:spPr>
          <a:xfrm>
            <a:off x="1856232" y="5037937"/>
            <a:ext cx="587478" cy="587478"/>
          </a:xfrm>
          <a:prstGeom prst="roundRect">
            <a:avLst>
              <a:gd name="adj" fmla="val 24837"/>
            </a:avLst>
          </a:prstGeom>
          <a:solidFill>
            <a:srgbClr val="315357"/>
          </a:solidFill>
          <a:ln w="38100" cap="flat" cmpd="sng" algn="ctr">
            <a:solidFill>
              <a:srgbClr val="FCFBFA"/>
            </a:solidFill>
            <a:prstDash val="solid"/>
          </a:ln>
          <a:effectLst>
            <a:outerShdw blurRad="63500" dist="76200" dir="2700000" algn="tl" rotWithShape="0">
              <a:schemeClr val="bg2">
                <a:lumMod val="50000"/>
                <a:lumOff val="50000"/>
                <a:alpha val="40000"/>
              </a:schemeClr>
            </a:outerShdw>
          </a:effectLst>
        </p:spPr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="1" kern="0" dirty="0">
                <a:solidFill>
                  <a:srgbClr val="FCFBFA"/>
                </a:solidFill>
                <a:latin typeface="Oracle Sans Tab"/>
              </a:rPr>
              <a:t>4</a:t>
            </a:r>
            <a:endParaRPr kumimoji="0" lang="en-US" sz="1800" b="1" i="0" u="none" strike="noStrike" kern="0" cap="none" spc="0" normalizeH="0" baseline="0" noProof="0" dirty="0">
              <a:ln>
                <a:noFill/>
              </a:ln>
              <a:solidFill>
                <a:srgbClr val="FCFBFA"/>
              </a:solidFill>
              <a:effectLst/>
              <a:uLnTx/>
              <a:uFillTx/>
              <a:latin typeface="Oracle Sans Tab"/>
              <a:ea typeface="+mn-ea"/>
              <a:cs typeface="+mn-cs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2720253" y="4226893"/>
            <a:ext cx="6869796" cy="369332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noProof="0" dirty="0" smtClean="0">
                <a:solidFill>
                  <a:srgbClr val="FCFBFA"/>
                </a:solidFill>
                <a:latin typeface="Oracle Sans Tab"/>
              </a:rPr>
              <a:t>Oracle NoSQL Database Cloud Service</a:t>
            </a:r>
            <a:r>
              <a:rPr lang="en-US" dirty="0" smtClean="0">
                <a:solidFill>
                  <a:srgbClr val="FCFBFA"/>
                </a:solidFill>
                <a:latin typeface="Oracle Sans Tab"/>
              </a:rPr>
              <a:t> 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CFBFA"/>
              </a:solidFill>
              <a:effectLst/>
              <a:uLnTx/>
              <a:uFillTx/>
              <a:latin typeface="Oracle Sans Tab"/>
              <a:ea typeface="+mn-ea"/>
              <a:cs typeface="+mn-cs"/>
            </a:endParaRP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Copyright © 2024, Oracle and/or its affiliates. All rights reserved   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5D60D9-5372-5F40-9443-0F9AE5BDC3C8}" type="slidenum">
              <a:rPr lang="en-US" smtClean="0"/>
              <a:pPr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138878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smtClean="0"/>
              <a:t>Copyright © 2024, Oracle and/or its affiliates. All rights reserved   </a:t>
            </a:r>
            <a:endParaRPr lang="en-US" dirty="0"/>
          </a:p>
        </p:txBody>
      </p:sp>
      <p:sp>
        <p:nvSpPr>
          <p:cNvPr id="6" name="Text Placeholder 2"/>
          <p:cNvSpPr txBox="1">
            <a:spLocks/>
          </p:cNvSpPr>
          <p:nvPr/>
        </p:nvSpPr>
        <p:spPr>
          <a:xfrm>
            <a:off x="604199" y="1536827"/>
            <a:ext cx="11029902" cy="4713502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buFont typeface="Wingdings" panose="05000000000000000000" pitchFamily="2" charset="2"/>
              <a:buChar char="q"/>
            </a:pPr>
            <a:endParaRPr lang="en-US" sz="1500" dirty="0" smtClean="0">
              <a:solidFill>
                <a:schemeClr val="accent4">
                  <a:lumMod val="75000"/>
                </a:schemeClr>
              </a:solidFill>
            </a:endParaRP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733278" y="1536827"/>
            <a:ext cx="7738482" cy="4570240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sp>
        <p:nvSpPr>
          <p:cNvPr id="8" name="Title 2"/>
          <p:cNvSpPr>
            <a:spLocks noGrp="1"/>
          </p:cNvSpPr>
          <p:nvPr>
            <p:ph type="title"/>
          </p:nvPr>
        </p:nvSpPr>
        <p:spPr>
          <a:xfrm>
            <a:off x="1127759" y="457200"/>
            <a:ext cx="7303916" cy="905978"/>
          </a:xfrm>
        </p:spPr>
        <p:txBody>
          <a:bodyPr/>
          <a:lstStyle/>
          <a:p>
            <a:r>
              <a:rPr lang="pt-BR" dirty="0" smtClean="0"/>
              <a:t>Oracle Database | No Exadata System</a:t>
            </a:r>
            <a:r>
              <a:rPr lang="pt-BR" sz="2000" dirty="0">
                <a:solidFill>
                  <a:schemeClr val="accent4"/>
                </a:solidFill>
              </a:rPr>
              <a:t/>
            </a:r>
            <a:br>
              <a:rPr lang="pt-BR" sz="2000" dirty="0">
                <a:solidFill>
                  <a:schemeClr val="accent4"/>
                </a:solidFill>
              </a:rPr>
            </a:br>
            <a:endParaRPr lang="en-US" sz="2000" dirty="0">
              <a:solidFill>
                <a:schemeClr val="accent6">
                  <a:lumMod val="50000"/>
                </a:scheme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345D60D9-5372-5F40-9443-0F9AE5BDC3C8}" type="slidenum">
              <a:rPr lang="en-US" smtClean="0"/>
              <a:pPr/>
              <a:t>3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237241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smtClean="0"/>
              <a:t>Copyright © 2024, Oracle and/or its affiliates. All rights reserved   </a:t>
            </a:r>
            <a:endParaRPr lang="en-US" dirty="0"/>
          </a:p>
        </p:txBody>
      </p:sp>
      <p:sp>
        <p:nvSpPr>
          <p:cNvPr id="6" name="Text Placeholder 2"/>
          <p:cNvSpPr txBox="1">
            <a:spLocks/>
          </p:cNvSpPr>
          <p:nvPr/>
        </p:nvSpPr>
        <p:spPr>
          <a:xfrm>
            <a:off x="604199" y="1536827"/>
            <a:ext cx="11029902" cy="4713502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buFont typeface="Wingdings" panose="05000000000000000000" pitchFamily="2" charset="2"/>
              <a:buChar char="q"/>
            </a:pPr>
            <a:endParaRPr lang="en-US" sz="1500" dirty="0" smtClean="0">
              <a:solidFill>
                <a:schemeClr val="tx2"/>
              </a:solidFill>
            </a:endParaRPr>
          </a:p>
        </p:txBody>
      </p:sp>
      <p:sp>
        <p:nvSpPr>
          <p:cNvPr id="7" name="Title 2"/>
          <p:cNvSpPr>
            <a:spLocks noGrp="1"/>
          </p:cNvSpPr>
          <p:nvPr>
            <p:ph type="title"/>
          </p:nvPr>
        </p:nvSpPr>
        <p:spPr>
          <a:xfrm>
            <a:off x="604199" y="401161"/>
            <a:ext cx="7303916" cy="905978"/>
          </a:xfrm>
        </p:spPr>
        <p:txBody>
          <a:bodyPr/>
          <a:lstStyle/>
          <a:p>
            <a:r>
              <a:rPr lang="pt-BR" dirty="0" smtClean="0"/>
              <a:t>Exadata Cloud a Smart Scan | </a:t>
            </a:r>
            <a:r>
              <a:rPr lang="pt-BR" dirty="0"/>
              <a:t>O</a:t>
            </a:r>
            <a:r>
              <a:rPr lang="pt-BR" dirty="0" smtClean="0"/>
              <a:t>ff Load Querying</a:t>
            </a:r>
            <a:r>
              <a:rPr lang="pt-BR" dirty="0"/>
              <a:t/>
            </a:r>
            <a:br>
              <a:rPr lang="pt-BR" dirty="0"/>
            </a:br>
            <a:endParaRPr lang="en-US" dirty="0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104339" y="1742731"/>
            <a:ext cx="6933644" cy="4113684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sp>
        <p:nvSpPr>
          <p:cNvPr id="5" name="Slide Number Placeholder 4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345D60D9-5372-5F40-9443-0F9AE5BDC3C8}" type="slidenum">
              <a:rPr lang="en-US" smtClean="0"/>
              <a:pPr/>
              <a:t>3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587052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phic 8">
            <a:extLst>
              <a:ext uri="{FF2B5EF4-FFF2-40B4-BE49-F238E27FC236}">
                <a16:creationId xmlns:a16="http://schemas.microsoft.com/office/drawing/2014/main" id="{A1C6AB4E-387B-7740-A629-344C24318D0D}"/>
              </a:ext>
            </a:extLst>
          </p:cNvPr>
          <p:cNvPicPr>
            <a:picLocks noChangeAspect="1"/>
          </p:cNvPicPr>
          <p:nvPr/>
        </p:nvPicPr>
        <p:blipFill>
          <a:blip r:embed="rId3">
            <a:alphaModFix amt="50000"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621708" y="4451291"/>
            <a:ext cx="1194464" cy="1387166"/>
          </a:xfrm>
          <a:prstGeom prst="rect">
            <a:avLst/>
          </a:prstGeom>
        </p:spPr>
      </p:pic>
      <p:sp>
        <p:nvSpPr>
          <p:cNvPr id="34" name="Footer Placeholder 4">
            <a:extLst>
              <a:ext uri="{FF2B5EF4-FFF2-40B4-BE49-F238E27FC236}">
                <a16:creationId xmlns:a16="http://schemas.microsoft.com/office/drawing/2014/main" id="{9F7D1153-5FAB-944A-BC3B-48A7946FE102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1127760" y="6423660"/>
            <a:ext cx="5745379" cy="365125"/>
          </a:xfrm>
        </p:spPr>
        <p:txBody>
          <a:bodyPr/>
          <a:lstStyle/>
          <a:p>
            <a:r>
              <a:rPr lang="en-US" dirty="0" smtClean="0"/>
              <a:t>Copyright © 2024, Oracle and/or its affiliates. All rights reserved   </a:t>
            </a:r>
            <a:endParaRPr lang="en-US" dirty="0"/>
          </a:p>
        </p:txBody>
      </p:sp>
      <p:sp>
        <p:nvSpPr>
          <p:cNvPr id="19" name="Title 6">
            <a:extLst>
              <a:ext uri="{FF2B5EF4-FFF2-40B4-BE49-F238E27FC236}">
                <a16:creationId xmlns:a16="http://schemas.microsoft.com/office/drawing/2014/main" id="{CC1AB91C-52C5-4C6A-8F4B-3FD2E17FF0B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2930" y="185609"/>
            <a:ext cx="11317001" cy="797916"/>
          </a:xfrm>
        </p:spPr>
        <p:txBody>
          <a:bodyPr/>
          <a:lstStyle/>
          <a:p>
            <a:r>
              <a:rPr lang="en-US" dirty="0" smtClean="0"/>
              <a:t>Query Execution plan | </a:t>
            </a:r>
            <a:r>
              <a:rPr lang="pt-BR" dirty="0" smtClean="0">
                <a:solidFill>
                  <a:schemeClr val="accent1">
                    <a:lumMod val="75000"/>
                  </a:schemeClr>
                </a:solidFill>
              </a:rPr>
              <a:t>Traditional Database Vs Exadata System</a:t>
            </a:r>
            <a:r>
              <a:rPr lang="pt-BR" sz="2000" dirty="0">
                <a:solidFill>
                  <a:schemeClr val="accent4"/>
                </a:solidFill>
              </a:rPr>
              <a:t/>
            </a:r>
            <a:br>
              <a:rPr lang="pt-BR" sz="2000" dirty="0">
                <a:solidFill>
                  <a:schemeClr val="accent4"/>
                </a:solidFill>
              </a:rPr>
            </a:br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02930" y="1071239"/>
            <a:ext cx="7391400" cy="238125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4710785" y="3660084"/>
            <a:ext cx="6724650" cy="245745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2" name="Picture 1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2405798" y="4304960"/>
            <a:ext cx="1148601" cy="1679828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152400" dist="12000" dir="900000" sy="98000" kx="110000" ky="200000" algn="tl" rotWithShape="0">
              <a:srgbClr val="000000">
                <a:alpha val="30000"/>
              </a:srgbClr>
            </a:outerShdw>
          </a:effectLst>
          <a:scene3d>
            <a:camera prst="perspectiveRelaxed">
              <a:rot lat="19800000" lon="1200000" rev="20820000"/>
            </a:camera>
            <a:lightRig rig="threePt" dir="t"/>
          </a:scene3d>
          <a:sp3d contourW="6350" prstMaterial="matte">
            <a:bevelT w="101600" h="101600"/>
            <a:contourClr>
              <a:srgbClr val="969696"/>
            </a:contourClr>
          </a:sp3d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9206696" y="1635334"/>
            <a:ext cx="1018972" cy="1462526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152400" dist="12000" dir="900000" sy="98000" kx="110000" ky="200000" algn="tl" rotWithShape="0">
              <a:srgbClr val="000000">
                <a:alpha val="30000"/>
              </a:srgbClr>
            </a:outerShdw>
          </a:effectLst>
          <a:scene3d>
            <a:camera prst="perspectiveRelaxed">
              <a:rot lat="19800000" lon="1200000" rev="20820000"/>
            </a:camera>
            <a:lightRig rig="threePt" dir="t"/>
          </a:scene3d>
          <a:sp3d contourW="6350" prstMaterial="matte">
            <a:bevelT w="101600" h="101600"/>
            <a:contourClr>
              <a:srgbClr val="969696"/>
            </a:contourClr>
          </a:sp3d>
        </p:spPr>
      </p:pic>
      <p:sp>
        <p:nvSpPr>
          <p:cNvPr id="6" name="Slide Number Placeholder 5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345D60D9-5372-5F40-9443-0F9AE5BDC3C8}" type="slidenum">
              <a:rPr lang="en-US" smtClean="0"/>
              <a:t>3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738502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a14="http://schemas.microsoft.com/office/drawing/2010/main" xmlns:p15="http://schemas.microsoft.com/office/powerpoint/2012/main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0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3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8" dur="1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3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5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6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3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1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3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4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smtClean="0"/>
              <a:t>Copyright © 2024, Oracle and/or its affiliates. All rights reserved   </a:t>
            </a:r>
            <a:endParaRPr lang="en-US" dirty="0"/>
          </a:p>
        </p:txBody>
      </p:sp>
      <p:sp>
        <p:nvSpPr>
          <p:cNvPr id="6" name="Freeform 5">
            <a:extLst>
              <a:ext uri="{FF2B5EF4-FFF2-40B4-BE49-F238E27FC236}">
                <a16:creationId xmlns:a16="http://schemas.microsoft.com/office/drawing/2014/main" id="{E723ABAD-7DA8-5A4A-9F08-5A2CFCF29C12}"/>
              </a:ext>
            </a:extLst>
          </p:cNvPr>
          <p:cNvSpPr/>
          <p:nvPr/>
        </p:nvSpPr>
        <p:spPr>
          <a:xfrm>
            <a:off x="1127759" y="789360"/>
            <a:ext cx="9265769" cy="5633983"/>
          </a:xfrm>
          <a:custGeom>
            <a:avLst/>
            <a:gdLst>
              <a:gd name="connsiteX0" fmla="*/ 4384639 w 10962868"/>
              <a:gd name="connsiteY0" fmla="*/ 4251205 h 4613106"/>
              <a:gd name="connsiteX1" fmla="*/ 4380002 w 10962868"/>
              <a:gd name="connsiteY1" fmla="*/ 4251952 h 4613106"/>
              <a:gd name="connsiteX2" fmla="*/ 4382782 w 10962868"/>
              <a:gd name="connsiteY2" fmla="*/ 4251494 h 4613106"/>
              <a:gd name="connsiteX3" fmla="*/ 4384639 w 10962868"/>
              <a:gd name="connsiteY3" fmla="*/ 4251205 h 4613106"/>
              <a:gd name="connsiteX4" fmla="*/ 0 w 10962868"/>
              <a:gd name="connsiteY4" fmla="*/ 0 h 4613106"/>
              <a:gd name="connsiteX5" fmla="*/ 10962868 w 10962868"/>
              <a:gd name="connsiteY5" fmla="*/ 0 h 4613106"/>
              <a:gd name="connsiteX6" fmla="*/ 10962868 w 10962868"/>
              <a:gd name="connsiteY6" fmla="*/ 4451385 h 4613106"/>
              <a:gd name="connsiteX7" fmla="*/ 10947808 w 10962868"/>
              <a:gd name="connsiteY7" fmla="*/ 4448373 h 4613106"/>
              <a:gd name="connsiteX8" fmla="*/ 10742325 w 10962868"/>
              <a:gd name="connsiteY8" fmla="*/ 4438099 h 4613106"/>
              <a:gd name="connsiteX9" fmla="*/ 10711502 w 10962868"/>
              <a:gd name="connsiteY9" fmla="*/ 4448373 h 4613106"/>
              <a:gd name="connsiteX10" fmla="*/ 10690954 w 10962868"/>
              <a:gd name="connsiteY10" fmla="*/ 4468922 h 4613106"/>
              <a:gd name="connsiteX11" fmla="*/ 10660131 w 10962868"/>
              <a:gd name="connsiteY11" fmla="*/ 4479196 h 4613106"/>
              <a:gd name="connsiteX12" fmla="*/ 10557390 w 10962868"/>
              <a:gd name="connsiteY12" fmla="*/ 4530567 h 4613106"/>
              <a:gd name="connsiteX13" fmla="*/ 10413552 w 10962868"/>
              <a:gd name="connsiteY13" fmla="*/ 4530567 h 4613106"/>
              <a:gd name="connsiteX14" fmla="*/ 10351907 w 10962868"/>
              <a:gd name="connsiteY14" fmla="*/ 4551115 h 4613106"/>
              <a:gd name="connsiteX15" fmla="*/ 10279987 w 10962868"/>
              <a:gd name="connsiteY15" fmla="*/ 4581937 h 4613106"/>
              <a:gd name="connsiteX16" fmla="*/ 9951214 w 10962868"/>
              <a:gd name="connsiteY16" fmla="*/ 4612760 h 4613106"/>
              <a:gd name="connsiteX17" fmla="*/ 9848473 w 10962868"/>
              <a:gd name="connsiteY17" fmla="*/ 4581937 h 4613106"/>
              <a:gd name="connsiteX18" fmla="*/ 9817650 w 10962868"/>
              <a:gd name="connsiteY18" fmla="*/ 4571663 h 4613106"/>
              <a:gd name="connsiteX19" fmla="*/ 9786828 w 10962868"/>
              <a:gd name="connsiteY19" fmla="*/ 4540841 h 4613106"/>
              <a:gd name="connsiteX20" fmla="*/ 9776554 w 10962868"/>
              <a:gd name="connsiteY20" fmla="*/ 4489470 h 4613106"/>
              <a:gd name="connsiteX21" fmla="*/ 9766280 w 10962868"/>
              <a:gd name="connsiteY21" fmla="*/ 4458647 h 4613106"/>
              <a:gd name="connsiteX22" fmla="*/ 9427232 w 10962868"/>
              <a:gd name="connsiteY22" fmla="*/ 4438099 h 4613106"/>
              <a:gd name="connsiteX23" fmla="*/ 9365587 w 10962868"/>
              <a:gd name="connsiteY23" fmla="*/ 4407277 h 4613106"/>
              <a:gd name="connsiteX24" fmla="*/ 9314217 w 10962868"/>
              <a:gd name="connsiteY24" fmla="*/ 4386728 h 4613106"/>
              <a:gd name="connsiteX25" fmla="*/ 9242298 w 10962868"/>
              <a:gd name="connsiteY25" fmla="*/ 4325083 h 4613106"/>
              <a:gd name="connsiteX26" fmla="*/ 9108734 w 10962868"/>
              <a:gd name="connsiteY26" fmla="*/ 4314809 h 4613106"/>
              <a:gd name="connsiteX27" fmla="*/ 9047089 w 10962868"/>
              <a:gd name="connsiteY27" fmla="*/ 4355906 h 4613106"/>
              <a:gd name="connsiteX28" fmla="*/ 8995718 w 10962868"/>
              <a:gd name="connsiteY28" fmla="*/ 4397003 h 4613106"/>
              <a:gd name="connsiteX29" fmla="*/ 8964895 w 10962868"/>
              <a:gd name="connsiteY29" fmla="*/ 4417551 h 4613106"/>
              <a:gd name="connsiteX30" fmla="*/ 8903250 w 10962868"/>
              <a:gd name="connsiteY30" fmla="*/ 4458647 h 4613106"/>
              <a:gd name="connsiteX31" fmla="*/ 8882702 w 10962868"/>
              <a:gd name="connsiteY31" fmla="*/ 4479196 h 4613106"/>
              <a:gd name="connsiteX32" fmla="*/ 8574477 w 10962868"/>
              <a:gd name="connsiteY32" fmla="*/ 4489470 h 4613106"/>
              <a:gd name="connsiteX33" fmla="*/ 8512832 w 10962868"/>
              <a:gd name="connsiteY33" fmla="*/ 4479196 h 4613106"/>
              <a:gd name="connsiteX34" fmla="*/ 8440913 w 10962868"/>
              <a:gd name="connsiteY34" fmla="*/ 4468922 h 4613106"/>
              <a:gd name="connsiteX35" fmla="*/ 8410091 w 10962868"/>
              <a:gd name="connsiteY35" fmla="*/ 4448373 h 4613106"/>
              <a:gd name="connsiteX36" fmla="*/ 8399817 w 10962868"/>
              <a:gd name="connsiteY36" fmla="*/ 4304535 h 4613106"/>
              <a:gd name="connsiteX37" fmla="*/ 8410091 w 10962868"/>
              <a:gd name="connsiteY37" fmla="*/ 4273713 h 4613106"/>
              <a:gd name="connsiteX38" fmla="*/ 8410091 w 10962868"/>
              <a:gd name="connsiteY38" fmla="*/ 4242890 h 4613106"/>
              <a:gd name="connsiteX39" fmla="*/ 8399817 w 10962868"/>
              <a:gd name="connsiteY39" fmla="*/ 4232616 h 4613106"/>
              <a:gd name="connsiteX40" fmla="*/ 8410091 w 10962868"/>
              <a:gd name="connsiteY40" fmla="*/ 4201794 h 4613106"/>
              <a:gd name="connsiteX41" fmla="*/ 8368994 w 10962868"/>
              <a:gd name="connsiteY41" fmla="*/ 4212068 h 4613106"/>
              <a:gd name="connsiteX42" fmla="*/ 8348446 w 10962868"/>
              <a:gd name="connsiteY42" fmla="*/ 4191519 h 4613106"/>
              <a:gd name="connsiteX43" fmla="*/ 8354141 w 10962868"/>
              <a:gd name="connsiteY43" fmla="*/ 4174041 h 4613106"/>
              <a:gd name="connsiteX44" fmla="*/ 8358948 w 10962868"/>
              <a:gd name="connsiteY44" fmla="*/ 4174260 h 4613106"/>
              <a:gd name="connsiteX45" fmla="*/ 8430639 w 10962868"/>
              <a:gd name="connsiteY45" fmla="*/ 4181245 h 4613106"/>
              <a:gd name="connsiteX46" fmla="*/ 8461462 w 10962868"/>
              <a:gd name="connsiteY46" fmla="*/ 4201794 h 4613106"/>
              <a:gd name="connsiteX47" fmla="*/ 8492284 w 10962868"/>
              <a:gd name="connsiteY47" fmla="*/ 4212068 h 4613106"/>
              <a:gd name="connsiteX48" fmla="*/ 8482010 w 10962868"/>
              <a:gd name="connsiteY48" fmla="*/ 4170971 h 4613106"/>
              <a:gd name="connsiteX49" fmla="*/ 8451187 w 10962868"/>
              <a:gd name="connsiteY49" fmla="*/ 4160697 h 4613106"/>
              <a:gd name="connsiteX50" fmla="*/ 8410091 w 10962868"/>
              <a:gd name="connsiteY50" fmla="*/ 4150423 h 4613106"/>
              <a:gd name="connsiteX51" fmla="*/ 8355178 w 10962868"/>
              <a:gd name="connsiteY51" fmla="*/ 4170857 h 4613106"/>
              <a:gd name="connsiteX52" fmla="*/ 8354141 w 10962868"/>
              <a:gd name="connsiteY52" fmla="*/ 4174041 h 4613106"/>
              <a:gd name="connsiteX53" fmla="*/ 8286801 w 10962868"/>
              <a:gd name="connsiteY53" fmla="*/ 4170971 h 4613106"/>
              <a:gd name="connsiteX54" fmla="*/ 8235430 w 10962868"/>
              <a:gd name="connsiteY54" fmla="*/ 4191519 h 4613106"/>
              <a:gd name="connsiteX55" fmla="*/ 8163511 w 10962868"/>
              <a:gd name="connsiteY55" fmla="*/ 4253164 h 4613106"/>
              <a:gd name="connsiteX56" fmla="*/ 8142963 w 10962868"/>
              <a:gd name="connsiteY56" fmla="*/ 4283987 h 4613106"/>
              <a:gd name="connsiteX57" fmla="*/ 8132689 w 10962868"/>
              <a:gd name="connsiteY57" fmla="*/ 4314809 h 4613106"/>
              <a:gd name="connsiteX58" fmla="*/ 8091592 w 10962868"/>
              <a:gd name="connsiteY58" fmla="*/ 4335358 h 4613106"/>
              <a:gd name="connsiteX59" fmla="*/ 8060769 w 10962868"/>
              <a:gd name="connsiteY59" fmla="*/ 4283987 h 4613106"/>
              <a:gd name="connsiteX60" fmla="*/ 8029947 w 10962868"/>
              <a:gd name="connsiteY60" fmla="*/ 4232616 h 4613106"/>
              <a:gd name="connsiteX61" fmla="*/ 7968302 w 10962868"/>
              <a:gd name="connsiteY61" fmla="*/ 4253164 h 4613106"/>
              <a:gd name="connsiteX62" fmla="*/ 7875835 w 10962868"/>
              <a:gd name="connsiteY62" fmla="*/ 4201794 h 4613106"/>
              <a:gd name="connsiteX63" fmla="*/ 7845012 w 10962868"/>
              <a:gd name="connsiteY63" fmla="*/ 4222342 h 4613106"/>
              <a:gd name="connsiteX64" fmla="*/ 7824464 w 10962868"/>
              <a:gd name="connsiteY64" fmla="*/ 4253164 h 4613106"/>
              <a:gd name="connsiteX65" fmla="*/ 7773093 w 10962868"/>
              <a:gd name="connsiteY65" fmla="*/ 4294261 h 4613106"/>
              <a:gd name="connsiteX66" fmla="*/ 7701174 w 10962868"/>
              <a:gd name="connsiteY66" fmla="*/ 4304535 h 4613106"/>
              <a:gd name="connsiteX67" fmla="*/ 7670352 w 10962868"/>
              <a:gd name="connsiteY67" fmla="*/ 4294261 h 4613106"/>
              <a:gd name="connsiteX68" fmla="*/ 7608707 w 10962868"/>
              <a:gd name="connsiteY68" fmla="*/ 4263438 h 4613106"/>
              <a:gd name="connsiteX69" fmla="*/ 7567610 w 10962868"/>
              <a:gd name="connsiteY69" fmla="*/ 4201794 h 4613106"/>
              <a:gd name="connsiteX70" fmla="*/ 7557336 w 10962868"/>
              <a:gd name="connsiteY70" fmla="*/ 4232616 h 4613106"/>
              <a:gd name="connsiteX71" fmla="*/ 7526513 w 10962868"/>
              <a:gd name="connsiteY71" fmla="*/ 4242890 h 4613106"/>
              <a:gd name="connsiteX72" fmla="*/ 7495691 w 10962868"/>
              <a:gd name="connsiteY72" fmla="*/ 4263438 h 4613106"/>
              <a:gd name="connsiteX73" fmla="*/ 7475143 w 10962868"/>
              <a:gd name="connsiteY73" fmla="*/ 4232616 h 4613106"/>
              <a:gd name="connsiteX74" fmla="*/ 7444320 w 10962868"/>
              <a:gd name="connsiteY74" fmla="*/ 4242890 h 4613106"/>
              <a:gd name="connsiteX75" fmla="*/ 7403223 w 10962868"/>
              <a:gd name="connsiteY75" fmla="*/ 4263438 h 4613106"/>
              <a:gd name="connsiteX76" fmla="*/ 7321030 w 10962868"/>
              <a:gd name="connsiteY76" fmla="*/ 4273713 h 4613106"/>
              <a:gd name="connsiteX77" fmla="*/ 7249111 w 10962868"/>
              <a:gd name="connsiteY77" fmla="*/ 4263438 h 4613106"/>
              <a:gd name="connsiteX78" fmla="*/ 7238837 w 10962868"/>
              <a:gd name="connsiteY78" fmla="*/ 4201794 h 4613106"/>
              <a:gd name="connsiteX79" fmla="*/ 7218289 w 10962868"/>
              <a:gd name="connsiteY79" fmla="*/ 4181245 h 4613106"/>
              <a:gd name="connsiteX80" fmla="*/ 6776500 w 10962868"/>
              <a:gd name="connsiteY80" fmla="*/ 4170971 h 4613106"/>
              <a:gd name="connsiteX81" fmla="*/ 6745677 w 10962868"/>
              <a:gd name="connsiteY81" fmla="*/ 4181245 h 4613106"/>
              <a:gd name="connsiteX82" fmla="*/ 6684032 w 10962868"/>
              <a:gd name="connsiteY82" fmla="*/ 4201794 h 4613106"/>
              <a:gd name="connsiteX83" fmla="*/ 6632662 w 10962868"/>
              <a:gd name="connsiteY83" fmla="*/ 4222342 h 4613106"/>
              <a:gd name="connsiteX84" fmla="*/ 6355259 w 10962868"/>
              <a:gd name="connsiteY84" fmla="*/ 4242890 h 4613106"/>
              <a:gd name="connsiteX85" fmla="*/ 6252518 w 10962868"/>
              <a:gd name="connsiteY85" fmla="*/ 4232616 h 4613106"/>
              <a:gd name="connsiteX86" fmla="*/ 6170325 w 10962868"/>
              <a:gd name="connsiteY86" fmla="*/ 4212068 h 4613106"/>
              <a:gd name="connsiteX87" fmla="*/ 6129228 w 10962868"/>
              <a:gd name="connsiteY87" fmla="*/ 4201794 h 4613106"/>
              <a:gd name="connsiteX88" fmla="*/ 6067583 w 10962868"/>
              <a:gd name="connsiteY88" fmla="*/ 4160697 h 4613106"/>
              <a:gd name="connsiteX89" fmla="*/ 6036760 w 10962868"/>
              <a:gd name="connsiteY89" fmla="*/ 4150423 h 4613106"/>
              <a:gd name="connsiteX90" fmla="*/ 6005938 w 10962868"/>
              <a:gd name="connsiteY90" fmla="*/ 4129874 h 4613106"/>
              <a:gd name="connsiteX91" fmla="*/ 5923745 w 10962868"/>
              <a:gd name="connsiteY91" fmla="*/ 4068230 h 4613106"/>
              <a:gd name="connsiteX92" fmla="*/ 5892922 w 10962868"/>
              <a:gd name="connsiteY92" fmla="*/ 4047681 h 4613106"/>
              <a:gd name="connsiteX93" fmla="*/ 5738810 w 10962868"/>
              <a:gd name="connsiteY93" fmla="*/ 4027133 h 4613106"/>
              <a:gd name="connsiteX94" fmla="*/ 5677165 w 10962868"/>
              <a:gd name="connsiteY94" fmla="*/ 4068230 h 4613106"/>
              <a:gd name="connsiteX95" fmla="*/ 5636068 w 10962868"/>
              <a:gd name="connsiteY95" fmla="*/ 4140149 h 4613106"/>
              <a:gd name="connsiteX96" fmla="*/ 5605246 w 10962868"/>
              <a:gd name="connsiteY96" fmla="*/ 4170971 h 4613106"/>
              <a:gd name="connsiteX97" fmla="*/ 5574423 w 10962868"/>
              <a:gd name="connsiteY97" fmla="*/ 4222342 h 4613106"/>
              <a:gd name="connsiteX98" fmla="*/ 5523053 w 10962868"/>
              <a:gd name="connsiteY98" fmla="*/ 4232616 h 4613106"/>
              <a:gd name="connsiteX99" fmla="*/ 5481956 w 10962868"/>
              <a:gd name="connsiteY99" fmla="*/ 4212068 h 4613106"/>
              <a:gd name="connsiteX100" fmla="*/ 5451134 w 10962868"/>
              <a:gd name="connsiteY100" fmla="*/ 4191519 h 4613106"/>
              <a:gd name="connsiteX101" fmla="*/ 5410037 w 10962868"/>
              <a:gd name="connsiteY101" fmla="*/ 4181245 h 4613106"/>
              <a:gd name="connsiteX102" fmla="*/ 5338118 w 10962868"/>
              <a:gd name="connsiteY102" fmla="*/ 4212068 h 4613106"/>
              <a:gd name="connsiteX103" fmla="*/ 5255925 w 10962868"/>
              <a:gd name="connsiteY103" fmla="*/ 4242890 h 4613106"/>
              <a:gd name="connsiteX104" fmla="*/ 5070990 w 10962868"/>
              <a:gd name="connsiteY104" fmla="*/ 4253164 h 4613106"/>
              <a:gd name="connsiteX105" fmla="*/ 5009345 w 10962868"/>
              <a:gd name="connsiteY105" fmla="*/ 4273713 h 4613106"/>
              <a:gd name="connsiteX106" fmla="*/ 4947700 w 10962868"/>
              <a:gd name="connsiteY106" fmla="*/ 4283987 h 4613106"/>
              <a:gd name="connsiteX107" fmla="*/ 4711394 w 10962868"/>
              <a:gd name="connsiteY107" fmla="*/ 4294261 h 4613106"/>
              <a:gd name="connsiteX108" fmla="*/ 4660023 w 10962868"/>
              <a:gd name="connsiteY108" fmla="*/ 4273713 h 4613106"/>
              <a:gd name="connsiteX109" fmla="*/ 4618927 w 10962868"/>
              <a:gd name="connsiteY109" fmla="*/ 4232616 h 4613106"/>
              <a:gd name="connsiteX110" fmla="*/ 4526459 w 10962868"/>
              <a:gd name="connsiteY110" fmla="*/ 4222342 h 4613106"/>
              <a:gd name="connsiteX111" fmla="*/ 4423718 w 10962868"/>
              <a:gd name="connsiteY111" fmla="*/ 4242890 h 4613106"/>
              <a:gd name="connsiteX112" fmla="*/ 4376096 w 10962868"/>
              <a:gd name="connsiteY112" fmla="*/ 4252581 h 4613106"/>
              <a:gd name="connsiteX113" fmla="*/ 4380002 w 10962868"/>
              <a:gd name="connsiteY113" fmla="*/ 4251952 h 4613106"/>
              <a:gd name="connsiteX114" fmla="*/ 4361233 w 10962868"/>
              <a:gd name="connsiteY114" fmla="*/ 4255041 h 4613106"/>
              <a:gd name="connsiteX115" fmla="*/ 4310702 w 10962868"/>
              <a:gd name="connsiteY115" fmla="*/ 4263438 h 4613106"/>
              <a:gd name="connsiteX116" fmla="*/ 4074396 w 10962868"/>
              <a:gd name="connsiteY116" fmla="*/ 4273713 h 4613106"/>
              <a:gd name="connsiteX117" fmla="*/ 4043574 w 10962868"/>
              <a:gd name="connsiteY117" fmla="*/ 4263438 h 4613106"/>
              <a:gd name="connsiteX118" fmla="*/ 3920284 w 10962868"/>
              <a:gd name="connsiteY118" fmla="*/ 4253164 h 4613106"/>
              <a:gd name="connsiteX119" fmla="*/ 3879187 w 10962868"/>
              <a:gd name="connsiteY119" fmla="*/ 4263438 h 4613106"/>
              <a:gd name="connsiteX120" fmla="*/ 3827817 w 10962868"/>
              <a:gd name="connsiteY120" fmla="*/ 4273713 h 4613106"/>
              <a:gd name="connsiteX121" fmla="*/ 3735349 w 10962868"/>
              <a:gd name="connsiteY121" fmla="*/ 4294261 h 4613106"/>
              <a:gd name="connsiteX122" fmla="*/ 3478495 w 10962868"/>
              <a:gd name="connsiteY122" fmla="*/ 4304535 h 4613106"/>
              <a:gd name="connsiteX123" fmla="*/ 3406576 w 10962868"/>
              <a:gd name="connsiteY123" fmla="*/ 4294261 h 4613106"/>
              <a:gd name="connsiteX124" fmla="*/ 3324383 w 10962868"/>
              <a:gd name="connsiteY124" fmla="*/ 4283987 h 4613106"/>
              <a:gd name="connsiteX125" fmla="*/ 3293560 w 10962868"/>
              <a:gd name="connsiteY125" fmla="*/ 4263438 h 4613106"/>
              <a:gd name="connsiteX126" fmla="*/ 3252464 w 10962868"/>
              <a:gd name="connsiteY126" fmla="*/ 4232616 h 4613106"/>
              <a:gd name="connsiteX127" fmla="*/ 3231916 w 10962868"/>
              <a:gd name="connsiteY127" fmla="*/ 4201794 h 4613106"/>
              <a:gd name="connsiteX128" fmla="*/ 3180545 w 10962868"/>
              <a:gd name="connsiteY128" fmla="*/ 4181245 h 4613106"/>
              <a:gd name="connsiteX129" fmla="*/ 2810675 w 10962868"/>
              <a:gd name="connsiteY129" fmla="*/ 4170971 h 4613106"/>
              <a:gd name="connsiteX130" fmla="*/ 2749030 w 10962868"/>
              <a:gd name="connsiteY130" fmla="*/ 4160697 h 4613106"/>
              <a:gd name="connsiteX131" fmla="*/ 2646289 w 10962868"/>
              <a:gd name="connsiteY131" fmla="*/ 4150423 h 4613106"/>
              <a:gd name="connsiteX132" fmla="*/ 2533273 w 10962868"/>
              <a:gd name="connsiteY132" fmla="*/ 4057955 h 4613106"/>
              <a:gd name="connsiteX133" fmla="*/ 2512725 w 10962868"/>
              <a:gd name="connsiteY133" fmla="*/ 4027133 h 4613106"/>
              <a:gd name="connsiteX134" fmla="*/ 2389435 w 10962868"/>
              <a:gd name="connsiteY134" fmla="*/ 4016859 h 4613106"/>
              <a:gd name="connsiteX135" fmla="*/ 2255871 w 10962868"/>
              <a:gd name="connsiteY135" fmla="*/ 4088778 h 4613106"/>
              <a:gd name="connsiteX136" fmla="*/ 2194226 w 10962868"/>
              <a:gd name="connsiteY136" fmla="*/ 4109326 h 4613106"/>
              <a:gd name="connsiteX137" fmla="*/ 2142855 w 10962868"/>
              <a:gd name="connsiteY137" fmla="*/ 4129874 h 4613106"/>
              <a:gd name="connsiteX138" fmla="*/ 1988743 w 10962868"/>
              <a:gd name="connsiteY138" fmla="*/ 4140149 h 4613106"/>
              <a:gd name="connsiteX139" fmla="*/ 1916823 w 10962868"/>
              <a:gd name="connsiteY139" fmla="*/ 4129874 h 4613106"/>
              <a:gd name="connsiteX140" fmla="*/ 1855178 w 10962868"/>
              <a:gd name="connsiteY140" fmla="*/ 4088778 h 4613106"/>
              <a:gd name="connsiteX141" fmla="*/ 1793534 w 10962868"/>
              <a:gd name="connsiteY141" fmla="*/ 4037407 h 4613106"/>
              <a:gd name="connsiteX142" fmla="*/ 1516131 w 10962868"/>
              <a:gd name="connsiteY142" fmla="*/ 4027133 h 4613106"/>
              <a:gd name="connsiteX143" fmla="*/ 1485309 w 10962868"/>
              <a:gd name="connsiteY143" fmla="*/ 4016859 h 4613106"/>
              <a:gd name="connsiteX144" fmla="*/ 1444212 w 10962868"/>
              <a:gd name="connsiteY144" fmla="*/ 4006585 h 4613106"/>
              <a:gd name="connsiteX145" fmla="*/ 1403116 w 10962868"/>
              <a:gd name="connsiteY145" fmla="*/ 3965488 h 4613106"/>
              <a:gd name="connsiteX146" fmla="*/ 1382567 w 10962868"/>
              <a:gd name="connsiteY146" fmla="*/ 3934665 h 4613106"/>
              <a:gd name="connsiteX147" fmla="*/ 1331196 w 10962868"/>
              <a:gd name="connsiteY147" fmla="*/ 3924391 h 4613106"/>
              <a:gd name="connsiteX148" fmla="*/ 1249003 w 10962868"/>
              <a:gd name="connsiteY148" fmla="*/ 3955214 h 4613106"/>
              <a:gd name="connsiteX149" fmla="*/ 1218181 w 10962868"/>
              <a:gd name="connsiteY149" fmla="*/ 3975762 h 4613106"/>
              <a:gd name="connsiteX150" fmla="*/ 1166810 w 10962868"/>
              <a:gd name="connsiteY150" fmla="*/ 4006585 h 4613106"/>
              <a:gd name="connsiteX151" fmla="*/ 1125713 w 10962868"/>
              <a:gd name="connsiteY151" fmla="*/ 4027133 h 4613106"/>
              <a:gd name="connsiteX152" fmla="*/ 1094891 w 10962868"/>
              <a:gd name="connsiteY152" fmla="*/ 4047681 h 4613106"/>
              <a:gd name="connsiteX153" fmla="*/ 940778 w 10962868"/>
              <a:gd name="connsiteY153" fmla="*/ 4068230 h 4613106"/>
              <a:gd name="connsiteX154" fmla="*/ 879134 w 10962868"/>
              <a:gd name="connsiteY154" fmla="*/ 4057955 h 4613106"/>
              <a:gd name="connsiteX155" fmla="*/ 796940 w 10962868"/>
              <a:gd name="connsiteY155" fmla="*/ 4027133 h 4613106"/>
              <a:gd name="connsiteX156" fmla="*/ 725021 w 10962868"/>
              <a:gd name="connsiteY156" fmla="*/ 3965488 h 4613106"/>
              <a:gd name="connsiteX157" fmla="*/ 612005 w 10962868"/>
              <a:gd name="connsiteY157" fmla="*/ 3934665 h 4613106"/>
              <a:gd name="connsiteX158" fmla="*/ 550360 w 10962868"/>
              <a:gd name="connsiteY158" fmla="*/ 3955214 h 4613106"/>
              <a:gd name="connsiteX159" fmla="*/ 478441 w 10962868"/>
              <a:gd name="connsiteY159" fmla="*/ 3965488 h 4613106"/>
              <a:gd name="connsiteX160" fmla="*/ 437345 w 10962868"/>
              <a:gd name="connsiteY160" fmla="*/ 3955214 h 4613106"/>
              <a:gd name="connsiteX161" fmla="*/ 406522 w 10962868"/>
              <a:gd name="connsiteY161" fmla="*/ 3944940 h 4613106"/>
              <a:gd name="connsiteX162" fmla="*/ 344877 w 10962868"/>
              <a:gd name="connsiteY162" fmla="*/ 3924391 h 4613106"/>
              <a:gd name="connsiteX163" fmla="*/ 303781 w 10962868"/>
              <a:gd name="connsiteY163" fmla="*/ 3914117 h 4613106"/>
              <a:gd name="connsiteX164" fmla="*/ 272958 w 10962868"/>
              <a:gd name="connsiteY164" fmla="*/ 3924391 h 4613106"/>
              <a:gd name="connsiteX165" fmla="*/ 252410 w 10962868"/>
              <a:gd name="connsiteY165" fmla="*/ 3986036 h 4613106"/>
              <a:gd name="connsiteX166" fmla="*/ 231862 w 10962868"/>
              <a:gd name="connsiteY166" fmla="*/ 4037407 h 4613106"/>
              <a:gd name="connsiteX167" fmla="*/ 201039 w 10962868"/>
              <a:gd name="connsiteY167" fmla="*/ 4099052 h 4613106"/>
              <a:gd name="connsiteX168" fmla="*/ 129120 w 10962868"/>
              <a:gd name="connsiteY168" fmla="*/ 4109326 h 4613106"/>
              <a:gd name="connsiteX169" fmla="*/ 98298 w 10962868"/>
              <a:gd name="connsiteY169" fmla="*/ 4088778 h 4613106"/>
              <a:gd name="connsiteX170" fmla="*/ 26378 w 10962868"/>
              <a:gd name="connsiteY170" fmla="*/ 4047681 h 4613106"/>
              <a:gd name="connsiteX171" fmla="*/ 5830 w 10962868"/>
              <a:gd name="connsiteY171" fmla="*/ 4016859 h 4613106"/>
              <a:gd name="connsiteX172" fmla="*/ 0 w 10962868"/>
              <a:gd name="connsiteY172" fmla="*/ 4010577 h 46131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</a:cxnLst>
            <a:rect l="l" t="t" r="r" b="b"/>
            <a:pathLst>
              <a:path w="10962868" h="4613106">
                <a:moveTo>
                  <a:pt x="4384639" y="4251205"/>
                </a:moveTo>
                <a:lnTo>
                  <a:pt x="4380002" y="4251952"/>
                </a:lnTo>
                <a:lnTo>
                  <a:pt x="4382782" y="4251494"/>
                </a:lnTo>
                <a:cubicBezTo>
                  <a:pt x="4386167" y="4250943"/>
                  <a:pt x="4386270" y="4250936"/>
                  <a:pt x="4384639" y="4251205"/>
                </a:cubicBezTo>
                <a:close/>
                <a:moveTo>
                  <a:pt x="0" y="0"/>
                </a:moveTo>
                <a:lnTo>
                  <a:pt x="10962868" y="0"/>
                </a:lnTo>
                <a:lnTo>
                  <a:pt x="10962868" y="4451385"/>
                </a:lnTo>
                <a:lnTo>
                  <a:pt x="10947808" y="4448373"/>
                </a:lnTo>
                <a:cubicBezTo>
                  <a:pt x="10879314" y="4444948"/>
                  <a:pt x="10810905" y="4438099"/>
                  <a:pt x="10742325" y="4438099"/>
                </a:cubicBezTo>
                <a:cubicBezTo>
                  <a:pt x="10731495" y="4438099"/>
                  <a:pt x="10720789" y="4442801"/>
                  <a:pt x="10711502" y="4448373"/>
                </a:cubicBezTo>
                <a:cubicBezTo>
                  <a:pt x="10703196" y="4453357"/>
                  <a:pt x="10697803" y="4462072"/>
                  <a:pt x="10690954" y="4468922"/>
                </a:cubicBezTo>
                <a:lnTo>
                  <a:pt x="10660131" y="4479196"/>
                </a:lnTo>
                <a:cubicBezTo>
                  <a:pt x="10623806" y="4491304"/>
                  <a:pt x="10594065" y="4519565"/>
                  <a:pt x="10557390" y="4530567"/>
                </a:cubicBezTo>
                <a:cubicBezTo>
                  <a:pt x="10483068" y="4552864"/>
                  <a:pt x="10470615" y="4544833"/>
                  <a:pt x="10413552" y="4530567"/>
                </a:cubicBezTo>
                <a:cubicBezTo>
                  <a:pt x="10413552" y="4530567"/>
                  <a:pt x="10372018" y="4543071"/>
                  <a:pt x="10351907" y="4551115"/>
                </a:cubicBezTo>
                <a:cubicBezTo>
                  <a:pt x="10224954" y="4601895"/>
                  <a:pt x="10379200" y="4548867"/>
                  <a:pt x="10279987" y="4581937"/>
                </a:cubicBezTo>
                <a:cubicBezTo>
                  <a:pt x="10157640" y="4599417"/>
                  <a:pt x="10109485" y="4607814"/>
                  <a:pt x="9951214" y="4612760"/>
                </a:cubicBezTo>
                <a:cubicBezTo>
                  <a:pt x="9888061" y="4614734"/>
                  <a:pt x="9888741" y="4608784"/>
                  <a:pt x="9848473" y="4581937"/>
                </a:cubicBezTo>
                <a:cubicBezTo>
                  <a:pt x="9838199" y="4578512"/>
                  <a:pt x="9826661" y="4577670"/>
                  <a:pt x="9817650" y="4571663"/>
                </a:cubicBezTo>
                <a:cubicBezTo>
                  <a:pt x="9805561" y="4563604"/>
                  <a:pt x="9793326" y="4553837"/>
                  <a:pt x="9786828" y="4540841"/>
                </a:cubicBezTo>
                <a:cubicBezTo>
                  <a:pt x="9779018" y="4525222"/>
                  <a:pt x="9780789" y="4506411"/>
                  <a:pt x="9776554" y="4489470"/>
                </a:cubicBezTo>
                <a:cubicBezTo>
                  <a:pt x="9773927" y="4478963"/>
                  <a:pt x="9769705" y="4468921"/>
                  <a:pt x="9766280" y="4458647"/>
                </a:cubicBezTo>
                <a:cubicBezTo>
                  <a:pt x="9698093" y="4455682"/>
                  <a:pt x="9520025" y="4452375"/>
                  <a:pt x="9427232" y="4438099"/>
                </a:cubicBezTo>
                <a:cubicBezTo>
                  <a:pt x="9389933" y="4432361"/>
                  <a:pt x="9399449" y="4424208"/>
                  <a:pt x="9365587" y="4407277"/>
                </a:cubicBezTo>
                <a:cubicBezTo>
                  <a:pt x="9349092" y="4399029"/>
                  <a:pt x="9329562" y="4396958"/>
                  <a:pt x="9314217" y="4386728"/>
                </a:cubicBezTo>
                <a:cubicBezTo>
                  <a:pt x="9303380" y="4379503"/>
                  <a:pt x="9264387" y="4329225"/>
                  <a:pt x="9242298" y="4325083"/>
                </a:cubicBezTo>
                <a:cubicBezTo>
                  <a:pt x="9198410" y="4316854"/>
                  <a:pt x="9153255" y="4318234"/>
                  <a:pt x="9108734" y="4314809"/>
                </a:cubicBezTo>
                <a:cubicBezTo>
                  <a:pt x="9072110" y="4351433"/>
                  <a:pt x="9105142" y="4322734"/>
                  <a:pt x="9047089" y="4355906"/>
                </a:cubicBezTo>
                <a:cubicBezTo>
                  <a:pt x="9016844" y="4373188"/>
                  <a:pt x="9018221" y="4374499"/>
                  <a:pt x="8995718" y="4397003"/>
                </a:cubicBezTo>
                <a:cubicBezTo>
                  <a:pt x="8986987" y="4405735"/>
                  <a:pt x="8975169" y="4410702"/>
                  <a:pt x="8964895" y="4417551"/>
                </a:cubicBezTo>
                <a:cubicBezTo>
                  <a:pt x="8944347" y="4431250"/>
                  <a:pt x="8923007" y="4443829"/>
                  <a:pt x="8903250" y="4458647"/>
                </a:cubicBezTo>
                <a:cubicBezTo>
                  <a:pt x="8895501" y="4464459"/>
                  <a:pt x="8892346" y="4478292"/>
                  <a:pt x="8882702" y="4479196"/>
                </a:cubicBezTo>
                <a:cubicBezTo>
                  <a:pt x="8780352" y="4488791"/>
                  <a:pt x="8677219" y="4486045"/>
                  <a:pt x="8574477" y="4489470"/>
                </a:cubicBezTo>
                <a:cubicBezTo>
                  <a:pt x="8553929" y="4486045"/>
                  <a:pt x="8533422" y="4482364"/>
                  <a:pt x="8512832" y="4479196"/>
                </a:cubicBezTo>
                <a:cubicBezTo>
                  <a:pt x="8488897" y="4475514"/>
                  <a:pt x="8464108" y="4475881"/>
                  <a:pt x="8440913" y="4468922"/>
                </a:cubicBezTo>
                <a:cubicBezTo>
                  <a:pt x="8429086" y="4465374"/>
                  <a:pt x="8413086" y="4460352"/>
                  <a:pt x="8410091" y="4448373"/>
                </a:cubicBezTo>
                <a:cubicBezTo>
                  <a:pt x="8398433" y="4401740"/>
                  <a:pt x="8403242" y="4352481"/>
                  <a:pt x="8399817" y="4304535"/>
                </a:cubicBezTo>
                <a:cubicBezTo>
                  <a:pt x="8403242" y="4294261"/>
                  <a:pt x="8402433" y="4281371"/>
                  <a:pt x="8410091" y="4273713"/>
                </a:cubicBezTo>
                <a:cubicBezTo>
                  <a:pt x="8435613" y="4248190"/>
                  <a:pt x="8469323" y="4282378"/>
                  <a:pt x="8410091" y="4242890"/>
                </a:cubicBezTo>
                <a:cubicBezTo>
                  <a:pt x="8354310" y="4261483"/>
                  <a:pt x="8385714" y="4256121"/>
                  <a:pt x="8399817" y="4232616"/>
                </a:cubicBezTo>
                <a:cubicBezTo>
                  <a:pt x="8405389" y="4223330"/>
                  <a:pt x="8419102" y="4207801"/>
                  <a:pt x="8410091" y="4201794"/>
                </a:cubicBezTo>
                <a:cubicBezTo>
                  <a:pt x="8398342" y="4193961"/>
                  <a:pt x="8382693" y="4208643"/>
                  <a:pt x="8368994" y="4212068"/>
                </a:cubicBezTo>
                <a:lnTo>
                  <a:pt x="8348446" y="4191519"/>
                </a:lnTo>
                <a:lnTo>
                  <a:pt x="8354141" y="4174041"/>
                </a:lnTo>
                <a:lnTo>
                  <a:pt x="8358948" y="4174260"/>
                </a:lnTo>
                <a:cubicBezTo>
                  <a:pt x="8382998" y="4175356"/>
                  <a:pt x="8406971" y="4177068"/>
                  <a:pt x="8430639" y="4181245"/>
                </a:cubicBezTo>
                <a:cubicBezTo>
                  <a:pt x="8442799" y="4183391"/>
                  <a:pt x="8450417" y="4196272"/>
                  <a:pt x="8461462" y="4201794"/>
                </a:cubicBezTo>
                <a:cubicBezTo>
                  <a:pt x="8471148" y="4206637"/>
                  <a:pt x="8482010" y="4208643"/>
                  <a:pt x="8492284" y="4212068"/>
                </a:cubicBezTo>
                <a:cubicBezTo>
                  <a:pt x="8488859" y="4198369"/>
                  <a:pt x="8490831" y="4181997"/>
                  <a:pt x="8482010" y="4170971"/>
                </a:cubicBezTo>
                <a:cubicBezTo>
                  <a:pt x="8475244" y="4162514"/>
                  <a:pt x="8461600" y="4163672"/>
                  <a:pt x="8451187" y="4160697"/>
                </a:cubicBezTo>
                <a:cubicBezTo>
                  <a:pt x="8437610" y="4156818"/>
                  <a:pt x="8423790" y="4153848"/>
                  <a:pt x="8410091" y="4150423"/>
                </a:cubicBezTo>
                <a:cubicBezTo>
                  <a:pt x="8394625" y="4154290"/>
                  <a:pt x="8367683" y="4155518"/>
                  <a:pt x="8355178" y="4170857"/>
                </a:cubicBezTo>
                <a:lnTo>
                  <a:pt x="8354141" y="4174041"/>
                </a:lnTo>
                <a:lnTo>
                  <a:pt x="8286801" y="4170971"/>
                </a:lnTo>
                <a:cubicBezTo>
                  <a:pt x="8269677" y="4177820"/>
                  <a:pt x="8251926" y="4183271"/>
                  <a:pt x="8235430" y="4191519"/>
                </a:cubicBezTo>
                <a:cubicBezTo>
                  <a:pt x="8208167" y="4205151"/>
                  <a:pt x="8182466" y="4231050"/>
                  <a:pt x="8163511" y="4253164"/>
                </a:cubicBezTo>
                <a:cubicBezTo>
                  <a:pt x="8155475" y="4262539"/>
                  <a:pt x="8148485" y="4272942"/>
                  <a:pt x="8142963" y="4283987"/>
                </a:cubicBezTo>
                <a:cubicBezTo>
                  <a:pt x="8138120" y="4293673"/>
                  <a:pt x="8140347" y="4307151"/>
                  <a:pt x="8132689" y="4314809"/>
                </a:cubicBezTo>
                <a:cubicBezTo>
                  <a:pt x="8121859" y="4325639"/>
                  <a:pt x="8105291" y="4328508"/>
                  <a:pt x="8091592" y="4335358"/>
                </a:cubicBezTo>
                <a:cubicBezTo>
                  <a:pt x="8051458" y="4295222"/>
                  <a:pt x="8087443" y="4337335"/>
                  <a:pt x="8060769" y="4283987"/>
                </a:cubicBezTo>
                <a:cubicBezTo>
                  <a:pt x="8051838" y="4266126"/>
                  <a:pt x="8040221" y="4249740"/>
                  <a:pt x="8029947" y="4232616"/>
                </a:cubicBezTo>
                <a:cubicBezTo>
                  <a:pt x="8018803" y="4214043"/>
                  <a:pt x="7988850" y="4246315"/>
                  <a:pt x="7968302" y="4253164"/>
                </a:cubicBezTo>
                <a:cubicBezTo>
                  <a:pt x="7914051" y="4235080"/>
                  <a:pt x="7946491" y="4248897"/>
                  <a:pt x="7875835" y="4201794"/>
                </a:cubicBezTo>
                <a:cubicBezTo>
                  <a:pt x="7865561" y="4208643"/>
                  <a:pt x="7853744" y="4213611"/>
                  <a:pt x="7845012" y="4222342"/>
                </a:cubicBezTo>
                <a:cubicBezTo>
                  <a:pt x="7836281" y="4231073"/>
                  <a:pt x="7832178" y="4243522"/>
                  <a:pt x="7824464" y="4253164"/>
                </a:cubicBezTo>
                <a:cubicBezTo>
                  <a:pt x="7814661" y="4265418"/>
                  <a:pt x="7787149" y="4290044"/>
                  <a:pt x="7773093" y="4294261"/>
                </a:cubicBezTo>
                <a:cubicBezTo>
                  <a:pt x="7749898" y="4301219"/>
                  <a:pt x="7725147" y="4301110"/>
                  <a:pt x="7701174" y="4304535"/>
                </a:cubicBezTo>
                <a:cubicBezTo>
                  <a:pt x="7690900" y="4301110"/>
                  <a:pt x="7680038" y="4299104"/>
                  <a:pt x="7670352" y="4294261"/>
                </a:cubicBezTo>
                <a:cubicBezTo>
                  <a:pt x="7590677" y="4254424"/>
                  <a:pt x="7686185" y="4289267"/>
                  <a:pt x="7608707" y="4263438"/>
                </a:cubicBezTo>
                <a:cubicBezTo>
                  <a:pt x="7585279" y="4255628"/>
                  <a:pt x="7588787" y="4214500"/>
                  <a:pt x="7567610" y="4201794"/>
                </a:cubicBezTo>
                <a:cubicBezTo>
                  <a:pt x="7558324" y="4196222"/>
                  <a:pt x="7560761" y="4222342"/>
                  <a:pt x="7557336" y="4232616"/>
                </a:cubicBezTo>
                <a:cubicBezTo>
                  <a:pt x="7547062" y="4236041"/>
                  <a:pt x="7536200" y="4238047"/>
                  <a:pt x="7526513" y="4242890"/>
                </a:cubicBezTo>
                <a:cubicBezTo>
                  <a:pt x="7515469" y="4248412"/>
                  <a:pt x="7507799" y="4265860"/>
                  <a:pt x="7495691" y="4263438"/>
                </a:cubicBezTo>
                <a:cubicBezTo>
                  <a:pt x="7483583" y="4261016"/>
                  <a:pt x="7481992" y="4242890"/>
                  <a:pt x="7475143" y="4232616"/>
                </a:cubicBezTo>
                <a:cubicBezTo>
                  <a:pt x="7464869" y="4236041"/>
                  <a:pt x="7454274" y="4238624"/>
                  <a:pt x="7444320" y="4242890"/>
                </a:cubicBezTo>
                <a:cubicBezTo>
                  <a:pt x="7430242" y="4248923"/>
                  <a:pt x="7418082" y="4259723"/>
                  <a:pt x="7403223" y="4263438"/>
                </a:cubicBezTo>
                <a:cubicBezTo>
                  <a:pt x="7376437" y="4270135"/>
                  <a:pt x="7348428" y="4270288"/>
                  <a:pt x="7321030" y="4273713"/>
                </a:cubicBezTo>
                <a:cubicBezTo>
                  <a:pt x="7297057" y="4270288"/>
                  <a:pt x="7267336" y="4279385"/>
                  <a:pt x="7249111" y="4263438"/>
                </a:cubicBezTo>
                <a:cubicBezTo>
                  <a:pt x="7233434" y="4249720"/>
                  <a:pt x="7246151" y="4221299"/>
                  <a:pt x="7238837" y="4201794"/>
                </a:cubicBezTo>
                <a:cubicBezTo>
                  <a:pt x="7235436" y="4192724"/>
                  <a:pt x="7227954" y="4181889"/>
                  <a:pt x="7218289" y="4181245"/>
                </a:cubicBezTo>
                <a:cubicBezTo>
                  <a:pt x="7071312" y="4171446"/>
                  <a:pt x="6923763" y="4174396"/>
                  <a:pt x="6776500" y="4170971"/>
                </a:cubicBezTo>
                <a:lnTo>
                  <a:pt x="6745677" y="4181245"/>
                </a:lnTo>
                <a:cubicBezTo>
                  <a:pt x="6725129" y="4188095"/>
                  <a:pt x="6704388" y="4194392"/>
                  <a:pt x="6684032" y="4201794"/>
                </a:cubicBezTo>
                <a:cubicBezTo>
                  <a:pt x="6666700" y="4208097"/>
                  <a:pt x="6650327" y="4217043"/>
                  <a:pt x="6632662" y="4222342"/>
                </a:cubicBezTo>
                <a:cubicBezTo>
                  <a:pt x="6556571" y="4245169"/>
                  <a:pt x="6386081" y="4241489"/>
                  <a:pt x="6355259" y="4242890"/>
                </a:cubicBezTo>
                <a:cubicBezTo>
                  <a:pt x="6321012" y="4239465"/>
                  <a:pt x="6286634" y="4237165"/>
                  <a:pt x="6252518" y="4232616"/>
                </a:cubicBezTo>
                <a:cubicBezTo>
                  <a:pt x="6193766" y="4224783"/>
                  <a:pt x="6215705" y="4225034"/>
                  <a:pt x="6170325" y="4212068"/>
                </a:cubicBezTo>
                <a:cubicBezTo>
                  <a:pt x="6156748" y="4208189"/>
                  <a:pt x="6142927" y="4205219"/>
                  <a:pt x="6129228" y="4201794"/>
                </a:cubicBezTo>
                <a:cubicBezTo>
                  <a:pt x="6105269" y="4195804"/>
                  <a:pt x="6088131" y="4174396"/>
                  <a:pt x="6067583" y="4160697"/>
                </a:cubicBezTo>
                <a:cubicBezTo>
                  <a:pt x="6057309" y="4157272"/>
                  <a:pt x="6046447" y="4155266"/>
                  <a:pt x="6036760" y="4150423"/>
                </a:cubicBezTo>
                <a:cubicBezTo>
                  <a:pt x="6025716" y="4144901"/>
                  <a:pt x="6016212" y="4136724"/>
                  <a:pt x="6005938" y="4129874"/>
                </a:cubicBezTo>
                <a:cubicBezTo>
                  <a:pt x="5977443" y="4110877"/>
                  <a:pt x="5951442" y="4088373"/>
                  <a:pt x="5923745" y="4068230"/>
                </a:cubicBezTo>
                <a:cubicBezTo>
                  <a:pt x="5913758" y="4060967"/>
                  <a:pt x="5903967" y="4053203"/>
                  <a:pt x="5892922" y="4047681"/>
                </a:cubicBezTo>
                <a:cubicBezTo>
                  <a:pt x="5850956" y="4026698"/>
                  <a:pt x="5766351" y="4029428"/>
                  <a:pt x="5738810" y="4027133"/>
                </a:cubicBezTo>
                <a:cubicBezTo>
                  <a:pt x="5738810" y="4027133"/>
                  <a:pt x="5695623" y="4051823"/>
                  <a:pt x="5677165" y="4068230"/>
                </a:cubicBezTo>
                <a:cubicBezTo>
                  <a:pt x="5647702" y="4094419"/>
                  <a:pt x="5646788" y="4107990"/>
                  <a:pt x="5636068" y="4140149"/>
                </a:cubicBezTo>
                <a:cubicBezTo>
                  <a:pt x="5625794" y="4150423"/>
                  <a:pt x="5613305" y="4158882"/>
                  <a:pt x="5605246" y="4170971"/>
                </a:cubicBezTo>
                <a:cubicBezTo>
                  <a:pt x="5590054" y="4193759"/>
                  <a:pt x="5604289" y="4209543"/>
                  <a:pt x="5574423" y="4222342"/>
                </a:cubicBezTo>
                <a:cubicBezTo>
                  <a:pt x="5558372" y="4229221"/>
                  <a:pt x="5540176" y="4229191"/>
                  <a:pt x="5523053" y="4232616"/>
                </a:cubicBezTo>
                <a:cubicBezTo>
                  <a:pt x="5509354" y="4225767"/>
                  <a:pt x="5495254" y="4219667"/>
                  <a:pt x="5481956" y="4212068"/>
                </a:cubicBezTo>
                <a:cubicBezTo>
                  <a:pt x="5471235" y="4205942"/>
                  <a:pt x="5462484" y="4196383"/>
                  <a:pt x="5451134" y="4191519"/>
                </a:cubicBezTo>
                <a:cubicBezTo>
                  <a:pt x="5438155" y="4185957"/>
                  <a:pt x="5423736" y="4184670"/>
                  <a:pt x="5410037" y="4181245"/>
                </a:cubicBezTo>
                <a:cubicBezTo>
                  <a:pt x="5346726" y="4202348"/>
                  <a:pt x="5414296" y="4178210"/>
                  <a:pt x="5338118" y="4212068"/>
                </a:cubicBezTo>
                <a:cubicBezTo>
                  <a:pt x="5301269" y="4228446"/>
                  <a:pt x="5289812" y="4231594"/>
                  <a:pt x="5255925" y="4242890"/>
                </a:cubicBezTo>
                <a:lnTo>
                  <a:pt x="5070990" y="4253164"/>
                </a:lnTo>
                <a:cubicBezTo>
                  <a:pt x="5049363" y="4254365"/>
                  <a:pt x="5030358" y="4268460"/>
                  <a:pt x="5009345" y="4273713"/>
                </a:cubicBezTo>
                <a:cubicBezTo>
                  <a:pt x="4989135" y="4278766"/>
                  <a:pt x="4968482" y="4282554"/>
                  <a:pt x="4947700" y="4283987"/>
                </a:cubicBezTo>
                <a:cubicBezTo>
                  <a:pt x="4869044" y="4289411"/>
                  <a:pt x="4790163" y="4290836"/>
                  <a:pt x="4711394" y="4294261"/>
                </a:cubicBezTo>
                <a:cubicBezTo>
                  <a:pt x="4694270" y="4287412"/>
                  <a:pt x="4675368" y="4283943"/>
                  <a:pt x="4660023" y="4273713"/>
                </a:cubicBezTo>
                <a:cubicBezTo>
                  <a:pt x="4643904" y="4262967"/>
                  <a:pt x="4637010" y="4239571"/>
                  <a:pt x="4618927" y="4232616"/>
                </a:cubicBezTo>
                <a:cubicBezTo>
                  <a:pt x="4589982" y="4221483"/>
                  <a:pt x="4557282" y="4225767"/>
                  <a:pt x="4526459" y="4222342"/>
                </a:cubicBezTo>
                <a:cubicBezTo>
                  <a:pt x="4453771" y="4240514"/>
                  <a:pt x="4516084" y="4226097"/>
                  <a:pt x="4423718" y="4242890"/>
                </a:cubicBezTo>
                <a:cubicBezTo>
                  <a:pt x="4344740" y="4257250"/>
                  <a:pt x="4361899" y="4254818"/>
                  <a:pt x="4376096" y="4252581"/>
                </a:cubicBezTo>
                <a:lnTo>
                  <a:pt x="4380002" y="4251952"/>
                </a:lnTo>
                <a:lnTo>
                  <a:pt x="4361233" y="4255041"/>
                </a:lnTo>
                <a:cubicBezTo>
                  <a:pt x="4349736" y="4256944"/>
                  <a:pt x="4333409" y="4259654"/>
                  <a:pt x="4310702" y="4263438"/>
                </a:cubicBezTo>
                <a:cubicBezTo>
                  <a:pt x="4231933" y="4266863"/>
                  <a:pt x="4153240" y="4273713"/>
                  <a:pt x="4074396" y="4273713"/>
                </a:cubicBezTo>
                <a:cubicBezTo>
                  <a:pt x="4063566" y="4273713"/>
                  <a:pt x="4054309" y="4264869"/>
                  <a:pt x="4043574" y="4263438"/>
                </a:cubicBezTo>
                <a:cubicBezTo>
                  <a:pt x="4002697" y="4257987"/>
                  <a:pt x="3961381" y="4256589"/>
                  <a:pt x="3920284" y="4253164"/>
                </a:cubicBezTo>
                <a:cubicBezTo>
                  <a:pt x="3906585" y="4256589"/>
                  <a:pt x="3892971" y="4260375"/>
                  <a:pt x="3879187" y="4263438"/>
                </a:cubicBezTo>
                <a:cubicBezTo>
                  <a:pt x="3862140" y="4267226"/>
                  <a:pt x="3844758" y="4269478"/>
                  <a:pt x="3827817" y="4273713"/>
                </a:cubicBezTo>
                <a:cubicBezTo>
                  <a:pt x="3775218" y="4286863"/>
                  <a:pt x="3811550" y="4289345"/>
                  <a:pt x="3735349" y="4294261"/>
                </a:cubicBezTo>
                <a:cubicBezTo>
                  <a:pt x="3649840" y="4299778"/>
                  <a:pt x="3564113" y="4301110"/>
                  <a:pt x="3478495" y="4304535"/>
                </a:cubicBezTo>
                <a:lnTo>
                  <a:pt x="3406576" y="4294261"/>
                </a:lnTo>
                <a:cubicBezTo>
                  <a:pt x="3379207" y="4290612"/>
                  <a:pt x="3351021" y="4291252"/>
                  <a:pt x="3324383" y="4283987"/>
                </a:cubicBezTo>
                <a:cubicBezTo>
                  <a:pt x="3312470" y="4280738"/>
                  <a:pt x="3303608" y="4270615"/>
                  <a:pt x="3293560" y="4263438"/>
                </a:cubicBezTo>
                <a:cubicBezTo>
                  <a:pt x="3279626" y="4253485"/>
                  <a:pt x="3264572" y="4244724"/>
                  <a:pt x="3252464" y="4232616"/>
                </a:cubicBezTo>
                <a:cubicBezTo>
                  <a:pt x="3243733" y="4223885"/>
                  <a:pt x="3241964" y="4208971"/>
                  <a:pt x="3231916" y="4201794"/>
                </a:cubicBezTo>
                <a:cubicBezTo>
                  <a:pt x="3216908" y="4191074"/>
                  <a:pt x="3197669" y="4188095"/>
                  <a:pt x="3180545" y="4181245"/>
                </a:cubicBezTo>
                <a:cubicBezTo>
                  <a:pt x="3057255" y="4177820"/>
                  <a:pt x="2933873" y="4176837"/>
                  <a:pt x="2810675" y="4170971"/>
                </a:cubicBezTo>
                <a:cubicBezTo>
                  <a:pt x="2789867" y="4169980"/>
                  <a:pt x="2769701" y="4163281"/>
                  <a:pt x="2749030" y="4160697"/>
                </a:cubicBezTo>
                <a:cubicBezTo>
                  <a:pt x="2714878" y="4156428"/>
                  <a:pt x="2680536" y="4153848"/>
                  <a:pt x="2646289" y="4150423"/>
                </a:cubicBezTo>
                <a:cubicBezTo>
                  <a:pt x="2618556" y="4147650"/>
                  <a:pt x="2549095" y="4076037"/>
                  <a:pt x="2533273" y="4057955"/>
                </a:cubicBezTo>
                <a:cubicBezTo>
                  <a:pt x="2525142" y="4048662"/>
                  <a:pt x="2524598" y="4030525"/>
                  <a:pt x="2512725" y="4027133"/>
                </a:cubicBezTo>
                <a:cubicBezTo>
                  <a:pt x="2473073" y="4015804"/>
                  <a:pt x="2430532" y="4020284"/>
                  <a:pt x="2389435" y="4016859"/>
                </a:cubicBezTo>
                <a:cubicBezTo>
                  <a:pt x="2336762" y="4051973"/>
                  <a:pt x="2338619" y="4052576"/>
                  <a:pt x="2255871" y="4088778"/>
                </a:cubicBezTo>
                <a:cubicBezTo>
                  <a:pt x="2236027" y="4097460"/>
                  <a:pt x="2214582" y="4101924"/>
                  <a:pt x="2194226" y="4109326"/>
                </a:cubicBezTo>
                <a:cubicBezTo>
                  <a:pt x="2176894" y="4115629"/>
                  <a:pt x="2161094" y="4127138"/>
                  <a:pt x="2142855" y="4129874"/>
                </a:cubicBezTo>
                <a:cubicBezTo>
                  <a:pt x="2091940" y="4137511"/>
                  <a:pt x="2040114" y="4136724"/>
                  <a:pt x="1988743" y="4140149"/>
                </a:cubicBezTo>
                <a:cubicBezTo>
                  <a:pt x="1964770" y="4136724"/>
                  <a:pt x="1940186" y="4136246"/>
                  <a:pt x="1916823" y="4129874"/>
                </a:cubicBezTo>
                <a:cubicBezTo>
                  <a:pt x="1869695" y="4117021"/>
                  <a:pt x="1884892" y="4112549"/>
                  <a:pt x="1855178" y="4088778"/>
                </a:cubicBezTo>
                <a:cubicBezTo>
                  <a:pt x="1783669" y="4031572"/>
                  <a:pt x="1866738" y="4110614"/>
                  <a:pt x="1793534" y="4037407"/>
                </a:cubicBezTo>
                <a:cubicBezTo>
                  <a:pt x="1701066" y="4033982"/>
                  <a:pt x="1608457" y="4033288"/>
                  <a:pt x="1516131" y="4027133"/>
                </a:cubicBezTo>
                <a:cubicBezTo>
                  <a:pt x="1505325" y="4026413"/>
                  <a:pt x="1495722" y="4019834"/>
                  <a:pt x="1485309" y="4016859"/>
                </a:cubicBezTo>
                <a:cubicBezTo>
                  <a:pt x="1471732" y="4012980"/>
                  <a:pt x="1456186" y="4014069"/>
                  <a:pt x="1444212" y="4006585"/>
                </a:cubicBezTo>
                <a:cubicBezTo>
                  <a:pt x="1427784" y="3996317"/>
                  <a:pt x="1415724" y="3980197"/>
                  <a:pt x="1403116" y="3965488"/>
                </a:cubicBezTo>
                <a:cubicBezTo>
                  <a:pt x="1395080" y="3956112"/>
                  <a:pt x="1393288" y="3940791"/>
                  <a:pt x="1382567" y="3934665"/>
                </a:cubicBezTo>
                <a:cubicBezTo>
                  <a:pt x="1367405" y="3926001"/>
                  <a:pt x="1348320" y="3927816"/>
                  <a:pt x="1331196" y="3924391"/>
                </a:cubicBezTo>
                <a:cubicBezTo>
                  <a:pt x="1304517" y="3933284"/>
                  <a:pt x="1273577" y="3942927"/>
                  <a:pt x="1249003" y="3955214"/>
                </a:cubicBezTo>
                <a:cubicBezTo>
                  <a:pt x="1237959" y="3960736"/>
                  <a:pt x="1228652" y="3969218"/>
                  <a:pt x="1218181" y="3975762"/>
                </a:cubicBezTo>
                <a:cubicBezTo>
                  <a:pt x="1201247" y="3986346"/>
                  <a:pt x="1184267" y="3996887"/>
                  <a:pt x="1166810" y="4006585"/>
                </a:cubicBezTo>
                <a:cubicBezTo>
                  <a:pt x="1153422" y="4014023"/>
                  <a:pt x="1139011" y="4019534"/>
                  <a:pt x="1125713" y="4027133"/>
                </a:cubicBezTo>
                <a:cubicBezTo>
                  <a:pt x="1114992" y="4033259"/>
                  <a:pt x="1106945" y="4045002"/>
                  <a:pt x="1094891" y="4047681"/>
                </a:cubicBezTo>
                <a:cubicBezTo>
                  <a:pt x="1044299" y="4058924"/>
                  <a:pt x="992149" y="4061380"/>
                  <a:pt x="940778" y="4068230"/>
                </a:cubicBezTo>
                <a:cubicBezTo>
                  <a:pt x="920230" y="4064805"/>
                  <a:pt x="899469" y="4062474"/>
                  <a:pt x="879134" y="4057955"/>
                </a:cubicBezTo>
                <a:cubicBezTo>
                  <a:pt x="863127" y="4054398"/>
                  <a:pt x="803342" y="4030334"/>
                  <a:pt x="796940" y="4027133"/>
                </a:cubicBezTo>
                <a:cubicBezTo>
                  <a:pt x="749536" y="4003431"/>
                  <a:pt x="775575" y="4003404"/>
                  <a:pt x="725021" y="3965488"/>
                </a:cubicBezTo>
                <a:cubicBezTo>
                  <a:pt x="688106" y="3937802"/>
                  <a:pt x="658227" y="3941269"/>
                  <a:pt x="612005" y="3934665"/>
                </a:cubicBezTo>
                <a:cubicBezTo>
                  <a:pt x="612005" y="3934665"/>
                  <a:pt x="571465" y="3950343"/>
                  <a:pt x="550360" y="3955214"/>
                </a:cubicBezTo>
                <a:cubicBezTo>
                  <a:pt x="526764" y="3960659"/>
                  <a:pt x="502414" y="3962063"/>
                  <a:pt x="478441" y="3965488"/>
                </a:cubicBezTo>
                <a:lnTo>
                  <a:pt x="437345" y="3955214"/>
                </a:lnTo>
                <a:cubicBezTo>
                  <a:pt x="426838" y="3952587"/>
                  <a:pt x="416796" y="3948365"/>
                  <a:pt x="406522" y="3944940"/>
                </a:cubicBezTo>
                <a:cubicBezTo>
                  <a:pt x="385974" y="3938090"/>
                  <a:pt x="365623" y="3930615"/>
                  <a:pt x="344877" y="3924391"/>
                </a:cubicBezTo>
                <a:cubicBezTo>
                  <a:pt x="331352" y="3920333"/>
                  <a:pt x="317480" y="3917542"/>
                  <a:pt x="303781" y="3914117"/>
                </a:cubicBezTo>
                <a:lnTo>
                  <a:pt x="272958" y="3924391"/>
                </a:lnTo>
                <a:cubicBezTo>
                  <a:pt x="252410" y="3931240"/>
                  <a:pt x="259812" y="3965680"/>
                  <a:pt x="252410" y="3986036"/>
                </a:cubicBezTo>
                <a:cubicBezTo>
                  <a:pt x="246107" y="4003368"/>
                  <a:pt x="238338" y="4020139"/>
                  <a:pt x="231862" y="4037407"/>
                </a:cubicBezTo>
                <a:cubicBezTo>
                  <a:pt x="226620" y="4051386"/>
                  <a:pt x="217404" y="4091779"/>
                  <a:pt x="201039" y="4099052"/>
                </a:cubicBezTo>
                <a:cubicBezTo>
                  <a:pt x="178910" y="4108887"/>
                  <a:pt x="153216" y="4111736"/>
                  <a:pt x="129120" y="4109326"/>
                </a:cubicBezTo>
                <a:cubicBezTo>
                  <a:pt x="116833" y="4108097"/>
                  <a:pt x="108572" y="4095627"/>
                  <a:pt x="98298" y="4088778"/>
                </a:cubicBezTo>
                <a:cubicBezTo>
                  <a:pt x="63031" y="4077023"/>
                  <a:pt x="57479" y="4078782"/>
                  <a:pt x="26378" y="4047681"/>
                </a:cubicBezTo>
                <a:cubicBezTo>
                  <a:pt x="17647" y="4038950"/>
                  <a:pt x="12679" y="4027133"/>
                  <a:pt x="5830" y="4016859"/>
                </a:cubicBezTo>
                <a:lnTo>
                  <a:pt x="0" y="4010577"/>
                </a:lnTo>
                <a:close/>
              </a:path>
            </a:pathLst>
          </a:custGeom>
          <a:blipFill>
            <a:blip r:embed="rId2"/>
            <a:tile tx="0" ty="0" sx="100000" sy="100000" flip="none" algn="tl"/>
          </a:blipFill>
          <a:ln>
            <a:noFill/>
          </a:ln>
          <a:effectLst>
            <a:outerShdw blurRad="50800" dist="50800" dir="5400000" sx="101985" sy="101985" algn="ctr" rotWithShape="0">
              <a:srgbClr val="000000">
                <a:alpha val="43137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1400" dirty="0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AFB16F80-A601-BF4C-B95B-B8760850DD00}"/>
              </a:ext>
            </a:extLst>
          </p:cNvPr>
          <p:cNvSpPr txBox="1">
            <a:spLocks/>
          </p:cNvSpPr>
          <p:nvPr/>
        </p:nvSpPr>
        <p:spPr>
          <a:xfrm>
            <a:off x="3005323" y="957931"/>
            <a:ext cx="6796600" cy="4404732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5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 sz="1800" b="0" i="0" kern="1200">
                <a:solidFill>
                  <a:schemeClr val="tx1"/>
                </a:solidFill>
                <a:latin typeface="+mn-lt"/>
                <a:ea typeface="+mn-ea"/>
                <a:cs typeface="Oracle Sans" panose="020B0503020204020204" pitchFamily="34" charset="0"/>
              </a:defRPr>
            </a:lvl1pPr>
            <a:lvl2pPr marL="365760" marR="0" indent="-182880" algn="l" defTabSz="914400" rtl="0" eaLnBrk="1" fontAlgn="auto" latinLnBrk="0" hangingPunct="1">
              <a:lnSpc>
                <a:spcPct val="95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 sz="1800" b="0" i="0" kern="1200">
                <a:solidFill>
                  <a:schemeClr val="tx1"/>
                </a:solidFill>
                <a:latin typeface="+mn-lt"/>
                <a:ea typeface="+mn-ea"/>
                <a:cs typeface="Oracle Sans" panose="020B0503020204020204" pitchFamily="34" charset="0"/>
              </a:defRPr>
            </a:lvl2pPr>
            <a:lvl3pPr marL="731520" marR="0" indent="-182880" algn="l" defTabSz="914400" rtl="0" eaLnBrk="1" fontAlgn="auto" latinLnBrk="0" hangingPunct="1">
              <a:lnSpc>
                <a:spcPct val="95000"/>
              </a:lnSpc>
              <a:spcBef>
                <a:spcPts val="400"/>
              </a:spcBef>
              <a:spcAft>
                <a:spcPts val="0"/>
              </a:spcAft>
              <a:buClrTx/>
              <a:buSzPct val="120000"/>
              <a:buFont typeface="System Font Regular"/>
              <a:buChar char="-"/>
              <a:tabLst/>
              <a:defRPr sz="1600" kern="1200">
                <a:solidFill>
                  <a:schemeClr val="tx1"/>
                </a:solidFill>
                <a:latin typeface="Oracle Sans Light" panose="020B0403020204020204" pitchFamily="34" charset="0"/>
                <a:ea typeface="+mn-ea"/>
                <a:cs typeface="Oracle Sans Light" panose="020B0403020204020204" pitchFamily="34" charset="0"/>
              </a:defRPr>
            </a:lvl3pPr>
            <a:lvl4pPr marL="1097280" marR="0" indent="-182880" algn="l" defTabSz="914400" rtl="0" eaLnBrk="1" fontAlgn="auto" latinLnBrk="0" hangingPunct="1">
              <a:lnSpc>
                <a:spcPct val="95000"/>
              </a:lnSpc>
              <a:spcBef>
                <a:spcPts val="400"/>
              </a:spcBef>
              <a:spcAft>
                <a:spcPts val="0"/>
              </a:spcAft>
              <a:buClrTx/>
              <a:buSzPct val="100000"/>
              <a:buFont typeface="System Font Regular"/>
              <a:buChar char="◦"/>
              <a:tabLst/>
              <a:defRPr sz="1400" kern="1200">
                <a:solidFill>
                  <a:schemeClr val="tx1"/>
                </a:solidFill>
                <a:latin typeface="Oracle Sans Light" panose="020B0403020204020204" pitchFamily="34" charset="0"/>
                <a:ea typeface="+mn-ea"/>
                <a:cs typeface="Oracle Sans Light" panose="020B0403020204020204" pitchFamily="34" charset="0"/>
              </a:defRPr>
            </a:lvl4pPr>
            <a:lvl5pPr marL="1463040" marR="0" indent="-182880" algn="l" defTabSz="914400" rtl="0" eaLnBrk="1" fontAlgn="auto" latinLnBrk="0" hangingPunct="1">
              <a:lnSpc>
                <a:spcPct val="95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 typeface="System Font Regular"/>
              <a:buChar char="•"/>
              <a:tabLst/>
              <a:defRPr sz="1200" kern="1200">
                <a:solidFill>
                  <a:schemeClr val="tx1"/>
                </a:solidFill>
                <a:latin typeface="Oracle Sans Light" panose="020B0403020204020204" pitchFamily="34" charset="0"/>
                <a:ea typeface="+mn-ea"/>
                <a:cs typeface="Oracle Sans Light" panose="020B0403020204020204" pitchFamily="34" charset="0"/>
              </a:defRPr>
            </a:lvl5pPr>
            <a:lvl6pPr marL="1828800" indent="-182880" algn="l" defTabSz="914400" rtl="0" eaLnBrk="1" latinLnBrk="0" hangingPunct="1">
              <a:lnSpc>
                <a:spcPct val="95000"/>
              </a:lnSpc>
              <a:spcBef>
                <a:spcPts val="400"/>
              </a:spcBef>
              <a:spcAft>
                <a:spcPts val="0"/>
              </a:spcAft>
              <a:buSzPct val="120000"/>
              <a:buFont typeface="System Font Regular"/>
              <a:buChar char="-"/>
              <a:defRPr sz="1200" b="0" i="0" kern="1200">
                <a:solidFill>
                  <a:schemeClr val="tx1"/>
                </a:solidFill>
                <a:latin typeface="Oracle Sans Light" panose="020B0403020204020204" pitchFamily="34" charset="0"/>
                <a:ea typeface="+mn-ea"/>
                <a:cs typeface="Oracle Sans Light" panose="020B0403020204020204" pitchFamily="34" charset="0"/>
              </a:defRPr>
            </a:lvl6pPr>
            <a:lvl7pPr marL="2194560" indent="-182880" algn="l" defTabSz="914400" rtl="0" eaLnBrk="1" latinLnBrk="0" hangingPunct="1">
              <a:lnSpc>
                <a:spcPct val="95000"/>
              </a:lnSpc>
              <a:spcBef>
                <a:spcPts val="400"/>
              </a:spcBef>
              <a:spcAft>
                <a:spcPts val="0"/>
              </a:spcAft>
              <a:buFont typeface="System Font Regular"/>
              <a:buChar char="◦"/>
              <a:defRPr sz="1200" b="0" i="0" kern="1200">
                <a:solidFill>
                  <a:schemeClr val="tx1"/>
                </a:solidFill>
                <a:latin typeface="Oracle Sans Light" panose="020B0403020204020204" pitchFamily="34" charset="0"/>
                <a:ea typeface="+mn-ea"/>
                <a:cs typeface="Oracle Sans Light" panose="020B0403020204020204" pitchFamily="34" charset="0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560070" lvl="2" indent="-285750">
              <a:buFont typeface="Arial" panose="020B0604020202020204" pitchFamily="34" charset="0"/>
              <a:buChar char="•"/>
            </a:pPr>
            <a:r>
              <a:rPr lang="pt-BR" sz="1400" b="1" dirty="0" smtClean="0">
                <a:latin typeface="+mn-lt"/>
              </a:rPr>
              <a:t>Scan performed on clustered table</a:t>
            </a:r>
          </a:p>
          <a:p>
            <a:pPr marL="560070" lvl="2" indent="-285750">
              <a:buFont typeface="Arial" panose="020B0604020202020204" pitchFamily="34" charset="0"/>
              <a:buChar char="•"/>
            </a:pPr>
            <a:endParaRPr lang="en-US" sz="1400" b="1" dirty="0" smtClean="0">
              <a:latin typeface="+mn-lt"/>
            </a:endParaRPr>
          </a:p>
          <a:p>
            <a:pPr marL="560070" lvl="2" indent="-285750">
              <a:buFont typeface="Arial" panose="020B0604020202020204" pitchFamily="34" charset="0"/>
              <a:buChar char="•"/>
            </a:pPr>
            <a:r>
              <a:rPr lang="en-US" sz="1400" b="1" dirty="0" smtClean="0">
                <a:latin typeface="+mn-lt"/>
              </a:rPr>
              <a:t>A Scan is performed on an index-organized table</a:t>
            </a:r>
          </a:p>
          <a:p>
            <a:pPr marL="560070" lvl="2" indent="-285750">
              <a:buFont typeface="Arial" panose="020B0604020202020204" pitchFamily="34" charset="0"/>
              <a:buChar char="•"/>
            </a:pPr>
            <a:endParaRPr lang="en-US" sz="1400" b="1" dirty="0" smtClean="0">
              <a:latin typeface="+mn-lt"/>
            </a:endParaRPr>
          </a:p>
          <a:p>
            <a:pPr marL="560070" lvl="2" indent="-285750">
              <a:buFont typeface="Arial" panose="020B0604020202020204" pitchFamily="34" charset="0"/>
              <a:buChar char="•"/>
            </a:pPr>
            <a:r>
              <a:rPr lang="en-US" sz="1400" b="1" dirty="0" smtClean="0">
                <a:latin typeface="+mn-lt"/>
              </a:rPr>
              <a:t>Fast full scan is performed on a compressed index</a:t>
            </a:r>
          </a:p>
          <a:p>
            <a:pPr marL="560070" lvl="2" indent="-285750">
              <a:buFont typeface="Arial" panose="020B0604020202020204" pitchFamily="34" charset="0"/>
              <a:buChar char="•"/>
            </a:pPr>
            <a:endParaRPr lang="en-US" sz="1400" b="1" dirty="0" smtClean="0">
              <a:latin typeface="+mn-lt"/>
            </a:endParaRPr>
          </a:p>
          <a:p>
            <a:pPr marL="560070" lvl="2" indent="-285750">
              <a:buFont typeface="Arial" panose="020B0604020202020204" pitchFamily="34" charset="0"/>
              <a:buChar char="•"/>
            </a:pPr>
            <a:r>
              <a:rPr lang="en-US" sz="1400" b="1" dirty="0" smtClean="0">
                <a:latin typeface="+mn-lt"/>
              </a:rPr>
              <a:t>Fast full scan is performed on a reverse key index </a:t>
            </a:r>
          </a:p>
          <a:p>
            <a:pPr marL="560070" lvl="2" indent="-285750">
              <a:buFont typeface="Arial" panose="020B0604020202020204" pitchFamily="34" charset="0"/>
              <a:buChar char="•"/>
            </a:pPr>
            <a:endParaRPr lang="en-US" sz="1400" b="1" dirty="0" smtClean="0">
              <a:latin typeface="+mn-lt"/>
            </a:endParaRPr>
          </a:p>
          <a:p>
            <a:pPr marL="560070" lvl="2" indent="-285750">
              <a:buFont typeface="Arial" panose="020B0604020202020204" pitchFamily="34" charset="0"/>
              <a:buChar char="•"/>
            </a:pPr>
            <a:r>
              <a:rPr lang="en-US" sz="1400" b="1" dirty="0" smtClean="0">
                <a:latin typeface="+mn-lt"/>
              </a:rPr>
              <a:t>The table has row-level dependency tracking enabled.</a:t>
            </a:r>
          </a:p>
          <a:p>
            <a:pPr marL="560070" lvl="2" indent="-285750">
              <a:buFont typeface="Arial" panose="020B0604020202020204" pitchFamily="34" charset="0"/>
              <a:buChar char="•"/>
            </a:pPr>
            <a:endParaRPr lang="en-US" sz="1400" b="1" dirty="0" smtClean="0">
              <a:latin typeface="+mn-lt"/>
            </a:endParaRPr>
          </a:p>
          <a:p>
            <a:pPr marL="560070" lvl="2" indent="-285750">
              <a:buFont typeface="Arial" panose="020B0604020202020204" pitchFamily="34" charset="0"/>
              <a:buChar char="•"/>
            </a:pPr>
            <a:r>
              <a:rPr lang="en-US" sz="1400" b="1" dirty="0" smtClean="0">
                <a:latin typeface="+mn-lt"/>
              </a:rPr>
              <a:t>The optimizer wants the scan to return rows in ROWID order</a:t>
            </a:r>
          </a:p>
          <a:p>
            <a:pPr marL="560070" lvl="2" indent="-285750">
              <a:buFont typeface="Arial" panose="020B0604020202020204" pitchFamily="34" charset="0"/>
              <a:buChar char="•"/>
            </a:pPr>
            <a:endParaRPr lang="en-US" sz="1400" b="1" dirty="0" smtClean="0">
              <a:latin typeface="+mn-lt"/>
            </a:endParaRPr>
          </a:p>
          <a:p>
            <a:pPr marL="560070" lvl="2" indent="-285750">
              <a:buFont typeface="Arial" panose="020B0604020202020204" pitchFamily="34" charset="0"/>
              <a:buChar char="•"/>
            </a:pPr>
            <a:r>
              <a:rPr lang="en-US" sz="1400" b="1" dirty="0" smtClean="0">
                <a:latin typeface="+mn-lt"/>
              </a:rPr>
              <a:t>A LOB or LONG column is being selected or queried</a:t>
            </a:r>
          </a:p>
          <a:p>
            <a:pPr marL="560070" lvl="2" indent="-285750">
              <a:buFont typeface="Arial" panose="020B0604020202020204" pitchFamily="34" charset="0"/>
              <a:buChar char="•"/>
            </a:pPr>
            <a:endParaRPr lang="en-US" sz="1400" b="1" dirty="0" smtClean="0">
              <a:latin typeface="+mn-lt"/>
            </a:endParaRPr>
          </a:p>
          <a:p>
            <a:pPr marL="560070" lvl="2" indent="-285750">
              <a:buFont typeface="Arial" panose="020B0604020202020204" pitchFamily="34" charset="0"/>
              <a:buChar char="•"/>
            </a:pPr>
            <a:r>
              <a:rPr lang="en-US" sz="1400" b="1" dirty="0" smtClean="0">
                <a:latin typeface="+mn-lt"/>
              </a:rPr>
              <a:t>A select version flashback query is being executed</a:t>
            </a:r>
          </a:p>
          <a:p>
            <a:pPr marL="560070" lvl="2" indent="-285750">
              <a:buFont typeface="Arial" panose="020B0604020202020204" pitchFamily="34" charset="0"/>
              <a:buChar char="•"/>
            </a:pPr>
            <a:endParaRPr lang="en-US" sz="1400" b="1" dirty="0" smtClean="0">
              <a:latin typeface="+mn-lt"/>
            </a:endParaRPr>
          </a:p>
          <a:p>
            <a:pPr marL="560070" lvl="2" indent="-285750">
              <a:buFont typeface="Arial" panose="020B0604020202020204" pitchFamily="34" charset="0"/>
              <a:buChar char="•"/>
            </a:pPr>
            <a:r>
              <a:rPr lang="en-US" sz="1400" b="1" dirty="0" smtClean="0">
                <a:latin typeface="+mn-lt"/>
              </a:rPr>
              <a:t>A query that has more than 255 columns is referenced</a:t>
            </a:r>
          </a:p>
        </p:txBody>
      </p:sp>
      <p:sp>
        <p:nvSpPr>
          <p:cNvPr id="7" name="Title 2"/>
          <p:cNvSpPr>
            <a:spLocks noGrp="1"/>
          </p:cNvSpPr>
          <p:nvPr>
            <p:ph type="title"/>
          </p:nvPr>
        </p:nvSpPr>
        <p:spPr>
          <a:xfrm>
            <a:off x="380036" y="257490"/>
            <a:ext cx="9144001" cy="587386"/>
          </a:xfrm>
        </p:spPr>
        <p:txBody>
          <a:bodyPr/>
          <a:lstStyle/>
          <a:p>
            <a:r>
              <a:rPr lang="pt-BR" dirty="0" smtClean="0"/>
              <a:t>Exadata Smart Scan </a:t>
            </a:r>
            <a:r>
              <a:rPr lang="en-US" dirty="0" smtClean="0">
                <a:solidFill>
                  <a:schemeClr val="accent1"/>
                </a:solidFill>
              </a:rPr>
              <a:t> </a:t>
            </a:r>
            <a:r>
              <a:rPr lang="en-US" dirty="0" smtClean="0"/>
              <a:t>Why it’s not working?</a:t>
            </a:r>
            <a:r>
              <a:rPr lang="pt-BR" dirty="0" smtClean="0"/>
              <a:t/>
            </a:r>
            <a:br>
              <a:rPr lang="pt-BR" dirty="0" smtClean="0"/>
            </a:br>
            <a:endParaRPr lang="en-US" sz="2000" dirty="0"/>
          </a:p>
        </p:txBody>
      </p:sp>
      <p:pic>
        <p:nvPicPr>
          <p:cNvPr id="9" name="Picture 8" descr="A picture containing text, sign, clipart&#10;&#10;Description automatically generated">
            <a:extLst>
              <a:ext uri="{FF2B5EF4-FFF2-40B4-BE49-F238E27FC236}">
                <a16:creationId xmlns:a16="http://schemas.microsoft.com/office/drawing/2014/main" id="{11BC0E7F-40EB-214D-AA38-E600D0809165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18503" y="958566"/>
            <a:ext cx="4516684" cy="4516684"/>
          </a:xfrm>
          <a:prstGeom prst="rect">
            <a:avLst/>
          </a:prstGeom>
        </p:spPr>
      </p:pic>
      <p:sp>
        <p:nvSpPr>
          <p:cNvPr id="3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345D60D9-5372-5F40-9443-0F9AE5BDC3C8}" type="slidenum">
              <a:rPr lang="en-US" smtClean="0"/>
              <a:pPr/>
              <a:t>3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308570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31535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C38B6F3C-673A-2C4F-BDD8-A174DA9D4B4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12" r="91391"/>
          <a:stretch/>
        </p:blipFill>
        <p:spPr>
          <a:xfrm>
            <a:off x="-1" y="0"/>
            <a:ext cx="1083365" cy="6858000"/>
          </a:xfrm>
          <a:prstGeom prst="rect">
            <a:avLst/>
          </a:prstGeom>
        </p:spPr>
      </p:pic>
      <p:sp>
        <p:nvSpPr>
          <p:cNvPr id="10" name="Title 6"/>
          <p:cNvSpPr txBox="1">
            <a:spLocks/>
          </p:cNvSpPr>
          <p:nvPr/>
        </p:nvSpPr>
        <p:spPr>
          <a:xfrm>
            <a:off x="2454162" y="3111287"/>
            <a:ext cx="8315107" cy="822960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noAutofit/>
          </a:bodyPr>
          <a:lstStyle>
            <a:lvl1pPr algn="l" defTabSz="914400" rtl="0" eaLnBrk="1" latinLnBrk="0" hangingPunct="1">
              <a:lnSpc>
                <a:spcPct val="95000"/>
              </a:lnSpc>
              <a:spcBef>
                <a:spcPct val="0"/>
              </a:spcBef>
              <a:buNone/>
              <a:defRPr lang="en-US" sz="4000" b="0" i="0" kern="1200" baseline="0" dirty="0">
                <a:solidFill>
                  <a:schemeClr val="tx1"/>
                </a:solidFill>
                <a:latin typeface="+mj-lt"/>
                <a:ea typeface="+mn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5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>
                <a:solidFill>
                  <a:srgbClr val="FCFBFA"/>
                </a:solidFill>
                <a:latin typeface="Georgia"/>
              </a:rPr>
              <a:t>Oracle Database backup options</a:t>
            </a:r>
            <a:endParaRPr kumimoji="0" lang="en-US" sz="4000" b="0" i="0" u="none" strike="noStrike" kern="1200" cap="none" spc="0" normalizeH="0" baseline="0" noProof="0" dirty="0">
              <a:ln>
                <a:noFill/>
              </a:ln>
              <a:solidFill>
                <a:srgbClr val="FCFBFA"/>
              </a:solidFill>
              <a:effectLst/>
              <a:uLnTx/>
              <a:uFillTx/>
              <a:latin typeface="Georgia"/>
              <a:ea typeface="+mn-ea"/>
              <a:cs typeface="+mj-cs"/>
            </a:endParaRP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Copyright © 2024, Oracle and/or its affiliates. All rights reserved   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5D60D9-5372-5F40-9443-0F9AE5BDC3C8}" type="slidenum">
              <a:rPr lang="en-US" smtClean="0"/>
              <a:pPr/>
              <a:t>3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309863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phic 8">
            <a:extLst>
              <a:ext uri="{FF2B5EF4-FFF2-40B4-BE49-F238E27FC236}">
                <a16:creationId xmlns:a16="http://schemas.microsoft.com/office/drawing/2014/main" id="{A1C6AB4E-387B-7740-A629-344C24318D0D}"/>
              </a:ext>
            </a:extLst>
          </p:cNvPr>
          <p:cNvPicPr>
            <a:picLocks noChangeAspect="1"/>
          </p:cNvPicPr>
          <p:nvPr/>
        </p:nvPicPr>
        <p:blipFill>
          <a:blip r:embed="rId3">
            <a:alphaModFix amt="50000"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621708" y="4451291"/>
            <a:ext cx="1194464" cy="1387166"/>
          </a:xfrm>
          <a:prstGeom prst="rect">
            <a:avLst/>
          </a:prstGeom>
        </p:spPr>
      </p:pic>
      <p:sp>
        <p:nvSpPr>
          <p:cNvPr id="34" name="Footer Placeholder 4">
            <a:extLst>
              <a:ext uri="{FF2B5EF4-FFF2-40B4-BE49-F238E27FC236}">
                <a16:creationId xmlns:a16="http://schemas.microsoft.com/office/drawing/2014/main" id="{9F7D1153-5FAB-944A-BC3B-48A7946FE102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1127760" y="6394958"/>
            <a:ext cx="5745379" cy="365125"/>
          </a:xfrm>
        </p:spPr>
        <p:txBody>
          <a:bodyPr/>
          <a:lstStyle/>
          <a:p>
            <a:r>
              <a:rPr lang="en-US" dirty="0" smtClean="0"/>
              <a:t>Copyright © 2024, Oracle and/or its affiliates. All rights reserved   </a:t>
            </a:r>
            <a:endParaRPr lang="en-US" dirty="0"/>
          </a:p>
        </p:txBody>
      </p:sp>
      <p:sp>
        <p:nvSpPr>
          <p:cNvPr id="19" name="Title 6">
            <a:extLst>
              <a:ext uri="{FF2B5EF4-FFF2-40B4-BE49-F238E27FC236}">
                <a16:creationId xmlns:a16="http://schemas.microsoft.com/office/drawing/2014/main" id="{CC1AB91C-52C5-4C6A-8F4B-3FD2E17FF0B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1710" y="463710"/>
            <a:ext cx="11105128" cy="708706"/>
          </a:xfrm>
        </p:spPr>
        <p:txBody>
          <a:bodyPr/>
          <a:lstStyle/>
          <a:p>
            <a:r>
              <a:rPr lang="en-US" dirty="0" smtClean="0"/>
              <a:t>Oracle Database automatic backup</a:t>
            </a:r>
            <a:r>
              <a:rPr lang="pt-BR" sz="2000" dirty="0">
                <a:solidFill>
                  <a:schemeClr val="accent4"/>
                </a:solidFill>
              </a:rPr>
              <a:t/>
            </a:r>
            <a:br>
              <a:rPr lang="pt-BR" sz="2000" dirty="0">
                <a:solidFill>
                  <a:schemeClr val="accent4"/>
                </a:solidFill>
              </a:rPr>
            </a:br>
            <a:r>
              <a:rPr lang="en-US" dirty="0" smtClean="0"/>
              <a:t> </a:t>
            </a:r>
            <a:endParaRPr lang="en-US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725273" y="2774631"/>
            <a:ext cx="4940651" cy="1934823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10" name="Rectangle 9"/>
          <p:cNvSpPr/>
          <p:nvPr/>
        </p:nvSpPr>
        <p:spPr>
          <a:xfrm>
            <a:off x="313721" y="1246861"/>
            <a:ext cx="7012630" cy="33547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b="1" dirty="0" smtClean="0">
                <a:latin typeface="Oracle Sans (Body)"/>
              </a:rPr>
              <a:t>Manage backup and restore feature for VM/BM DB System</a:t>
            </a:r>
          </a:p>
          <a:p>
            <a:endParaRPr lang="en-US" sz="1600" dirty="0" smtClean="0">
              <a:latin typeface="Oracle Sans (Body)"/>
            </a:endParaRPr>
          </a:p>
          <a:p>
            <a:r>
              <a:rPr lang="en-US" sz="1600" dirty="0"/>
              <a:t>•  </a:t>
            </a:r>
            <a:r>
              <a:rPr lang="en-US" sz="1600" dirty="0" smtClean="0"/>
              <a:t>Backup stored in Object or Local storage</a:t>
            </a:r>
          </a:p>
          <a:p>
            <a:endParaRPr lang="en-US" sz="1600" dirty="0" smtClean="0"/>
          </a:p>
          <a:p>
            <a:r>
              <a:rPr lang="en-US" sz="1600" dirty="0" smtClean="0"/>
              <a:t>•  DB System in private subnets can leverage Service Gateway</a:t>
            </a:r>
          </a:p>
          <a:p>
            <a:r>
              <a:rPr lang="en-US" sz="1600" dirty="0" smtClean="0">
                <a:latin typeface="Oracle Sans Light" panose="020B0403020204020204" pitchFamily="34" charset="0"/>
                <a:cs typeface="Oracle Sans Light" panose="020B0403020204020204" pitchFamily="34" charset="0"/>
              </a:rPr>
              <a:t>                       </a:t>
            </a:r>
          </a:p>
          <a:p>
            <a:r>
              <a:rPr lang="en-US" sz="1600" dirty="0" smtClean="0"/>
              <a:t>•  Start With 2 cores and Scale Up/Down OCPU’s based on your requirement</a:t>
            </a:r>
          </a:p>
          <a:p>
            <a:endParaRPr lang="en-US" sz="1600" dirty="0" smtClean="0"/>
          </a:p>
          <a:p>
            <a:r>
              <a:rPr lang="en-US" sz="1600" b="1" dirty="0" smtClean="0"/>
              <a:t> Backup Options</a:t>
            </a:r>
          </a:p>
          <a:p>
            <a:endParaRPr lang="en-US" sz="1600" dirty="0" smtClean="0"/>
          </a:p>
          <a:p>
            <a:r>
              <a:rPr lang="en-US" sz="1600" dirty="0" smtClean="0"/>
              <a:t>•  It </a:t>
            </a:r>
            <a:r>
              <a:rPr lang="en-US" sz="1600" dirty="0"/>
              <a:t>is not possible to create a non-CDB via the console - use </a:t>
            </a:r>
            <a:r>
              <a:rPr lang="en-US" sz="1600" dirty="0" err="1" smtClean="0"/>
              <a:t>dbcli</a:t>
            </a:r>
            <a:endParaRPr lang="en-US" sz="1600" dirty="0" smtClean="0"/>
          </a:p>
          <a:p>
            <a:r>
              <a:rPr lang="en-US" dirty="0" smtClean="0"/>
              <a:t> </a:t>
            </a:r>
            <a:endParaRPr lang="pt-BR" dirty="0">
              <a:cs typeface="Oracle Sans Light" panose="020B0403020204020204" pitchFamily="34" charset="0"/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3788886" y="4510647"/>
            <a:ext cx="5276405" cy="1598826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5" name="Slide Number Placeholder 4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345D60D9-5372-5F40-9443-0F9AE5BDC3C8}" type="slidenum">
              <a:rPr lang="en-US" smtClean="0"/>
              <a:t>3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935140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a14="http://schemas.microsoft.com/office/drawing/2010/main" xmlns:p15="http://schemas.microsoft.com/office/powerpoint/2012/main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F18B1FC-56E0-4391-AE70-AE9424840F8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Copyright © 2024, Oracle and/or its affiliates. All rights reserved   </a:t>
            </a:r>
            <a:endParaRPr lang="en-US" dirty="0"/>
          </a:p>
        </p:txBody>
      </p:sp>
      <p:sp>
        <p:nvSpPr>
          <p:cNvPr id="8" name="Título 1"/>
          <p:cNvSpPr txBox="1">
            <a:spLocks/>
          </p:cNvSpPr>
          <p:nvPr/>
        </p:nvSpPr>
        <p:spPr>
          <a:xfrm>
            <a:off x="939885" y="434021"/>
            <a:ext cx="9586866" cy="692727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 defTabSz="914400" rtl="0" eaLnBrk="1" latinLnBrk="0" hangingPunct="1">
              <a:lnSpc>
                <a:spcPct val="95000"/>
              </a:lnSpc>
              <a:spcBef>
                <a:spcPct val="0"/>
              </a:spcBef>
              <a:buNone/>
              <a:defRPr lang="en-US" sz="2400" b="1" i="0" kern="1200" baseline="0">
                <a:solidFill>
                  <a:schemeClr val="tx1"/>
                </a:solidFill>
                <a:latin typeface="+mn-lt"/>
                <a:ea typeface="+mn-ea"/>
                <a:cs typeface="+mj-cs"/>
              </a:defRPr>
            </a:lvl1pPr>
          </a:lstStyle>
          <a:p>
            <a:r>
              <a:rPr lang="pt-BR" dirty="0" smtClean="0"/>
              <a:t>OCI Database Backup  | Take Care before delete your Database</a:t>
            </a:r>
            <a:r>
              <a:rPr lang="pt-BR" dirty="0" smtClean="0">
                <a:solidFill>
                  <a:schemeClr val="accent1">
                    <a:lumMod val="75000"/>
                  </a:schemeClr>
                </a:solidFill>
              </a:rPr>
              <a:t/>
            </a:r>
            <a:br>
              <a:rPr lang="pt-BR" dirty="0" smtClean="0">
                <a:solidFill>
                  <a:schemeClr val="accent1">
                    <a:lumMod val="75000"/>
                  </a:schemeClr>
                </a:solidFill>
              </a:rPr>
            </a:br>
            <a:endParaRPr lang="pt-BR" sz="1600" dirty="0">
              <a:solidFill>
                <a:schemeClr val="accent4"/>
              </a:solidFill>
            </a:endParaRP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449514" y="1344749"/>
            <a:ext cx="7292972" cy="4168501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5D60D9-5372-5F40-9443-0F9AE5BDC3C8}" type="slidenum">
              <a:rPr lang="en-US" smtClean="0"/>
              <a:pPr/>
              <a:t>3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949589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F18B1FC-56E0-4391-AE70-AE9424840F8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Copyright © 2024, Oracle and/or its affiliates. All rights reserved   </a:t>
            </a:r>
            <a:endParaRPr lang="en-US" dirty="0"/>
          </a:p>
        </p:txBody>
      </p:sp>
      <p:sp>
        <p:nvSpPr>
          <p:cNvPr id="8" name="Título 1"/>
          <p:cNvSpPr txBox="1">
            <a:spLocks/>
          </p:cNvSpPr>
          <p:nvPr/>
        </p:nvSpPr>
        <p:spPr>
          <a:xfrm>
            <a:off x="939885" y="318398"/>
            <a:ext cx="9586866" cy="692727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 defTabSz="914400" rtl="0" eaLnBrk="1" latinLnBrk="0" hangingPunct="1">
              <a:lnSpc>
                <a:spcPct val="95000"/>
              </a:lnSpc>
              <a:spcBef>
                <a:spcPct val="0"/>
              </a:spcBef>
              <a:buNone/>
              <a:defRPr lang="en-US" sz="2400" b="1" i="0" kern="1200" baseline="0">
                <a:solidFill>
                  <a:schemeClr val="tx1"/>
                </a:solidFill>
                <a:latin typeface="+mn-lt"/>
                <a:ea typeface="+mn-ea"/>
                <a:cs typeface="+mj-cs"/>
              </a:defRPr>
            </a:lvl1pPr>
          </a:lstStyle>
          <a:p>
            <a:r>
              <a:rPr lang="pt-BR" dirty="0" smtClean="0"/>
              <a:t>Cloud Backup  | </a:t>
            </a:r>
            <a:r>
              <a:rPr lang="pt-BR" dirty="0" smtClean="0">
                <a:solidFill>
                  <a:schemeClr val="accent1">
                    <a:lumMod val="75000"/>
                  </a:schemeClr>
                </a:solidFill>
              </a:rPr>
              <a:t>Oracle Database Backup Cloud Service page</a:t>
            </a:r>
            <a:br>
              <a:rPr lang="pt-BR" dirty="0" smtClean="0">
                <a:solidFill>
                  <a:schemeClr val="accent1">
                    <a:lumMod val="75000"/>
                  </a:schemeClr>
                </a:solidFill>
              </a:rPr>
            </a:br>
            <a:endParaRPr lang="pt-BR" sz="1600" dirty="0">
              <a:solidFill>
                <a:schemeClr val="accent4"/>
              </a:solidFill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39885" y="1011125"/>
            <a:ext cx="9423401" cy="2190440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06766" y="3927674"/>
            <a:ext cx="2861986" cy="184050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341810" y="3894009"/>
            <a:ext cx="3443637" cy="1979368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314900" y="3894984"/>
            <a:ext cx="3362158" cy="1978394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5D60D9-5372-5F40-9443-0F9AE5BDC3C8}" type="slidenum">
              <a:rPr lang="en-US" smtClean="0"/>
              <a:pPr/>
              <a:t>3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613295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026A9AB4-22A6-444D-8137-BE719F16AD7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41904" y="846383"/>
            <a:ext cx="10671048" cy="330540"/>
          </a:xfrm>
        </p:spPr>
        <p:txBody>
          <a:bodyPr/>
          <a:lstStyle/>
          <a:p>
            <a:r>
              <a:rPr lang="en-US" dirty="0"/>
              <a:t>All backups are checked for recoverability, reducing database service overhead</a:t>
            </a:r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87BE4995-7B65-419B-8765-C8775BAB9A90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606175" y="1558354"/>
            <a:ext cx="3482120" cy="4507992"/>
          </a:xfrm>
        </p:spPr>
        <p:txBody>
          <a:bodyPr/>
          <a:lstStyle/>
          <a:p>
            <a:pPr algn="ctr">
              <a:spcBef>
                <a:spcPts val="0"/>
              </a:spcBef>
              <a:spcAft>
                <a:spcPts val="600"/>
              </a:spcAft>
            </a:pPr>
            <a:r>
              <a:rPr lang="en-US" sz="2000" b="1" dirty="0">
                <a:solidFill>
                  <a:srgbClr val="2C5967"/>
                </a:solidFill>
              </a:rPr>
              <a:t>Traditional cloud backup</a:t>
            </a:r>
          </a:p>
          <a:p>
            <a:pPr marL="342900" indent="-342900">
              <a:spcAft>
                <a:spcPts val="600"/>
              </a:spcAft>
              <a:buFont typeface="+mj-lt"/>
              <a:buAutoNum type="arabicPeriod"/>
            </a:pPr>
            <a:r>
              <a:rPr lang="en-US" sz="1400" dirty="0"/>
              <a:t>Backup (full or incremental) is created on the production database service and stored in object storage</a:t>
            </a:r>
          </a:p>
          <a:p>
            <a:pPr marL="342900" indent="-342900">
              <a:spcAft>
                <a:spcPts val="600"/>
              </a:spcAft>
              <a:buFont typeface="+mj-lt"/>
              <a:buAutoNum type="arabicPeriod"/>
            </a:pPr>
            <a:r>
              <a:rPr lang="en-US" sz="1400" dirty="0"/>
              <a:t>Production service reads the backup from object store, validates it, and fixes issues </a:t>
            </a:r>
            <a:r>
              <a:rPr lang="en-US" sz="1400" b="1" dirty="0">
                <a:solidFill>
                  <a:srgbClr val="2C5967"/>
                </a:solidFill>
              </a:rPr>
              <a:t>doubling the impact on production database services</a:t>
            </a:r>
          </a:p>
          <a:p>
            <a:pPr marL="342900" indent="-342900">
              <a:spcAft>
                <a:spcPts val="600"/>
              </a:spcAft>
              <a:buFont typeface="+mj-lt"/>
              <a:buAutoNum type="arabicPeriod"/>
            </a:pPr>
            <a:r>
              <a:rPr lang="en-US" sz="1400" dirty="0"/>
              <a:t>Periodic revalidation </a:t>
            </a:r>
            <a:r>
              <a:rPr lang="en-US" sz="1400" b="1" dirty="0">
                <a:solidFill>
                  <a:srgbClr val="2C5967"/>
                </a:solidFill>
              </a:rPr>
              <a:t>increases production database consumption </a:t>
            </a:r>
          </a:p>
          <a:p>
            <a:pPr marL="342900" indent="-342900">
              <a:spcAft>
                <a:spcPts val="600"/>
              </a:spcAft>
              <a:buFont typeface="+mj-lt"/>
              <a:buAutoNum type="arabicPeriod"/>
            </a:pPr>
            <a:r>
              <a:rPr lang="en-US" sz="1400" dirty="0"/>
              <a:t>Resulting in:</a:t>
            </a:r>
          </a:p>
          <a:p>
            <a:pPr marL="708660" lvl="1" indent="-342900">
              <a:spcBef>
                <a:spcPts val="0"/>
              </a:spcBef>
              <a:spcAft>
                <a:spcPts val="600"/>
              </a:spcAft>
              <a:buFont typeface="+mj-lt"/>
              <a:buAutoNum type="alphaLcPeriod"/>
            </a:pPr>
            <a:r>
              <a:rPr lang="en-US" sz="1400" dirty="0"/>
              <a:t>Lower production performance if resource constrained, or</a:t>
            </a:r>
          </a:p>
          <a:p>
            <a:pPr marL="708660" lvl="1" indent="-342900">
              <a:spcBef>
                <a:spcPts val="0"/>
              </a:spcBef>
              <a:spcAft>
                <a:spcPts val="600"/>
              </a:spcAft>
              <a:buFont typeface="+mj-lt"/>
              <a:buAutoNum type="alphaLcPeriod"/>
            </a:pPr>
            <a:r>
              <a:rPr lang="en-US" sz="1400" dirty="0"/>
              <a:t>Higher consumption costs if resources are unconstrained, or</a:t>
            </a:r>
          </a:p>
          <a:p>
            <a:pPr marL="708660" lvl="1" indent="-342900">
              <a:spcBef>
                <a:spcPts val="0"/>
              </a:spcBef>
              <a:spcAft>
                <a:spcPts val="600"/>
              </a:spcAft>
              <a:buFont typeface="+mj-lt"/>
              <a:buAutoNum type="alphaLcPeriod"/>
            </a:pPr>
            <a:r>
              <a:rPr lang="en-US" sz="1400" dirty="0"/>
              <a:t>Decision to not validate backups or revalidate them, increasing risk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3634E940-ED8C-47BF-A6A3-6831EB44C13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1904" y="-17322"/>
            <a:ext cx="10671048" cy="822960"/>
          </a:xfrm>
        </p:spPr>
        <p:txBody>
          <a:bodyPr/>
          <a:lstStyle/>
          <a:p>
            <a:r>
              <a:rPr lang="en-US" dirty="0"/>
              <a:t>Recovery Service offloads backup validation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23C090C-8EDA-4141-9356-9EA9C40DBF3C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1127760" y="6416198"/>
            <a:ext cx="5745379" cy="365125"/>
          </a:xfrm>
        </p:spPr>
        <p:txBody>
          <a:bodyPr/>
          <a:lstStyle/>
          <a:p>
            <a:r>
              <a:rPr lang="en-US" smtClean="0"/>
              <a:t>Copyright © 2024, Oracle and/or its affiliates. All rights reserved   </a:t>
            </a:r>
            <a:endParaRPr lang="en-US" dirty="0"/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FE761D11-9E58-4408-B5B1-677D3FC2395F}"/>
              </a:ext>
            </a:extLst>
          </p:cNvPr>
          <p:cNvGrpSpPr/>
          <p:nvPr/>
        </p:nvGrpSpPr>
        <p:grpSpPr>
          <a:xfrm>
            <a:off x="5163009" y="1969735"/>
            <a:ext cx="1962364" cy="3406343"/>
            <a:chOff x="5163009" y="2215535"/>
            <a:chExt cx="1962364" cy="3406343"/>
          </a:xfrm>
        </p:grpSpPr>
        <p:sp>
          <p:nvSpPr>
            <p:cNvPr id="3" name="Rectangle: Rounded Corners 2">
              <a:extLst>
                <a:ext uri="{FF2B5EF4-FFF2-40B4-BE49-F238E27FC236}">
                  <a16:creationId xmlns:a16="http://schemas.microsoft.com/office/drawing/2014/main" id="{DAAA41DA-E6B7-4FA0-8229-BB63B17D147E}"/>
                </a:ext>
              </a:extLst>
            </p:cNvPr>
            <p:cNvSpPr/>
            <p:nvPr/>
          </p:nvSpPr>
          <p:spPr>
            <a:xfrm>
              <a:off x="5163009" y="2915518"/>
              <a:ext cx="1962364" cy="796999"/>
            </a:xfrm>
            <a:prstGeom prst="roundRect">
              <a:avLst/>
            </a:prstGeom>
            <a:solidFill>
              <a:srgbClr val="2C596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600" dirty="0"/>
                <a:t>Production Database Service</a:t>
              </a:r>
            </a:p>
          </p:txBody>
        </p:sp>
        <p:sp>
          <p:nvSpPr>
            <p:cNvPr id="8" name="Cylinder 7">
              <a:extLst>
                <a:ext uri="{FF2B5EF4-FFF2-40B4-BE49-F238E27FC236}">
                  <a16:creationId xmlns:a16="http://schemas.microsoft.com/office/drawing/2014/main" id="{DDAE0F42-EAAA-4354-8281-57970C203B2B}"/>
                </a:ext>
              </a:extLst>
            </p:cNvPr>
            <p:cNvSpPr/>
            <p:nvPr/>
          </p:nvSpPr>
          <p:spPr>
            <a:xfrm>
              <a:off x="5204106" y="4594462"/>
              <a:ext cx="1880171" cy="1027416"/>
            </a:xfrm>
            <a:prstGeom prst="can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Cloud</a:t>
              </a:r>
            </a:p>
            <a:p>
              <a:pPr algn="ctr"/>
              <a:r>
                <a:rPr lang="en-US" dirty="0"/>
                <a:t>Storage</a:t>
              </a:r>
            </a:p>
          </p:txBody>
        </p:sp>
        <p:grpSp>
          <p:nvGrpSpPr>
            <p:cNvPr id="14" name="Group 13">
              <a:extLst>
                <a:ext uri="{FF2B5EF4-FFF2-40B4-BE49-F238E27FC236}">
                  <a16:creationId xmlns:a16="http://schemas.microsoft.com/office/drawing/2014/main" id="{B890C550-F567-4DC4-A397-BB9EC78F8B92}"/>
                </a:ext>
              </a:extLst>
            </p:cNvPr>
            <p:cNvGrpSpPr/>
            <p:nvPr/>
          </p:nvGrpSpPr>
          <p:grpSpPr>
            <a:xfrm>
              <a:off x="5704934" y="2215535"/>
              <a:ext cx="881468" cy="855847"/>
              <a:chOff x="5704934" y="2292867"/>
              <a:chExt cx="881468" cy="855847"/>
            </a:xfrm>
          </p:grpSpPr>
          <p:sp>
            <p:nvSpPr>
              <p:cNvPr id="13" name="Cylinder 12">
                <a:extLst>
                  <a:ext uri="{FF2B5EF4-FFF2-40B4-BE49-F238E27FC236}">
                    <a16:creationId xmlns:a16="http://schemas.microsoft.com/office/drawing/2014/main" id="{3657F140-FE1F-4C6F-BCC9-80252CC0E1CA}"/>
                  </a:ext>
                </a:extLst>
              </p:cNvPr>
              <p:cNvSpPr/>
              <p:nvPr/>
            </p:nvSpPr>
            <p:spPr>
              <a:xfrm>
                <a:off x="5704934" y="2292867"/>
                <a:ext cx="881468" cy="855847"/>
              </a:xfrm>
              <a:prstGeom prst="can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2" name="Picture Placeholder 21">
                <a:extLst>
                  <a:ext uri="{FF2B5EF4-FFF2-40B4-BE49-F238E27FC236}">
                    <a16:creationId xmlns:a16="http://schemas.microsoft.com/office/drawing/2014/main" id="{BCA81F0F-9F11-4368-9C5A-357AA89D101F}"/>
                  </a:ext>
                </a:extLst>
              </p:cNvPr>
              <p:cNvSpPr/>
              <p:nvPr/>
            </p:nvSpPr>
            <p:spPr>
              <a:xfrm>
                <a:off x="5704934" y="2292867"/>
                <a:ext cx="881468" cy="855847"/>
              </a:xfrm>
              <a:custGeom>
                <a:avLst/>
                <a:gdLst>
                  <a:gd name="connsiteX0" fmla="*/ 881469 w 881468"/>
                  <a:gd name="connsiteY0" fmla="*/ 110321 h 855847"/>
                  <a:gd name="connsiteX1" fmla="*/ 440734 w 881468"/>
                  <a:gd name="connsiteY1" fmla="*/ 0 h 855847"/>
                  <a:gd name="connsiteX2" fmla="*/ 0 w 881468"/>
                  <a:gd name="connsiteY2" fmla="*/ 110321 h 855847"/>
                  <a:gd name="connsiteX3" fmla="*/ 0 w 881468"/>
                  <a:gd name="connsiteY3" fmla="*/ 114704 h 855847"/>
                  <a:gd name="connsiteX4" fmla="*/ 0 w 881468"/>
                  <a:gd name="connsiteY4" fmla="*/ 116896 h 855847"/>
                  <a:gd name="connsiteX5" fmla="*/ 0 w 881468"/>
                  <a:gd name="connsiteY5" fmla="*/ 748344 h 855847"/>
                  <a:gd name="connsiteX6" fmla="*/ 440734 w 881468"/>
                  <a:gd name="connsiteY6" fmla="*/ 855847 h 855847"/>
                  <a:gd name="connsiteX7" fmla="*/ 881469 w 881468"/>
                  <a:gd name="connsiteY7" fmla="*/ 748553 h 855847"/>
                  <a:gd name="connsiteX8" fmla="*/ 881469 w 881468"/>
                  <a:gd name="connsiteY8" fmla="*/ 116896 h 855847"/>
                  <a:gd name="connsiteX9" fmla="*/ 881469 w 881468"/>
                  <a:gd name="connsiteY9" fmla="*/ 114704 h 855847"/>
                  <a:gd name="connsiteX10" fmla="*/ 881469 w 881468"/>
                  <a:gd name="connsiteY10" fmla="*/ 110321 h 855847"/>
                  <a:gd name="connsiteX11" fmla="*/ 833169 w 881468"/>
                  <a:gd name="connsiteY11" fmla="*/ 537931 h 855847"/>
                  <a:gd name="connsiteX12" fmla="*/ 729687 w 881468"/>
                  <a:gd name="connsiteY12" fmla="*/ 578741 h 855847"/>
                  <a:gd name="connsiteX13" fmla="*/ 440734 w 881468"/>
                  <a:gd name="connsiteY13" fmla="*/ 603477 h 855847"/>
                  <a:gd name="connsiteX14" fmla="*/ 151782 w 881468"/>
                  <a:gd name="connsiteY14" fmla="*/ 578741 h 855847"/>
                  <a:gd name="connsiteX15" fmla="*/ 48300 w 881468"/>
                  <a:gd name="connsiteY15" fmla="*/ 537931 h 855847"/>
                  <a:gd name="connsiteX16" fmla="*/ 48300 w 881468"/>
                  <a:gd name="connsiteY16" fmla="*/ 380956 h 855847"/>
                  <a:gd name="connsiteX17" fmla="*/ 440734 w 881468"/>
                  <a:gd name="connsiteY17" fmla="*/ 435282 h 855847"/>
                  <a:gd name="connsiteX18" fmla="*/ 833169 w 881468"/>
                  <a:gd name="connsiteY18" fmla="*/ 380956 h 855847"/>
                  <a:gd name="connsiteX19" fmla="*/ 833169 w 881468"/>
                  <a:gd name="connsiteY19" fmla="*/ 327831 h 855847"/>
                  <a:gd name="connsiteX20" fmla="*/ 729687 w 881468"/>
                  <a:gd name="connsiteY20" fmla="*/ 368640 h 855847"/>
                  <a:gd name="connsiteX21" fmla="*/ 440734 w 881468"/>
                  <a:gd name="connsiteY21" fmla="*/ 393377 h 855847"/>
                  <a:gd name="connsiteX22" fmla="*/ 151782 w 881468"/>
                  <a:gd name="connsiteY22" fmla="*/ 368640 h 855847"/>
                  <a:gd name="connsiteX23" fmla="*/ 48300 w 881468"/>
                  <a:gd name="connsiteY23" fmla="*/ 327831 h 855847"/>
                  <a:gd name="connsiteX24" fmla="*/ 48300 w 881468"/>
                  <a:gd name="connsiteY24" fmla="*/ 164803 h 855847"/>
                  <a:gd name="connsiteX25" fmla="*/ 440734 w 881468"/>
                  <a:gd name="connsiteY25" fmla="*/ 220642 h 855847"/>
                  <a:gd name="connsiteX26" fmla="*/ 833169 w 881468"/>
                  <a:gd name="connsiteY26" fmla="*/ 164803 h 855847"/>
                  <a:gd name="connsiteX27" fmla="*/ 151963 w 881468"/>
                  <a:gd name="connsiteY27" fmla="*/ 67320 h 855847"/>
                  <a:gd name="connsiteX28" fmla="*/ 440734 w 881468"/>
                  <a:gd name="connsiteY28" fmla="*/ 41749 h 855847"/>
                  <a:gd name="connsiteX29" fmla="*/ 729506 w 881468"/>
                  <a:gd name="connsiteY29" fmla="*/ 67320 h 855847"/>
                  <a:gd name="connsiteX30" fmla="*/ 833169 w 881468"/>
                  <a:gd name="connsiteY30" fmla="*/ 110321 h 855847"/>
                  <a:gd name="connsiteX31" fmla="*/ 729506 w 881468"/>
                  <a:gd name="connsiteY31" fmla="*/ 153322 h 855847"/>
                  <a:gd name="connsiteX32" fmla="*/ 440734 w 881468"/>
                  <a:gd name="connsiteY32" fmla="*/ 178893 h 855847"/>
                  <a:gd name="connsiteX33" fmla="*/ 151963 w 881468"/>
                  <a:gd name="connsiteY33" fmla="*/ 153322 h 855847"/>
                  <a:gd name="connsiteX34" fmla="*/ 48300 w 881468"/>
                  <a:gd name="connsiteY34" fmla="*/ 110321 h 855847"/>
                  <a:gd name="connsiteX35" fmla="*/ 151963 w 881468"/>
                  <a:gd name="connsiteY35" fmla="*/ 67320 h 855847"/>
                  <a:gd name="connsiteX36" fmla="*/ 729687 w 881468"/>
                  <a:gd name="connsiteY36" fmla="*/ 789362 h 855847"/>
                  <a:gd name="connsiteX37" fmla="*/ 440734 w 881468"/>
                  <a:gd name="connsiteY37" fmla="*/ 814098 h 855847"/>
                  <a:gd name="connsiteX38" fmla="*/ 151782 w 881468"/>
                  <a:gd name="connsiteY38" fmla="*/ 789362 h 855847"/>
                  <a:gd name="connsiteX39" fmla="*/ 48300 w 881468"/>
                  <a:gd name="connsiteY39" fmla="*/ 748553 h 855847"/>
                  <a:gd name="connsiteX40" fmla="*/ 48300 w 881468"/>
                  <a:gd name="connsiteY40" fmla="*/ 590900 h 855847"/>
                  <a:gd name="connsiteX41" fmla="*/ 440734 w 881468"/>
                  <a:gd name="connsiteY41" fmla="*/ 645225 h 855847"/>
                  <a:gd name="connsiteX42" fmla="*/ 833169 w 881468"/>
                  <a:gd name="connsiteY42" fmla="*/ 590900 h 855847"/>
                  <a:gd name="connsiteX43" fmla="*/ 833169 w 881468"/>
                  <a:gd name="connsiteY43" fmla="*/ 748553 h 855847"/>
                  <a:gd name="connsiteX44" fmla="*/ 729687 w 881468"/>
                  <a:gd name="connsiteY44" fmla="*/ 789362 h 8558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</a:cxnLst>
                <a:rect l="l" t="t" r="r" b="b"/>
                <a:pathLst>
                  <a:path w="881468" h="855847">
                    <a:moveTo>
                      <a:pt x="881469" y="110321"/>
                    </a:moveTo>
                    <a:cubicBezTo>
                      <a:pt x="881469" y="23066"/>
                      <a:pt x="593180" y="0"/>
                      <a:pt x="440734" y="0"/>
                    </a:cubicBezTo>
                    <a:cubicBezTo>
                      <a:pt x="288289" y="0"/>
                      <a:pt x="0" y="23066"/>
                      <a:pt x="0" y="110321"/>
                    </a:cubicBezTo>
                    <a:cubicBezTo>
                      <a:pt x="0" y="111782"/>
                      <a:pt x="0" y="113243"/>
                      <a:pt x="0" y="114704"/>
                    </a:cubicBezTo>
                    <a:cubicBezTo>
                      <a:pt x="0" y="116166"/>
                      <a:pt x="0" y="116113"/>
                      <a:pt x="0" y="116896"/>
                    </a:cubicBezTo>
                    <a:lnTo>
                      <a:pt x="0" y="748344"/>
                    </a:lnTo>
                    <a:cubicBezTo>
                      <a:pt x="0" y="833407"/>
                      <a:pt x="288289" y="855847"/>
                      <a:pt x="440734" y="855847"/>
                    </a:cubicBezTo>
                    <a:cubicBezTo>
                      <a:pt x="593180" y="855847"/>
                      <a:pt x="881469" y="833407"/>
                      <a:pt x="881469" y="748553"/>
                    </a:cubicBezTo>
                    <a:lnTo>
                      <a:pt x="881469" y="116896"/>
                    </a:lnTo>
                    <a:cubicBezTo>
                      <a:pt x="881469" y="116113"/>
                      <a:pt x="881469" y="115435"/>
                      <a:pt x="881469" y="114704"/>
                    </a:cubicBezTo>
                    <a:cubicBezTo>
                      <a:pt x="881469" y="113974"/>
                      <a:pt x="881469" y="111782"/>
                      <a:pt x="881469" y="110321"/>
                    </a:cubicBezTo>
                    <a:close/>
                    <a:moveTo>
                      <a:pt x="833169" y="537931"/>
                    </a:moveTo>
                    <a:cubicBezTo>
                      <a:pt x="833169" y="541793"/>
                      <a:pt x="814755" y="561102"/>
                      <a:pt x="729687" y="578741"/>
                    </a:cubicBezTo>
                    <a:cubicBezTo>
                      <a:pt x="652770" y="594709"/>
                      <a:pt x="550133" y="603477"/>
                      <a:pt x="440734" y="603477"/>
                    </a:cubicBezTo>
                    <a:cubicBezTo>
                      <a:pt x="331336" y="603477"/>
                      <a:pt x="228699" y="594918"/>
                      <a:pt x="151782" y="578741"/>
                    </a:cubicBezTo>
                    <a:cubicBezTo>
                      <a:pt x="66714" y="561102"/>
                      <a:pt x="48300" y="541793"/>
                      <a:pt x="48300" y="537931"/>
                    </a:cubicBezTo>
                    <a:lnTo>
                      <a:pt x="48300" y="380956"/>
                    </a:lnTo>
                    <a:cubicBezTo>
                      <a:pt x="136930" y="422705"/>
                      <a:pt x="326747" y="435282"/>
                      <a:pt x="440734" y="435282"/>
                    </a:cubicBezTo>
                    <a:cubicBezTo>
                      <a:pt x="554722" y="435282"/>
                      <a:pt x="744539" y="422705"/>
                      <a:pt x="833169" y="380956"/>
                    </a:cubicBezTo>
                    <a:close/>
                    <a:moveTo>
                      <a:pt x="833169" y="327831"/>
                    </a:moveTo>
                    <a:cubicBezTo>
                      <a:pt x="833169" y="331693"/>
                      <a:pt x="814755" y="351002"/>
                      <a:pt x="729687" y="368640"/>
                    </a:cubicBezTo>
                    <a:cubicBezTo>
                      <a:pt x="652770" y="384609"/>
                      <a:pt x="550133" y="393377"/>
                      <a:pt x="440734" y="393377"/>
                    </a:cubicBezTo>
                    <a:cubicBezTo>
                      <a:pt x="331336" y="393377"/>
                      <a:pt x="228699" y="384609"/>
                      <a:pt x="151782" y="368640"/>
                    </a:cubicBezTo>
                    <a:cubicBezTo>
                      <a:pt x="66714" y="351002"/>
                      <a:pt x="48300" y="331693"/>
                      <a:pt x="48300" y="327831"/>
                    </a:cubicBezTo>
                    <a:lnTo>
                      <a:pt x="48300" y="164803"/>
                    </a:lnTo>
                    <a:cubicBezTo>
                      <a:pt x="136930" y="207752"/>
                      <a:pt x="326747" y="220642"/>
                      <a:pt x="440734" y="220642"/>
                    </a:cubicBezTo>
                    <a:cubicBezTo>
                      <a:pt x="554722" y="220642"/>
                      <a:pt x="744539" y="207752"/>
                      <a:pt x="833169" y="164803"/>
                    </a:cubicBezTo>
                    <a:close/>
                    <a:moveTo>
                      <a:pt x="151963" y="67320"/>
                    </a:moveTo>
                    <a:cubicBezTo>
                      <a:pt x="228820" y="50829"/>
                      <a:pt x="331336" y="41749"/>
                      <a:pt x="440734" y="41749"/>
                    </a:cubicBezTo>
                    <a:cubicBezTo>
                      <a:pt x="550133" y="41749"/>
                      <a:pt x="652649" y="50829"/>
                      <a:pt x="729506" y="67320"/>
                    </a:cubicBezTo>
                    <a:cubicBezTo>
                      <a:pt x="815540" y="85793"/>
                      <a:pt x="833169" y="105937"/>
                      <a:pt x="833169" y="110321"/>
                    </a:cubicBezTo>
                    <a:cubicBezTo>
                      <a:pt x="833169" y="114704"/>
                      <a:pt x="815540" y="134848"/>
                      <a:pt x="729506" y="153322"/>
                    </a:cubicBezTo>
                    <a:cubicBezTo>
                      <a:pt x="652649" y="169813"/>
                      <a:pt x="550133" y="178893"/>
                      <a:pt x="440734" y="178893"/>
                    </a:cubicBezTo>
                    <a:cubicBezTo>
                      <a:pt x="331336" y="178893"/>
                      <a:pt x="228820" y="169813"/>
                      <a:pt x="151963" y="153322"/>
                    </a:cubicBezTo>
                    <a:cubicBezTo>
                      <a:pt x="65929" y="134848"/>
                      <a:pt x="48300" y="114809"/>
                      <a:pt x="48300" y="110321"/>
                    </a:cubicBezTo>
                    <a:cubicBezTo>
                      <a:pt x="48300" y="105833"/>
                      <a:pt x="65929" y="85793"/>
                      <a:pt x="151963" y="67320"/>
                    </a:cubicBezTo>
                    <a:close/>
                    <a:moveTo>
                      <a:pt x="729687" y="789362"/>
                    </a:moveTo>
                    <a:cubicBezTo>
                      <a:pt x="652770" y="805331"/>
                      <a:pt x="550133" y="814098"/>
                      <a:pt x="440734" y="814098"/>
                    </a:cubicBezTo>
                    <a:cubicBezTo>
                      <a:pt x="331336" y="814098"/>
                      <a:pt x="228699" y="805331"/>
                      <a:pt x="151782" y="789362"/>
                    </a:cubicBezTo>
                    <a:cubicBezTo>
                      <a:pt x="66714" y="771724"/>
                      <a:pt x="48300" y="752363"/>
                      <a:pt x="48300" y="748553"/>
                    </a:cubicBezTo>
                    <a:lnTo>
                      <a:pt x="48300" y="590900"/>
                    </a:lnTo>
                    <a:cubicBezTo>
                      <a:pt x="136930" y="632648"/>
                      <a:pt x="326747" y="645225"/>
                      <a:pt x="440734" y="645225"/>
                    </a:cubicBezTo>
                    <a:cubicBezTo>
                      <a:pt x="554722" y="645225"/>
                      <a:pt x="744539" y="632701"/>
                      <a:pt x="833169" y="590900"/>
                    </a:cubicBezTo>
                    <a:lnTo>
                      <a:pt x="833169" y="748553"/>
                    </a:lnTo>
                    <a:cubicBezTo>
                      <a:pt x="833169" y="752363"/>
                      <a:pt x="815057" y="771724"/>
                      <a:pt x="729687" y="789362"/>
                    </a:cubicBezTo>
                    <a:close/>
                  </a:path>
                </a:pathLst>
              </a:custGeom>
              <a:solidFill>
                <a:schemeClr val="tx1"/>
              </a:solidFill>
              <a:ln w="601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4BAECDCE-3E26-415A-96DC-183C1ED44E2B}"/>
                </a:ext>
              </a:extLst>
            </p:cNvPr>
            <p:cNvSpPr/>
            <p:nvPr/>
          </p:nvSpPr>
          <p:spPr>
            <a:xfrm>
              <a:off x="5434828" y="3699263"/>
              <a:ext cx="103498" cy="976045"/>
            </a:xfrm>
            <a:custGeom>
              <a:avLst/>
              <a:gdLst>
                <a:gd name="connsiteX0" fmla="*/ 82193 w 123289"/>
                <a:gd name="connsiteY0" fmla="*/ 0 h 976045"/>
                <a:gd name="connsiteX1" fmla="*/ 0 w 123289"/>
                <a:gd name="connsiteY1" fmla="*/ 441788 h 976045"/>
                <a:gd name="connsiteX2" fmla="*/ 123289 w 123289"/>
                <a:gd name="connsiteY2" fmla="*/ 976045 h 976045"/>
                <a:gd name="connsiteX0" fmla="*/ 82720 w 123816"/>
                <a:gd name="connsiteY0" fmla="*/ 0 h 976045"/>
                <a:gd name="connsiteX1" fmla="*/ 527 w 123816"/>
                <a:gd name="connsiteY1" fmla="*/ 441788 h 976045"/>
                <a:gd name="connsiteX2" fmla="*/ 123816 w 123816"/>
                <a:gd name="connsiteY2" fmla="*/ 976045 h 976045"/>
                <a:gd name="connsiteX0" fmla="*/ 62402 w 103498"/>
                <a:gd name="connsiteY0" fmla="*/ 0 h 976045"/>
                <a:gd name="connsiteX1" fmla="*/ 758 w 103498"/>
                <a:gd name="connsiteY1" fmla="*/ 482885 h 976045"/>
                <a:gd name="connsiteX2" fmla="*/ 103498 w 103498"/>
                <a:gd name="connsiteY2" fmla="*/ 976045 h 9760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03498" h="976045">
                  <a:moveTo>
                    <a:pt x="62402" y="0"/>
                  </a:moveTo>
                  <a:cubicBezTo>
                    <a:pt x="35004" y="147263"/>
                    <a:pt x="-6091" y="320211"/>
                    <a:pt x="758" y="482885"/>
                  </a:cubicBezTo>
                  <a:cubicBezTo>
                    <a:pt x="7607" y="645559"/>
                    <a:pt x="62402" y="797959"/>
                    <a:pt x="103498" y="976045"/>
                  </a:cubicBezTo>
                </a:path>
              </a:pathLst>
            </a:custGeom>
            <a:ln w="28575">
              <a:solidFill>
                <a:srgbClr val="AE562C"/>
              </a:solidFill>
              <a:headEnd type="none" w="med" len="med"/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11D6BFCD-8024-4E38-9E61-50C5E27B4E7A}"/>
                </a:ext>
              </a:extLst>
            </p:cNvPr>
            <p:cNvSpPr/>
            <p:nvPr/>
          </p:nvSpPr>
          <p:spPr>
            <a:xfrm>
              <a:off x="6211092" y="3699263"/>
              <a:ext cx="0" cy="976045"/>
            </a:xfrm>
            <a:custGeom>
              <a:avLst/>
              <a:gdLst>
                <a:gd name="connsiteX0" fmla="*/ 82193 w 123289"/>
                <a:gd name="connsiteY0" fmla="*/ 0 h 976045"/>
                <a:gd name="connsiteX1" fmla="*/ 0 w 123289"/>
                <a:gd name="connsiteY1" fmla="*/ 441788 h 976045"/>
                <a:gd name="connsiteX2" fmla="*/ 123289 w 123289"/>
                <a:gd name="connsiteY2" fmla="*/ 976045 h 976045"/>
                <a:gd name="connsiteX0" fmla="*/ 82720 w 123816"/>
                <a:gd name="connsiteY0" fmla="*/ 0 h 976045"/>
                <a:gd name="connsiteX1" fmla="*/ 527 w 123816"/>
                <a:gd name="connsiteY1" fmla="*/ 441788 h 976045"/>
                <a:gd name="connsiteX2" fmla="*/ 123816 w 123816"/>
                <a:gd name="connsiteY2" fmla="*/ 976045 h 976045"/>
                <a:gd name="connsiteX0" fmla="*/ 62402 w 103498"/>
                <a:gd name="connsiteY0" fmla="*/ 0 h 976045"/>
                <a:gd name="connsiteX1" fmla="*/ 758 w 103498"/>
                <a:gd name="connsiteY1" fmla="*/ 482885 h 976045"/>
                <a:gd name="connsiteX2" fmla="*/ 103498 w 103498"/>
                <a:gd name="connsiteY2" fmla="*/ 976045 h 9760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03498" h="976045">
                  <a:moveTo>
                    <a:pt x="62402" y="0"/>
                  </a:moveTo>
                  <a:cubicBezTo>
                    <a:pt x="35004" y="147263"/>
                    <a:pt x="-6091" y="320211"/>
                    <a:pt x="758" y="482885"/>
                  </a:cubicBezTo>
                  <a:cubicBezTo>
                    <a:pt x="7607" y="645559"/>
                    <a:pt x="62402" y="797959"/>
                    <a:pt x="103498" y="976045"/>
                  </a:cubicBezTo>
                </a:path>
              </a:pathLst>
            </a:custGeom>
            <a:ln w="28575">
              <a:solidFill>
                <a:srgbClr val="AE562C"/>
              </a:solidFill>
              <a:headEnd type="none" w="med" len="med"/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D9F9BA0D-412B-4E3B-870F-7E0702314739}"/>
                </a:ext>
              </a:extLst>
            </p:cNvPr>
            <p:cNvSpPr/>
            <p:nvPr/>
          </p:nvSpPr>
          <p:spPr>
            <a:xfrm>
              <a:off x="6048860" y="3699263"/>
              <a:ext cx="0" cy="976045"/>
            </a:xfrm>
            <a:custGeom>
              <a:avLst/>
              <a:gdLst>
                <a:gd name="connsiteX0" fmla="*/ 82193 w 123289"/>
                <a:gd name="connsiteY0" fmla="*/ 0 h 976045"/>
                <a:gd name="connsiteX1" fmla="*/ 0 w 123289"/>
                <a:gd name="connsiteY1" fmla="*/ 441788 h 976045"/>
                <a:gd name="connsiteX2" fmla="*/ 123289 w 123289"/>
                <a:gd name="connsiteY2" fmla="*/ 976045 h 976045"/>
                <a:gd name="connsiteX0" fmla="*/ 82720 w 123816"/>
                <a:gd name="connsiteY0" fmla="*/ 0 h 976045"/>
                <a:gd name="connsiteX1" fmla="*/ 527 w 123816"/>
                <a:gd name="connsiteY1" fmla="*/ 441788 h 976045"/>
                <a:gd name="connsiteX2" fmla="*/ 123816 w 123816"/>
                <a:gd name="connsiteY2" fmla="*/ 976045 h 976045"/>
                <a:gd name="connsiteX0" fmla="*/ 62402 w 103498"/>
                <a:gd name="connsiteY0" fmla="*/ 0 h 976045"/>
                <a:gd name="connsiteX1" fmla="*/ 758 w 103498"/>
                <a:gd name="connsiteY1" fmla="*/ 482885 h 976045"/>
                <a:gd name="connsiteX2" fmla="*/ 103498 w 103498"/>
                <a:gd name="connsiteY2" fmla="*/ 976045 h 9760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03498" h="976045">
                  <a:moveTo>
                    <a:pt x="62402" y="0"/>
                  </a:moveTo>
                  <a:cubicBezTo>
                    <a:pt x="35004" y="147263"/>
                    <a:pt x="-6091" y="320211"/>
                    <a:pt x="758" y="482885"/>
                  </a:cubicBezTo>
                  <a:cubicBezTo>
                    <a:pt x="7607" y="645559"/>
                    <a:pt x="62402" y="797959"/>
                    <a:pt x="103498" y="976045"/>
                  </a:cubicBezTo>
                </a:path>
              </a:pathLst>
            </a:custGeom>
            <a:ln w="28575">
              <a:solidFill>
                <a:srgbClr val="AE562C"/>
              </a:solidFill>
              <a:headEnd type="triangle" w="lg" len="lg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5AFB8AFC-CAAF-4048-BEF5-2E44FC1CE534}"/>
                </a:ext>
              </a:extLst>
            </p:cNvPr>
            <p:cNvGrpSpPr/>
            <p:nvPr/>
          </p:nvGrpSpPr>
          <p:grpSpPr>
            <a:xfrm rot="10800000">
              <a:off x="6722531" y="3710465"/>
              <a:ext cx="265730" cy="976045"/>
              <a:chOff x="6624211" y="3720297"/>
              <a:chExt cx="265730" cy="976045"/>
            </a:xfrm>
          </p:grpSpPr>
          <p:sp>
            <p:nvSpPr>
              <p:cNvPr id="30" name="Freeform: Shape 29">
                <a:extLst>
                  <a:ext uri="{FF2B5EF4-FFF2-40B4-BE49-F238E27FC236}">
                    <a16:creationId xmlns:a16="http://schemas.microsoft.com/office/drawing/2014/main" id="{FC5D3D8A-BA43-4CFF-AA55-EEC17ED13739}"/>
                  </a:ext>
                </a:extLst>
              </p:cNvPr>
              <p:cNvSpPr/>
              <p:nvPr/>
            </p:nvSpPr>
            <p:spPr>
              <a:xfrm>
                <a:off x="6786443" y="3720297"/>
                <a:ext cx="103498" cy="976045"/>
              </a:xfrm>
              <a:custGeom>
                <a:avLst/>
                <a:gdLst>
                  <a:gd name="connsiteX0" fmla="*/ 82193 w 123289"/>
                  <a:gd name="connsiteY0" fmla="*/ 0 h 976045"/>
                  <a:gd name="connsiteX1" fmla="*/ 0 w 123289"/>
                  <a:gd name="connsiteY1" fmla="*/ 441788 h 976045"/>
                  <a:gd name="connsiteX2" fmla="*/ 123289 w 123289"/>
                  <a:gd name="connsiteY2" fmla="*/ 976045 h 976045"/>
                  <a:gd name="connsiteX0" fmla="*/ 82720 w 123816"/>
                  <a:gd name="connsiteY0" fmla="*/ 0 h 976045"/>
                  <a:gd name="connsiteX1" fmla="*/ 527 w 123816"/>
                  <a:gd name="connsiteY1" fmla="*/ 441788 h 976045"/>
                  <a:gd name="connsiteX2" fmla="*/ 123816 w 123816"/>
                  <a:gd name="connsiteY2" fmla="*/ 976045 h 976045"/>
                  <a:gd name="connsiteX0" fmla="*/ 62402 w 103498"/>
                  <a:gd name="connsiteY0" fmla="*/ 0 h 976045"/>
                  <a:gd name="connsiteX1" fmla="*/ 758 w 103498"/>
                  <a:gd name="connsiteY1" fmla="*/ 482885 h 976045"/>
                  <a:gd name="connsiteX2" fmla="*/ 103498 w 103498"/>
                  <a:gd name="connsiteY2" fmla="*/ 976045 h 9760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03498" h="976045">
                    <a:moveTo>
                      <a:pt x="62402" y="0"/>
                    </a:moveTo>
                    <a:cubicBezTo>
                      <a:pt x="35004" y="147263"/>
                      <a:pt x="-6091" y="320211"/>
                      <a:pt x="758" y="482885"/>
                    </a:cubicBezTo>
                    <a:cubicBezTo>
                      <a:pt x="7607" y="645559"/>
                      <a:pt x="62402" y="797959"/>
                      <a:pt x="103498" y="976045"/>
                    </a:cubicBezTo>
                  </a:path>
                </a:pathLst>
              </a:custGeom>
              <a:ln w="28575">
                <a:solidFill>
                  <a:srgbClr val="AE562C"/>
                </a:solidFill>
                <a:headEnd type="none" w="med" len="med"/>
                <a:tailEnd type="triangle" w="lg" len="lg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1" name="Freeform: Shape 30">
                <a:extLst>
                  <a:ext uri="{FF2B5EF4-FFF2-40B4-BE49-F238E27FC236}">
                    <a16:creationId xmlns:a16="http://schemas.microsoft.com/office/drawing/2014/main" id="{2EB4DADB-190A-4190-BE63-76796A87A1A1}"/>
                  </a:ext>
                </a:extLst>
              </p:cNvPr>
              <p:cNvSpPr/>
              <p:nvPr/>
            </p:nvSpPr>
            <p:spPr>
              <a:xfrm>
                <a:off x="6624211" y="3720297"/>
                <a:ext cx="103498" cy="976045"/>
              </a:xfrm>
              <a:custGeom>
                <a:avLst/>
                <a:gdLst>
                  <a:gd name="connsiteX0" fmla="*/ 82193 w 123289"/>
                  <a:gd name="connsiteY0" fmla="*/ 0 h 976045"/>
                  <a:gd name="connsiteX1" fmla="*/ 0 w 123289"/>
                  <a:gd name="connsiteY1" fmla="*/ 441788 h 976045"/>
                  <a:gd name="connsiteX2" fmla="*/ 123289 w 123289"/>
                  <a:gd name="connsiteY2" fmla="*/ 976045 h 976045"/>
                  <a:gd name="connsiteX0" fmla="*/ 82720 w 123816"/>
                  <a:gd name="connsiteY0" fmla="*/ 0 h 976045"/>
                  <a:gd name="connsiteX1" fmla="*/ 527 w 123816"/>
                  <a:gd name="connsiteY1" fmla="*/ 441788 h 976045"/>
                  <a:gd name="connsiteX2" fmla="*/ 123816 w 123816"/>
                  <a:gd name="connsiteY2" fmla="*/ 976045 h 976045"/>
                  <a:gd name="connsiteX0" fmla="*/ 62402 w 103498"/>
                  <a:gd name="connsiteY0" fmla="*/ 0 h 976045"/>
                  <a:gd name="connsiteX1" fmla="*/ 758 w 103498"/>
                  <a:gd name="connsiteY1" fmla="*/ 482885 h 976045"/>
                  <a:gd name="connsiteX2" fmla="*/ 103498 w 103498"/>
                  <a:gd name="connsiteY2" fmla="*/ 976045 h 9760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03498" h="976045">
                    <a:moveTo>
                      <a:pt x="62402" y="0"/>
                    </a:moveTo>
                    <a:cubicBezTo>
                      <a:pt x="35004" y="147263"/>
                      <a:pt x="-6091" y="320211"/>
                      <a:pt x="758" y="482885"/>
                    </a:cubicBezTo>
                    <a:cubicBezTo>
                      <a:pt x="7607" y="645559"/>
                      <a:pt x="62402" y="797959"/>
                      <a:pt x="103498" y="976045"/>
                    </a:cubicBezTo>
                  </a:path>
                </a:pathLst>
              </a:custGeom>
              <a:ln w="28575">
                <a:solidFill>
                  <a:srgbClr val="AE562C"/>
                </a:solidFill>
                <a:headEnd type="triangle" w="lg" len="lg"/>
                <a:tailEnd type="non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grpSp>
        <p:nvGrpSpPr>
          <p:cNvPr id="100" name="Group 99">
            <a:extLst>
              <a:ext uri="{FF2B5EF4-FFF2-40B4-BE49-F238E27FC236}">
                <a16:creationId xmlns:a16="http://schemas.microsoft.com/office/drawing/2014/main" id="{45D7A8D6-3DF5-4D8C-87A1-16F9E1BE8213}"/>
              </a:ext>
            </a:extLst>
          </p:cNvPr>
          <p:cNvGrpSpPr/>
          <p:nvPr/>
        </p:nvGrpSpPr>
        <p:grpSpPr>
          <a:xfrm>
            <a:off x="5089948" y="3328675"/>
            <a:ext cx="329184" cy="329184"/>
            <a:chOff x="8701640" y="3423261"/>
            <a:chExt cx="329184" cy="329184"/>
          </a:xfrm>
        </p:grpSpPr>
        <p:grpSp>
          <p:nvGrpSpPr>
            <p:cNvPr id="101" name="Group 100">
              <a:extLst>
                <a:ext uri="{FF2B5EF4-FFF2-40B4-BE49-F238E27FC236}">
                  <a16:creationId xmlns:a16="http://schemas.microsoft.com/office/drawing/2014/main" id="{2FA38723-98D0-49F1-93EB-28BE29A6311C}"/>
                </a:ext>
              </a:extLst>
            </p:cNvPr>
            <p:cNvGrpSpPr/>
            <p:nvPr/>
          </p:nvGrpSpPr>
          <p:grpSpPr>
            <a:xfrm>
              <a:off x="8701640" y="3423261"/>
              <a:ext cx="329184" cy="329184"/>
              <a:chOff x="8701640" y="3423261"/>
              <a:chExt cx="329184" cy="329184"/>
            </a:xfrm>
          </p:grpSpPr>
          <p:grpSp>
            <p:nvGrpSpPr>
              <p:cNvPr id="103" name="Group 102">
                <a:extLst>
                  <a:ext uri="{FF2B5EF4-FFF2-40B4-BE49-F238E27FC236}">
                    <a16:creationId xmlns:a16="http://schemas.microsoft.com/office/drawing/2014/main" id="{8055B147-C0F0-4D81-ACA7-01E5A887F6D7}"/>
                  </a:ext>
                </a:extLst>
              </p:cNvPr>
              <p:cNvGrpSpPr>
                <a:grpSpLocks noChangeAspect="1"/>
              </p:cNvGrpSpPr>
              <p:nvPr/>
            </p:nvGrpSpPr>
            <p:grpSpPr>
              <a:xfrm>
                <a:off x="8701640" y="3423261"/>
                <a:ext cx="329184" cy="329184"/>
                <a:chOff x="8681599" y="3408231"/>
                <a:chExt cx="365760" cy="365760"/>
              </a:xfrm>
            </p:grpSpPr>
            <p:cxnSp>
              <p:nvCxnSpPr>
                <p:cNvPr id="105" name="Straight Connector 104">
                  <a:extLst>
                    <a:ext uri="{FF2B5EF4-FFF2-40B4-BE49-F238E27FC236}">
                      <a16:creationId xmlns:a16="http://schemas.microsoft.com/office/drawing/2014/main" id="{68CCB24A-2C0D-4AFB-B9AC-EA6E431B78A3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8681599" y="3591111"/>
                  <a:ext cx="365760" cy="0"/>
                </a:xfrm>
                <a:prstGeom prst="line">
                  <a:avLst/>
                </a:prstGeom>
                <a:ln w="38100" cap="rnd">
                  <a:solidFill>
                    <a:schemeClr val="accent5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06" name="Straight Connector 105">
                  <a:extLst>
                    <a:ext uri="{FF2B5EF4-FFF2-40B4-BE49-F238E27FC236}">
                      <a16:creationId xmlns:a16="http://schemas.microsoft.com/office/drawing/2014/main" id="{CF0CF788-CC14-4F67-996F-B5B1576A4347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rot="1800000">
                  <a:off x="8681599" y="3591111"/>
                  <a:ext cx="365760" cy="0"/>
                </a:xfrm>
                <a:prstGeom prst="line">
                  <a:avLst/>
                </a:prstGeom>
                <a:ln w="38100" cap="rnd">
                  <a:solidFill>
                    <a:schemeClr val="accent5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07" name="Straight Connector 106">
                  <a:extLst>
                    <a:ext uri="{FF2B5EF4-FFF2-40B4-BE49-F238E27FC236}">
                      <a16:creationId xmlns:a16="http://schemas.microsoft.com/office/drawing/2014/main" id="{E3BCCC05-0EBC-4D12-B1CF-13B743992E39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rot="3600000">
                  <a:off x="8681599" y="3591111"/>
                  <a:ext cx="365760" cy="0"/>
                </a:xfrm>
                <a:prstGeom prst="line">
                  <a:avLst/>
                </a:prstGeom>
                <a:ln w="38100" cap="rnd">
                  <a:solidFill>
                    <a:schemeClr val="accent5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08" name="Straight Connector 107">
                  <a:extLst>
                    <a:ext uri="{FF2B5EF4-FFF2-40B4-BE49-F238E27FC236}">
                      <a16:creationId xmlns:a16="http://schemas.microsoft.com/office/drawing/2014/main" id="{DC61597D-0F4C-47F3-8CCB-2B9B91C6DA62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rot="5400000">
                  <a:off x="8681599" y="3591111"/>
                  <a:ext cx="365760" cy="0"/>
                </a:xfrm>
                <a:prstGeom prst="line">
                  <a:avLst/>
                </a:prstGeom>
                <a:ln w="38100" cap="rnd">
                  <a:solidFill>
                    <a:schemeClr val="accent5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09" name="Straight Connector 108">
                  <a:extLst>
                    <a:ext uri="{FF2B5EF4-FFF2-40B4-BE49-F238E27FC236}">
                      <a16:creationId xmlns:a16="http://schemas.microsoft.com/office/drawing/2014/main" id="{FC208890-BE13-4629-B80B-0CABC6949DC5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rot="7200000">
                  <a:off x="8681599" y="3591111"/>
                  <a:ext cx="365760" cy="0"/>
                </a:xfrm>
                <a:prstGeom prst="line">
                  <a:avLst/>
                </a:prstGeom>
                <a:ln w="38100" cap="rnd">
                  <a:solidFill>
                    <a:schemeClr val="accent5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10" name="Straight Connector 109">
                  <a:extLst>
                    <a:ext uri="{FF2B5EF4-FFF2-40B4-BE49-F238E27FC236}">
                      <a16:creationId xmlns:a16="http://schemas.microsoft.com/office/drawing/2014/main" id="{67ECE0B6-FF77-4EAF-AB26-518F7A076120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rot="9000000">
                  <a:off x="8681599" y="3591111"/>
                  <a:ext cx="365760" cy="0"/>
                </a:xfrm>
                <a:prstGeom prst="line">
                  <a:avLst/>
                </a:prstGeom>
                <a:ln w="38100" cap="rnd">
                  <a:solidFill>
                    <a:schemeClr val="accent5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sp>
            <p:nvSpPr>
              <p:cNvPr id="104" name="Oval 103">
                <a:extLst>
                  <a:ext uri="{FF2B5EF4-FFF2-40B4-BE49-F238E27FC236}">
                    <a16:creationId xmlns:a16="http://schemas.microsoft.com/office/drawing/2014/main" id="{DA6DB6FA-92D3-461C-91F7-AA973C8DA28E}"/>
                  </a:ext>
                </a:extLst>
              </p:cNvPr>
              <p:cNvSpPr/>
              <p:nvPr/>
            </p:nvSpPr>
            <p:spPr>
              <a:xfrm>
                <a:off x="8727319" y="3453951"/>
                <a:ext cx="274320" cy="274320"/>
              </a:xfrm>
              <a:prstGeom prst="ellipse">
                <a:avLst/>
              </a:prstGeom>
              <a:solidFill>
                <a:schemeClr val="bg1"/>
              </a:solidFill>
              <a:ln w="28575" cap="rnd">
                <a:solidFill>
                  <a:srgbClr val="AE562C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102" name="TextBox 101">
              <a:extLst>
                <a:ext uri="{FF2B5EF4-FFF2-40B4-BE49-F238E27FC236}">
                  <a16:creationId xmlns:a16="http://schemas.microsoft.com/office/drawing/2014/main" id="{3F8DCDE9-3D46-4C13-A382-C361663B4758}"/>
                </a:ext>
              </a:extLst>
            </p:cNvPr>
            <p:cNvSpPr txBox="1"/>
            <p:nvPr/>
          </p:nvSpPr>
          <p:spPr>
            <a:xfrm>
              <a:off x="8711207" y="3442579"/>
              <a:ext cx="292068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400" b="1" dirty="0"/>
                <a:t>1</a:t>
              </a:r>
            </a:p>
          </p:txBody>
        </p:sp>
      </p:grpSp>
      <p:grpSp>
        <p:nvGrpSpPr>
          <p:cNvPr id="111" name="Group 110">
            <a:extLst>
              <a:ext uri="{FF2B5EF4-FFF2-40B4-BE49-F238E27FC236}">
                <a16:creationId xmlns:a16="http://schemas.microsoft.com/office/drawing/2014/main" id="{A57C9A17-0B47-4079-82A7-64AAD8EA6B41}"/>
              </a:ext>
            </a:extLst>
          </p:cNvPr>
          <p:cNvGrpSpPr/>
          <p:nvPr/>
        </p:nvGrpSpPr>
        <p:grpSpPr>
          <a:xfrm>
            <a:off x="5648244" y="3328675"/>
            <a:ext cx="329184" cy="329184"/>
            <a:chOff x="9259936" y="3423261"/>
            <a:chExt cx="329184" cy="329184"/>
          </a:xfrm>
        </p:grpSpPr>
        <p:grpSp>
          <p:nvGrpSpPr>
            <p:cNvPr id="112" name="Group 111">
              <a:extLst>
                <a:ext uri="{FF2B5EF4-FFF2-40B4-BE49-F238E27FC236}">
                  <a16:creationId xmlns:a16="http://schemas.microsoft.com/office/drawing/2014/main" id="{FFAA8D6C-EF6C-48FA-9C5B-C56394D07858}"/>
                </a:ext>
              </a:extLst>
            </p:cNvPr>
            <p:cNvGrpSpPr/>
            <p:nvPr/>
          </p:nvGrpSpPr>
          <p:grpSpPr>
            <a:xfrm>
              <a:off x="9259936" y="3423261"/>
              <a:ext cx="329184" cy="329184"/>
              <a:chOff x="8701640" y="3423261"/>
              <a:chExt cx="329184" cy="329184"/>
            </a:xfrm>
          </p:grpSpPr>
          <p:grpSp>
            <p:nvGrpSpPr>
              <p:cNvPr id="114" name="Group 113">
                <a:extLst>
                  <a:ext uri="{FF2B5EF4-FFF2-40B4-BE49-F238E27FC236}">
                    <a16:creationId xmlns:a16="http://schemas.microsoft.com/office/drawing/2014/main" id="{BB79CA9C-2994-4151-BACE-3C5C56EB0424}"/>
                  </a:ext>
                </a:extLst>
              </p:cNvPr>
              <p:cNvGrpSpPr>
                <a:grpSpLocks noChangeAspect="1"/>
              </p:cNvGrpSpPr>
              <p:nvPr/>
            </p:nvGrpSpPr>
            <p:grpSpPr>
              <a:xfrm>
                <a:off x="8701640" y="3423261"/>
                <a:ext cx="329184" cy="329184"/>
                <a:chOff x="8681599" y="3408231"/>
                <a:chExt cx="365760" cy="365760"/>
              </a:xfrm>
            </p:grpSpPr>
            <p:cxnSp>
              <p:nvCxnSpPr>
                <p:cNvPr id="116" name="Straight Connector 115">
                  <a:extLst>
                    <a:ext uri="{FF2B5EF4-FFF2-40B4-BE49-F238E27FC236}">
                      <a16:creationId xmlns:a16="http://schemas.microsoft.com/office/drawing/2014/main" id="{DAC566F8-F036-48B0-A65A-8125AA09D9E2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8681599" y="3591111"/>
                  <a:ext cx="365760" cy="0"/>
                </a:xfrm>
                <a:prstGeom prst="line">
                  <a:avLst/>
                </a:prstGeom>
                <a:ln w="38100" cap="rnd">
                  <a:solidFill>
                    <a:schemeClr val="accent5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17" name="Straight Connector 116">
                  <a:extLst>
                    <a:ext uri="{FF2B5EF4-FFF2-40B4-BE49-F238E27FC236}">
                      <a16:creationId xmlns:a16="http://schemas.microsoft.com/office/drawing/2014/main" id="{73B19099-60F6-43DE-9BB6-8BBE6CBEDA1F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rot="1800000">
                  <a:off x="8681599" y="3591111"/>
                  <a:ext cx="365760" cy="0"/>
                </a:xfrm>
                <a:prstGeom prst="line">
                  <a:avLst/>
                </a:prstGeom>
                <a:ln w="38100" cap="rnd">
                  <a:solidFill>
                    <a:schemeClr val="accent5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18" name="Straight Connector 117">
                  <a:extLst>
                    <a:ext uri="{FF2B5EF4-FFF2-40B4-BE49-F238E27FC236}">
                      <a16:creationId xmlns:a16="http://schemas.microsoft.com/office/drawing/2014/main" id="{0243E0D6-092E-4078-8354-FE4D57B492BB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rot="3600000">
                  <a:off x="8681599" y="3591111"/>
                  <a:ext cx="365760" cy="0"/>
                </a:xfrm>
                <a:prstGeom prst="line">
                  <a:avLst/>
                </a:prstGeom>
                <a:ln w="38100" cap="rnd">
                  <a:solidFill>
                    <a:schemeClr val="accent5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19" name="Straight Connector 118">
                  <a:extLst>
                    <a:ext uri="{FF2B5EF4-FFF2-40B4-BE49-F238E27FC236}">
                      <a16:creationId xmlns:a16="http://schemas.microsoft.com/office/drawing/2014/main" id="{5BDB5B81-F875-4AB0-BE90-131BEBDECD94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rot="5400000">
                  <a:off x="8681599" y="3591111"/>
                  <a:ext cx="365760" cy="0"/>
                </a:xfrm>
                <a:prstGeom prst="line">
                  <a:avLst/>
                </a:prstGeom>
                <a:ln w="38100" cap="rnd">
                  <a:solidFill>
                    <a:schemeClr val="accent5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20" name="Straight Connector 119">
                  <a:extLst>
                    <a:ext uri="{FF2B5EF4-FFF2-40B4-BE49-F238E27FC236}">
                      <a16:creationId xmlns:a16="http://schemas.microsoft.com/office/drawing/2014/main" id="{E85BB641-4676-44E4-A466-40BA1533D20E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rot="7200000">
                  <a:off x="8681599" y="3591111"/>
                  <a:ext cx="365760" cy="0"/>
                </a:xfrm>
                <a:prstGeom prst="line">
                  <a:avLst/>
                </a:prstGeom>
                <a:ln w="38100" cap="rnd">
                  <a:solidFill>
                    <a:schemeClr val="accent5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21" name="Straight Connector 120">
                  <a:extLst>
                    <a:ext uri="{FF2B5EF4-FFF2-40B4-BE49-F238E27FC236}">
                      <a16:creationId xmlns:a16="http://schemas.microsoft.com/office/drawing/2014/main" id="{205A4AEF-2F25-4699-9CD9-E65CD22D4E55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rot="9000000">
                  <a:off x="8681599" y="3591111"/>
                  <a:ext cx="365760" cy="0"/>
                </a:xfrm>
                <a:prstGeom prst="line">
                  <a:avLst/>
                </a:prstGeom>
                <a:ln w="38100" cap="rnd">
                  <a:solidFill>
                    <a:schemeClr val="accent5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sp>
            <p:nvSpPr>
              <p:cNvPr id="115" name="Oval 114">
                <a:extLst>
                  <a:ext uri="{FF2B5EF4-FFF2-40B4-BE49-F238E27FC236}">
                    <a16:creationId xmlns:a16="http://schemas.microsoft.com/office/drawing/2014/main" id="{98A34DDD-A6F4-4C42-9C10-AF20C9AEEF8F}"/>
                  </a:ext>
                </a:extLst>
              </p:cNvPr>
              <p:cNvSpPr/>
              <p:nvPr/>
            </p:nvSpPr>
            <p:spPr>
              <a:xfrm>
                <a:off x="8727319" y="3453951"/>
                <a:ext cx="274320" cy="274320"/>
              </a:xfrm>
              <a:prstGeom prst="ellipse">
                <a:avLst/>
              </a:prstGeom>
              <a:solidFill>
                <a:schemeClr val="bg1"/>
              </a:solidFill>
              <a:ln w="28575" cap="rnd">
                <a:solidFill>
                  <a:srgbClr val="AE562C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113" name="TextBox 112">
              <a:extLst>
                <a:ext uri="{FF2B5EF4-FFF2-40B4-BE49-F238E27FC236}">
                  <a16:creationId xmlns:a16="http://schemas.microsoft.com/office/drawing/2014/main" id="{36F619B7-BE45-47F4-A617-7AF32E3EAE88}"/>
                </a:ext>
              </a:extLst>
            </p:cNvPr>
            <p:cNvSpPr txBox="1"/>
            <p:nvPr/>
          </p:nvSpPr>
          <p:spPr>
            <a:xfrm>
              <a:off x="9280999" y="3440074"/>
              <a:ext cx="292068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400" b="1" dirty="0"/>
                <a:t>2</a:t>
              </a:r>
            </a:p>
          </p:txBody>
        </p:sp>
      </p:grpSp>
      <p:grpSp>
        <p:nvGrpSpPr>
          <p:cNvPr id="122" name="Group 121">
            <a:extLst>
              <a:ext uri="{FF2B5EF4-FFF2-40B4-BE49-F238E27FC236}">
                <a16:creationId xmlns:a16="http://schemas.microsoft.com/office/drawing/2014/main" id="{CAC026B6-AC4F-4911-8547-52FCA32FC17C}"/>
              </a:ext>
            </a:extLst>
          </p:cNvPr>
          <p:cNvGrpSpPr/>
          <p:nvPr/>
        </p:nvGrpSpPr>
        <p:grpSpPr>
          <a:xfrm>
            <a:off x="6364602" y="3328675"/>
            <a:ext cx="329184" cy="329184"/>
            <a:chOff x="9976294" y="3452662"/>
            <a:chExt cx="329184" cy="329184"/>
          </a:xfrm>
        </p:grpSpPr>
        <p:grpSp>
          <p:nvGrpSpPr>
            <p:cNvPr id="123" name="Group 122">
              <a:extLst>
                <a:ext uri="{FF2B5EF4-FFF2-40B4-BE49-F238E27FC236}">
                  <a16:creationId xmlns:a16="http://schemas.microsoft.com/office/drawing/2014/main" id="{CCABD73F-DF2C-40AE-A6E6-DEBFB380FE2C}"/>
                </a:ext>
              </a:extLst>
            </p:cNvPr>
            <p:cNvGrpSpPr/>
            <p:nvPr/>
          </p:nvGrpSpPr>
          <p:grpSpPr>
            <a:xfrm>
              <a:off x="9976294" y="3452662"/>
              <a:ext cx="329184" cy="329184"/>
              <a:chOff x="8701640" y="3423261"/>
              <a:chExt cx="329184" cy="329184"/>
            </a:xfrm>
          </p:grpSpPr>
          <p:grpSp>
            <p:nvGrpSpPr>
              <p:cNvPr id="126" name="Group 125">
                <a:extLst>
                  <a:ext uri="{FF2B5EF4-FFF2-40B4-BE49-F238E27FC236}">
                    <a16:creationId xmlns:a16="http://schemas.microsoft.com/office/drawing/2014/main" id="{3C6F04A4-DF27-40C7-8030-15B1881BEEBB}"/>
                  </a:ext>
                </a:extLst>
              </p:cNvPr>
              <p:cNvGrpSpPr>
                <a:grpSpLocks noChangeAspect="1"/>
              </p:cNvGrpSpPr>
              <p:nvPr/>
            </p:nvGrpSpPr>
            <p:grpSpPr>
              <a:xfrm>
                <a:off x="8701640" y="3423261"/>
                <a:ext cx="329184" cy="329184"/>
                <a:chOff x="8681599" y="3408231"/>
                <a:chExt cx="365760" cy="365760"/>
              </a:xfrm>
            </p:grpSpPr>
            <p:cxnSp>
              <p:nvCxnSpPr>
                <p:cNvPr id="128" name="Straight Connector 127">
                  <a:extLst>
                    <a:ext uri="{FF2B5EF4-FFF2-40B4-BE49-F238E27FC236}">
                      <a16:creationId xmlns:a16="http://schemas.microsoft.com/office/drawing/2014/main" id="{9CB64C2A-41BD-449A-B2E8-A0B9F3D891A2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8681599" y="3591111"/>
                  <a:ext cx="365760" cy="0"/>
                </a:xfrm>
                <a:prstGeom prst="line">
                  <a:avLst/>
                </a:prstGeom>
                <a:ln w="38100" cap="rnd">
                  <a:solidFill>
                    <a:schemeClr val="accent5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29" name="Straight Connector 128">
                  <a:extLst>
                    <a:ext uri="{FF2B5EF4-FFF2-40B4-BE49-F238E27FC236}">
                      <a16:creationId xmlns:a16="http://schemas.microsoft.com/office/drawing/2014/main" id="{813E2628-0A36-4DAF-8F3C-C4E67F0AD0FB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rot="1800000">
                  <a:off x="8681599" y="3591111"/>
                  <a:ext cx="365760" cy="0"/>
                </a:xfrm>
                <a:prstGeom prst="line">
                  <a:avLst/>
                </a:prstGeom>
                <a:ln w="38100" cap="rnd">
                  <a:solidFill>
                    <a:schemeClr val="accent5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0" name="Straight Connector 129">
                  <a:extLst>
                    <a:ext uri="{FF2B5EF4-FFF2-40B4-BE49-F238E27FC236}">
                      <a16:creationId xmlns:a16="http://schemas.microsoft.com/office/drawing/2014/main" id="{D6B53CAB-C922-4370-92E2-8F6C81A91B13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rot="3600000">
                  <a:off x="8681599" y="3591111"/>
                  <a:ext cx="365760" cy="0"/>
                </a:xfrm>
                <a:prstGeom prst="line">
                  <a:avLst/>
                </a:prstGeom>
                <a:ln w="38100" cap="rnd">
                  <a:solidFill>
                    <a:schemeClr val="accent5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1" name="Straight Connector 130">
                  <a:extLst>
                    <a:ext uri="{FF2B5EF4-FFF2-40B4-BE49-F238E27FC236}">
                      <a16:creationId xmlns:a16="http://schemas.microsoft.com/office/drawing/2014/main" id="{E411BF42-B6CD-4DB9-8FA6-776A18E7D7F4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rot="5400000">
                  <a:off x="8681599" y="3591111"/>
                  <a:ext cx="365760" cy="0"/>
                </a:xfrm>
                <a:prstGeom prst="line">
                  <a:avLst/>
                </a:prstGeom>
                <a:ln w="38100" cap="rnd">
                  <a:solidFill>
                    <a:schemeClr val="accent5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2" name="Straight Connector 131">
                  <a:extLst>
                    <a:ext uri="{FF2B5EF4-FFF2-40B4-BE49-F238E27FC236}">
                      <a16:creationId xmlns:a16="http://schemas.microsoft.com/office/drawing/2014/main" id="{986B72DC-B63E-470D-AC25-6E7BD119EB08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rot="7200000">
                  <a:off x="8681599" y="3591111"/>
                  <a:ext cx="365760" cy="0"/>
                </a:xfrm>
                <a:prstGeom prst="line">
                  <a:avLst/>
                </a:prstGeom>
                <a:ln w="38100" cap="rnd">
                  <a:solidFill>
                    <a:schemeClr val="accent5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3" name="Straight Connector 132">
                  <a:extLst>
                    <a:ext uri="{FF2B5EF4-FFF2-40B4-BE49-F238E27FC236}">
                      <a16:creationId xmlns:a16="http://schemas.microsoft.com/office/drawing/2014/main" id="{D469C623-9298-416B-B903-4ED5EA39E2C8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rot="9000000">
                  <a:off x="8681599" y="3591111"/>
                  <a:ext cx="365760" cy="0"/>
                </a:xfrm>
                <a:prstGeom prst="line">
                  <a:avLst/>
                </a:prstGeom>
                <a:ln w="38100" cap="rnd">
                  <a:solidFill>
                    <a:schemeClr val="accent5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sp>
            <p:nvSpPr>
              <p:cNvPr id="127" name="Oval 126">
                <a:extLst>
                  <a:ext uri="{FF2B5EF4-FFF2-40B4-BE49-F238E27FC236}">
                    <a16:creationId xmlns:a16="http://schemas.microsoft.com/office/drawing/2014/main" id="{50835F71-CE9C-49B0-9608-A6175717791D}"/>
                  </a:ext>
                </a:extLst>
              </p:cNvPr>
              <p:cNvSpPr/>
              <p:nvPr/>
            </p:nvSpPr>
            <p:spPr>
              <a:xfrm>
                <a:off x="8727319" y="3453951"/>
                <a:ext cx="274320" cy="274320"/>
              </a:xfrm>
              <a:prstGeom prst="ellipse">
                <a:avLst/>
              </a:prstGeom>
              <a:solidFill>
                <a:schemeClr val="bg1"/>
              </a:solidFill>
              <a:ln w="28575" cap="rnd">
                <a:solidFill>
                  <a:srgbClr val="AE562C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124" name="Oval 123">
              <a:extLst>
                <a:ext uri="{FF2B5EF4-FFF2-40B4-BE49-F238E27FC236}">
                  <a16:creationId xmlns:a16="http://schemas.microsoft.com/office/drawing/2014/main" id="{36F4AF3F-9AB8-43BB-9E90-507DF7147065}"/>
                </a:ext>
              </a:extLst>
            </p:cNvPr>
            <p:cNvSpPr/>
            <p:nvPr/>
          </p:nvSpPr>
          <p:spPr>
            <a:xfrm>
              <a:off x="9997143" y="3479452"/>
              <a:ext cx="274320" cy="274320"/>
            </a:xfrm>
            <a:prstGeom prst="ellipse">
              <a:avLst/>
            </a:prstGeom>
            <a:solidFill>
              <a:schemeClr val="bg1"/>
            </a:solidFill>
            <a:ln w="28575">
              <a:solidFill>
                <a:srgbClr val="AE562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5" name="TextBox 124">
              <a:extLst>
                <a:ext uri="{FF2B5EF4-FFF2-40B4-BE49-F238E27FC236}">
                  <a16:creationId xmlns:a16="http://schemas.microsoft.com/office/drawing/2014/main" id="{BF8729B3-D281-4440-9E80-21A99FE4EFAB}"/>
                </a:ext>
              </a:extLst>
            </p:cNvPr>
            <p:cNvSpPr txBox="1"/>
            <p:nvPr/>
          </p:nvSpPr>
          <p:spPr>
            <a:xfrm>
              <a:off x="9996610" y="3463613"/>
              <a:ext cx="292068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400" b="1" dirty="0"/>
                <a:t>3</a:t>
              </a:r>
            </a:p>
          </p:txBody>
        </p:sp>
      </p:grpSp>
      <p:sp>
        <p:nvSpPr>
          <p:cNvPr id="134" name="TextBox 133">
            <a:extLst>
              <a:ext uri="{FF2B5EF4-FFF2-40B4-BE49-F238E27FC236}">
                <a16:creationId xmlns:a16="http://schemas.microsoft.com/office/drawing/2014/main" id="{4C735C78-5B96-42EC-ABC4-A61A04326F35}"/>
              </a:ext>
            </a:extLst>
          </p:cNvPr>
          <p:cNvSpPr txBox="1"/>
          <p:nvPr/>
        </p:nvSpPr>
        <p:spPr>
          <a:xfrm>
            <a:off x="4486353" y="5519850"/>
            <a:ext cx="329096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/>
              <a:t>All work takes place on the production database service</a:t>
            </a:r>
          </a:p>
        </p:txBody>
      </p:sp>
      <p:sp>
        <p:nvSpPr>
          <p:cNvPr id="135" name="Arrow: Right 134">
            <a:extLst>
              <a:ext uri="{FF2B5EF4-FFF2-40B4-BE49-F238E27FC236}">
                <a16:creationId xmlns:a16="http://schemas.microsoft.com/office/drawing/2014/main" id="{6043AB3E-2869-4846-95C6-A66B11E32ACE}"/>
              </a:ext>
            </a:extLst>
          </p:cNvPr>
          <p:cNvSpPr/>
          <p:nvPr/>
        </p:nvSpPr>
        <p:spPr>
          <a:xfrm>
            <a:off x="4117791" y="3253655"/>
            <a:ext cx="669182" cy="976045"/>
          </a:xfrm>
          <a:prstGeom prst="rightArrow">
            <a:avLst>
              <a:gd name="adj1" fmla="val 63683"/>
              <a:gd name="adj2" fmla="val 50000"/>
            </a:avLst>
          </a:prstGeom>
          <a:gradFill>
            <a:gsLst>
              <a:gs pos="0">
                <a:schemeClr val="tx2">
                  <a:lumMod val="25000"/>
                  <a:lumOff val="75000"/>
                </a:schemeClr>
              </a:gs>
              <a:gs pos="100000">
                <a:schemeClr val="tx2">
                  <a:lumMod val="50000"/>
                  <a:lumOff val="50000"/>
                </a:scheme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345D60D9-5372-5F40-9443-0F9AE5BDC3C8}" type="slidenum">
              <a:rPr lang="en-US" smtClean="0"/>
              <a:pPr/>
              <a:t>3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953148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" name="Arc 69">
            <a:extLst>
              <a:ext uri="{FF2B5EF4-FFF2-40B4-BE49-F238E27FC236}">
                <a16:creationId xmlns:a16="http://schemas.microsoft.com/office/drawing/2014/main" id="{CCCB0C48-C10A-4FDB-BA2F-47E64ABA50A7}"/>
              </a:ext>
            </a:extLst>
          </p:cNvPr>
          <p:cNvSpPr/>
          <p:nvPr/>
        </p:nvSpPr>
        <p:spPr>
          <a:xfrm rot="16402108">
            <a:off x="7951420" y="4921075"/>
            <a:ext cx="3429224" cy="3046294"/>
          </a:xfrm>
          <a:prstGeom prst="arc">
            <a:avLst>
              <a:gd name="adj1" fmla="val 16657936"/>
              <a:gd name="adj2" fmla="val 0"/>
            </a:avLst>
          </a:prstGeom>
          <a:ln>
            <a:solidFill>
              <a:srgbClr val="2C596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450"/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9F19D7F6-17B6-44DC-A8F6-1911DD5116D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16245" y="848407"/>
            <a:ext cx="10671048" cy="330540"/>
          </a:xfrm>
        </p:spPr>
        <p:txBody>
          <a:bodyPr/>
          <a:lstStyle/>
          <a:p>
            <a:r>
              <a:rPr lang="en-US" dirty="0"/>
              <a:t>A fully managed, automated service for continuously protecting Oracle databases in OCI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0E39413-F1F0-4FA2-B0C7-6DE5B80D624F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766763" y="1811293"/>
            <a:ext cx="6350357" cy="4295820"/>
          </a:xfrm>
        </p:spPr>
        <p:txBody>
          <a:bodyPr/>
          <a:lstStyle/>
          <a:p>
            <a:pPr marL="0" indent="0">
              <a:spcBef>
                <a:spcPts val="0"/>
              </a:spcBef>
              <a:spcAft>
                <a:spcPts val="600"/>
              </a:spcAft>
              <a:buNone/>
            </a:pPr>
            <a:r>
              <a:rPr lang="en-US" b="1" dirty="0">
                <a:solidFill>
                  <a:srgbClr val="2C5967"/>
                </a:solidFill>
              </a:rPr>
              <a:t>Ransomware resiliency</a:t>
            </a:r>
          </a:p>
          <a:p>
            <a:pPr marL="228623" lvl="1">
              <a:spcBef>
                <a:spcPts val="0"/>
              </a:spcBef>
              <a:spcAft>
                <a:spcPts val="600"/>
              </a:spcAft>
            </a:pPr>
            <a:r>
              <a:rPr lang="en-US" sz="1400" dirty="0"/>
              <a:t>Automatic and mandatory encryption to help prevent data theft</a:t>
            </a:r>
          </a:p>
          <a:p>
            <a:pPr marL="228623" lvl="1">
              <a:spcBef>
                <a:spcPts val="0"/>
              </a:spcBef>
              <a:spcAft>
                <a:spcPts val="600"/>
              </a:spcAft>
            </a:pPr>
            <a:r>
              <a:rPr lang="en-US" sz="1400" dirty="0"/>
              <a:t>Safeguards backups with enforced 14-day retention</a:t>
            </a:r>
          </a:p>
          <a:p>
            <a:pPr marL="228623" lvl="1">
              <a:spcBef>
                <a:spcPts val="0"/>
              </a:spcBef>
              <a:spcAft>
                <a:spcPts val="600"/>
              </a:spcAft>
            </a:pPr>
            <a:r>
              <a:rPr lang="en-US" sz="1400" dirty="0"/>
              <a:t>Optimizes backups in the background for fast recovery with zero data loss</a:t>
            </a:r>
            <a:endParaRPr lang="en-US" sz="450" dirty="0"/>
          </a:p>
          <a:p>
            <a:pPr marL="0" indent="0">
              <a:spcBef>
                <a:spcPts val="900"/>
              </a:spcBef>
              <a:spcAft>
                <a:spcPts val="600"/>
              </a:spcAft>
              <a:buNone/>
            </a:pPr>
            <a:r>
              <a:rPr lang="en-US" b="1" dirty="0">
                <a:solidFill>
                  <a:srgbClr val="AE562C"/>
                </a:solidFill>
              </a:rPr>
              <a:t>Operational efficiency</a:t>
            </a:r>
          </a:p>
          <a:p>
            <a:pPr marL="228623" lvl="1">
              <a:spcBef>
                <a:spcPts val="0"/>
              </a:spcBef>
              <a:spcAft>
                <a:spcPts val="600"/>
              </a:spcAft>
            </a:pPr>
            <a:r>
              <a:rPr lang="en-US" sz="1400" dirty="0"/>
              <a:t>No more weekly full backups – eliminates production database overhead</a:t>
            </a:r>
          </a:p>
          <a:p>
            <a:pPr marL="228623" lvl="1">
              <a:spcBef>
                <a:spcPts val="0"/>
              </a:spcBef>
              <a:spcAft>
                <a:spcPts val="600"/>
              </a:spcAft>
            </a:pPr>
            <a:r>
              <a:rPr lang="en-US" sz="1400" dirty="0"/>
              <a:t>Shorter backup windows with incremental forever strategy</a:t>
            </a:r>
          </a:p>
          <a:p>
            <a:pPr marL="228623" lvl="1">
              <a:spcBef>
                <a:spcPts val="0"/>
              </a:spcBef>
              <a:spcAft>
                <a:spcPts val="600"/>
              </a:spcAft>
            </a:pPr>
            <a:r>
              <a:rPr lang="en-US" sz="1400" dirty="0"/>
              <a:t>Zero-impact database recovery validation for every backup</a:t>
            </a:r>
            <a:endParaRPr lang="en-US" sz="450" dirty="0"/>
          </a:p>
          <a:p>
            <a:pPr marL="0" indent="0">
              <a:spcBef>
                <a:spcPts val="900"/>
              </a:spcBef>
              <a:spcAft>
                <a:spcPts val="600"/>
              </a:spcAft>
              <a:buNone/>
            </a:pPr>
            <a:r>
              <a:rPr lang="en-US" b="1" dirty="0">
                <a:solidFill>
                  <a:srgbClr val="759C6C"/>
                </a:solidFill>
              </a:rPr>
              <a:t>Cloud simplicity</a:t>
            </a:r>
          </a:p>
          <a:p>
            <a:pPr marL="228623" lvl="1">
              <a:spcBef>
                <a:spcPts val="0"/>
              </a:spcBef>
              <a:spcAft>
                <a:spcPts val="600"/>
              </a:spcAft>
            </a:pPr>
            <a:r>
              <a:rPr lang="en-US" sz="1400" dirty="0"/>
              <a:t>Quickly configure database protection at scale with zero data loss</a:t>
            </a:r>
          </a:p>
          <a:p>
            <a:pPr marL="228623" lvl="1">
              <a:spcBef>
                <a:spcPts val="0"/>
              </a:spcBef>
              <a:spcAft>
                <a:spcPts val="600"/>
              </a:spcAft>
            </a:pPr>
            <a:r>
              <a:rPr lang="en-US" sz="1400" dirty="0"/>
              <a:t>Control costs with database-specific backup consumption metrics</a:t>
            </a:r>
          </a:p>
          <a:p>
            <a:pPr marL="228623" lvl="1">
              <a:spcBef>
                <a:spcPts val="0"/>
              </a:spcBef>
              <a:spcAft>
                <a:spcPts val="600"/>
              </a:spcAft>
            </a:pPr>
            <a:r>
              <a:rPr lang="en-US" sz="1400" dirty="0"/>
              <a:t>Gain deep data protection insights with granular recovery health dashboard</a:t>
            </a:r>
          </a:p>
          <a:p>
            <a:pPr marL="45743" lvl="1" indent="0">
              <a:spcBef>
                <a:spcPts val="900"/>
              </a:spcBef>
              <a:spcAft>
                <a:spcPts val="600"/>
              </a:spcAft>
              <a:buNone/>
            </a:pPr>
            <a:r>
              <a:rPr lang="en-US" b="1" dirty="0">
                <a:solidFill>
                  <a:srgbClr val="594564"/>
                </a:solidFill>
              </a:rPr>
              <a:t>Using proven Recovery Appliance technology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B216852-3477-40C6-AB67-D3846D5044C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6245" y="-5205"/>
            <a:ext cx="10671048" cy="822960"/>
          </a:xfrm>
        </p:spPr>
        <p:txBody>
          <a:bodyPr/>
          <a:lstStyle/>
          <a:p>
            <a:r>
              <a:rPr lang="en-US" dirty="0"/>
              <a:t>Oracle Database Zero Data Loss Autonomous Recovery Service</a:t>
            </a: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1DB22AE-5A78-40A4-9DE4-B97FBE447DAD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1226578" y="6391893"/>
            <a:ext cx="5745379" cy="365125"/>
          </a:xfrm>
        </p:spPr>
        <p:txBody>
          <a:bodyPr/>
          <a:lstStyle/>
          <a:p>
            <a:r>
              <a:rPr lang="en-US" smtClean="0"/>
              <a:t>Copyright © 2024, Oracle and/or its affiliates. All rights reserved   </a:t>
            </a:r>
            <a:endParaRPr lang="en-US" dirty="0"/>
          </a:p>
        </p:txBody>
      </p:sp>
      <p:sp>
        <p:nvSpPr>
          <p:cNvPr id="12" name="Arc 11">
            <a:extLst>
              <a:ext uri="{FF2B5EF4-FFF2-40B4-BE49-F238E27FC236}">
                <a16:creationId xmlns:a16="http://schemas.microsoft.com/office/drawing/2014/main" id="{95861043-79C2-403C-B7CA-06630E974EF2}"/>
              </a:ext>
            </a:extLst>
          </p:cNvPr>
          <p:cNvSpPr/>
          <p:nvPr/>
        </p:nvSpPr>
        <p:spPr>
          <a:xfrm rot="10636256">
            <a:off x="8142217" y="715703"/>
            <a:ext cx="3172051" cy="3429224"/>
          </a:xfrm>
          <a:prstGeom prst="arc">
            <a:avLst>
              <a:gd name="adj1" fmla="val 16200000"/>
              <a:gd name="adj2" fmla="val 248978"/>
            </a:avLst>
          </a:prstGeom>
          <a:ln>
            <a:solidFill>
              <a:srgbClr val="2C596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450"/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214B3EC4-A4DD-4163-AE47-4CE818765766}"/>
              </a:ext>
            </a:extLst>
          </p:cNvPr>
          <p:cNvSpPr txBox="1"/>
          <p:nvPr/>
        </p:nvSpPr>
        <p:spPr>
          <a:xfrm>
            <a:off x="8143589" y="6119721"/>
            <a:ext cx="168885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i="1" dirty="0"/>
              <a:t>Encryption keys are owned by and managed with the database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D543A2CE-EF71-4F35-9F5B-892B20844A42}"/>
              </a:ext>
            </a:extLst>
          </p:cNvPr>
          <p:cNvSpPr txBox="1"/>
          <p:nvPr/>
        </p:nvSpPr>
        <p:spPr>
          <a:xfrm>
            <a:off x="8462216" y="5054149"/>
            <a:ext cx="1412621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457246">
              <a:defRPr/>
            </a:pPr>
            <a:r>
              <a:rPr lang="en-US" sz="1100" kern="0" dirty="0">
                <a:solidFill>
                  <a:srgbClr val="2C5967"/>
                </a:solidFill>
              </a:rPr>
              <a:t>Incremental </a:t>
            </a:r>
          </a:p>
          <a:p>
            <a:pPr algn="ctr" defTabSz="457246">
              <a:defRPr/>
            </a:pPr>
            <a:r>
              <a:rPr lang="en-US" sz="1100" kern="0" dirty="0">
                <a:solidFill>
                  <a:srgbClr val="2C5967"/>
                </a:solidFill>
              </a:rPr>
              <a:t>forever backup</a:t>
            </a:r>
          </a:p>
        </p:txBody>
      </p:sp>
      <p:sp>
        <p:nvSpPr>
          <p:cNvPr id="38" name="Freeform 24">
            <a:extLst>
              <a:ext uri="{FF2B5EF4-FFF2-40B4-BE49-F238E27FC236}">
                <a16:creationId xmlns:a16="http://schemas.microsoft.com/office/drawing/2014/main" id="{B4A9A6A5-FA8A-4826-A146-6CCDBB601EB6}"/>
              </a:ext>
            </a:extLst>
          </p:cNvPr>
          <p:cNvSpPr>
            <a:spLocks noChangeAspect="1"/>
          </p:cNvSpPr>
          <p:nvPr/>
        </p:nvSpPr>
        <p:spPr>
          <a:xfrm rot="5400000">
            <a:off x="8446566" y="5907648"/>
            <a:ext cx="248516" cy="91446"/>
          </a:xfrm>
          <a:custGeom>
            <a:avLst/>
            <a:gdLst>
              <a:gd name="connsiteX0" fmla="*/ 37120 w 172756"/>
              <a:gd name="connsiteY0" fmla="*/ 0 h 76308"/>
              <a:gd name="connsiteX1" fmla="*/ 0 w 172756"/>
              <a:gd name="connsiteY1" fmla="*/ 37120 h 76308"/>
              <a:gd name="connsiteX2" fmla="*/ 37120 w 172756"/>
              <a:gd name="connsiteY2" fmla="*/ 74241 h 76308"/>
              <a:gd name="connsiteX3" fmla="*/ 73152 w 172756"/>
              <a:gd name="connsiteY3" fmla="*/ 46155 h 76308"/>
              <a:gd name="connsiteX4" fmla="*/ 122464 w 172756"/>
              <a:gd name="connsiteY4" fmla="*/ 46155 h 76308"/>
              <a:gd name="connsiteX5" fmla="*/ 122464 w 172756"/>
              <a:gd name="connsiteY5" fmla="*/ 74241 h 76308"/>
              <a:gd name="connsiteX6" fmla="*/ 138575 w 172756"/>
              <a:gd name="connsiteY6" fmla="*/ 74241 h 76308"/>
              <a:gd name="connsiteX7" fmla="*/ 138575 w 172756"/>
              <a:gd name="connsiteY7" fmla="*/ 46155 h 76308"/>
              <a:gd name="connsiteX8" fmla="*/ 156646 w 172756"/>
              <a:gd name="connsiteY8" fmla="*/ 46155 h 76308"/>
              <a:gd name="connsiteX9" fmla="*/ 156646 w 172756"/>
              <a:gd name="connsiteY9" fmla="*/ 76309 h 76308"/>
              <a:gd name="connsiteX10" fmla="*/ 172756 w 172756"/>
              <a:gd name="connsiteY10" fmla="*/ 76309 h 76308"/>
              <a:gd name="connsiteX11" fmla="*/ 172756 w 172756"/>
              <a:gd name="connsiteY11" fmla="*/ 30153 h 76308"/>
              <a:gd name="connsiteX12" fmla="*/ 73696 w 172756"/>
              <a:gd name="connsiteY12" fmla="*/ 30153 h 76308"/>
              <a:gd name="connsiteX13" fmla="*/ 37120 w 172756"/>
              <a:gd name="connsiteY13" fmla="*/ 0 h 76308"/>
              <a:gd name="connsiteX14" fmla="*/ 37120 w 172756"/>
              <a:gd name="connsiteY14" fmla="*/ 58239 h 76308"/>
              <a:gd name="connsiteX15" fmla="*/ 16002 w 172756"/>
              <a:gd name="connsiteY15" fmla="*/ 37120 h 76308"/>
              <a:gd name="connsiteX16" fmla="*/ 37120 w 172756"/>
              <a:gd name="connsiteY16" fmla="*/ 16002 h 76308"/>
              <a:gd name="connsiteX17" fmla="*/ 58239 w 172756"/>
              <a:gd name="connsiteY17" fmla="*/ 37120 h 76308"/>
              <a:gd name="connsiteX18" fmla="*/ 37120 w 172756"/>
              <a:gd name="connsiteY18" fmla="*/ 58239 h 763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172756" h="76308">
                <a:moveTo>
                  <a:pt x="37120" y="0"/>
                </a:moveTo>
                <a:cubicBezTo>
                  <a:pt x="16655" y="0"/>
                  <a:pt x="0" y="16655"/>
                  <a:pt x="0" y="37120"/>
                </a:cubicBezTo>
                <a:cubicBezTo>
                  <a:pt x="0" y="57585"/>
                  <a:pt x="16655" y="74241"/>
                  <a:pt x="37120" y="74241"/>
                </a:cubicBezTo>
                <a:cubicBezTo>
                  <a:pt x="54537" y="74241"/>
                  <a:pt x="69015" y="62266"/>
                  <a:pt x="73152" y="46155"/>
                </a:cubicBezTo>
                <a:lnTo>
                  <a:pt x="122464" y="46155"/>
                </a:lnTo>
                <a:lnTo>
                  <a:pt x="122464" y="74241"/>
                </a:lnTo>
                <a:lnTo>
                  <a:pt x="138575" y="74241"/>
                </a:lnTo>
                <a:lnTo>
                  <a:pt x="138575" y="46155"/>
                </a:lnTo>
                <a:lnTo>
                  <a:pt x="156646" y="46155"/>
                </a:lnTo>
                <a:lnTo>
                  <a:pt x="156646" y="76309"/>
                </a:lnTo>
                <a:lnTo>
                  <a:pt x="172756" y="76309"/>
                </a:lnTo>
                <a:lnTo>
                  <a:pt x="172756" y="30153"/>
                </a:lnTo>
                <a:lnTo>
                  <a:pt x="73696" y="30153"/>
                </a:lnTo>
                <a:cubicBezTo>
                  <a:pt x="70213" y="12954"/>
                  <a:pt x="55191" y="0"/>
                  <a:pt x="37120" y="0"/>
                </a:cubicBezTo>
                <a:close/>
                <a:moveTo>
                  <a:pt x="37120" y="58239"/>
                </a:moveTo>
                <a:cubicBezTo>
                  <a:pt x="25473" y="58239"/>
                  <a:pt x="16002" y="48768"/>
                  <a:pt x="16002" y="37120"/>
                </a:cubicBezTo>
                <a:cubicBezTo>
                  <a:pt x="16002" y="25473"/>
                  <a:pt x="25473" y="16002"/>
                  <a:pt x="37120" y="16002"/>
                </a:cubicBezTo>
                <a:cubicBezTo>
                  <a:pt x="48768" y="16002"/>
                  <a:pt x="58239" y="25473"/>
                  <a:pt x="58239" y="37120"/>
                </a:cubicBezTo>
                <a:cubicBezTo>
                  <a:pt x="58239" y="48768"/>
                  <a:pt x="48768" y="58239"/>
                  <a:pt x="37120" y="58239"/>
                </a:cubicBezTo>
                <a:close/>
              </a:path>
            </a:pathLst>
          </a:custGeom>
          <a:solidFill>
            <a:srgbClr val="2C5967"/>
          </a:solidFill>
          <a:ln w="10716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450">
              <a:solidFill>
                <a:srgbClr val="2C5967"/>
              </a:solidFill>
            </a:endParaRPr>
          </a:p>
        </p:txBody>
      </p:sp>
      <p:sp>
        <p:nvSpPr>
          <p:cNvPr id="53" name="Rounded Rectangle 5">
            <a:extLst>
              <a:ext uri="{FF2B5EF4-FFF2-40B4-BE49-F238E27FC236}">
                <a16:creationId xmlns:a16="http://schemas.microsoft.com/office/drawing/2014/main" id="{BA85E164-6368-4D16-8DBC-D61A9495AD3B}"/>
              </a:ext>
            </a:extLst>
          </p:cNvPr>
          <p:cNvSpPr/>
          <p:nvPr/>
        </p:nvSpPr>
        <p:spPr>
          <a:xfrm>
            <a:off x="9723852" y="2856587"/>
            <a:ext cx="2088270" cy="3360609"/>
          </a:xfrm>
          <a:prstGeom prst="roundRect">
            <a:avLst/>
          </a:prstGeom>
          <a:solidFill>
            <a:srgbClr val="E5DBB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50" dirty="0"/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A7A76EED-C4A1-4001-8DCA-715EB502A3F2}"/>
              </a:ext>
            </a:extLst>
          </p:cNvPr>
          <p:cNvSpPr txBox="1"/>
          <p:nvPr/>
        </p:nvSpPr>
        <p:spPr>
          <a:xfrm>
            <a:off x="9764270" y="3075831"/>
            <a:ext cx="1974714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b="1" dirty="0">
                <a:solidFill>
                  <a:srgbClr val="2C5967"/>
                </a:solidFill>
              </a:rPr>
              <a:t>Zero Data Loss Autonomous </a:t>
            </a:r>
          </a:p>
          <a:p>
            <a:pPr algn="ctr"/>
            <a:r>
              <a:rPr lang="en-US" sz="1400" b="1" dirty="0">
                <a:solidFill>
                  <a:srgbClr val="2C5967"/>
                </a:solidFill>
              </a:rPr>
              <a:t>Recovery Service</a:t>
            </a:r>
          </a:p>
        </p:txBody>
      </p:sp>
      <p:pic>
        <p:nvPicPr>
          <p:cNvPr id="66" name="Picture 65">
            <a:extLst>
              <a:ext uri="{FF2B5EF4-FFF2-40B4-BE49-F238E27FC236}">
                <a16:creationId xmlns:a16="http://schemas.microsoft.com/office/drawing/2014/main" id="{74AAA62F-7198-495D-9028-AD7E7BDFFFC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241323" y="5838591"/>
            <a:ext cx="274338" cy="274338"/>
          </a:xfrm>
          <a:prstGeom prst="rect">
            <a:avLst/>
          </a:prstGeom>
        </p:spPr>
      </p:pic>
      <p:sp>
        <p:nvSpPr>
          <p:cNvPr id="88" name="Arrow: Right 87">
            <a:extLst>
              <a:ext uri="{FF2B5EF4-FFF2-40B4-BE49-F238E27FC236}">
                <a16:creationId xmlns:a16="http://schemas.microsoft.com/office/drawing/2014/main" id="{FF092C6F-8717-4FFD-BDCE-2DDCCA926781}"/>
              </a:ext>
            </a:extLst>
          </p:cNvPr>
          <p:cNvSpPr/>
          <p:nvPr/>
        </p:nvSpPr>
        <p:spPr>
          <a:xfrm>
            <a:off x="8149686" y="4078316"/>
            <a:ext cx="1889080" cy="688813"/>
          </a:xfrm>
          <a:prstGeom prst="rightArrow">
            <a:avLst>
              <a:gd name="adj1" fmla="val 80343"/>
              <a:gd name="adj2" fmla="val 50000"/>
            </a:avLst>
          </a:prstGeom>
          <a:solidFill>
            <a:schemeClr val="bg1"/>
          </a:solidFill>
          <a:ln>
            <a:solidFill>
              <a:srgbClr val="2C596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73" name="Group 72">
            <a:extLst>
              <a:ext uri="{FF2B5EF4-FFF2-40B4-BE49-F238E27FC236}">
                <a16:creationId xmlns:a16="http://schemas.microsoft.com/office/drawing/2014/main" id="{12080049-0BBB-4BF2-9F64-60EACBD805DB}"/>
              </a:ext>
            </a:extLst>
          </p:cNvPr>
          <p:cNvGrpSpPr/>
          <p:nvPr/>
        </p:nvGrpSpPr>
        <p:grpSpPr>
          <a:xfrm>
            <a:off x="8030467" y="4228764"/>
            <a:ext cx="864759" cy="499730"/>
            <a:chOff x="16921917" y="12082611"/>
            <a:chExt cx="1729405" cy="999395"/>
          </a:xfrm>
        </p:grpSpPr>
        <p:grpSp>
          <p:nvGrpSpPr>
            <p:cNvPr id="74" name="Group 73">
              <a:extLst>
                <a:ext uri="{FF2B5EF4-FFF2-40B4-BE49-F238E27FC236}">
                  <a16:creationId xmlns:a16="http://schemas.microsoft.com/office/drawing/2014/main" id="{4B9AE12E-9E8E-458D-95B7-F0DBAC2153EC}"/>
                </a:ext>
              </a:extLst>
            </p:cNvPr>
            <p:cNvGrpSpPr/>
            <p:nvPr/>
          </p:nvGrpSpPr>
          <p:grpSpPr>
            <a:xfrm>
              <a:off x="17398969" y="12082611"/>
              <a:ext cx="733225" cy="584775"/>
              <a:chOff x="6704570" y="3833636"/>
              <a:chExt cx="529117" cy="439308"/>
            </a:xfrm>
          </p:grpSpPr>
          <p:sp>
            <p:nvSpPr>
              <p:cNvPr id="76" name="Freeform 27">
                <a:extLst>
                  <a:ext uri="{FF2B5EF4-FFF2-40B4-BE49-F238E27FC236}">
                    <a16:creationId xmlns:a16="http://schemas.microsoft.com/office/drawing/2014/main" id="{DBC882B1-9342-44A5-AC0E-11F4B957B54C}"/>
                  </a:ext>
                </a:extLst>
              </p:cNvPr>
              <p:cNvSpPr/>
              <p:nvPr/>
            </p:nvSpPr>
            <p:spPr>
              <a:xfrm>
                <a:off x="6827195" y="3918575"/>
                <a:ext cx="283256" cy="265486"/>
              </a:xfrm>
              <a:custGeom>
                <a:avLst/>
                <a:gdLst>
                  <a:gd name="connsiteX0" fmla="*/ 0 w 201167"/>
                  <a:gd name="connsiteY0" fmla="*/ 98842 h 197684"/>
                  <a:gd name="connsiteX1" fmla="*/ 100584 w 201167"/>
                  <a:gd name="connsiteY1" fmla="*/ 197685 h 197684"/>
                  <a:gd name="connsiteX2" fmla="*/ 201168 w 201167"/>
                  <a:gd name="connsiteY2" fmla="*/ 98842 h 197684"/>
                  <a:gd name="connsiteX3" fmla="*/ 100584 w 201167"/>
                  <a:gd name="connsiteY3" fmla="*/ 0 h 197684"/>
                  <a:gd name="connsiteX4" fmla="*/ 0 w 201167"/>
                  <a:gd name="connsiteY4" fmla="*/ 98842 h 197684"/>
                  <a:gd name="connsiteX5" fmla="*/ 184622 w 201167"/>
                  <a:gd name="connsiteY5" fmla="*/ 90787 h 197684"/>
                  <a:gd name="connsiteX6" fmla="*/ 168837 w 201167"/>
                  <a:gd name="connsiteY6" fmla="*/ 90787 h 197684"/>
                  <a:gd name="connsiteX7" fmla="*/ 168837 w 201167"/>
                  <a:gd name="connsiteY7" fmla="*/ 106898 h 197684"/>
                  <a:gd name="connsiteX8" fmla="*/ 184622 w 201167"/>
                  <a:gd name="connsiteY8" fmla="*/ 106898 h 197684"/>
                  <a:gd name="connsiteX9" fmla="*/ 108639 w 201167"/>
                  <a:gd name="connsiteY9" fmla="*/ 181138 h 197684"/>
                  <a:gd name="connsiteX10" fmla="*/ 108639 w 201167"/>
                  <a:gd name="connsiteY10" fmla="*/ 165027 h 197684"/>
                  <a:gd name="connsiteX11" fmla="*/ 92529 w 201167"/>
                  <a:gd name="connsiteY11" fmla="*/ 165027 h 197684"/>
                  <a:gd name="connsiteX12" fmla="*/ 92529 w 201167"/>
                  <a:gd name="connsiteY12" fmla="*/ 181138 h 197684"/>
                  <a:gd name="connsiteX13" fmla="*/ 16546 w 201167"/>
                  <a:gd name="connsiteY13" fmla="*/ 106898 h 197684"/>
                  <a:gd name="connsiteX14" fmla="*/ 31786 w 201167"/>
                  <a:gd name="connsiteY14" fmla="*/ 106898 h 197684"/>
                  <a:gd name="connsiteX15" fmla="*/ 31786 w 201167"/>
                  <a:gd name="connsiteY15" fmla="*/ 90787 h 197684"/>
                  <a:gd name="connsiteX16" fmla="*/ 16546 w 201167"/>
                  <a:gd name="connsiteY16" fmla="*/ 90787 h 197684"/>
                  <a:gd name="connsiteX17" fmla="*/ 92529 w 201167"/>
                  <a:gd name="connsiteY17" fmla="*/ 16546 h 197684"/>
                  <a:gd name="connsiteX18" fmla="*/ 92529 w 201167"/>
                  <a:gd name="connsiteY18" fmla="*/ 31895 h 197684"/>
                  <a:gd name="connsiteX19" fmla="*/ 108639 w 201167"/>
                  <a:gd name="connsiteY19" fmla="*/ 31895 h 197684"/>
                  <a:gd name="connsiteX20" fmla="*/ 108639 w 201167"/>
                  <a:gd name="connsiteY20" fmla="*/ 16546 h 197684"/>
                  <a:gd name="connsiteX21" fmla="*/ 184622 w 201167"/>
                  <a:gd name="connsiteY21" fmla="*/ 90787 h 1976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201167" h="197684">
                    <a:moveTo>
                      <a:pt x="0" y="98842"/>
                    </a:moveTo>
                    <a:cubicBezTo>
                      <a:pt x="0" y="153380"/>
                      <a:pt x="45067" y="197685"/>
                      <a:pt x="100584" y="197685"/>
                    </a:cubicBezTo>
                    <a:cubicBezTo>
                      <a:pt x="155992" y="197685"/>
                      <a:pt x="201168" y="153380"/>
                      <a:pt x="201168" y="98842"/>
                    </a:cubicBezTo>
                    <a:cubicBezTo>
                      <a:pt x="201168" y="44305"/>
                      <a:pt x="156101" y="0"/>
                      <a:pt x="100584" y="0"/>
                    </a:cubicBezTo>
                    <a:cubicBezTo>
                      <a:pt x="45176" y="0"/>
                      <a:pt x="0" y="44305"/>
                      <a:pt x="0" y="98842"/>
                    </a:cubicBezTo>
                    <a:close/>
                    <a:moveTo>
                      <a:pt x="184622" y="90787"/>
                    </a:moveTo>
                    <a:lnTo>
                      <a:pt x="168837" y="90787"/>
                    </a:lnTo>
                    <a:lnTo>
                      <a:pt x="168837" y="106898"/>
                    </a:lnTo>
                    <a:lnTo>
                      <a:pt x="184622" y="106898"/>
                    </a:lnTo>
                    <a:cubicBezTo>
                      <a:pt x="180703" y="146086"/>
                      <a:pt x="148699" y="177437"/>
                      <a:pt x="108639" y="181138"/>
                    </a:cubicBezTo>
                    <a:lnTo>
                      <a:pt x="108639" y="165027"/>
                    </a:lnTo>
                    <a:lnTo>
                      <a:pt x="92529" y="165027"/>
                    </a:lnTo>
                    <a:lnTo>
                      <a:pt x="92529" y="181138"/>
                    </a:lnTo>
                    <a:cubicBezTo>
                      <a:pt x="52469" y="177437"/>
                      <a:pt x="20465" y="146086"/>
                      <a:pt x="16546" y="106898"/>
                    </a:cubicBezTo>
                    <a:lnTo>
                      <a:pt x="31786" y="106898"/>
                    </a:lnTo>
                    <a:lnTo>
                      <a:pt x="31786" y="90787"/>
                    </a:lnTo>
                    <a:lnTo>
                      <a:pt x="16546" y="90787"/>
                    </a:lnTo>
                    <a:cubicBezTo>
                      <a:pt x="20465" y="51598"/>
                      <a:pt x="52469" y="20247"/>
                      <a:pt x="92529" y="16546"/>
                    </a:cubicBezTo>
                    <a:lnTo>
                      <a:pt x="92529" y="31895"/>
                    </a:lnTo>
                    <a:lnTo>
                      <a:pt x="108639" y="31895"/>
                    </a:lnTo>
                    <a:lnTo>
                      <a:pt x="108639" y="16546"/>
                    </a:lnTo>
                    <a:cubicBezTo>
                      <a:pt x="148699" y="20247"/>
                      <a:pt x="180703" y="51489"/>
                      <a:pt x="184622" y="90787"/>
                    </a:cubicBezTo>
                    <a:close/>
                  </a:path>
                </a:pathLst>
              </a:custGeom>
              <a:solidFill>
                <a:srgbClr val="2C5967"/>
              </a:solidFill>
              <a:ln w="108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450"/>
              </a:p>
            </p:txBody>
          </p:sp>
          <p:sp>
            <p:nvSpPr>
              <p:cNvPr id="77" name="Freeform 28">
                <a:extLst>
                  <a:ext uri="{FF2B5EF4-FFF2-40B4-BE49-F238E27FC236}">
                    <a16:creationId xmlns:a16="http://schemas.microsoft.com/office/drawing/2014/main" id="{D0E285DE-0C7C-4272-AF0E-51D69E2434C2}"/>
                  </a:ext>
                </a:extLst>
              </p:cNvPr>
              <p:cNvSpPr/>
              <p:nvPr/>
            </p:nvSpPr>
            <p:spPr>
              <a:xfrm>
                <a:off x="6753315" y="3833636"/>
                <a:ext cx="480372" cy="248089"/>
              </a:xfrm>
              <a:custGeom>
                <a:avLst/>
                <a:gdLst>
                  <a:gd name="connsiteX0" fmla="*/ 153053 w 341158"/>
                  <a:gd name="connsiteY0" fmla="*/ 16220 h 184730"/>
                  <a:gd name="connsiteX1" fmla="*/ 301534 w 341158"/>
                  <a:gd name="connsiteY1" fmla="*/ 153489 h 184730"/>
                  <a:gd name="connsiteX2" fmla="*/ 290649 w 341158"/>
                  <a:gd name="connsiteY2" fmla="*/ 142821 h 184730"/>
                  <a:gd name="connsiteX3" fmla="*/ 279327 w 341158"/>
                  <a:gd name="connsiteY3" fmla="*/ 154359 h 184730"/>
                  <a:gd name="connsiteX4" fmla="*/ 310243 w 341158"/>
                  <a:gd name="connsiteY4" fmla="*/ 184731 h 184730"/>
                  <a:gd name="connsiteX5" fmla="*/ 341158 w 341158"/>
                  <a:gd name="connsiteY5" fmla="*/ 154359 h 184730"/>
                  <a:gd name="connsiteX6" fmla="*/ 329837 w 341158"/>
                  <a:gd name="connsiteY6" fmla="*/ 142821 h 184730"/>
                  <a:gd name="connsiteX7" fmla="*/ 317754 w 341158"/>
                  <a:gd name="connsiteY7" fmla="*/ 154686 h 184730"/>
                  <a:gd name="connsiteX8" fmla="*/ 153053 w 341158"/>
                  <a:gd name="connsiteY8" fmla="*/ 0 h 184730"/>
                  <a:gd name="connsiteX9" fmla="*/ 0 w 341158"/>
                  <a:gd name="connsiteY9" fmla="*/ 101673 h 184730"/>
                  <a:gd name="connsiteX10" fmla="*/ 14913 w 341158"/>
                  <a:gd name="connsiteY10" fmla="*/ 107769 h 184730"/>
                  <a:gd name="connsiteX11" fmla="*/ 153053 w 341158"/>
                  <a:gd name="connsiteY11" fmla="*/ 16220 h 1847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341158" h="184730">
                    <a:moveTo>
                      <a:pt x="153053" y="16220"/>
                    </a:moveTo>
                    <a:cubicBezTo>
                      <a:pt x="232192" y="16220"/>
                      <a:pt x="296962" y="77071"/>
                      <a:pt x="301534" y="153489"/>
                    </a:cubicBezTo>
                    <a:lnTo>
                      <a:pt x="290649" y="142821"/>
                    </a:lnTo>
                    <a:lnTo>
                      <a:pt x="279327" y="154359"/>
                    </a:lnTo>
                    <a:lnTo>
                      <a:pt x="310243" y="184731"/>
                    </a:lnTo>
                    <a:lnTo>
                      <a:pt x="341158" y="154359"/>
                    </a:lnTo>
                    <a:lnTo>
                      <a:pt x="329837" y="142821"/>
                    </a:lnTo>
                    <a:lnTo>
                      <a:pt x="317754" y="154686"/>
                    </a:lnTo>
                    <a:cubicBezTo>
                      <a:pt x="313835" y="68798"/>
                      <a:pt x="241445" y="0"/>
                      <a:pt x="153053" y="0"/>
                    </a:cubicBezTo>
                    <a:cubicBezTo>
                      <a:pt x="85344" y="0"/>
                      <a:pt x="25255" y="39951"/>
                      <a:pt x="0" y="101673"/>
                    </a:cubicBezTo>
                    <a:lnTo>
                      <a:pt x="14913" y="107769"/>
                    </a:lnTo>
                    <a:cubicBezTo>
                      <a:pt x="37665" y="52143"/>
                      <a:pt x="91875" y="16220"/>
                      <a:pt x="153053" y="16220"/>
                    </a:cubicBezTo>
                    <a:close/>
                  </a:path>
                </a:pathLst>
              </a:custGeom>
              <a:solidFill>
                <a:srgbClr val="2C5967"/>
              </a:solidFill>
              <a:ln w="108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450" dirty="0"/>
              </a:p>
            </p:txBody>
          </p:sp>
          <p:sp>
            <p:nvSpPr>
              <p:cNvPr id="78" name="Freeform 29">
                <a:extLst>
                  <a:ext uri="{FF2B5EF4-FFF2-40B4-BE49-F238E27FC236}">
                    <a16:creationId xmlns:a16="http://schemas.microsoft.com/office/drawing/2014/main" id="{5EE96B64-9268-456F-BB2A-2099AAD75A7C}"/>
                  </a:ext>
                </a:extLst>
              </p:cNvPr>
              <p:cNvSpPr/>
              <p:nvPr/>
            </p:nvSpPr>
            <p:spPr>
              <a:xfrm>
                <a:off x="6956559" y="3974565"/>
                <a:ext cx="55065" cy="120754"/>
              </a:xfrm>
              <a:custGeom>
                <a:avLst/>
                <a:gdLst>
                  <a:gd name="connsiteX0" fmla="*/ 16111 w 39107"/>
                  <a:gd name="connsiteY0" fmla="*/ 55844 h 89915"/>
                  <a:gd name="connsiteX1" fmla="*/ 16111 w 39107"/>
                  <a:gd name="connsiteY1" fmla="*/ 8055 h 89915"/>
                  <a:gd name="connsiteX2" fmla="*/ 8055 w 39107"/>
                  <a:gd name="connsiteY2" fmla="*/ 0 h 89915"/>
                  <a:gd name="connsiteX3" fmla="*/ 0 w 39107"/>
                  <a:gd name="connsiteY3" fmla="*/ 8055 h 89915"/>
                  <a:gd name="connsiteX4" fmla="*/ 0 w 39107"/>
                  <a:gd name="connsiteY4" fmla="*/ 59218 h 89915"/>
                  <a:gd name="connsiteX5" fmla="*/ 2395 w 39107"/>
                  <a:gd name="connsiteY5" fmla="*/ 64988 h 89915"/>
                  <a:gd name="connsiteX6" fmla="*/ 25364 w 39107"/>
                  <a:gd name="connsiteY6" fmla="*/ 87630 h 89915"/>
                  <a:gd name="connsiteX7" fmla="*/ 31024 w 39107"/>
                  <a:gd name="connsiteY7" fmla="*/ 89916 h 89915"/>
                  <a:gd name="connsiteX8" fmla="*/ 36794 w 39107"/>
                  <a:gd name="connsiteY8" fmla="*/ 87521 h 89915"/>
                  <a:gd name="connsiteX9" fmla="*/ 36685 w 39107"/>
                  <a:gd name="connsiteY9" fmla="*/ 76091 h 89915"/>
                  <a:gd name="connsiteX10" fmla="*/ 16111 w 39107"/>
                  <a:gd name="connsiteY10" fmla="*/ 55844 h 899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39107" h="89915">
                    <a:moveTo>
                      <a:pt x="16111" y="55844"/>
                    </a:moveTo>
                    <a:lnTo>
                      <a:pt x="16111" y="8055"/>
                    </a:lnTo>
                    <a:cubicBezTo>
                      <a:pt x="16111" y="3592"/>
                      <a:pt x="12519" y="0"/>
                      <a:pt x="8055" y="0"/>
                    </a:cubicBezTo>
                    <a:cubicBezTo>
                      <a:pt x="3592" y="0"/>
                      <a:pt x="0" y="3592"/>
                      <a:pt x="0" y="8055"/>
                    </a:cubicBezTo>
                    <a:lnTo>
                      <a:pt x="0" y="59218"/>
                    </a:lnTo>
                    <a:cubicBezTo>
                      <a:pt x="0" y="61395"/>
                      <a:pt x="871" y="63464"/>
                      <a:pt x="2395" y="64988"/>
                    </a:cubicBezTo>
                    <a:lnTo>
                      <a:pt x="25364" y="87630"/>
                    </a:lnTo>
                    <a:cubicBezTo>
                      <a:pt x="26888" y="89154"/>
                      <a:pt x="28956" y="89916"/>
                      <a:pt x="31024" y="89916"/>
                    </a:cubicBezTo>
                    <a:cubicBezTo>
                      <a:pt x="33093" y="89916"/>
                      <a:pt x="35161" y="89154"/>
                      <a:pt x="36794" y="87521"/>
                    </a:cubicBezTo>
                    <a:cubicBezTo>
                      <a:pt x="39951" y="84364"/>
                      <a:pt x="39842" y="79248"/>
                      <a:pt x="36685" y="76091"/>
                    </a:cubicBezTo>
                    <a:lnTo>
                      <a:pt x="16111" y="55844"/>
                    </a:lnTo>
                    <a:close/>
                  </a:path>
                </a:pathLst>
              </a:custGeom>
              <a:solidFill>
                <a:srgbClr val="2C5967"/>
              </a:solidFill>
              <a:ln w="108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450"/>
              </a:p>
            </p:txBody>
          </p:sp>
          <p:sp>
            <p:nvSpPr>
              <p:cNvPr id="79" name="Freeform 30">
                <a:extLst>
                  <a:ext uri="{FF2B5EF4-FFF2-40B4-BE49-F238E27FC236}">
                    <a16:creationId xmlns:a16="http://schemas.microsoft.com/office/drawing/2014/main" id="{2C73748B-E75A-44CC-B814-31646024F598}"/>
                  </a:ext>
                </a:extLst>
              </p:cNvPr>
              <p:cNvSpPr/>
              <p:nvPr/>
            </p:nvSpPr>
            <p:spPr>
              <a:xfrm>
                <a:off x="6704570" y="4020615"/>
                <a:ext cx="480525" cy="252329"/>
              </a:xfrm>
              <a:custGeom>
                <a:avLst/>
                <a:gdLst>
                  <a:gd name="connsiteX0" fmla="*/ 22969 w 341267"/>
                  <a:gd name="connsiteY0" fmla="*/ 30371 h 187887"/>
                  <a:gd name="connsiteX1" fmla="*/ 187779 w 341267"/>
                  <a:gd name="connsiteY1" fmla="*/ 187887 h 187887"/>
                  <a:gd name="connsiteX2" fmla="*/ 341267 w 341267"/>
                  <a:gd name="connsiteY2" fmla="*/ 85235 h 187887"/>
                  <a:gd name="connsiteX3" fmla="*/ 326245 w 341267"/>
                  <a:gd name="connsiteY3" fmla="*/ 79248 h 187887"/>
                  <a:gd name="connsiteX4" fmla="*/ 187779 w 341267"/>
                  <a:gd name="connsiteY4" fmla="*/ 171777 h 187887"/>
                  <a:gd name="connsiteX5" fmla="*/ 39189 w 341267"/>
                  <a:gd name="connsiteY5" fmla="*/ 30589 h 187887"/>
                  <a:gd name="connsiteX6" fmla="*/ 50619 w 341267"/>
                  <a:gd name="connsiteY6" fmla="*/ 41801 h 187887"/>
                  <a:gd name="connsiteX7" fmla="*/ 61940 w 341267"/>
                  <a:gd name="connsiteY7" fmla="*/ 30262 h 187887"/>
                  <a:gd name="connsiteX8" fmla="*/ 30915 w 341267"/>
                  <a:gd name="connsiteY8" fmla="*/ 0 h 187887"/>
                  <a:gd name="connsiteX9" fmla="*/ 0 w 341267"/>
                  <a:gd name="connsiteY9" fmla="*/ 30371 h 187887"/>
                  <a:gd name="connsiteX10" fmla="*/ 11321 w 341267"/>
                  <a:gd name="connsiteY10" fmla="*/ 41910 h 187887"/>
                  <a:gd name="connsiteX11" fmla="*/ 22969 w 341267"/>
                  <a:gd name="connsiteY11" fmla="*/ 30371 h 1878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341267" h="187887">
                    <a:moveTo>
                      <a:pt x="22969" y="30371"/>
                    </a:moveTo>
                    <a:cubicBezTo>
                      <a:pt x="25364" y="117675"/>
                      <a:pt x="98298" y="187887"/>
                      <a:pt x="187779" y="187887"/>
                    </a:cubicBezTo>
                    <a:cubicBezTo>
                      <a:pt x="256032" y="187887"/>
                      <a:pt x="316230" y="147610"/>
                      <a:pt x="341267" y="85235"/>
                    </a:cubicBezTo>
                    <a:lnTo>
                      <a:pt x="326245" y="79248"/>
                    </a:lnTo>
                    <a:cubicBezTo>
                      <a:pt x="303711" y="135527"/>
                      <a:pt x="249392" y="171777"/>
                      <a:pt x="187779" y="171777"/>
                    </a:cubicBezTo>
                    <a:cubicBezTo>
                      <a:pt x="107333" y="171777"/>
                      <a:pt x="41692" y="108857"/>
                      <a:pt x="39189" y="30589"/>
                    </a:cubicBezTo>
                    <a:lnTo>
                      <a:pt x="50619" y="41801"/>
                    </a:lnTo>
                    <a:lnTo>
                      <a:pt x="61940" y="30262"/>
                    </a:lnTo>
                    <a:lnTo>
                      <a:pt x="30915" y="0"/>
                    </a:lnTo>
                    <a:lnTo>
                      <a:pt x="0" y="30371"/>
                    </a:lnTo>
                    <a:lnTo>
                      <a:pt x="11321" y="41910"/>
                    </a:lnTo>
                    <a:lnTo>
                      <a:pt x="22969" y="30371"/>
                    </a:lnTo>
                    <a:close/>
                  </a:path>
                </a:pathLst>
              </a:custGeom>
              <a:solidFill>
                <a:srgbClr val="2C5967"/>
              </a:solidFill>
              <a:ln w="108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450"/>
              </a:p>
            </p:txBody>
          </p:sp>
        </p:grpSp>
        <p:sp>
          <p:nvSpPr>
            <p:cNvPr id="75" name="TextBox 74">
              <a:extLst>
                <a:ext uri="{FF2B5EF4-FFF2-40B4-BE49-F238E27FC236}">
                  <a16:creationId xmlns:a16="http://schemas.microsoft.com/office/drawing/2014/main" id="{0ABC7380-B3B1-496E-8FD3-2EFF27F7A051}"/>
                </a:ext>
              </a:extLst>
            </p:cNvPr>
            <p:cNvSpPr txBox="1"/>
            <p:nvPr/>
          </p:nvSpPr>
          <p:spPr>
            <a:xfrm>
              <a:off x="16921917" y="12651146"/>
              <a:ext cx="1729405" cy="43086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800" dirty="0">
                  <a:solidFill>
                    <a:srgbClr val="2B5967"/>
                  </a:solidFill>
                </a:rPr>
                <a:t>Automated</a:t>
              </a:r>
            </a:p>
          </p:txBody>
        </p:sp>
      </p:grpSp>
      <p:grpSp>
        <p:nvGrpSpPr>
          <p:cNvPr id="80" name="Group 79">
            <a:extLst>
              <a:ext uri="{FF2B5EF4-FFF2-40B4-BE49-F238E27FC236}">
                <a16:creationId xmlns:a16="http://schemas.microsoft.com/office/drawing/2014/main" id="{F3AB6436-807A-4663-9760-F7FB549162D4}"/>
              </a:ext>
            </a:extLst>
          </p:cNvPr>
          <p:cNvGrpSpPr/>
          <p:nvPr/>
        </p:nvGrpSpPr>
        <p:grpSpPr>
          <a:xfrm>
            <a:off x="8555227" y="4218624"/>
            <a:ext cx="959119" cy="513902"/>
            <a:chOff x="19215897" y="12127657"/>
            <a:chExt cx="1918112" cy="1027735"/>
          </a:xfrm>
        </p:grpSpPr>
        <p:sp>
          <p:nvSpPr>
            <p:cNvPr id="81" name="TextBox 80">
              <a:extLst>
                <a:ext uri="{FF2B5EF4-FFF2-40B4-BE49-F238E27FC236}">
                  <a16:creationId xmlns:a16="http://schemas.microsoft.com/office/drawing/2014/main" id="{83B54494-1729-4AED-992E-68C8E256350B}"/>
                </a:ext>
              </a:extLst>
            </p:cNvPr>
            <p:cNvSpPr txBox="1"/>
            <p:nvPr/>
          </p:nvSpPr>
          <p:spPr>
            <a:xfrm>
              <a:off x="19215897" y="12724533"/>
              <a:ext cx="1918112" cy="43085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800" dirty="0">
                  <a:solidFill>
                    <a:srgbClr val="2B5967"/>
                  </a:solidFill>
                </a:rPr>
                <a:t>Compressed</a:t>
              </a:r>
            </a:p>
          </p:txBody>
        </p:sp>
        <p:pic>
          <p:nvPicPr>
            <p:cNvPr id="82" name="Picture 81">
              <a:extLst>
                <a:ext uri="{FF2B5EF4-FFF2-40B4-BE49-F238E27FC236}">
                  <a16:creationId xmlns:a16="http://schemas.microsoft.com/office/drawing/2014/main" id="{5CCD4993-F2C0-4D64-BBE8-AD265AC79AB6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19842114" y="12127657"/>
              <a:ext cx="665678" cy="648801"/>
            </a:xfrm>
            <a:prstGeom prst="rect">
              <a:avLst/>
            </a:prstGeom>
            <a:solidFill>
              <a:schemeClr val="accent1">
                <a:lumMod val="60000"/>
                <a:lumOff val="40000"/>
              </a:schemeClr>
            </a:solidFill>
          </p:spPr>
        </p:pic>
      </p:grpSp>
      <p:sp>
        <p:nvSpPr>
          <p:cNvPr id="84" name="Rectangle 83">
            <a:extLst>
              <a:ext uri="{FF2B5EF4-FFF2-40B4-BE49-F238E27FC236}">
                <a16:creationId xmlns:a16="http://schemas.microsoft.com/office/drawing/2014/main" id="{4EF58AD3-1AFF-4AC8-B7D5-D28137EB9E5C}"/>
              </a:ext>
            </a:extLst>
          </p:cNvPr>
          <p:cNvSpPr/>
          <p:nvPr/>
        </p:nvSpPr>
        <p:spPr>
          <a:xfrm>
            <a:off x="9707844" y="4160581"/>
            <a:ext cx="33457" cy="50295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50"/>
          </a:p>
        </p:txBody>
      </p:sp>
      <p:grpSp>
        <p:nvGrpSpPr>
          <p:cNvPr id="85" name="Group 84">
            <a:extLst>
              <a:ext uri="{FF2B5EF4-FFF2-40B4-BE49-F238E27FC236}">
                <a16:creationId xmlns:a16="http://schemas.microsoft.com/office/drawing/2014/main" id="{AA7AA318-3B50-4F94-AF14-8C110E91630C}"/>
              </a:ext>
            </a:extLst>
          </p:cNvPr>
          <p:cNvGrpSpPr/>
          <p:nvPr/>
        </p:nvGrpSpPr>
        <p:grpSpPr>
          <a:xfrm>
            <a:off x="9125678" y="4132907"/>
            <a:ext cx="900382" cy="598644"/>
            <a:chOff x="20868549" y="11997372"/>
            <a:chExt cx="1800647" cy="1197210"/>
          </a:xfrm>
        </p:grpSpPr>
        <p:pic>
          <p:nvPicPr>
            <p:cNvPr id="86" name="Picture Placeholder 124">
              <a:extLst>
                <a:ext uri="{FF2B5EF4-FFF2-40B4-BE49-F238E27FC236}">
                  <a16:creationId xmlns:a16="http://schemas.microsoft.com/office/drawing/2014/main" id="{2B1FD38B-C08F-4E09-9775-AB7A1F4EE22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="" xmlns:asvg="http://schemas.microsoft.com/office/drawing/2016/SVG/main" r:embed="rId6"/>
                </a:ext>
              </a:extLst>
            </a:blip>
            <a:srcRect t="85" b="85"/>
            <a:stretch/>
          </p:blipFill>
          <p:spPr>
            <a:xfrm>
              <a:off x="21303977" y="11997372"/>
              <a:ext cx="929791" cy="929791"/>
            </a:xfrm>
            <a:prstGeom prst="rect">
              <a:avLst/>
            </a:prstGeom>
          </p:spPr>
        </p:pic>
        <p:sp>
          <p:nvSpPr>
            <p:cNvPr id="87" name="TextBox 86">
              <a:extLst>
                <a:ext uri="{FF2B5EF4-FFF2-40B4-BE49-F238E27FC236}">
                  <a16:creationId xmlns:a16="http://schemas.microsoft.com/office/drawing/2014/main" id="{58C576BE-681D-4BF9-A69E-D55E5371B67E}"/>
                </a:ext>
              </a:extLst>
            </p:cNvPr>
            <p:cNvSpPr txBox="1"/>
            <p:nvPr/>
          </p:nvSpPr>
          <p:spPr>
            <a:xfrm>
              <a:off x="20868549" y="12763722"/>
              <a:ext cx="1800647" cy="43086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800" dirty="0">
                  <a:solidFill>
                    <a:srgbClr val="2B5967"/>
                  </a:solidFill>
                </a:rPr>
                <a:t>Encrypted</a:t>
              </a:r>
            </a:p>
          </p:txBody>
        </p:sp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4132D498-4B34-45A5-BA33-63FDA1B7B602}"/>
              </a:ext>
            </a:extLst>
          </p:cNvPr>
          <p:cNvGrpSpPr/>
          <p:nvPr/>
        </p:nvGrpSpPr>
        <p:grpSpPr>
          <a:xfrm>
            <a:off x="7208616" y="1736782"/>
            <a:ext cx="979885" cy="4604686"/>
            <a:chOff x="6297138" y="1818974"/>
            <a:chExt cx="979885" cy="4604686"/>
          </a:xfrm>
        </p:grpSpPr>
        <p:sp>
          <p:nvSpPr>
            <p:cNvPr id="50" name="Rectangle 49">
              <a:extLst>
                <a:ext uri="{FF2B5EF4-FFF2-40B4-BE49-F238E27FC236}">
                  <a16:creationId xmlns:a16="http://schemas.microsoft.com/office/drawing/2014/main" id="{5F841C42-F75B-49CE-B49F-5135B00FCD8A}"/>
                </a:ext>
              </a:extLst>
            </p:cNvPr>
            <p:cNvSpPr/>
            <p:nvPr/>
          </p:nvSpPr>
          <p:spPr>
            <a:xfrm>
              <a:off x="6329880" y="2579069"/>
              <a:ext cx="914400" cy="3844591"/>
            </a:xfrm>
            <a:prstGeom prst="rect">
              <a:avLst/>
            </a:prstGeom>
            <a:solidFill>
              <a:schemeClr val="bg1"/>
            </a:solidFill>
            <a:ln>
              <a:solidFill>
                <a:srgbClr val="2C5967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450"/>
            </a:p>
          </p:txBody>
        </p:sp>
        <p:sp>
          <p:nvSpPr>
            <p:cNvPr id="51" name="Rounded Rectangle 95">
              <a:extLst>
                <a:ext uri="{FF2B5EF4-FFF2-40B4-BE49-F238E27FC236}">
                  <a16:creationId xmlns:a16="http://schemas.microsoft.com/office/drawing/2014/main" id="{BE6F7219-A58A-4646-871F-2D3E02A378D2}"/>
                </a:ext>
              </a:extLst>
            </p:cNvPr>
            <p:cNvSpPr/>
            <p:nvPr/>
          </p:nvSpPr>
          <p:spPr>
            <a:xfrm>
              <a:off x="6329880" y="1857277"/>
              <a:ext cx="914400" cy="2625596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rgbClr val="2A5967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450"/>
            </a:p>
          </p:txBody>
        </p:sp>
        <p:grpSp>
          <p:nvGrpSpPr>
            <p:cNvPr id="14" name="Group 13">
              <a:extLst>
                <a:ext uri="{FF2B5EF4-FFF2-40B4-BE49-F238E27FC236}">
                  <a16:creationId xmlns:a16="http://schemas.microsoft.com/office/drawing/2014/main" id="{8FF08F63-B698-4C5C-8BA8-67D4A03F5AD0}"/>
                </a:ext>
              </a:extLst>
            </p:cNvPr>
            <p:cNvGrpSpPr/>
            <p:nvPr/>
          </p:nvGrpSpPr>
          <p:grpSpPr>
            <a:xfrm>
              <a:off x="6460191" y="4506402"/>
              <a:ext cx="653779" cy="858784"/>
              <a:chOff x="13549057" y="9538482"/>
              <a:chExt cx="2016297" cy="2648544"/>
            </a:xfrm>
          </p:grpSpPr>
          <p:pic>
            <p:nvPicPr>
              <p:cNvPr id="15" name="Graphic 14">
                <a:extLst>
                  <a:ext uri="{FF2B5EF4-FFF2-40B4-BE49-F238E27FC236}">
                    <a16:creationId xmlns:a16="http://schemas.microsoft.com/office/drawing/2014/main" id="{A6263B99-1757-4ECE-ADC9-FFE967BAF7E5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7" cstate="screen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="" xmlns:asvg="http://schemas.microsoft.com/office/drawing/2016/SVG/main" r:embed="rId8"/>
                  </a:ext>
                </a:extLst>
              </a:blip>
              <a:srcRect/>
              <a:stretch/>
            </p:blipFill>
            <p:spPr>
              <a:xfrm>
                <a:off x="13605715" y="9538482"/>
                <a:ext cx="1959639" cy="1959639"/>
              </a:xfrm>
              <a:custGeom>
                <a:avLst/>
                <a:gdLst>
                  <a:gd name="connsiteX0" fmla="*/ 207008 w 2397621"/>
                  <a:gd name="connsiteY0" fmla="*/ 1253292 h 2397621"/>
                  <a:gd name="connsiteX1" fmla="*/ 207008 w 2397621"/>
                  <a:gd name="connsiteY1" fmla="*/ 2048031 h 2397621"/>
                  <a:gd name="connsiteX2" fmla="*/ 789732 w 2397621"/>
                  <a:gd name="connsiteY2" fmla="*/ 2048031 h 2397621"/>
                  <a:gd name="connsiteX3" fmla="*/ 789732 w 2397621"/>
                  <a:gd name="connsiteY3" fmla="*/ 1253292 h 2397621"/>
                  <a:gd name="connsiteX4" fmla="*/ 1497125 w 2397621"/>
                  <a:gd name="connsiteY4" fmla="*/ 1017782 h 2397621"/>
                  <a:gd name="connsiteX5" fmla="*/ 1497125 w 2397621"/>
                  <a:gd name="connsiteY5" fmla="*/ 2141732 h 2397621"/>
                  <a:gd name="connsiteX6" fmla="*/ 1965659 w 2397621"/>
                  <a:gd name="connsiteY6" fmla="*/ 2141732 h 2397621"/>
                  <a:gd name="connsiteX7" fmla="*/ 1965659 w 2397621"/>
                  <a:gd name="connsiteY7" fmla="*/ 1017782 h 2397621"/>
                  <a:gd name="connsiteX8" fmla="*/ 0 w 2397621"/>
                  <a:gd name="connsiteY8" fmla="*/ 0 h 2397621"/>
                  <a:gd name="connsiteX9" fmla="*/ 2397621 w 2397621"/>
                  <a:gd name="connsiteY9" fmla="*/ 0 h 2397621"/>
                  <a:gd name="connsiteX10" fmla="*/ 2397621 w 2397621"/>
                  <a:gd name="connsiteY10" fmla="*/ 2397621 h 2397621"/>
                  <a:gd name="connsiteX11" fmla="*/ 0 w 2397621"/>
                  <a:gd name="connsiteY11" fmla="*/ 2397621 h 23976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2397621" h="2397621">
                    <a:moveTo>
                      <a:pt x="207008" y="1253292"/>
                    </a:moveTo>
                    <a:lnTo>
                      <a:pt x="207008" y="2048031"/>
                    </a:lnTo>
                    <a:lnTo>
                      <a:pt x="789732" y="2048031"/>
                    </a:lnTo>
                    <a:lnTo>
                      <a:pt x="789732" y="1253292"/>
                    </a:lnTo>
                    <a:close/>
                    <a:moveTo>
                      <a:pt x="1497125" y="1017782"/>
                    </a:moveTo>
                    <a:lnTo>
                      <a:pt x="1497125" y="2141732"/>
                    </a:lnTo>
                    <a:lnTo>
                      <a:pt x="1965659" y="2141732"/>
                    </a:lnTo>
                    <a:lnTo>
                      <a:pt x="1965659" y="1017782"/>
                    </a:lnTo>
                    <a:close/>
                    <a:moveTo>
                      <a:pt x="0" y="0"/>
                    </a:moveTo>
                    <a:lnTo>
                      <a:pt x="2397621" y="0"/>
                    </a:lnTo>
                    <a:lnTo>
                      <a:pt x="2397621" y="2397621"/>
                    </a:lnTo>
                    <a:lnTo>
                      <a:pt x="0" y="2397621"/>
                    </a:lnTo>
                    <a:close/>
                  </a:path>
                </a:pathLst>
              </a:custGeom>
            </p:spPr>
          </p:pic>
          <p:sp>
            <p:nvSpPr>
              <p:cNvPr id="16" name="TextBox 15">
                <a:extLst>
                  <a:ext uri="{FF2B5EF4-FFF2-40B4-BE49-F238E27FC236}">
                    <a16:creationId xmlns:a16="http://schemas.microsoft.com/office/drawing/2014/main" id="{2171752E-DE3E-44CC-8727-43AA0D694A88}"/>
                  </a:ext>
                </a:extLst>
              </p:cNvPr>
              <p:cNvSpPr txBox="1"/>
              <p:nvPr/>
            </p:nvSpPr>
            <p:spPr>
              <a:xfrm>
                <a:off x="13549057" y="11218840"/>
                <a:ext cx="1947843" cy="968186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algn="ctr">
                  <a:lnSpc>
                    <a:spcPct val="85000"/>
                  </a:lnSpc>
                </a:pPr>
                <a:r>
                  <a:rPr lang="en-US" sz="800" dirty="0"/>
                  <a:t>Autonomous </a:t>
                </a:r>
              </a:p>
              <a:p>
                <a:pPr algn="ctr">
                  <a:lnSpc>
                    <a:spcPct val="85000"/>
                  </a:lnSpc>
                </a:pPr>
                <a:r>
                  <a:rPr lang="en-US" sz="800" dirty="0"/>
                  <a:t>Database </a:t>
                </a:r>
              </a:p>
              <a:p>
                <a:pPr algn="ctr">
                  <a:lnSpc>
                    <a:spcPct val="85000"/>
                  </a:lnSpc>
                </a:pPr>
                <a:r>
                  <a:rPr lang="en-US" sz="800" dirty="0"/>
                  <a:t>- Dedicated</a:t>
                </a:r>
              </a:p>
            </p:txBody>
          </p:sp>
        </p:grpSp>
        <p:grpSp>
          <p:nvGrpSpPr>
            <p:cNvPr id="17" name="Group 16">
              <a:extLst>
                <a:ext uri="{FF2B5EF4-FFF2-40B4-BE49-F238E27FC236}">
                  <a16:creationId xmlns:a16="http://schemas.microsoft.com/office/drawing/2014/main" id="{837F4CB1-2959-473F-8950-AD0DF6AA555A}"/>
                </a:ext>
              </a:extLst>
            </p:cNvPr>
            <p:cNvGrpSpPr/>
            <p:nvPr/>
          </p:nvGrpSpPr>
          <p:grpSpPr>
            <a:xfrm>
              <a:off x="6391139" y="2579386"/>
              <a:ext cx="791883" cy="773619"/>
              <a:chOff x="13340940" y="3815345"/>
              <a:chExt cx="2321665" cy="2268117"/>
            </a:xfrm>
          </p:grpSpPr>
          <p:pic>
            <p:nvPicPr>
              <p:cNvPr id="18" name="Picture Placeholder 93">
                <a:extLst>
                  <a:ext uri="{FF2B5EF4-FFF2-40B4-BE49-F238E27FC236}">
                    <a16:creationId xmlns:a16="http://schemas.microsoft.com/office/drawing/2014/main" id="{DBE15A00-9A96-4E9E-B49A-A3BFA63387C2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9" cstate="screen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="" xmlns:asvg="http://schemas.microsoft.com/office/drawing/2016/SVG/main" r:embed="rId10"/>
                  </a:ext>
                </a:extLst>
              </a:blip>
              <a:srcRect t="85" b="85"/>
              <a:stretch/>
            </p:blipFill>
            <p:spPr>
              <a:xfrm>
                <a:off x="13466484" y="3815345"/>
                <a:ext cx="1959639" cy="1959639"/>
              </a:xfrm>
              <a:prstGeom prst="rect">
                <a:avLst/>
              </a:prstGeom>
            </p:spPr>
          </p:pic>
          <p:sp>
            <p:nvSpPr>
              <p:cNvPr id="19" name="TextBox 18">
                <a:extLst>
                  <a:ext uri="{FF2B5EF4-FFF2-40B4-BE49-F238E27FC236}">
                    <a16:creationId xmlns:a16="http://schemas.microsoft.com/office/drawing/2014/main" id="{9BFA7042-524B-4C4B-ADB4-C32AC7C2C2DE}"/>
                  </a:ext>
                </a:extLst>
              </p:cNvPr>
              <p:cNvSpPr txBox="1"/>
              <p:nvPr/>
            </p:nvSpPr>
            <p:spPr>
              <a:xfrm>
                <a:off x="13340940" y="5469866"/>
                <a:ext cx="2321665" cy="613596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algn="ctr">
                  <a:lnSpc>
                    <a:spcPct val="85000"/>
                  </a:lnSpc>
                </a:pPr>
                <a:r>
                  <a:rPr lang="en-US" sz="800" dirty="0"/>
                  <a:t>Exadata </a:t>
                </a:r>
              </a:p>
              <a:p>
                <a:pPr algn="ctr">
                  <a:lnSpc>
                    <a:spcPct val="85000"/>
                  </a:lnSpc>
                </a:pPr>
                <a:r>
                  <a:rPr lang="en-US" sz="800" dirty="0"/>
                  <a:t>Database Service</a:t>
                </a:r>
              </a:p>
            </p:txBody>
          </p:sp>
        </p:grpSp>
        <p:grpSp>
          <p:nvGrpSpPr>
            <p:cNvPr id="20" name="Group 19">
              <a:extLst>
                <a:ext uri="{FF2B5EF4-FFF2-40B4-BE49-F238E27FC236}">
                  <a16:creationId xmlns:a16="http://schemas.microsoft.com/office/drawing/2014/main" id="{DEB85B41-58AB-407D-88FD-238D6A25E2DE}"/>
                </a:ext>
              </a:extLst>
            </p:cNvPr>
            <p:cNvGrpSpPr/>
            <p:nvPr/>
          </p:nvGrpSpPr>
          <p:grpSpPr>
            <a:xfrm>
              <a:off x="6391139" y="3659104"/>
              <a:ext cx="791883" cy="561468"/>
              <a:chOff x="15053895" y="4328042"/>
              <a:chExt cx="2567413" cy="1820371"/>
            </a:xfrm>
          </p:grpSpPr>
          <p:grpSp>
            <p:nvGrpSpPr>
              <p:cNvPr id="21" name="Graphic 70">
                <a:extLst>
                  <a:ext uri="{FF2B5EF4-FFF2-40B4-BE49-F238E27FC236}">
                    <a16:creationId xmlns:a16="http://schemas.microsoft.com/office/drawing/2014/main" id="{726F2613-7A64-44B0-9384-2799DF821212}"/>
                  </a:ext>
                </a:extLst>
              </p:cNvPr>
              <p:cNvGrpSpPr>
                <a:grpSpLocks noChangeAspect="1"/>
              </p:cNvGrpSpPr>
              <p:nvPr/>
            </p:nvGrpSpPr>
            <p:grpSpPr>
              <a:xfrm>
                <a:off x="15630272" y="4328042"/>
                <a:ext cx="1303209" cy="1137546"/>
                <a:chOff x="7162146" y="2961107"/>
                <a:chExt cx="419100" cy="393700"/>
              </a:xfrm>
            </p:grpSpPr>
            <p:sp>
              <p:nvSpPr>
                <p:cNvPr id="23" name="Freeform 9">
                  <a:extLst>
                    <a:ext uri="{FF2B5EF4-FFF2-40B4-BE49-F238E27FC236}">
                      <a16:creationId xmlns:a16="http://schemas.microsoft.com/office/drawing/2014/main" id="{60EB118F-3106-454C-8905-3CDD7A134E22}"/>
                    </a:ext>
                  </a:extLst>
                </p:cNvPr>
                <p:cNvSpPr/>
                <p:nvPr/>
              </p:nvSpPr>
              <p:spPr>
                <a:xfrm>
                  <a:off x="7167734" y="2965386"/>
                  <a:ext cx="404533" cy="384733"/>
                </a:xfrm>
                <a:custGeom>
                  <a:avLst/>
                  <a:gdLst>
                    <a:gd name="connsiteX0" fmla="*/ 202099 w 404533"/>
                    <a:gd name="connsiteY0" fmla="*/ 384734 h 384733"/>
                    <a:gd name="connsiteX1" fmla="*/ 185335 w 404533"/>
                    <a:gd name="connsiteY1" fmla="*/ 384734 h 384733"/>
                    <a:gd name="connsiteX2" fmla="*/ 128524 w 404533"/>
                    <a:gd name="connsiteY2" fmla="*/ 378172 h 384733"/>
                    <a:gd name="connsiteX3" fmla="*/ 111760 w 404533"/>
                    <a:gd name="connsiteY3" fmla="*/ 373485 h 384733"/>
                    <a:gd name="connsiteX4" fmla="*/ 97790 w 404533"/>
                    <a:gd name="connsiteY4" fmla="*/ 366923 h 384733"/>
                    <a:gd name="connsiteX5" fmla="*/ 83820 w 404533"/>
                    <a:gd name="connsiteY5" fmla="*/ 346301 h 384733"/>
                    <a:gd name="connsiteX6" fmla="*/ 83820 w 404533"/>
                    <a:gd name="connsiteY6" fmla="*/ 208506 h 384733"/>
                    <a:gd name="connsiteX7" fmla="*/ 0 w 404533"/>
                    <a:gd name="connsiteY7" fmla="*/ 208506 h 384733"/>
                    <a:gd name="connsiteX8" fmla="*/ 931 w 404533"/>
                    <a:gd name="connsiteY8" fmla="*/ 194445 h 384733"/>
                    <a:gd name="connsiteX9" fmla="*/ 53086 w 404533"/>
                    <a:gd name="connsiteY9" fmla="*/ 114768 h 384733"/>
                    <a:gd name="connsiteX10" fmla="*/ 65193 w 404533"/>
                    <a:gd name="connsiteY10" fmla="*/ 97895 h 384733"/>
                    <a:gd name="connsiteX11" fmla="*/ 108035 w 404533"/>
                    <a:gd name="connsiteY11" fmla="*/ 43527 h 384733"/>
                    <a:gd name="connsiteX12" fmla="*/ 137837 w 404533"/>
                    <a:gd name="connsiteY12" fmla="*/ 36965 h 384733"/>
                    <a:gd name="connsiteX13" fmla="*/ 145288 w 404533"/>
                    <a:gd name="connsiteY13" fmla="*/ 36965 h 384733"/>
                    <a:gd name="connsiteX14" fmla="*/ 148082 w 404533"/>
                    <a:gd name="connsiteY14" fmla="*/ 36965 h 384733"/>
                    <a:gd name="connsiteX15" fmla="*/ 164846 w 404533"/>
                    <a:gd name="connsiteY15" fmla="*/ 29466 h 384733"/>
                    <a:gd name="connsiteX16" fmla="*/ 294301 w 404533"/>
                    <a:gd name="connsiteY16" fmla="*/ 24779 h 384733"/>
                    <a:gd name="connsiteX17" fmla="*/ 313859 w 404533"/>
                    <a:gd name="connsiteY17" fmla="*/ 51026 h 384733"/>
                    <a:gd name="connsiteX18" fmla="*/ 330623 w 404533"/>
                    <a:gd name="connsiteY18" fmla="*/ 64149 h 384733"/>
                    <a:gd name="connsiteX19" fmla="*/ 402336 w 404533"/>
                    <a:gd name="connsiteY19" fmla="*/ 176635 h 384733"/>
                    <a:gd name="connsiteX20" fmla="*/ 393023 w 404533"/>
                    <a:gd name="connsiteY20" fmla="*/ 201007 h 384733"/>
                    <a:gd name="connsiteX21" fmla="*/ 389297 w 404533"/>
                    <a:gd name="connsiteY21" fmla="*/ 207569 h 384733"/>
                    <a:gd name="connsiteX22" fmla="*/ 319447 w 404533"/>
                    <a:gd name="connsiteY22" fmla="*/ 207569 h 384733"/>
                    <a:gd name="connsiteX23" fmla="*/ 319447 w 404533"/>
                    <a:gd name="connsiteY23" fmla="*/ 346301 h 384733"/>
                    <a:gd name="connsiteX24" fmla="*/ 311065 w 404533"/>
                    <a:gd name="connsiteY24" fmla="*/ 363174 h 384733"/>
                    <a:gd name="connsiteX25" fmla="*/ 305477 w 404533"/>
                    <a:gd name="connsiteY25" fmla="*/ 366923 h 384733"/>
                    <a:gd name="connsiteX26" fmla="*/ 228177 w 404533"/>
                    <a:gd name="connsiteY26" fmla="*/ 383796 h 384733"/>
                    <a:gd name="connsiteX27" fmla="*/ 202099 w 404533"/>
                    <a:gd name="connsiteY27" fmla="*/ 384734 h 3847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</a:cxnLst>
                  <a:rect l="l" t="t" r="r" b="b"/>
                  <a:pathLst>
                    <a:path w="404533" h="384733">
                      <a:moveTo>
                        <a:pt x="202099" y="384734"/>
                      </a:moveTo>
                      <a:lnTo>
                        <a:pt x="185335" y="384734"/>
                      </a:lnTo>
                      <a:cubicBezTo>
                        <a:pt x="166709" y="383796"/>
                        <a:pt x="147151" y="381922"/>
                        <a:pt x="128524" y="378172"/>
                      </a:cubicBezTo>
                      <a:cubicBezTo>
                        <a:pt x="122936" y="377235"/>
                        <a:pt x="117348" y="375360"/>
                        <a:pt x="111760" y="373485"/>
                      </a:cubicBezTo>
                      <a:cubicBezTo>
                        <a:pt x="107103" y="371610"/>
                        <a:pt x="102447" y="369736"/>
                        <a:pt x="97790" y="366923"/>
                      </a:cubicBezTo>
                      <a:cubicBezTo>
                        <a:pt x="89408" y="363174"/>
                        <a:pt x="84751" y="355675"/>
                        <a:pt x="83820" y="346301"/>
                      </a:cubicBezTo>
                      <a:lnTo>
                        <a:pt x="83820" y="208506"/>
                      </a:lnTo>
                      <a:lnTo>
                        <a:pt x="0" y="208506"/>
                      </a:lnTo>
                      <a:lnTo>
                        <a:pt x="931" y="194445"/>
                      </a:lnTo>
                      <a:cubicBezTo>
                        <a:pt x="3725" y="160700"/>
                        <a:pt x="23283" y="129766"/>
                        <a:pt x="53086" y="114768"/>
                      </a:cubicBezTo>
                      <a:cubicBezTo>
                        <a:pt x="59605" y="111018"/>
                        <a:pt x="64262" y="105394"/>
                        <a:pt x="65193" y="97895"/>
                      </a:cubicBezTo>
                      <a:cubicBezTo>
                        <a:pt x="69850" y="73523"/>
                        <a:pt x="85683" y="53838"/>
                        <a:pt x="108035" y="43527"/>
                      </a:cubicBezTo>
                      <a:cubicBezTo>
                        <a:pt x="117348" y="39777"/>
                        <a:pt x="127593" y="36965"/>
                        <a:pt x="137837" y="36965"/>
                      </a:cubicBezTo>
                      <a:cubicBezTo>
                        <a:pt x="139700" y="36965"/>
                        <a:pt x="142494" y="36965"/>
                        <a:pt x="145288" y="36965"/>
                      </a:cubicBezTo>
                      <a:lnTo>
                        <a:pt x="148082" y="36965"/>
                      </a:lnTo>
                      <a:cubicBezTo>
                        <a:pt x="154601" y="36965"/>
                        <a:pt x="160189" y="34153"/>
                        <a:pt x="164846" y="29466"/>
                      </a:cubicBezTo>
                      <a:cubicBezTo>
                        <a:pt x="199305" y="-8029"/>
                        <a:pt x="257048" y="-9904"/>
                        <a:pt x="294301" y="24779"/>
                      </a:cubicBezTo>
                      <a:cubicBezTo>
                        <a:pt x="302683" y="32278"/>
                        <a:pt x="309203" y="40715"/>
                        <a:pt x="313859" y="51026"/>
                      </a:cubicBezTo>
                      <a:cubicBezTo>
                        <a:pt x="317585" y="57588"/>
                        <a:pt x="323173" y="62275"/>
                        <a:pt x="330623" y="64149"/>
                      </a:cubicBezTo>
                      <a:cubicBezTo>
                        <a:pt x="380915" y="75398"/>
                        <a:pt x="413512" y="126016"/>
                        <a:pt x="402336" y="176635"/>
                      </a:cubicBezTo>
                      <a:cubicBezTo>
                        <a:pt x="400473" y="185071"/>
                        <a:pt x="397679" y="193508"/>
                        <a:pt x="393023" y="201007"/>
                      </a:cubicBezTo>
                      <a:lnTo>
                        <a:pt x="389297" y="207569"/>
                      </a:lnTo>
                      <a:lnTo>
                        <a:pt x="319447" y="207569"/>
                      </a:lnTo>
                      <a:lnTo>
                        <a:pt x="319447" y="346301"/>
                      </a:lnTo>
                      <a:cubicBezTo>
                        <a:pt x="319447" y="352863"/>
                        <a:pt x="315722" y="359424"/>
                        <a:pt x="311065" y="363174"/>
                      </a:cubicBezTo>
                      <a:cubicBezTo>
                        <a:pt x="309203" y="364111"/>
                        <a:pt x="307340" y="365986"/>
                        <a:pt x="305477" y="366923"/>
                      </a:cubicBezTo>
                      <a:cubicBezTo>
                        <a:pt x="285919" y="379109"/>
                        <a:pt x="248666" y="382859"/>
                        <a:pt x="228177" y="383796"/>
                      </a:cubicBezTo>
                      <a:cubicBezTo>
                        <a:pt x="218863" y="384734"/>
                        <a:pt x="210481" y="384734"/>
                        <a:pt x="202099" y="384734"/>
                      </a:cubicBezTo>
                      <a:close/>
                    </a:path>
                  </a:pathLst>
                </a:custGeom>
                <a:noFill/>
                <a:ln w="9313" cap="flat">
                  <a:noFill/>
                  <a:prstDash val="solid"/>
                  <a:miter/>
                </a:ln>
              </p:spPr>
              <p:txBody>
                <a:bodyPr wrap="none" lIns="0" tIns="0" rIns="0" bIns="0" rtlCol="0" anchor="ctr"/>
                <a:lstStyle/>
                <a:p>
                  <a:pPr>
                    <a:lnSpc>
                      <a:spcPct val="85000"/>
                    </a:lnSpc>
                  </a:pPr>
                  <a:endParaRPr lang="en-US" sz="800" dirty="0"/>
                </a:p>
              </p:txBody>
            </p:sp>
            <p:sp>
              <p:nvSpPr>
                <p:cNvPr id="24" name="Freeform 10">
                  <a:extLst>
                    <a:ext uri="{FF2B5EF4-FFF2-40B4-BE49-F238E27FC236}">
                      <a16:creationId xmlns:a16="http://schemas.microsoft.com/office/drawing/2014/main" id="{F5014E0F-A177-4748-AA07-B14966B8909E}"/>
                    </a:ext>
                  </a:extLst>
                </p:cNvPr>
                <p:cNvSpPr/>
                <p:nvPr/>
              </p:nvSpPr>
              <p:spPr>
                <a:xfrm>
                  <a:off x="7162146" y="2961107"/>
                  <a:ext cx="415300" cy="393699"/>
                </a:xfrm>
                <a:custGeom>
                  <a:avLst/>
                  <a:gdLst>
                    <a:gd name="connsiteX0" fmla="*/ 237490 w 415300"/>
                    <a:gd name="connsiteY0" fmla="*/ 9374 h 393699"/>
                    <a:gd name="connsiteX1" fmla="*/ 315722 w 415300"/>
                    <a:gd name="connsiteY1" fmla="*/ 58118 h 393699"/>
                    <a:gd name="connsiteX2" fmla="*/ 335280 w 415300"/>
                    <a:gd name="connsiteY2" fmla="*/ 73116 h 393699"/>
                    <a:gd name="connsiteX3" fmla="*/ 363220 w 415300"/>
                    <a:gd name="connsiteY3" fmla="*/ 84364 h 393699"/>
                    <a:gd name="connsiteX4" fmla="*/ 394885 w 415300"/>
                    <a:gd name="connsiteY4" fmla="*/ 202474 h 393699"/>
                    <a:gd name="connsiteX5" fmla="*/ 392091 w 415300"/>
                    <a:gd name="connsiteY5" fmla="*/ 207161 h 393699"/>
                    <a:gd name="connsiteX6" fmla="*/ 320379 w 415300"/>
                    <a:gd name="connsiteY6" fmla="*/ 207161 h 393699"/>
                    <a:gd name="connsiteX7" fmla="*/ 320379 w 415300"/>
                    <a:gd name="connsiteY7" fmla="*/ 350581 h 393699"/>
                    <a:gd name="connsiteX8" fmla="*/ 313859 w 415300"/>
                    <a:gd name="connsiteY8" fmla="*/ 363704 h 393699"/>
                    <a:gd name="connsiteX9" fmla="*/ 309203 w 415300"/>
                    <a:gd name="connsiteY9" fmla="*/ 367453 h 393699"/>
                    <a:gd name="connsiteX10" fmla="*/ 233765 w 415300"/>
                    <a:gd name="connsiteY10" fmla="*/ 383389 h 393699"/>
                    <a:gd name="connsiteX11" fmla="*/ 207687 w 415300"/>
                    <a:gd name="connsiteY11" fmla="*/ 384326 h 393699"/>
                    <a:gd name="connsiteX12" fmla="*/ 190923 w 415300"/>
                    <a:gd name="connsiteY12" fmla="*/ 384326 h 393699"/>
                    <a:gd name="connsiteX13" fmla="*/ 135043 w 415300"/>
                    <a:gd name="connsiteY13" fmla="*/ 377765 h 393699"/>
                    <a:gd name="connsiteX14" fmla="*/ 119211 w 415300"/>
                    <a:gd name="connsiteY14" fmla="*/ 373078 h 393699"/>
                    <a:gd name="connsiteX15" fmla="*/ 106172 w 415300"/>
                    <a:gd name="connsiteY15" fmla="*/ 367453 h 393699"/>
                    <a:gd name="connsiteX16" fmla="*/ 94065 w 415300"/>
                    <a:gd name="connsiteY16" fmla="*/ 351518 h 393699"/>
                    <a:gd name="connsiteX17" fmla="*/ 94065 w 415300"/>
                    <a:gd name="connsiteY17" fmla="*/ 208099 h 393699"/>
                    <a:gd name="connsiteX18" fmla="*/ 9313 w 415300"/>
                    <a:gd name="connsiteY18" fmla="*/ 208099 h 393699"/>
                    <a:gd name="connsiteX19" fmla="*/ 10245 w 415300"/>
                    <a:gd name="connsiteY19" fmla="*/ 198725 h 393699"/>
                    <a:gd name="connsiteX20" fmla="*/ 59605 w 415300"/>
                    <a:gd name="connsiteY20" fmla="*/ 122797 h 393699"/>
                    <a:gd name="connsiteX21" fmla="*/ 74507 w 415300"/>
                    <a:gd name="connsiteY21" fmla="*/ 103112 h 393699"/>
                    <a:gd name="connsiteX22" fmla="*/ 143425 w 415300"/>
                    <a:gd name="connsiteY22" fmla="*/ 45932 h 393699"/>
                    <a:gd name="connsiteX23" fmla="*/ 149945 w 415300"/>
                    <a:gd name="connsiteY23" fmla="*/ 45932 h 393699"/>
                    <a:gd name="connsiteX24" fmla="*/ 152739 w 415300"/>
                    <a:gd name="connsiteY24" fmla="*/ 45932 h 393699"/>
                    <a:gd name="connsiteX25" fmla="*/ 173228 w 415300"/>
                    <a:gd name="connsiteY25" fmla="*/ 37495 h 393699"/>
                    <a:gd name="connsiteX26" fmla="*/ 237490 w 415300"/>
                    <a:gd name="connsiteY26" fmla="*/ 9374 h 393699"/>
                    <a:gd name="connsiteX27" fmla="*/ 237490 w 415300"/>
                    <a:gd name="connsiteY27" fmla="*/ 0 h 393699"/>
                    <a:gd name="connsiteX28" fmla="*/ 166709 w 415300"/>
                    <a:gd name="connsiteY28" fmla="*/ 30934 h 393699"/>
                    <a:gd name="connsiteX29" fmla="*/ 153670 w 415300"/>
                    <a:gd name="connsiteY29" fmla="*/ 36558 h 393699"/>
                    <a:gd name="connsiteX30" fmla="*/ 151807 w 415300"/>
                    <a:gd name="connsiteY30" fmla="*/ 36558 h 393699"/>
                    <a:gd name="connsiteX31" fmla="*/ 144357 w 415300"/>
                    <a:gd name="connsiteY31" fmla="*/ 36558 h 393699"/>
                    <a:gd name="connsiteX32" fmla="*/ 112691 w 415300"/>
                    <a:gd name="connsiteY32" fmla="*/ 43120 h 393699"/>
                    <a:gd name="connsiteX33" fmla="*/ 67056 w 415300"/>
                    <a:gd name="connsiteY33" fmla="*/ 101237 h 393699"/>
                    <a:gd name="connsiteX34" fmla="*/ 55880 w 415300"/>
                    <a:gd name="connsiteY34" fmla="*/ 114360 h 393699"/>
                    <a:gd name="connsiteX35" fmla="*/ 1863 w 415300"/>
                    <a:gd name="connsiteY35" fmla="*/ 197787 h 393699"/>
                    <a:gd name="connsiteX36" fmla="*/ 931 w 415300"/>
                    <a:gd name="connsiteY36" fmla="*/ 207161 h 393699"/>
                    <a:gd name="connsiteX37" fmla="*/ 0 w 415300"/>
                    <a:gd name="connsiteY37" fmla="*/ 217472 h 393699"/>
                    <a:gd name="connsiteX38" fmla="*/ 84751 w 415300"/>
                    <a:gd name="connsiteY38" fmla="*/ 217472 h 393699"/>
                    <a:gd name="connsiteX39" fmla="*/ 84751 w 415300"/>
                    <a:gd name="connsiteY39" fmla="*/ 351518 h 393699"/>
                    <a:gd name="connsiteX40" fmla="*/ 101515 w 415300"/>
                    <a:gd name="connsiteY40" fmla="*/ 375890 h 393699"/>
                    <a:gd name="connsiteX41" fmla="*/ 116417 w 415300"/>
                    <a:gd name="connsiteY41" fmla="*/ 382451 h 393699"/>
                    <a:gd name="connsiteX42" fmla="*/ 134112 w 415300"/>
                    <a:gd name="connsiteY42" fmla="*/ 387138 h 393699"/>
                    <a:gd name="connsiteX43" fmla="*/ 190923 w 415300"/>
                    <a:gd name="connsiteY43" fmla="*/ 393700 h 393699"/>
                    <a:gd name="connsiteX44" fmla="*/ 208619 w 415300"/>
                    <a:gd name="connsiteY44" fmla="*/ 393700 h 393699"/>
                    <a:gd name="connsiteX45" fmla="*/ 235627 w 415300"/>
                    <a:gd name="connsiteY45" fmla="*/ 392763 h 393699"/>
                    <a:gd name="connsiteX46" fmla="*/ 314791 w 415300"/>
                    <a:gd name="connsiteY46" fmla="*/ 374952 h 393699"/>
                    <a:gd name="connsiteX47" fmla="*/ 321310 w 415300"/>
                    <a:gd name="connsiteY47" fmla="*/ 370265 h 393699"/>
                    <a:gd name="connsiteX48" fmla="*/ 331555 w 415300"/>
                    <a:gd name="connsiteY48" fmla="*/ 350581 h 393699"/>
                    <a:gd name="connsiteX49" fmla="*/ 331555 w 415300"/>
                    <a:gd name="connsiteY49" fmla="*/ 217472 h 393699"/>
                    <a:gd name="connsiteX50" fmla="*/ 399542 w 415300"/>
                    <a:gd name="connsiteY50" fmla="*/ 217472 h 393699"/>
                    <a:gd name="connsiteX51" fmla="*/ 402336 w 415300"/>
                    <a:gd name="connsiteY51" fmla="*/ 212785 h 393699"/>
                    <a:gd name="connsiteX52" fmla="*/ 405130 w 415300"/>
                    <a:gd name="connsiteY52" fmla="*/ 208099 h 393699"/>
                    <a:gd name="connsiteX53" fmla="*/ 362289 w 415300"/>
                    <a:gd name="connsiteY53" fmla="*/ 74053 h 393699"/>
                    <a:gd name="connsiteX54" fmla="*/ 337143 w 415300"/>
                    <a:gd name="connsiteY54" fmla="*/ 64679 h 393699"/>
                    <a:gd name="connsiteX55" fmla="*/ 323173 w 415300"/>
                    <a:gd name="connsiteY55" fmla="*/ 54368 h 393699"/>
                    <a:gd name="connsiteX56" fmla="*/ 237490 w 415300"/>
                    <a:gd name="connsiteY56" fmla="*/ 0 h 39369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</a:cxnLst>
                  <a:rect l="l" t="t" r="r" b="b"/>
                  <a:pathLst>
                    <a:path w="415300" h="393699">
                      <a:moveTo>
                        <a:pt x="237490" y="9374"/>
                      </a:moveTo>
                      <a:cubicBezTo>
                        <a:pt x="270087" y="9374"/>
                        <a:pt x="300821" y="28121"/>
                        <a:pt x="315722" y="58118"/>
                      </a:cubicBezTo>
                      <a:cubicBezTo>
                        <a:pt x="319447" y="65617"/>
                        <a:pt x="326898" y="71241"/>
                        <a:pt x="335280" y="73116"/>
                      </a:cubicBezTo>
                      <a:cubicBezTo>
                        <a:pt x="345525" y="74990"/>
                        <a:pt x="354838" y="79677"/>
                        <a:pt x="363220" y="84364"/>
                      </a:cubicBezTo>
                      <a:cubicBezTo>
                        <a:pt x="403267" y="109674"/>
                        <a:pt x="416306" y="161230"/>
                        <a:pt x="394885" y="202474"/>
                      </a:cubicBezTo>
                      <a:lnTo>
                        <a:pt x="392091" y="207161"/>
                      </a:lnTo>
                      <a:lnTo>
                        <a:pt x="320379" y="207161"/>
                      </a:lnTo>
                      <a:lnTo>
                        <a:pt x="320379" y="350581"/>
                      </a:lnTo>
                      <a:cubicBezTo>
                        <a:pt x="320379" y="355267"/>
                        <a:pt x="317585" y="359954"/>
                        <a:pt x="313859" y="363704"/>
                      </a:cubicBezTo>
                      <a:cubicBezTo>
                        <a:pt x="311997" y="364641"/>
                        <a:pt x="311065" y="366516"/>
                        <a:pt x="309203" y="367453"/>
                      </a:cubicBezTo>
                      <a:cubicBezTo>
                        <a:pt x="292439" y="376827"/>
                        <a:pt x="261705" y="381514"/>
                        <a:pt x="233765" y="383389"/>
                      </a:cubicBezTo>
                      <a:cubicBezTo>
                        <a:pt x="224451" y="384326"/>
                        <a:pt x="215138" y="384326"/>
                        <a:pt x="207687" y="384326"/>
                      </a:cubicBezTo>
                      <a:lnTo>
                        <a:pt x="190923" y="384326"/>
                      </a:lnTo>
                      <a:cubicBezTo>
                        <a:pt x="172297" y="383389"/>
                        <a:pt x="153670" y="381514"/>
                        <a:pt x="135043" y="377765"/>
                      </a:cubicBezTo>
                      <a:cubicBezTo>
                        <a:pt x="129455" y="376827"/>
                        <a:pt x="123867" y="374952"/>
                        <a:pt x="119211" y="373078"/>
                      </a:cubicBezTo>
                      <a:cubicBezTo>
                        <a:pt x="114554" y="371203"/>
                        <a:pt x="109897" y="369328"/>
                        <a:pt x="106172" y="367453"/>
                      </a:cubicBezTo>
                      <a:cubicBezTo>
                        <a:pt x="99653" y="364641"/>
                        <a:pt x="94996" y="358080"/>
                        <a:pt x="94065" y="351518"/>
                      </a:cubicBezTo>
                      <a:lnTo>
                        <a:pt x="94065" y="208099"/>
                      </a:lnTo>
                      <a:lnTo>
                        <a:pt x="9313" y="208099"/>
                      </a:lnTo>
                      <a:lnTo>
                        <a:pt x="10245" y="198725"/>
                      </a:lnTo>
                      <a:cubicBezTo>
                        <a:pt x="13039" y="166854"/>
                        <a:pt x="31665" y="137795"/>
                        <a:pt x="59605" y="122797"/>
                      </a:cubicBezTo>
                      <a:cubicBezTo>
                        <a:pt x="67056" y="119047"/>
                        <a:pt x="73575" y="111548"/>
                        <a:pt x="74507" y="103112"/>
                      </a:cubicBezTo>
                      <a:cubicBezTo>
                        <a:pt x="81026" y="70304"/>
                        <a:pt x="109897" y="45932"/>
                        <a:pt x="143425" y="45932"/>
                      </a:cubicBezTo>
                      <a:cubicBezTo>
                        <a:pt x="145288" y="45932"/>
                        <a:pt x="148082" y="45932"/>
                        <a:pt x="149945" y="45932"/>
                      </a:cubicBezTo>
                      <a:lnTo>
                        <a:pt x="152739" y="45932"/>
                      </a:lnTo>
                      <a:cubicBezTo>
                        <a:pt x="160189" y="45932"/>
                        <a:pt x="167640" y="43120"/>
                        <a:pt x="173228" y="37495"/>
                      </a:cubicBezTo>
                      <a:cubicBezTo>
                        <a:pt x="189992" y="19685"/>
                        <a:pt x="213275" y="9374"/>
                        <a:pt x="237490" y="9374"/>
                      </a:cubicBezTo>
                      <a:moveTo>
                        <a:pt x="237490" y="0"/>
                      </a:moveTo>
                      <a:cubicBezTo>
                        <a:pt x="210481" y="0"/>
                        <a:pt x="185335" y="11249"/>
                        <a:pt x="166709" y="30934"/>
                      </a:cubicBezTo>
                      <a:cubicBezTo>
                        <a:pt x="162983" y="34683"/>
                        <a:pt x="158327" y="36558"/>
                        <a:pt x="153670" y="36558"/>
                      </a:cubicBezTo>
                      <a:lnTo>
                        <a:pt x="151807" y="36558"/>
                      </a:lnTo>
                      <a:cubicBezTo>
                        <a:pt x="149013" y="36558"/>
                        <a:pt x="147151" y="36558"/>
                        <a:pt x="144357" y="36558"/>
                      </a:cubicBezTo>
                      <a:cubicBezTo>
                        <a:pt x="133181" y="36558"/>
                        <a:pt x="122936" y="38433"/>
                        <a:pt x="112691" y="43120"/>
                      </a:cubicBezTo>
                      <a:cubicBezTo>
                        <a:pt x="88477" y="53431"/>
                        <a:pt x="71713" y="74990"/>
                        <a:pt x="67056" y="101237"/>
                      </a:cubicBezTo>
                      <a:cubicBezTo>
                        <a:pt x="65193" y="106861"/>
                        <a:pt x="61468" y="111548"/>
                        <a:pt x="55880" y="114360"/>
                      </a:cubicBezTo>
                      <a:cubicBezTo>
                        <a:pt x="24215" y="131233"/>
                        <a:pt x="3725" y="162167"/>
                        <a:pt x="1863" y="197787"/>
                      </a:cubicBezTo>
                      <a:lnTo>
                        <a:pt x="931" y="207161"/>
                      </a:lnTo>
                      <a:lnTo>
                        <a:pt x="0" y="217472"/>
                      </a:lnTo>
                      <a:lnTo>
                        <a:pt x="84751" y="217472"/>
                      </a:lnTo>
                      <a:lnTo>
                        <a:pt x="84751" y="351518"/>
                      </a:lnTo>
                      <a:cubicBezTo>
                        <a:pt x="85683" y="361829"/>
                        <a:pt x="91271" y="371203"/>
                        <a:pt x="101515" y="375890"/>
                      </a:cubicBezTo>
                      <a:cubicBezTo>
                        <a:pt x="106172" y="378702"/>
                        <a:pt x="110829" y="380577"/>
                        <a:pt x="116417" y="382451"/>
                      </a:cubicBezTo>
                      <a:cubicBezTo>
                        <a:pt x="122005" y="384326"/>
                        <a:pt x="127593" y="385264"/>
                        <a:pt x="134112" y="387138"/>
                      </a:cubicBezTo>
                      <a:cubicBezTo>
                        <a:pt x="152739" y="390888"/>
                        <a:pt x="172297" y="392763"/>
                        <a:pt x="190923" y="393700"/>
                      </a:cubicBezTo>
                      <a:cubicBezTo>
                        <a:pt x="196511" y="393700"/>
                        <a:pt x="203031" y="393700"/>
                        <a:pt x="208619" y="393700"/>
                      </a:cubicBezTo>
                      <a:cubicBezTo>
                        <a:pt x="217001" y="393700"/>
                        <a:pt x="226314" y="393700"/>
                        <a:pt x="235627" y="392763"/>
                      </a:cubicBezTo>
                      <a:cubicBezTo>
                        <a:pt x="260773" y="390888"/>
                        <a:pt x="296164" y="387138"/>
                        <a:pt x="314791" y="374952"/>
                      </a:cubicBezTo>
                      <a:cubicBezTo>
                        <a:pt x="316653" y="374015"/>
                        <a:pt x="319447" y="372140"/>
                        <a:pt x="321310" y="370265"/>
                      </a:cubicBezTo>
                      <a:cubicBezTo>
                        <a:pt x="327829" y="365579"/>
                        <a:pt x="331555" y="358080"/>
                        <a:pt x="331555" y="350581"/>
                      </a:cubicBezTo>
                      <a:lnTo>
                        <a:pt x="331555" y="217472"/>
                      </a:lnTo>
                      <a:lnTo>
                        <a:pt x="399542" y="217472"/>
                      </a:lnTo>
                      <a:lnTo>
                        <a:pt x="402336" y="212785"/>
                      </a:lnTo>
                      <a:lnTo>
                        <a:pt x="405130" y="208099"/>
                      </a:lnTo>
                      <a:cubicBezTo>
                        <a:pt x="428413" y="159355"/>
                        <a:pt x="410718" y="99362"/>
                        <a:pt x="362289" y="74053"/>
                      </a:cubicBezTo>
                      <a:cubicBezTo>
                        <a:pt x="354838" y="69366"/>
                        <a:pt x="345525" y="66554"/>
                        <a:pt x="337143" y="64679"/>
                      </a:cubicBezTo>
                      <a:cubicBezTo>
                        <a:pt x="331555" y="63742"/>
                        <a:pt x="325967" y="59055"/>
                        <a:pt x="323173" y="54368"/>
                      </a:cubicBezTo>
                      <a:cubicBezTo>
                        <a:pt x="307340" y="20622"/>
                        <a:pt x="273812" y="0"/>
                        <a:pt x="237490" y="0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9313" cap="flat">
                  <a:noFill/>
                  <a:prstDash val="solid"/>
                  <a:miter/>
                </a:ln>
              </p:spPr>
              <p:txBody>
                <a:bodyPr wrap="none" lIns="0" tIns="0" rIns="0" bIns="0" rtlCol="0" anchor="ctr"/>
                <a:lstStyle/>
                <a:p>
                  <a:pPr>
                    <a:lnSpc>
                      <a:spcPct val="85000"/>
                    </a:lnSpc>
                  </a:pPr>
                  <a:endParaRPr lang="en-US" sz="800"/>
                </a:p>
              </p:txBody>
            </p:sp>
            <p:sp>
              <p:nvSpPr>
                <p:cNvPr id="25" name="Freeform 11">
                  <a:extLst>
                    <a:ext uri="{FF2B5EF4-FFF2-40B4-BE49-F238E27FC236}">
                      <a16:creationId xmlns:a16="http://schemas.microsoft.com/office/drawing/2014/main" id="{76B4098A-D894-45B4-B9F3-5C7D0562D7BD}"/>
                    </a:ext>
                  </a:extLst>
                </p:cNvPr>
                <p:cNvSpPr/>
                <p:nvPr/>
              </p:nvSpPr>
              <p:spPr>
                <a:xfrm>
                  <a:off x="7171459" y="2970480"/>
                  <a:ext cx="395230" cy="198724"/>
                </a:xfrm>
                <a:custGeom>
                  <a:avLst/>
                  <a:gdLst>
                    <a:gd name="connsiteX0" fmla="*/ 353907 w 395230"/>
                    <a:gd name="connsiteY0" fmla="*/ 75928 h 198724"/>
                    <a:gd name="connsiteX1" fmla="*/ 325967 w 395230"/>
                    <a:gd name="connsiteY1" fmla="*/ 64679 h 198724"/>
                    <a:gd name="connsiteX2" fmla="*/ 306409 w 395230"/>
                    <a:gd name="connsiteY2" fmla="*/ 48744 h 198724"/>
                    <a:gd name="connsiteX3" fmla="*/ 228177 w 395230"/>
                    <a:gd name="connsiteY3" fmla="*/ 0 h 198724"/>
                    <a:gd name="connsiteX4" fmla="*/ 163915 w 395230"/>
                    <a:gd name="connsiteY4" fmla="*/ 28121 h 198724"/>
                    <a:gd name="connsiteX5" fmla="*/ 140631 w 395230"/>
                    <a:gd name="connsiteY5" fmla="*/ 36558 h 198724"/>
                    <a:gd name="connsiteX6" fmla="*/ 65193 w 395230"/>
                    <a:gd name="connsiteY6" fmla="*/ 92801 h 198724"/>
                    <a:gd name="connsiteX7" fmla="*/ 50292 w 395230"/>
                    <a:gd name="connsiteY7" fmla="*/ 112486 h 198724"/>
                    <a:gd name="connsiteX8" fmla="*/ 931 w 395230"/>
                    <a:gd name="connsiteY8" fmla="*/ 189351 h 198724"/>
                    <a:gd name="connsiteX9" fmla="*/ 0 w 395230"/>
                    <a:gd name="connsiteY9" fmla="*/ 198725 h 198724"/>
                    <a:gd name="connsiteX10" fmla="*/ 74507 w 395230"/>
                    <a:gd name="connsiteY10" fmla="*/ 198725 h 198724"/>
                    <a:gd name="connsiteX11" fmla="*/ 74507 w 395230"/>
                    <a:gd name="connsiteY11" fmla="*/ 181852 h 198724"/>
                    <a:gd name="connsiteX12" fmla="*/ 18627 w 395230"/>
                    <a:gd name="connsiteY12" fmla="*/ 181852 h 198724"/>
                    <a:gd name="connsiteX13" fmla="*/ 57743 w 395230"/>
                    <a:gd name="connsiteY13" fmla="*/ 128421 h 198724"/>
                    <a:gd name="connsiteX14" fmla="*/ 81026 w 395230"/>
                    <a:gd name="connsiteY14" fmla="*/ 96550 h 198724"/>
                    <a:gd name="connsiteX15" fmla="*/ 137837 w 395230"/>
                    <a:gd name="connsiteY15" fmla="*/ 53431 h 198724"/>
                    <a:gd name="connsiteX16" fmla="*/ 175091 w 395230"/>
                    <a:gd name="connsiteY16" fmla="*/ 39370 h 198724"/>
                    <a:gd name="connsiteX17" fmla="*/ 273812 w 395230"/>
                    <a:gd name="connsiteY17" fmla="*/ 35620 h 198724"/>
                    <a:gd name="connsiteX18" fmla="*/ 288713 w 395230"/>
                    <a:gd name="connsiteY18" fmla="*/ 55305 h 198724"/>
                    <a:gd name="connsiteX19" fmla="*/ 320379 w 395230"/>
                    <a:gd name="connsiteY19" fmla="*/ 79677 h 198724"/>
                    <a:gd name="connsiteX20" fmla="*/ 343662 w 395230"/>
                    <a:gd name="connsiteY20" fmla="*/ 89051 h 198724"/>
                    <a:gd name="connsiteX21" fmla="*/ 370671 w 395230"/>
                    <a:gd name="connsiteY21" fmla="*/ 179977 h 198724"/>
                    <a:gd name="connsiteX22" fmla="*/ 318516 w 395230"/>
                    <a:gd name="connsiteY22" fmla="*/ 179977 h 198724"/>
                    <a:gd name="connsiteX23" fmla="*/ 318516 w 395230"/>
                    <a:gd name="connsiteY23" fmla="*/ 196850 h 198724"/>
                    <a:gd name="connsiteX24" fmla="*/ 380915 w 395230"/>
                    <a:gd name="connsiteY24" fmla="*/ 196850 h 198724"/>
                    <a:gd name="connsiteX25" fmla="*/ 383709 w 395230"/>
                    <a:gd name="connsiteY25" fmla="*/ 192163 h 198724"/>
                    <a:gd name="connsiteX26" fmla="*/ 353907 w 395230"/>
                    <a:gd name="connsiteY26" fmla="*/ 75928 h 19872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</a:cxnLst>
                  <a:rect l="l" t="t" r="r" b="b"/>
                  <a:pathLst>
                    <a:path w="395230" h="198724">
                      <a:moveTo>
                        <a:pt x="353907" y="75928"/>
                      </a:moveTo>
                      <a:cubicBezTo>
                        <a:pt x="345525" y="70304"/>
                        <a:pt x="336211" y="66554"/>
                        <a:pt x="325967" y="64679"/>
                      </a:cubicBezTo>
                      <a:cubicBezTo>
                        <a:pt x="317585" y="62805"/>
                        <a:pt x="310134" y="57180"/>
                        <a:pt x="306409" y="48744"/>
                      </a:cubicBezTo>
                      <a:cubicBezTo>
                        <a:pt x="291507" y="18748"/>
                        <a:pt x="260773" y="0"/>
                        <a:pt x="228177" y="0"/>
                      </a:cubicBezTo>
                      <a:cubicBezTo>
                        <a:pt x="203962" y="0"/>
                        <a:pt x="180679" y="10311"/>
                        <a:pt x="163915" y="28121"/>
                      </a:cubicBezTo>
                      <a:cubicBezTo>
                        <a:pt x="158327" y="34683"/>
                        <a:pt x="149013" y="37495"/>
                        <a:pt x="140631" y="36558"/>
                      </a:cubicBezTo>
                      <a:cubicBezTo>
                        <a:pt x="105241" y="32808"/>
                        <a:pt x="72644" y="57180"/>
                        <a:pt x="65193" y="92801"/>
                      </a:cubicBezTo>
                      <a:cubicBezTo>
                        <a:pt x="63331" y="101237"/>
                        <a:pt x="57743" y="108736"/>
                        <a:pt x="50292" y="112486"/>
                      </a:cubicBezTo>
                      <a:cubicBezTo>
                        <a:pt x="21421" y="127484"/>
                        <a:pt x="2794" y="156543"/>
                        <a:pt x="931" y="189351"/>
                      </a:cubicBezTo>
                      <a:lnTo>
                        <a:pt x="0" y="198725"/>
                      </a:lnTo>
                      <a:lnTo>
                        <a:pt x="74507" y="198725"/>
                      </a:lnTo>
                      <a:lnTo>
                        <a:pt x="74507" y="181852"/>
                      </a:lnTo>
                      <a:lnTo>
                        <a:pt x="18627" y="181852"/>
                      </a:lnTo>
                      <a:cubicBezTo>
                        <a:pt x="23283" y="159355"/>
                        <a:pt x="37253" y="139670"/>
                        <a:pt x="57743" y="128421"/>
                      </a:cubicBezTo>
                      <a:cubicBezTo>
                        <a:pt x="69850" y="121860"/>
                        <a:pt x="79163" y="110611"/>
                        <a:pt x="81026" y="96550"/>
                      </a:cubicBezTo>
                      <a:cubicBezTo>
                        <a:pt x="86614" y="69366"/>
                        <a:pt x="110829" y="50619"/>
                        <a:pt x="137837" y="53431"/>
                      </a:cubicBezTo>
                      <a:cubicBezTo>
                        <a:pt x="151807" y="55305"/>
                        <a:pt x="165777" y="49681"/>
                        <a:pt x="175091" y="39370"/>
                      </a:cubicBezTo>
                      <a:cubicBezTo>
                        <a:pt x="201168" y="11249"/>
                        <a:pt x="245872" y="9374"/>
                        <a:pt x="273812" y="35620"/>
                      </a:cubicBezTo>
                      <a:cubicBezTo>
                        <a:pt x="280331" y="41245"/>
                        <a:pt x="284988" y="47806"/>
                        <a:pt x="288713" y="55305"/>
                      </a:cubicBezTo>
                      <a:cubicBezTo>
                        <a:pt x="295233" y="67491"/>
                        <a:pt x="306409" y="76865"/>
                        <a:pt x="320379" y="79677"/>
                      </a:cubicBezTo>
                      <a:cubicBezTo>
                        <a:pt x="328761" y="81552"/>
                        <a:pt x="336211" y="84364"/>
                        <a:pt x="343662" y="89051"/>
                      </a:cubicBezTo>
                      <a:cubicBezTo>
                        <a:pt x="374396" y="108736"/>
                        <a:pt x="385572" y="147169"/>
                        <a:pt x="370671" y="179977"/>
                      </a:cubicBezTo>
                      <a:lnTo>
                        <a:pt x="318516" y="179977"/>
                      </a:lnTo>
                      <a:lnTo>
                        <a:pt x="318516" y="196850"/>
                      </a:lnTo>
                      <a:lnTo>
                        <a:pt x="380915" y="196850"/>
                      </a:lnTo>
                      <a:lnTo>
                        <a:pt x="383709" y="192163"/>
                      </a:lnTo>
                      <a:cubicBezTo>
                        <a:pt x="406993" y="152793"/>
                        <a:pt x="393954" y="100300"/>
                        <a:pt x="353907" y="75928"/>
                      </a:cubicBezTo>
                      <a:close/>
                    </a:path>
                  </a:pathLst>
                </a:custGeom>
                <a:solidFill>
                  <a:schemeClr val="tx1"/>
                </a:solidFill>
                <a:ln w="9313" cap="flat">
                  <a:noFill/>
                  <a:prstDash val="solid"/>
                  <a:miter/>
                </a:ln>
              </p:spPr>
              <p:txBody>
                <a:bodyPr wrap="none" lIns="0" tIns="0" rIns="0" bIns="0" rtlCol="0" anchor="ctr"/>
                <a:lstStyle/>
                <a:p>
                  <a:pPr>
                    <a:lnSpc>
                      <a:spcPct val="85000"/>
                    </a:lnSpc>
                  </a:pPr>
                  <a:endParaRPr lang="en-US" sz="800"/>
                </a:p>
              </p:txBody>
            </p:sp>
            <p:sp>
              <p:nvSpPr>
                <p:cNvPr id="26" name="Freeform 12">
                  <a:extLst>
                    <a:ext uri="{FF2B5EF4-FFF2-40B4-BE49-F238E27FC236}">
                      <a16:creationId xmlns:a16="http://schemas.microsoft.com/office/drawing/2014/main" id="{306F8397-A4E6-4E94-86B5-B2944B0D2AF0}"/>
                    </a:ext>
                  </a:extLst>
                </p:cNvPr>
                <p:cNvSpPr/>
                <p:nvPr/>
              </p:nvSpPr>
              <p:spPr>
                <a:xfrm>
                  <a:off x="7256210" y="3089528"/>
                  <a:ext cx="226314" cy="254967"/>
                </a:xfrm>
                <a:custGeom>
                  <a:avLst/>
                  <a:gdLst>
                    <a:gd name="connsiteX0" fmla="*/ 226314 w 226314"/>
                    <a:gd name="connsiteY0" fmla="*/ 36558 h 254967"/>
                    <a:gd name="connsiteX1" fmla="*/ 226314 w 226314"/>
                    <a:gd name="connsiteY1" fmla="*/ 36558 h 254967"/>
                    <a:gd name="connsiteX2" fmla="*/ 226314 w 226314"/>
                    <a:gd name="connsiteY2" fmla="*/ 34683 h 254967"/>
                    <a:gd name="connsiteX3" fmla="*/ 219795 w 226314"/>
                    <a:gd name="connsiteY3" fmla="*/ 21560 h 254967"/>
                    <a:gd name="connsiteX4" fmla="*/ 215138 w 226314"/>
                    <a:gd name="connsiteY4" fmla="*/ 17810 h 254967"/>
                    <a:gd name="connsiteX5" fmla="*/ 139700 w 226314"/>
                    <a:gd name="connsiteY5" fmla="*/ 937 h 254967"/>
                    <a:gd name="connsiteX6" fmla="*/ 113623 w 226314"/>
                    <a:gd name="connsiteY6" fmla="*/ 0 h 254967"/>
                    <a:gd name="connsiteX7" fmla="*/ 96859 w 226314"/>
                    <a:gd name="connsiteY7" fmla="*/ 0 h 254967"/>
                    <a:gd name="connsiteX8" fmla="*/ 40979 w 226314"/>
                    <a:gd name="connsiteY8" fmla="*/ 6562 h 254967"/>
                    <a:gd name="connsiteX9" fmla="*/ 25146 w 226314"/>
                    <a:gd name="connsiteY9" fmla="*/ 11249 h 254967"/>
                    <a:gd name="connsiteX10" fmla="*/ 12107 w 226314"/>
                    <a:gd name="connsiteY10" fmla="*/ 16873 h 254967"/>
                    <a:gd name="connsiteX11" fmla="*/ 0 w 226314"/>
                    <a:gd name="connsiteY11" fmla="*/ 33746 h 254967"/>
                    <a:gd name="connsiteX12" fmla="*/ 0 w 226314"/>
                    <a:gd name="connsiteY12" fmla="*/ 34683 h 254967"/>
                    <a:gd name="connsiteX13" fmla="*/ 0 w 226314"/>
                    <a:gd name="connsiteY13" fmla="*/ 35620 h 254967"/>
                    <a:gd name="connsiteX14" fmla="*/ 0 w 226314"/>
                    <a:gd name="connsiteY14" fmla="*/ 222159 h 254967"/>
                    <a:gd name="connsiteX15" fmla="*/ 12107 w 226314"/>
                    <a:gd name="connsiteY15" fmla="*/ 238095 h 254967"/>
                    <a:gd name="connsiteX16" fmla="*/ 25146 w 226314"/>
                    <a:gd name="connsiteY16" fmla="*/ 243719 h 254967"/>
                    <a:gd name="connsiteX17" fmla="*/ 40979 w 226314"/>
                    <a:gd name="connsiteY17" fmla="*/ 248406 h 254967"/>
                    <a:gd name="connsiteX18" fmla="*/ 96859 w 226314"/>
                    <a:gd name="connsiteY18" fmla="*/ 254968 h 254967"/>
                    <a:gd name="connsiteX19" fmla="*/ 113623 w 226314"/>
                    <a:gd name="connsiteY19" fmla="*/ 254968 h 254967"/>
                    <a:gd name="connsiteX20" fmla="*/ 139700 w 226314"/>
                    <a:gd name="connsiteY20" fmla="*/ 254030 h 254967"/>
                    <a:gd name="connsiteX21" fmla="*/ 215138 w 226314"/>
                    <a:gd name="connsiteY21" fmla="*/ 238095 h 254967"/>
                    <a:gd name="connsiteX22" fmla="*/ 219795 w 226314"/>
                    <a:gd name="connsiteY22" fmla="*/ 234345 h 254967"/>
                    <a:gd name="connsiteX23" fmla="*/ 226314 w 226314"/>
                    <a:gd name="connsiteY23" fmla="*/ 221222 h 254967"/>
                    <a:gd name="connsiteX24" fmla="*/ 226314 w 226314"/>
                    <a:gd name="connsiteY24" fmla="*/ 36558 h 254967"/>
                    <a:gd name="connsiteX25" fmla="*/ 113623 w 226314"/>
                    <a:gd name="connsiteY25" fmla="*/ 15935 h 254967"/>
                    <a:gd name="connsiteX26" fmla="*/ 211413 w 226314"/>
                    <a:gd name="connsiteY26" fmla="*/ 34683 h 254967"/>
                    <a:gd name="connsiteX27" fmla="*/ 113623 w 226314"/>
                    <a:gd name="connsiteY27" fmla="*/ 53431 h 254967"/>
                    <a:gd name="connsiteX28" fmla="*/ 15833 w 226314"/>
                    <a:gd name="connsiteY28" fmla="*/ 34683 h 254967"/>
                    <a:gd name="connsiteX29" fmla="*/ 113623 w 226314"/>
                    <a:gd name="connsiteY29" fmla="*/ 15935 h 254967"/>
                    <a:gd name="connsiteX30" fmla="*/ 14901 w 226314"/>
                    <a:gd name="connsiteY30" fmla="*/ 53431 h 254967"/>
                    <a:gd name="connsiteX31" fmla="*/ 113623 w 226314"/>
                    <a:gd name="connsiteY31" fmla="*/ 68429 h 254967"/>
                    <a:gd name="connsiteX32" fmla="*/ 211413 w 226314"/>
                    <a:gd name="connsiteY32" fmla="*/ 53431 h 254967"/>
                    <a:gd name="connsiteX33" fmla="*/ 211413 w 226314"/>
                    <a:gd name="connsiteY33" fmla="*/ 98425 h 254967"/>
                    <a:gd name="connsiteX34" fmla="*/ 113623 w 226314"/>
                    <a:gd name="connsiteY34" fmla="*/ 116235 h 254967"/>
                    <a:gd name="connsiteX35" fmla="*/ 14901 w 226314"/>
                    <a:gd name="connsiteY35" fmla="*/ 98425 h 254967"/>
                    <a:gd name="connsiteX36" fmla="*/ 14901 w 226314"/>
                    <a:gd name="connsiteY36" fmla="*/ 53431 h 254967"/>
                    <a:gd name="connsiteX37" fmla="*/ 211413 w 226314"/>
                    <a:gd name="connsiteY37" fmla="*/ 117173 h 254967"/>
                    <a:gd name="connsiteX38" fmla="*/ 211413 w 226314"/>
                    <a:gd name="connsiteY38" fmla="*/ 160292 h 254967"/>
                    <a:gd name="connsiteX39" fmla="*/ 113623 w 226314"/>
                    <a:gd name="connsiteY39" fmla="*/ 178102 h 254967"/>
                    <a:gd name="connsiteX40" fmla="*/ 15833 w 226314"/>
                    <a:gd name="connsiteY40" fmla="*/ 159355 h 254967"/>
                    <a:gd name="connsiteX41" fmla="*/ 15833 w 226314"/>
                    <a:gd name="connsiteY41" fmla="*/ 116235 h 254967"/>
                    <a:gd name="connsiteX42" fmla="*/ 113623 w 226314"/>
                    <a:gd name="connsiteY42" fmla="*/ 131233 h 254967"/>
                    <a:gd name="connsiteX43" fmla="*/ 211413 w 226314"/>
                    <a:gd name="connsiteY43" fmla="*/ 117173 h 254967"/>
                    <a:gd name="connsiteX44" fmla="*/ 211413 w 226314"/>
                    <a:gd name="connsiteY44" fmla="*/ 117173 h 254967"/>
                    <a:gd name="connsiteX45" fmla="*/ 113623 w 226314"/>
                    <a:gd name="connsiteY45" fmla="*/ 240907 h 254967"/>
                    <a:gd name="connsiteX46" fmla="*/ 15833 w 226314"/>
                    <a:gd name="connsiteY46" fmla="*/ 223097 h 254967"/>
                    <a:gd name="connsiteX47" fmla="*/ 15833 w 226314"/>
                    <a:gd name="connsiteY47" fmla="*/ 179040 h 254967"/>
                    <a:gd name="connsiteX48" fmla="*/ 113623 w 226314"/>
                    <a:gd name="connsiteY48" fmla="*/ 194038 h 254967"/>
                    <a:gd name="connsiteX49" fmla="*/ 211413 w 226314"/>
                    <a:gd name="connsiteY49" fmla="*/ 179040 h 254967"/>
                    <a:gd name="connsiteX50" fmla="*/ 211413 w 226314"/>
                    <a:gd name="connsiteY50" fmla="*/ 223097 h 254967"/>
                    <a:gd name="connsiteX51" fmla="*/ 113623 w 226314"/>
                    <a:gd name="connsiteY51" fmla="*/ 240907 h 25496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</a:cxnLst>
                  <a:rect l="l" t="t" r="r" b="b"/>
                  <a:pathLst>
                    <a:path w="226314" h="254967">
                      <a:moveTo>
                        <a:pt x="226314" y="36558"/>
                      </a:moveTo>
                      <a:cubicBezTo>
                        <a:pt x="226314" y="36558"/>
                        <a:pt x="226314" y="35620"/>
                        <a:pt x="226314" y="36558"/>
                      </a:cubicBezTo>
                      <a:cubicBezTo>
                        <a:pt x="226314" y="35620"/>
                        <a:pt x="226314" y="34683"/>
                        <a:pt x="226314" y="34683"/>
                      </a:cubicBezTo>
                      <a:cubicBezTo>
                        <a:pt x="226314" y="29059"/>
                        <a:pt x="223520" y="24372"/>
                        <a:pt x="219795" y="21560"/>
                      </a:cubicBezTo>
                      <a:cubicBezTo>
                        <a:pt x="217932" y="20622"/>
                        <a:pt x="217001" y="18748"/>
                        <a:pt x="215138" y="17810"/>
                      </a:cubicBezTo>
                      <a:cubicBezTo>
                        <a:pt x="198374" y="7499"/>
                        <a:pt x="167640" y="2812"/>
                        <a:pt x="139700" y="937"/>
                      </a:cubicBezTo>
                      <a:cubicBezTo>
                        <a:pt x="130387" y="0"/>
                        <a:pt x="121073" y="0"/>
                        <a:pt x="113623" y="0"/>
                      </a:cubicBezTo>
                      <a:cubicBezTo>
                        <a:pt x="108035" y="0"/>
                        <a:pt x="102447" y="0"/>
                        <a:pt x="96859" y="0"/>
                      </a:cubicBezTo>
                      <a:cubicBezTo>
                        <a:pt x="78232" y="937"/>
                        <a:pt x="59605" y="2812"/>
                        <a:pt x="40979" y="6562"/>
                      </a:cubicBezTo>
                      <a:cubicBezTo>
                        <a:pt x="35391" y="7499"/>
                        <a:pt x="29803" y="9374"/>
                        <a:pt x="25146" y="11249"/>
                      </a:cubicBezTo>
                      <a:cubicBezTo>
                        <a:pt x="20489" y="13123"/>
                        <a:pt x="15833" y="14998"/>
                        <a:pt x="12107" y="16873"/>
                      </a:cubicBezTo>
                      <a:cubicBezTo>
                        <a:pt x="5588" y="19685"/>
                        <a:pt x="931" y="26247"/>
                        <a:pt x="0" y="33746"/>
                      </a:cubicBezTo>
                      <a:cubicBezTo>
                        <a:pt x="0" y="33746"/>
                        <a:pt x="0" y="34683"/>
                        <a:pt x="0" y="34683"/>
                      </a:cubicBezTo>
                      <a:cubicBezTo>
                        <a:pt x="0" y="34683"/>
                        <a:pt x="0" y="35620"/>
                        <a:pt x="0" y="35620"/>
                      </a:cubicBezTo>
                      <a:lnTo>
                        <a:pt x="0" y="222159"/>
                      </a:lnTo>
                      <a:cubicBezTo>
                        <a:pt x="931" y="229658"/>
                        <a:pt x="5588" y="235283"/>
                        <a:pt x="12107" y="238095"/>
                      </a:cubicBezTo>
                      <a:cubicBezTo>
                        <a:pt x="15833" y="240907"/>
                        <a:pt x="20489" y="242782"/>
                        <a:pt x="25146" y="243719"/>
                      </a:cubicBezTo>
                      <a:cubicBezTo>
                        <a:pt x="30734" y="245594"/>
                        <a:pt x="35391" y="246531"/>
                        <a:pt x="40979" y="248406"/>
                      </a:cubicBezTo>
                      <a:cubicBezTo>
                        <a:pt x="59605" y="252155"/>
                        <a:pt x="78232" y="254030"/>
                        <a:pt x="96859" y="254968"/>
                      </a:cubicBezTo>
                      <a:lnTo>
                        <a:pt x="113623" y="254968"/>
                      </a:lnTo>
                      <a:cubicBezTo>
                        <a:pt x="122005" y="254968"/>
                        <a:pt x="130387" y="254968"/>
                        <a:pt x="139700" y="254030"/>
                      </a:cubicBezTo>
                      <a:cubicBezTo>
                        <a:pt x="167640" y="252155"/>
                        <a:pt x="198374" y="247469"/>
                        <a:pt x="215138" y="238095"/>
                      </a:cubicBezTo>
                      <a:cubicBezTo>
                        <a:pt x="217001" y="237157"/>
                        <a:pt x="218863" y="236220"/>
                        <a:pt x="219795" y="234345"/>
                      </a:cubicBezTo>
                      <a:cubicBezTo>
                        <a:pt x="223520" y="231533"/>
                        <a:pt x="226314" y="226846"/>
                        <a:pt x="226314" y="221222"/>
                      </a:cubicBezTo>
                      <a:lnTo>
                        <a:pt x="226314" y="36558"/>
                      </a:lnTo>
                      <a:close/>
                      <a:moveTo>
                        <a:pt x="113623" y="15935"/>
                      </a:moveTo>
                      <a:cubicBezTo>
                        <a:pt x="173228" y="15935"/>
                        <a:pt x="208619" y="28121"/>
                        <a:pt x="211413" y="34683"/>
                      </a:cubicBezTo>
                      <a:cubicBezTo>
                        <a:pt x="208619" y="41245"/>
                        <a:pt x="173228" y="53431"/>
                        <a:pt x="113623" y="53431"/>
                      </a:cubicBezTo>
                      <a:cubicBezTo>
                        <a:pt x="54017" y="53431"/>
                        <a:pt x="18627" y="41245"/>
                        <a:pt x="15833" y="34683"/>
                      </a:cubicBezTo>
                      <a:cubicBezTo>
                        <a:pt x="18627" y="28121"/>
                        <a:pt x="54017" y="15935"/>
                        <a:pt x="113623" y="15935"/>
                      </a:cubicBezTo>
                      <a:close/>
                      <a:moveTo>
                        <a:pt x="14901" y="53431"/>
                      </a:moveTo>
                      <a:cubicBezTo>
                        <a:pt x="38185" y="64679"/>
                        <a:pt x="82889" y="68429"/>
                        <a:pt x="113623" y="68429"/>
                      </a:cubicBezTo>
                      <a:cubicBezTo>
                        <a:pt x="144357" y="68429"/>
                        <a:pt x="188129" y="64679"/>
                        <a:pt x="211413" y="53431"/>
                      </a:cubicBezTo>
                      <a:lnTo>
                        <a:pt x="211413" y="98425"/>
                      </a:lnTo>
                      <a:cubicBezTo>
                        <a:pt x="209550" y="102175"/>
                        <a:pt x="181610" y="116235"/>
                        <a:pt x="113623" y="116235"/>
                      </a:cubicBezTo>
                      <a:cubicBezTo>
                        <a:pt x="45635" y="116235"/>
                        <a:pt x="17695" y="103112"/>
                        <a:pt x="14901" y="98425"/>
                      </a:cubicBezTo>
                      <a:lnTo>
                        <a:pt x="14901" y="53431"/>
                      </a:lnTo>
                      <a:close/>
                      <a:moveTo>
                        <a:pt x="211413" y="117173"/>
                      </a:moveTo>
                      <a:lnTo>
                        <a:pt x="211413" y="160292"/>
                      </a:lnTo>
                      <a:cubicBezTo>
                        <a:pt x="209550" y="164979"/>
                        <a:pt x="181610" y="178102"/>
                        <a:pt x="113623" y="178102"/>
                      </a:cubicBezTo>
                      <a:cubicBezTo>
                        <a:pt x="45635" y="178102"/>
                        <a:pt x="17695" y="164042"/>
                        <a:pt x="15833" y="159355"/>
                      </a:cubicBezTo>
                      <a:lnTo>
                        <a:pt x="15833" y="116235"/>
                      </a:lnTo>
                      <a:cubicBezTo>
                        <a:pt x="39116" y="127484"/>
                        <a:pt x="83820" y="131233"/>
                        <a:pt x="113623" y="131233"/>
                      </a:cubicBezTo>
                      <a:cubicBezTo>
                        <a:pt x="143425" y="131233"/>
                        <a:pt x="188129" y="128421"/>
                        <a:pt x="211413" y="117173"/>
                      </a:cubicBezTo>
                      <a:lnTo>
                        <a:pt x="211413" y="117173"/>
                      </a:lnTo>
                      <a:close/>
                      <a:moveTo>
                        <a:pt x="113623" y="240907"/>
                      </a:moveTo>
                      <a:cubicBezTo>
                        <a:pt x="45635" y="240907"/>
                        <a:pt x="17695" y="226846"/>
                        <a:pt x="15833" y="223097"/>
                      </a:cubicBezTo>
                      <a:lnTo>
                        <a:pt x="15833" y="179040"/>
                      </a:lnTo>
                      <a:cubicBezTo>
                        <a:pt x="39116" y="190288"/>
                        <a:pt x="83820" y="194038"/>
                        <a:pt x="113623" y="194038"/>
                      </a:cubicBezTo>
                      <a:cubicBezTo>
                        <a:pt x="143425" y="194038"/>
                        <a:pt x="188129" y="190288"/>
                        <a:pt x="211413" y="179040"/>
                      </a:cubicBezTo>
                      <a:lnTo>
                        <a:pt x="211413" y="223097"/>
                      </a:lnTo>
                      <a:cubicBezTo>
                        <a:pt x="208619" y="226846"/>
                        <a:pt x="181610" y="240907"/>
                        <a:pt x="113623" y="240907"/>
                      </a:cubicBezTo>
                      <a:close/>
                    </a:path>
                  </a:pathLst>
                </a:custGeom>
                <a:solidFill>
                  <a:schemeClr val="tx1"/>
                </a:solidFill>
                <a:ln w="9313" cap="flat">
                  <a:noFill/>
                  <a:prstDash val="solid"/>
                  <a:miter/>
                </a:ln>
              </p:spPr>
              <p:txBody>
                <a:bodyPr wrap="none" lIns="0" tIns="0" rIns="0" bIns="0" rtlCol="0" anchor="ctr"/>
                <a:lstStyle/>
                <a:p>
                  <a:pPr>
                    <a:lnSpc>
                      <a:spcPct val="85000"/>
                    </a:lnSpc>
                  </a:pPr>
                  <a:endParaRPr lang="en-US" sz="800"/>
                </a:p>
              </p:txBody>
            </p:sp>
          </p:grpSp>
          <p:sp>
            <p:nvSpPr>
              <p:cNvPr id="22" name="TextBox 21">
                <a:extLst>
                  <a:ext uri="{FF2B5EF4-FFF2-40B4-BE49-F238E27FC236}">
                    <a16:creationId xmlns:a16="http://schemas.microsoft.com/office/drawing/2014/main" id="{2252CC57-D2E3-4541-A633-231827144486}"/>
                  </a:ext>
                </a:extLst>
              </p:cNvPr>
              <p:cNvSpPr txBox="1"/>
              <p:nvPr/>
            </p:nvSpPr>
            <p:spPr>
              <a:xfrm>
                <a:off x="15053895" y="5469867"/>
                <a:ext cx="2567413" cy="678546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algn="ctr">
                  <a:lnSpc>
                    <a:spcPct val="85000"/>
                  </a:lnSpc>
                </a:pPr>
                <a:r>
                  <a:rPr lang="en-US" sz="800" dirty="0"/>
                  <a:t>Enterprise </a:t>
                </a:r>
              </a:p>
              <a:p>
                <a:pPr algn="ctr">
                  <a:lnSpc>
                    <a:spcPct val="85000"/>
                  </a:lnSpc>
                </a:pPr>
                <a:r>
                  <a:rPr lang="en-US" sz="800" dirty="0"/>
                  <a:t>Database Service</a:t>
                </a:r>
              </a:p>
            </p:txBody>
          </p:sp>
        </p:grpSp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8BED6319-F572-42A3-8F82-764940900C9C}"/>
                </a:ext>
              </a:extLst>
            </p:cNvPr>
            <p:cNvGrpSpPr/>
            <p:nvPr/>
          </p:nvGrpSpPr>
          <p:grpSpPr>
            <a:xfrm>
              <a:off x="6391139" y="5550935"/>
              <a:ext cx="791883" cy="574496"/>
              <a:chOff x="15097803" y="10006595"/>
              <a:chExt cx="2628519" cy="1906939"/>
            </a:xfrm>
          </p:grpSpPr>
          <p:grpSp>
            <p:nvGrpSpPr>
              <p:cNvPr id="28" name="Graphic 70">
                <a:extLst>
                  <a:ext uri="{FF2B5EF4-FFF2-40B4-BE49-F238E27FC236}">
                    <a16:creationId xmlns:a16="http://schemas.microsoft.com/office/drawing/2014/main" id="{9BB0F9EC-AC57-4183-9CAB-FE618831A250}"/>
                  </a:ext>
                </a:extLst>
              </p:cNvPr>
              <p:cNvGrpSpPr>
                <a:grpSpLocks noChangeAspect="1"/>
              </p:cNvGrpSpPr>
              <p:nvPr/>
            </p:nvGrpSpPr>
            <p:grpSpPr>
              <a:xfrm>
                <a:off x="15711174" y="10006595"/>
                <a:ext cx="1303209" cy="1137546"/>
                <a:chOff x="7162146" y="2961107"/>
                <a:chExt cx="419100" cy="393700"/>
              </a:xfrm>
            </p:grpSpPr>
            <p:sp>
              <p:nvSpPr>
                <p:cNvPr id="30" name="Freeform 16">
                  <a:extLst>
                    <a:ext uri="{FF2B5EF4-FFF2-40B4-BE49-F238E27FC236}">
                      <a16:creationId xmlns:a16="http://schemas.microsoft.com/office/drawing/2014/main" id="{34FE55E5-8176-4442-B521-9123B3E86B80}"/>
                    </a:ext>
                  </a:extLst>
                </p:cNvPr>
                <p:cNvSpPr/>
                <p:nvPr/>
              </p:nvSpPr>
              <p:spPr>
                <a:xfrm>
                  <a:off x="7167734" y="2965386"/>
                  <a:ext cx="404533" cy="384733"/>
                </a:xfrm>
                <a:custGeom>
                  <a:avLst/>
                  <a:gdLst>
                    <a:gd name="connsiteX0" fmla="*/ 202099 w 404533"/>
                    <a:gd name="connsiteY0" fmla="*/ 384734 h 384733"/>
                    <a:gd name="connsiteX1" fmla="*/ 185335 w 404533"/>
                    <a:gd name="connsiteY1" fmla="*/ 384734 h 384733"/>
                    <a:gd name="connsiteX2" fmla="*/ 128524 w 404533"/>
                    <a:gd name="connsiteY2" fmla="*/ 378172 h 384733"/>
                    <a:gd name="connsiteX3" fmla="*/ 111760 w 404533"/>
                    <a:gd name="connsiteY3" fmla="*/ 373485 h 384733"/>
                    <a:gd name="connsiteX4" fmla="*/ 97790 w 404533"/>
                    <a:gd name="connsiteY4" fmla="*/ 366923 h 384733"/>
                    <a:gd name="connsiteX5" fmla="*/ 83820 w 404533"/>
                    <a:gd name="connsiteY5" fmla="*/ 346301 h 384733"/>
                    <a:gd name="connsiteX6" fmla="*/ 83820 w 404533"/>
                    <a:gd name="connsiteY6" fmla="*/ 208506 h 384733"/>
                    <a:gd name="connsiteX7" fmla="*/ 0 w 404533"/>
                    <a:gd name="connsiteY7" fmla="*/ 208506 h 384733"/>
                    <a:gd name="connsiteX8" fmla="*/ 931 w 404533"/>
                    <a:gd name="connsiteY8" fmla="*/ 194445 h 384733"/>
                    <a:gd name="connsiteX9" fmla="*/ 53086 w 404533"/>
                    <a:gd name="connsiteY9" fmla="*/ 114768 h 384733"/>
                    <a:gd name="connsiteX10" fmla="*/ 65193 w 404533"/>
                    <a:gd name="connsiteY10" fmla="*/ 97895 h 384733"/>
                    <a:gd name="connsiteX11" fmla="*/ 108035 w 404533"/>
                    <a:gd name="connsiteY11" fmla="*/ 43527 h 384733"/>
                    <a:gd name="connsiteX12" fmla="*/ 137837 w 404533"/>
                    <a:gd name="connsiteY12" fmla="*/ 36965 h 384733"/>
                    <a:gd name="connsiteX13" fmla="*/ 145288 w 404533"/>
                    <a:gd name="connsiteY13" fmla="*/ 36965 h 384733"/>
                    <a:gd name="connsiteX14" fmla="*/ 148082 w 404533"/>
                    <a:gd name="connsiteY14" fmla="*/ 36965 h 384733"/>
                    <a:gd name="connsiteX15" fmla="*/ 164846 w 404533"/>
                    <a:gd name="connsiteY15" fmla="*/ 29466 h 384733"/>
                    <a:gd name="connsiteX16" fmla="*/ 294301 w 404533"/>
                    <a:gd name="connsiteY16" fmla="*/ 24779 h 384733"/>
                    <a:gd name="connsiteX17" fmla="*/ 313859 w 404533"/>
                    <a:gd name="connsiteY17" fmla="*/ 51026 h 384733"/>
                    <a:gd name="connsiteX18" fmla="*/ 330623 w 404533"/>
                    <a:gd name="connsiteY18" fmla="*/ 64149 h 384733"/>
                    <a:gd name="connsiteX19" fmla="*/ 402336 w 404533"/>
                    <a:gd name="connsiteY19" fmla="*/ 176635 h 384733"/>
                    <a:gd name="connsiteX20" fmla="*/ 393023 w 404533"/>
                    <a:gd name="connsiteY20" fmla="*/ 201007 h 384733"/>
                    <a:gd name="connsiteX21" fmla="*/ 389297 w 404533"/>
                    <a:gd name="connsiteY21" fmla="*/ 207569 h 384733"/>
                    <a:gd name="connsiteX22" fmla="*/ 319447 w 404533"/>
                    <a:gd name="connsiteY22" fmla="*/ 207569 h 384733"/>
                    <a:gd name="connsiteX23" fmla="*/ 319447 w 404533"/>
                    <a:gd name="connsiteY23" fmla="*/ 346301 h 384733"/>
                    <a:gd name="connsiteX24" fmla="*/ 311065 w 404533"/>
                    <a:gd name="connsiteY24" fmla="*/ 363174 h 384733"/>
                    <a:gd name="connsiteX25" fmla="*/ 305477 w 404533"/>
                    <a:gd name="connsiteY25" fmla="*/ 366923 h 384733"/>
                    <a:gd name="connsiteX26" fmla="*/ 228177 w 404533"/>
                    <a:gd name="connsiteY26" fmla="*/ 383796 h 384733"/>
                    <a:gd name="connsiteX27" fmla="*/ 202099 w 404533"/>
                    <a:gd name="connsiteY27" fmla="*/ 384734 h 3847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</a:cxnLst>
                  <a:rect l="l" t="t" r="r" b="b"/>
                  <a:pathLst>
                    <a:path w="404533" h="384733">
                      <a:moveTo>
                        <a:pt x="202099" y="384734"/>
                      </a:moveTo>
                      <a:lnTo>
                        <a:pt x="185335" y="384734"/>
                      </a:lnTo>
                      <a:cubicBezTo>
                        <a:pt x="166709" y="383796"/>
                        <a:pt x="147151" y="381922"/>
                        <a:pt x="128524" y="378172"/>
                      </a:cubicBezTo>
                      <a:cubicBezTo>
                        <a:pt x="122936" y="377235"/>
                        <a:pt x="117348" y="375360"/>
                        <a:pt x="111760" y="373485"/>
                      </a:cubicBezTo>
                      <a:cubicBezTo>
                        <a:pt x="107103" y="371610"/>
                        <a:pt x="102447" y="369736"/>
                        <a:pt x="97790" y="366923"/>
                      </a:cubicBezTo>
                      <a:cubicBezTo>
                        <a:pt x="89408" y="363174"/>
                        <a:pt x="84751" y="355675"/>
                        <a:pt x="83820" y="346301"/>
                      </a:cubicBezTo>
                      <a:lnTo>
                        <a:pt x="83820" y="208506"/>
                      </a:lnTo>
                      <a:lnTo>
                        <a:pt x="0" y="208506"/>
                      </a:lnTo>
                      <a:lnTo>
                        <a:pt x="931" y="194445"/>
                      </a:lnTo>
                      <a:cubicBezTo>
                        <a:pt x="3725" y="160700"/>
                        <a:pt x="23283" y="129766"/>
                        <a:pt x="53086" y="114768"/>
                      </a:cubicBezTo>
                      <a:cubicBezTo>
                        <a:pt x="59605" y="111018"/>
                        <a:pt x="64262" y="105394"/>
                        <a:pt x="65193" y="97895"/>
                      </a:cubicBezTo>
                      <a:cubicBezTo>
                        <a:pt x="69850" y="73523"/>
                        <a:pt x="85683" y="53838"/>
                        <a:pt x="108035" y="43527"/>
                      </a:cubicBezTo>
                      <a:cubicBezTo>
                        <a:pt x="117348" y="39777"/>
                        <a:pt x="127593" y="36965"/>
                        <a:pt x="137837" y="36965"/>
                      </a:cubicBezTo>
                      <a:cubicBezTo>
                        <a:pt x="139700" y="36965"/>
                        <a:pt x="142494" y="36965"/>
                        <a:pt x="145288" y="36965"/>
                      </a:cubicBezTo>
                      <a:lnTo>
                        <a:pt x="148082" y="36965"/>
                      </a:lnTo>
                      <a:cubicBezTo>
                        <a:pt x="154601" y="36965"/>
                        <a:pt x="160189" y="34153"/>
                        <a:pt x="164846" y="29466"/>
                      </a:cubicBezTo>
                      <a:cubicBezTo>
                        <a:pt x="199305" y="-8029"/>
                        <a:pt x="257048" y="-9904"/>
                        <a:pt x="294301" y="24779"/>
                      </a:cubicBezTo>
                      <a:cubicBezTo>
                        <a:pt x="302683" y="32278"/>
                        <a:pt x="309203" y="40715"/>
                        <a:pt x="313859" y="51026"/>
                      </a:cubicBezTo>
                      <a:cubicBezTo>
                        <a:pt x="317585" y="57588"/>
                        <a:pt x="323173" y="62275"/>
                        <a:pt x="330623" y="64149"/>
                      </a:cubicBezTo>
                      <a:cubicBezTo>
                        <a:pt x="380915" y="75398"/>
                        <a:pt x="413512" y="126016"/>
                        <a:pt x="402336" y="176635"/>
                      </a:cubicBezTo>
                      <a:cubicBezTo>
                        <a:pt x="400473" y="185071"/>
                        <a:pt x="397679" y="193508"/>
                        <a:pt x="393023" y="201007"/>
                      </a:cubicBezTo>
                      <a:lnTo>
                        <a:pt x="389297" y="207569"/>
                      </a:lnTo>
                      <a:lnTo>
                        <a:pt x="319447" y="207569"/>
                      </a:lnTo>
                      <a:lnTo>
                        <a:pt x="319447" y="346301"/>
                      </a:lnTo>
                      <a:cubicBezTo>
                        <a:pt x="319447" y="352863"/>
                        <a:pt x="315722" y="359424"/>
                        <a:pt x="311065" y="363174"/>
                      </a:cubicBezTo>
                      <a:cubicBezTo>
                        <a:pt x="309203" y="364111"/>
                        <a:pt x="307340" y="365986"/>
                        <a:pt x="305477" y="366923"/>
                      </a:cubicBezTo>
                      <a:cubicBezTo>
                        <a:pt x="285919" y="379109"/>
                        <a:pt x="248666" y="382859"/>
                        <a:pt x="228177" y="383796"/>
                      </a:cubicBezTo>
                      <a:cubicBezTo>
                        <a:pt x="218863" y="384734"/>
                        <a:pt x="210481" y="384734"/>
                        <a:pt x="202099" y="384734"/>
                      </a:cubicBezTo>
                      <a:close/>
                    </a:path>
                  </a:pathLst>
                </a:custGeom>
                <a:noFill/>
                <a:ln w="9313" cap="flat">
                  <a:noFill/>
                  <a:prstDash val="solid"/>
                  <a:miter/>
                </a:ln>
              </p:spPr>
              <p:txBody>
                <a:bodyPr wrap="none" lIns="0" tIns="0" rIns="0" bIns="0" rtlCol="0" anchor="ctr"/>
                <a:lstStyle/>
                <a:p>
                  <a:pPr>
                    <a:lnSpc>
                      <a:spcPct val="85000"/>
                    </a:lnSpc>
                  </a:pPr>
                  <a:endParaRPr lang="en-US" sz="800" dirty="0"/>
                </a:p>
              </p:txBody>
            </p:sp>
            <p:sp>
              <p:nvSpPr>
                <p:cNvPr id="31" name="Freeform 17">
                  <a:extLst>
                    <a:ext uri="{FF2B5EF4-FFF2-40B4-BE49-F238E27FC236}">
                      <a16:creationId xmlns:a16="http://schemas.microsoft.com/office/drawing/2014/main" id="{7C924AF1-3829-4D17-8000-DAB4FE6B56A5}"/>
                    </a:ext>
                  </a:extLst>
                </p:cNvPr>
                <p:cNvSpPr/>
                <p:nvPr/>
              </p:nvSpPr>
              <p:spPr>
                <a:xfrm>
                  <a:off x="7162146" y="2961107"/>
                  <a:ext cx="415300" cy="393699"/>
                </a:xfrm>
                <a:custGeom>
                  <a:avLst/>
                  <a:gdLst>
                    <a:gd name="connsiteX0" fmla="*/ 237490 w 415300"/>
                    <a:gd name="connsiteY0" fmla="*/ 9374 h 393699"/>
                    <a:gd name="connsiteX1" fmla="*/ 315722 w 415300"/>
                    <a:gd name="connsiteY1" fmla="*/ 58118 h 393699"/>
                    <a:gd name="connsiteX2" fmla="*/ 335280 w 415300"/>
                    <a:gd name="connsiteY2" fmla="*/ 73116 h 393699"/>
                    <a:gd name="connsiteX3" fmla="*/ 363220 w 415300"/>
                    <a:gd name="connsiteY3" fmla="*/ 84364 h 393699"/>
                    <a:gd name="connsiteX4" fmla="*/ 394885 w 415300"/>
                    <a:gd name="connsiteY4" fmla="*/ 202474 h 393699"/>
                    <a:gd name="connsiteX5" fmla="*/ 392091 w 415300"/>
                    <a:gd name="connsiteY5" fmla="*/ 207161 h 393699"/>
                    <a:gd name="connsiteX6" fmla="*/ 320379 w 415300"/>
                    <a:gd name="connsiteY6" fmla="*/ 207161 h 393699"/>
                    <a:gd name="connsiteX7" fmla="*/ 320379 w 415300"/>
                    <a:gd name="connsiteY7" fmla="*/ 350581 h 393699"/>
                    <a:gd name="connsiteX8" fmla="*/ 313859 w 415300"/>
                    <a:gd name="connsiteY8" fmla="*/ 363704 h 393699"/>
                    <a:gd name="connsiteX9" fmla="*/ 309203 w 415300"/>
                    <a:gd name="connsiteY9" fmla="*/ 367453 h 393699"/>
                    <a:gd name="connsiteX10" fmla="*/ 233765 w 415300"/>
                    <a:gd name="connsiteY10" fmla="*/ 383389 h 393699"/>
                    <a:gd name="connsiteX11" fmla="*/ 207687 w 415300"/>
                    <a:gd name="connsiteY11" fmla="*/ 384326 h 393699"/>
                    <a:gd name="connsiteX12" fmla="*/ 190923 w 415300"/>
                    <a:gd name="connsiteY12" fmla="*/ 384326 h 393699"/>
                    <a:gd name="connsiteX13" fmla="*/ 135043 w 415300"/>
                    <a:gd name="connsiteY13" fmla="*/ 377765 h 393699"/>
                    <a:gd name="connsiteX14" fmla="*/ 119211 w 415300"/>
                    <a:gd name="connsiteY14" fmla="*/ 373078 h 393699"/>
                    <a:gd name="connsiteX15" fmla="*/ 106172 w 415300"/>
                    <a:gd name="connsiteY15" fmla="*/ 367453 h 393699"/>
                    <a:gd name="connsiteX16" fmla="*/ 94065 w 415300"/>
                    <a:gd name="connsiteY16" fmla="*/ 351518 h 393699"/>
                    <a:gd name="connsiteX17" fmla="*/ 94065 w 415300"/>
                    <a:gd name="connsiteY17" fmla="*/ 208099 h 393699"/>
                    <a:gd name="connsiteX18" fmla="*/ 9313 w 415300"/>
                    <a:gd name="connsiteY18" fmla="*/ 208099 h 393699"/>
                    <a:gd name="connsiteX19" fmla="*/ 10245 w 415300"/>
                    <a:gd name="connsiteY19" fmla="*/ 198725 h 393699"/>
                    <a:gd name="connsiteX20" fmla="*/ 59605 w 415300"/>
                    <a:gd name="connsiteY20" fmla="*/ 122797 h 393699"/>
                    <a:gd name="connsiteX21" fmla="*/ 74507 w 415300"/>
                    <a:gd name="connsiteY21" fmla="*/ 103112 h 393699"/>
                    <a:gd name="connsiteX22" fmla="*/ 143425 w 415300"/>
                    <a:gd name="connsiteY22" fmla="*/ 45932 h 393699"/>
                    <a:gd name="connsiteX23" fmla="*/ 149945 w 415300"/>
                    <a:gd name="connsiteY23" fmla="*/ 45932 h 393699"/>
                    <a:gd name="connsiteX24" fmla="*/ 152739 w 415300"/>
                    <a:gd name="connsiteY24" fmla="*/ 45932 h 393699"/>
                    <a:gd name="connsiteX25" fmla="*/ 173228 w 415300"/>
                    <a:gd name="connsiteY25" fmla="*/ 37495 h 393699"/>
                    <a:gd name="connsiteX26" fmla="*/ 237490 w 415300"/>
                    <a:gd name="connsiteY26" fmla="*/ 9374 h 393699"/>
                    <a:gd name="connsiteX27" fmla="*/ 237490 w 415300"/>
                    <a:gd name="connsiteY27" fmla="*/ 0 h 393699"/>
                    <a:gd name="connsiteX28" fmla="*/ 166709 w 415300"/>
                    <a:gd name="connsiteY28" fmla="*/ 30934 h 393699"/>
                    <a:gd name="connsiteX29" fmla="*/ 153670 w 415300"/>
                    <a:gd name="connsiteY29" fmla="*/ 36558 h 393699"/>
                    <a:gd name="connsiteX30" fmla="*/ 151807 w 415300"/>
                    <a:gd name="connsiteY30" fmla="*/ 36558 h 393699"/>
                    <a:gd name="connsiteX31" fmla="*/ 144357 w 415300"/>
                    <a:gd name="connsiteY31" fmla="*/ 36558 h 393699"/>
                    <a:gd name="connsiteX32" fmla="*/ 112691 w 415300"/>
                    <a:gd name="connsiteY32" fmla="*/ 43120 h 393699"/>
                    <a:gd name="connsiteX33" fmla="*/ 67056 w 415300"/>
                    <a:gd name="connsiteY33" fmla="*/ 101237 h 393699"/>
                    <a:gd name="connsiteX34" fmla="*/ 55880 w 415300"/>
                    <a:gd name="connsiteY34" fmla="*/ 114360 h 393699"/>
                    <a:gd name="connsiteX35" fmla="*/ 1863 w 415300"/>
                    <a:gd name="connsiteY35" fmla="*/ 197787 h 393699"/>
                    <a:gd name="connsiteX36" fmla="*/ 931 w 415300"/>
                    <a:gd name="connsiteY36" fmla="*/ 207161 h 393699"/>
                    <a:gd name="connsiteX37" fmla="*/ 0 w 415300"/>
                    <a:gd name="connsiteY37" fmla="*/ 217472 h 393699"/>
                    <a:gd name="connsiteX38" fmla="*/ 84751 w 415300"/>
                    <a:gd name="connsiteY38" fmla="*/ 217472 h 393699"/>
                    <a:gd name="connsiteX39" fmla="*/ 84751 w 415300"/>
                    <a:gd name="connsiteY39" fmla="*/ 351518 h 393699"/>
                    <a:gd name="connsiteX40" fmla="*/ 101515 w 415300"/>
                    <a:gd name="connsiteY40" fmla="*/ 375890 h 393699"/>
                    <a:gd name="connsiteX41" fmla="*/ 116417 w 415300"/>
                    <a:gd name="connsiteY41" fmla="*/ 382451 h 393699"/>
                    <a:gd name="connsiteX42" fmla="*/ 134112 w 415300"/>
                    <a:gd name="connsiteY42" fmla="*/ 387138 h 393699"/>
                    <a:gd name="connsiteX43" fmla="*/ 190923 w 415300"/>
                    <a:gd name="connsiteY43" fmla="*/ 393700 h 393699"/>
                    <a:gd name="connsiteX44" fmla="*/ 208619 w 415300"/>
                    <a:gd name="connsiteY44" fmla="*/ 393700 h 393699"/>
                    <a:gd name="connsiteX45" fmla="*/ 235627 w 415300"/>
                    <a:gd name="connsiteY45" fmla="*/ 392763 h 393699"/>
                    <a:gd name="connsiteX46" fmla="*/ 314791 w 415300"/>
                    <a:gd name="connsiteY46" fmla="*/ 374952 h 393699"/>
                    <a:gd name="connsiteX47" fmla="*/ 321310 w 415300"/>
                    <a:gd name="connsiteY47" fmla="*/ 370265 h 393699"/>
                    <a:gd name="connsiteX48" fmla="*/ 331555 w 415300"/>
                    <a:gd name="connsiteY48" fmla="*/ 350581 h 393699"/>
                    <a:gd name="connsiteX49" fmla="*/ 331555 w 415300"/>
                    <a:gd name="connsiteY49" fmla="*/ 217472 h 393699"/>
                    <a:gd name="connsiteX50" fmla="*/ 399542 w 415300"/>
                    <a:gd name="connsiteY50" fmla="*/ 217472 h 393699"/>
                    <a:gd name="connsiteX51" fmla="*/ 402336 w 415300"/>
                    <a:gd name="connsiteY51" fmla="*/ 212785 h 393699"/>
                    <a:gd name="connsiteX52" fmla="*/ 405130 w 415300"/>
                    <a:gd name="connsiteY52" fmla="*/ 208099 h 393699"/>
                    <a:gd name="connsiteX53" fmla="*/ 362289 w 415300"/>
                    <a:gd name="connsiteY53" fmla="*/ 74053 h 393699"/>
                    <a:gd name="connsiteX54" fmla="*/ 337143 w 415300"/>
                    <a:gd name="connsiteY54" fmla="*/ 64679 h 393699"/>
                    <a:gd name="connsiteX55" fmla="*/ 323173 w 415300"/>
                    <a:gd name="connsiteY55" fmla="*/ 54368 h 393699"/>
                    <a:gd name="connsiteX56" fmla="*/ 237490 w 415300"/>
                    <a:gd name="connsiteY56" fmla="*/ 0 h 39369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</a:cxnLst>
                  <a:rect l="l" t="t" r="r" b="b"/>
                  <a:pathLst>
                    <a:path w="415300" h="393699">
                      <a:moveTo>
                        <a:pt x="237490" y="9374"/>
                      </a:moveTo>
                      <a:cubicBezTo>
                        <a:pt x="270087" y="9374"/>
                        <a:pt x="300821" y="28121"/>
                        <a:pt x="315722" y="58118"/>
                      </a:cubicBezTo>
                      <a:cubicBezTo>
                        <a:pt x="319447" y="65617"/>
                        <a:pt x="326898" y="71241"/>
                        <a:pt x="335280" y="73116"/>
                      </a:cubicBezTo>
                      <a:cubicBezTo>
                        <a:pt x="345525" y="74990"/>
                        <a:pt x="354838" y="79677"/>
                        <a:pt x="363220" y="84364"/>
                      </a:cubicBezTo>
                      <a:cubicBezTo>
                        <a:pt x="403267" y="109674"/>
                        <a:pt x="416306" y="161230"/>
                        <a:pt x="394885" y="202474"/>
                      </a:cubicBezTo>
                      <a:lnTo>
                        <a:pt x="392091" y="207161"/>
                      </a:lnTo>
                      <a:lnTo>
                        <a:pt x="320379" y="207161"/>
                      </a:lnTo>
                      <a:lnTo>
                        <a:pt x="320379" y="350581"/>
                      </a:lnTo>
                      <a:cubicBezTo>
                        <a:pt x="320379" y="355267"/>
                        <a:pt x="317585" y="359954"/>
                        <a:pt x="313859" y="363704"/>
                      </a:cubicBezTo>
                      <a:cubicBezTo>
                        <a:pt x="311997" y="364641"/>
                        <a:pt x="311065" y="366516"/>
                        <a:pt x="309203" y="367453"/>
                      </a:cubicBezTo>
                      <a:cubicBezTo>
                        <a:pt x="292439" y="376827"/>
                        <a:pt x="261705" y="381514"/>
                        <a:pt x="233765" y="383389"/>
                      </a:cubicBezTo>
                      <a:cubicBezTo>
                        <a:pt x="224451" y="384326"/>
                        <a:pt x="215138" y="384326"/>
                        <a:pt x="207687" y="384326"/>
                      </a:cubicBezTo>
                      <a:lnTo>
                        <a:pt x="190923" y="384326"/>
                      </a:lnTo>
                      <a:cubicBezTo>
                        <a:pt x="172297" y="383389"/>
                        <a:pt x="153670" y="381514"/>
                        <a:pt x="135043" y="377765"/>
                      </a:cubicBezTo>
                      <a:cubicBezTo>
                        <a:pt x="129455" y="376827"/>
                        <a:pt x="123867" y="374952"/>
                        <a:pt x="119211" y="373078"/>
                      </a:cubicBezTo>
                      <a:cubicBezTo>
                        <a:pt x="114554" y="371203"/>
                        <a:pt x="109897" y="369328"/>
                        <a:pt x="106172" y="367453"/>
                      </a:cubicBezTo>
                      <a:cubicBezTo>
                        <a:pt x="99653" y="364641"/>
                        <a:pt x="94996" y="358080"/>
                        <a:pt x="94065" y="351518"/>
                      </a:cubicBezTo>
                      <a:lnTo>
                        <a:pt x="94065" y="208099"/>
                      </a:lnTo>
                      <a:lnTo>
                        <a:pt x="9313" y="208099"/>
                      </a:lnTo>
                      <a:lnTo>
                        <a:pt x="10245" y="198725"/>
                      </a:lnTo>
                      <a:cubicBezTo>
                        <a:pt x="13039" y="166854"/>
                        <a:pt x="31665" y="137795"/>
                        <a:pt x="59605" y="122797"/>
                      </a:cubicBezTo>
                      <a:cubicBezTo>
                        <a:pt x="67056" y="119047"/>
                        <a:pt x="73575" y="111548"/>
                        <a:pt x="74507" y="103112"/>
                      </a:cubicBezTo>
                      <a:cubicBezTo>
                        <a:pt x="81026" y="70304"/>
                        <a:pt x="109897" y="45932"/>
                        <a:pt x="143425" y="45932"/>
                      </a:cubicBezTo>
                      <a:cubicBezTo>
                        <a:pt x="145288" y="45932"/>
                        <a:pt x="148082" y="45932"/>
                        <a:pt x="149945" y="45932"/>
                      </a:cubicBezTo>
                      <a:lnTo>
                        <a:pt x="152739" y="45932"/>
                      </a:lnTo>
                      <a:cubicBezTo>
                        <a:pt x="160189" y="45932"/>
                        <a:pt x="167640" y="43120"/>
                        <a:pt x="173228" y="37495"/>
                      </a:cubicBezTo>
                      <a:cubicBezTo>
                        <a:pt x="189992" y="19685"/>
                        <a:pt x="213275" y="9374"/>
                        <a:pt x="237490" y="9374"/>
                      </a:cubicBezTo>
                      <a:moveTo>
                        <a:pt x="237490" y="0"/>
                      </a:moveTo>
                      <a:cubicBezTo>
                        <a:pt x="210481" y="0"/>
                        <a:pt x="185335" y="11249"/>
                        <a:pt x="166709" y="30934"/>
                      </a:cubicBezTo>
                      <a:cubicBezTo>
                        <a:pt x="162983" y="34683"/>
                        <a:pt x="158327" y="36558"/>
                        <a:pt x="153670" y="36558"/>
                      </a:cubicBezTo>
                      <a:lnTo>
                        <a:pt x="151807" y="36558"/>
                      </a:lnTo>
                      <a:cubicBezTo>
                        <a:pt x="149013" y="36558"/>
                        <a:pt x="147151" y="36558"/>
                        <a:pt x="144357" y="36558"/>
                      </a:cubicBezTo>
                      <a:cubicBezTo>
                        <a:pt x="133181" y="36558"/>
                        <a:pt x="122936" y="38433"/>
                        <a:pt x="112691" y="43120"/>
                      </a:cubicBezTo>
                      <a:cubicBezTo>
                        <a:pt x="88477" y="53431"/>
                        <a:pt x="71713" y="74990"/>
                        <a:pt x="67056" y="101237"/>
                      </a:cubicBezTo>
                      <a:cubicBezTo>
                        <a:pt x="65193" y="106861"/>
                        <a:pt x="61468" y="111548"/>
                        <a:pt x="55880" y="114360"/>
                      </a:cubicBezTo>
                      <a:cubicBezTo>
                        <a:pt x="24215" y="131233"/>
                        <a:pt x="3725" y="162167"/>
                        <a:pt x="1863" y="197787"/>
                      </a:cubicBezTo>
                      <a:lnTo>
                        <a:pt x="931" y="207161"/>
                      </a:lnTo>
                      <a:lnTo>
                        <a:pt x="0" y="217472"/>
                      </a:lnTo>
                      <a:lnTo>
                        <a:pt x="84751" y="217472"/>
                      </a:lnTo>
                      <a:lnTo>
                        <a:pt x="84751" y="351518"/>
                      </a:lnTo>
                      <a:cubicBezTo>
                        <a:pt x="85683" y="361829"/>
                        <a:pt x="91271" y="371203"/>
                        <a:pt x="101515" y="375890"/>
                      </a:cubicBezTo>
                      <a:cubicBezTo>
                        <a:pt x="106172" y="378702"/>
                        <a:pt x="110829" y="380577"/>
                        <a:pt x="116417" y="382451"/>
                      </a:cubicBezTo>
                      <a:cubicBezTo>
                        <a:pt x="122005" y="384326"/>
                        <a:pt x="127593" y="385264"/>
                        <a:pt x="134112" y="387138"/>
                      </a:cubicBezTo>
                      <a:cubicBezTo>
                        <a:pt x="152739" y="390888"/>
                        <a:pt x="172297" y="392763"/>
                        <a:pt x="190923" y="393700"/>
                      </a:cubicBezTo>
                      <a:cubicBezTo>
                        <a:pt x="196511" y="393700"/>
                        <a:pt x="203031" y="393700"/>
                        <a:pt x="208619" y="393700"/>
                      </a:cubicBezTo>
                      <a:cubicBezTo>
                        <a:pt x="217001" y="393700"/>
                        <a:pt x="226314" y="393700"/>
                        <a:pt x="235627" y="392763"/>
                      </a:cubicBezTo>
                      <a:cubicBezTo>
                        <a:pt x="260773" y="390888"/>
                        <a:pt x="296164" y="387138"/>
                        <a:pt x="314791" y="374952"/>
                      </a:cubicBezTo>
                      <a:cubicBezTo>
                        <a:pt x="316653" y="374015"/>
                        <a:pt x="319447" y="372140"/>
                        <a:pt x="321310" y="370265"/>
                      </a:cubicBezTo>
                      <a:cubicBezTo>
                        <a:pt x="327829" y="365579"/>
                        <a:pt x="331555" y="358080"/>
                        <a:pt x="331555" y="350581"/>
                      </a:cubicBezTo>
                      <a:lnTo>
                        <a:pt x="331555" y="217472"/>
                      </a:lnTo>
                      <a:lnTo>
                        <a:pt x="399542" y="217472"/>
                      </a:lnTo>
                      <a:lnTo>
                        <a:pt x="402336" y="212785"/>
                      </a:lnTo>
                      <a:lnTo>
                        <a:pt x="405130" y="208099"/>
                      </a:lnTo>
                      <a:cubicBezTo>
                        <a:pt x="428413" y="159355"/>
                        <a:pt x="410718" y="99362"/>
                        <a:pt x="362289" y="74053"/>
                      </a:cubicBezTo>
                      <a:cubicBezTo>
                        <a:pt x="354838" y="69366"/>
                        <a:pt x="345525" y="66554"/>
                        <a:pt x="337143" y="64679"/>
                      </a:cubicBezTo>
                      <a:cubicBezTo>
                        <a:pt x="331555" y="63742"/>
                        <a:pt x="325967" y="59055"/>
                        <a:pt x="323173" y="54368"/>
                      </a:cubicBezTo>
                      <a:cubicBezTo>
                        <a:pt x="307340" y="20622"/>
                        <a:pt x="273812" y="0"/>
                        <a:pt x="237490" y="0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9313" cap="flat">
                  <a:noFill/>
                  <a:prstDash val="solid"/>
                  <a:miter/>
                </a:ln>
              </p:spPr>
              <p:txBody>
                <a:bodyPr wrap="none" lIns="0" tIns="0" rIns="0" bIns="0" rtlCol="0" anchor="ctr"/>
                <a:lstStyle/>
                <a:p>
                  <a:pPr>
                    <a:lnSpc>
                      <a:spcPct val="85000"/>
                    </a:lnSpc>
                  </a:pPr>
                  <a:endParaRPr lang="en-US" sz="800"/>
                </a:p>
              </p:txBody>
            </p:sp>
            <p:sp>
              <p:nvSpPr>
                <p:cNvPr id="32" name="Freeform 18">
                  <a:extLst>
                    <a:ext uri="{FF2B5EF4-FFF2-40B4-BE49-F238E27FC236}">
                      <a16:creationId xmlns:a16="http://schemas.microsoft.com/office/drawing/2014/main" id="{8370B360-7170-4D2F-BA29-B6C42A858783}"/>
                    </a:ext>
                  </a:extLst>
                </p:cNvPr>
                <p:cNvSpPr/>
                <p:nvPr/>
              </p:nvSpPr>
              <p:spPr>
                <a:xfrm>
                  <a:off x="7171459" y="2970480"/>
                  <a:ext cx="395230" cy="198724"/>
                </a:xfrm>
                <a:custGeom>
                  <a:avLst/>
                  <a:gdLst>
                    <a:gd name="connsiteX0" fmla="*/ 353907 w 395230"/>
                    <a:gd name="connsiteY0" fmla="*/ 75928 h 198724"/>
                    <a:gd name="connsiteX1" fmla="*/ 325967 w 395230"/>
                    <a:gd name="connsiteY1" fmla="*/ 64679 h 198724"/>
                    <a:gd name="connsiteX2" fmla="*/ 306409 w 395230"/>
                    <a:gd name="connsiteY2" fmla="*/ 48744 h 198724"/>
                    <a:gd name="connsiteX3" fmla="*/ 228177 w 395230"/>
                    <a:gd name="connsiteY3" fmla="*/ 0 h 198724"/>
                    <a:gd name="connsiteX4" fmla="*/ 163915 w 395230"/>
                    <a:gd name="connsiteY4" fmla="*/ 28121 h 198724"/>
                    <a:gd name="connsiteX5" fmla="*/ 140631 w 395230"/>
                    <a:gd name="connsiteY5" fmla="*/ 36558 h 198724"/>
                    <a:gd name="connsiteX6" fmla="*/ 65193 w 395230"/>
                    <a:gd name="connsiteY6" fmla="*/ 92801 h 198724"/>
                    <a:gd name="connsiteX7" fmla="*/ 50292 w 395230"/>
                    <a:gd name="connsiteY7" fmla="*/ 112486 h 198724"/>
                    <a:gd name="connsiteX8" fmla="*/ 931 w 395230"/>
                    <a:gd name="connsiteY8" fmla="*/ 189351 h 198724"/>
                    <a:gd name="connsiteX9" fmla="*/ 0 w 395230"/>
                    <a:gd name="connsiteY9" fmla="*/ 198725 h 198724"/>
                    <a:gd name="connsiteX10" fmla="*/ 74507 w 395230"/>
                    <a:gd name="connsiteY10" fmla="*/ 198725 h 198724"/>
                    <a:gd name="connsiteX11" fmla="*/ 74507 w 395230"/>
                    <a:gd name="connsiteY11" fmla="*/ 181852 h 198724"/>
                    <a:gd name="connsiteX12" fmla="*/ 18627 w 395230"/>
                    <a:gd name="connsiteY12" fmla="*/ 181852 h 198724"/>
                    <a:gd name="connsiteX13" fmla="*/ 57743 w 395230"/>
                    <a:gd name="connsiteY13" fmla="*/ 128421 h 198724"/>
                    <a:gd name="connsiteX14" fmla="*/ 81026 w 395230"/>
                    <a:gd name="connsiteY14" fmla="*/ 96550 h 198724"/>
                    <a:gd name="connsiteX15" fmla="*/ 137837 w 395230"/>
                    <a:gd name="connsiteY15" fmla="*/ 53431 h 198724"/>
                    <a:gd name="connsiteX16" fmla="*/ 175091 w 395230"/>
                    <a:gd name="connsiteY16" fmla="*/ 39370 h 198724"/>
                    <a:gd name="connsiteX17" fmla="*/ 273812 w 395230"/>
                    <a:gd name="connsiteY17" fmla="*/ 35620 h 198724"/>
                    <a:gd name="connsiteX18" fmla="*/ 288713 w 395230"/>
                    <a:gd name="connsiteY18" fmla="*/ 55305 h 198724"/>
                    <a:gd name="connsiteX19" fmla="*/ 320379 w 395230"/>
                    <a:gd name="connsiteY19" fmla="*/ 79677 h 198724"/>
                    <a:gd name="connsiteX20" fmla="*/ 343662 w 395230"/>
                    <a:gd name="connsiteY20" fmla="*/ 89051 h 198724"/>
                    <a:gd name="connsiteX21" fmla="*/ 370671 w 395230"/>
                    <a:gd name="connsiteY21" fmla="*/ 179977 h 198724"/>
                    <a:gd name="connsiteX22" fmla="*/ 318516 w 395230"/>
                    <a:gd name="connsiteY22" fmla="*/ 179977 h 198724"/>
                    <a:gd name="connsiteX23" fmla="*/ 318516 w 395230"/>
                    <a:gd name="connsiteY23" fmla="*/ 196850 h 198724"/>
                    <a:gd name="connsiteX24" fmla="*/ 380915 w 395230"/>
                    <a:gd name="connsiteY24" fmla="*/ 196850 h 198724"/>
                    <a:gd name="connsiteX25" fmla="*/ 383709 w 395230"/>
                    <a:gd name="connsiteY25" fmla="*/ 192163 h 198724"/>
                    <a:gd name="connsiteX26" fmla="*/ 353907 w 395230"/>
                    <a:gd name="connsiteY26" fmla="*/ 75928 h 19872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</a:cxnLst>
                  <a:rect l="l" t="t" r="r" b="b"/>
                  <a:pathLst>
                    <a:path w="395230" h="198724">
                      <a:moveTo>
                        <a:pt x="353907" y="75928"/>
                      </a:moveTo>
                      <a:cubicBezTo>
                        <a:pt x="345525" y="70304"/>
                        <a:pt x="336211" y="66554"/>
                        <a:pt x="325967" y="64679"/>
                      </a:cubicBezTo>
                      <a:cubicBezTo>
                        <a:pt x="317585" y="62805"/>
                        <a:pt x="310134" y="57180"/>
                        <a:pt x="306409" y="48744"/>
                      </a:cubicBezTo>
                      <a:cubicBezTo>
                        <a:pt x="291507" y="18748"/>
                        <a:pt x="260773" y="0"/>
                        <a:pt x="228177" y="0"/>
                      </a:cubicBezTo>
                      <a:cubicBezTo>
                        <a:pt x="203962" y="0"/>
                        <a:pt x="180679" y="10311"/>
                        <a:pt x="163915" y="28121"/>
                      </a:cubicBezTo>
                      <a:cubicBezTo>
                        <a:pt x="158327" y="34683"/>
                        <a:pt x="149013" y="37495"/>
                        <a:pt x="140631" y="36558"/>
                      </a:cubicBezTo>
                      <a:cubicBezTo>
                        <a:pt x="105241" y="32808"/>
                        <a:pt x="72644" y="57180"/>
                        <a:pt x="65193" y="92801"/>
                      </a:cubicBezTo>
                      <a:cubicBezTo>
                        <a:pt x="63331" y="101237"/>
                        <a:pt x="57743" y="108736"/>
                        <a:pt x="50292" y="112486"/>
                      </a:cubicBezTo>
                      <a:cubicBezTo>
                        <a:pt x="21421" y="127484"/>
                        <a:pt x="2794" y="156543"/>
                        <a:pt x="931" y="189351"/>
                      </a:cubicBezTo>
                      <a:lnTo>
                        <a:pt x="0" y="198725"/>
                      </a:lnTo>
                      <a:lnTo>
                        <a:pt x="74507" y="198725"/>
                      </a:lnTo>
                      <a:lnTo>
                        <a:pt x="74507" y="181852"/>
                      </a:lnTo>
                      <a:lnTo>
                        <a:pt x="18627" y="181852"/>
                      </a:lnTo>
                      <a:cubicBezTo>
                        <a:pt x="23283" y="159355"/>
                        <a:pt x="37253" y="139670"/>
                        <a:pt x="57743" y="128421"/>
                      </a:cubicBezTo>
                      <a:cubicBezTo>
                        <a:pt x="69850" y="121860"/>
                        <a:pt x="79163" y="110611"/>
                        <a:pt x="81026" y="96550"/>
                      </a:cubicBezTo>
                      <a:cubicBezTo>
                        <a:pt x="86614" y="69366"/>
                        <a:pt x="110829" y="50619"/>
                        <a:pt x="137837" y="53431"/>
                      </a:cubicBezTo>
                      <a:cubicBezTo>
                        <a:pt x="151807" y="55305"/>
                        <a:pt x="165777" y="49681"/>
                        <a:pt x="175091" y="39370"/>
                      </a:cubicBezTo>
                      <a:cubicBezTo>
                        <a:pt x="201168" y="11249"/>
                        <a:pt x="245872" y="9374"/>
                        <a:pt x="273812" y="35620"/>
                      </a:cubicBezTo>
                      <a:cubicBezTo>
                        <a:pt x="280331" y="41245"/>
                        <a:pt x="284988" y="47806"/>
                        <a:pt x="288713" y="55305"/>
                      </a:cubicBezTo>
                      <a:cubicBezTo>
                        <a:pt x="295233" y="67491"/>
                        <a:pt x="306409" y="76865"/>
                        <a:pt x="320379" y="79677"/>
                      </a:cubicBezTo>
                      <a:cubicBezTo>
                        <a:pt x="328761" y="81552"/>
                        <a:pt x="336211" y="84364"/>
                        <a:pt x="343662" y="89051"/>
                      </a:cubicBezTo>
                      <a:cubicBezTo>
                        <a:pt x="374396" y="108736"/>
                        <a:pt x="385572" y="147169"/>
                        <a:pt x="370671" y="179977"/>
                      </a:cubicBezTo>
                      <a:lnTo>
                        <a:pt x="318516" y="179977"/>
                      </a:lnTo>
                      <a:lnTo>
                        <a:pt x="318516" y="196850"/>
                      </a:lnTo>
                      <a:lnTo>
                        <a:pt x="380915" y="196850"/>
                      </a:lnTo>
                      <a:lnTo>
                        <a:pt x="383709" y="192163"/>
                      </a:lnTo>
                      <a:cubicBezTo>
                        <a:pt x="406993" y="152793"/>
                        <a:pt x="393954" y="100300"/>
                        <a:pt x="353907" y="75928"/>
                      </a:cubicBezTo>
                      <a:close/>
                    </a:path>
                  </a:pathLst>
                </a:custGeom>
                <a:solidFill>
                  <a:schemeClr val="tx1"/>
                </a:solidFill>
                <a:ln w="9313" cap="flat">
                  <a:noFill/>
                  <a:prstDash val="solid"/>
                  <a:miter/>
                </a:ln>
              </p:spPr>
              <p:txBody>
                <a:bodyPr wrap="none" lIns="0" tIns="0" rIns="0" bIns="0" rtlCol="0" anchor="ctr"/>
                <a:lstStyle/>
                <a:p>
                  <a:pPr>
                    <a:lnSpc>
                      <a:spcPct val="85000"/>
                    </a:lnSpc>
                  </a:pPr>
                  <a:endParaRPr lang="en-US" sz="800"/>
                </a:p>
              </p:txBody>
            </p:sp>
            <p:sp>
              <p:nvSpPr>
                <p:cNvPr id="33" name="Freeform 19">
                  <a:extLst>
                    <a:ext uri="{FF2B5EF4-FFF2-40B4-BE49-F238E27FC236}">
                      <a16:creationId xmlns:a16="http://schemas.microsoft.com/office/drawing/2014/main" id="{D7803278-37D2-4F0C-996D-694481512EEB}"/>
                    </a:ext>
                  </a:extLst>
                </p:cNvPr>
                <p:cNvSpPr/>
                <p:nvPr/>
              </p:nvSpPr>
              <p:spPr>
                <a:xfrm>
                  <a:off x="7256210" y="3089528"/>
                  <a:ext cx="226314" cy="254967"/>
                </a:xfrm>
                <a:custGeom>
                  <a:avLst/>
                  <a:gdLst>
                    <a:gd name="connsiteX0" fmla="*/ 226314 w 226314"/>
                    <a:gd name="connsiteY0" fmla="*/ 36558 h 254967"/>
                    <a:gd name="connsiteX1" fmla="*/ 226314 w 226314"/>
                    <a:gd name="connsiteY1" fmla="*/ 36558 h 254967"/>
                    <a:gd name="connsiteX2" fmla="*/ 226314 w 226314"/>
                    <a:gd name="connsiteY2" fmla="*/ 34683 h 254967"/>
                    <a:gd name="connsiteX3" fmla="*/ 219795 w 226314"/>
                    <a:gd name="connsiteY3" fmla="*/ 21560 h 254967"/>
                    <a:gd name="connsiteX4" fmla="*/ 215138 w 226314"/>
                    <a:gd name="connsiteY4" fmla="*/ 17810 h 254967"/>
                    <a:gd name="connsiteX5" fmla="*/ 139700 w 226314"/>
                    <a:gd name="connsiteY5" fmla="*/ 937 h 254967"/>
                    <a:gd name="connsiteX6" fmla="*/ 113623 w 226314"/>
                    <a:gd name="connsiteY6" fmla="*/ 0 h 254967"/>
                    <a:gd name="connsiteX7" fmla="*/ 96859 w 226314"/>
                    <a:gd name="connsiteY7" fmla="*/ 0 h 254967"/>
                    <a:gd name="connsiteX8" fmla="*/ 40979 w 226314"/>
                    <a:gd name="connsiteY8" fmla="*/ 6562 h 254967"/>
                    <a:gd name="connsiteX9" fmla="*/ 25146 w 226314"/>
                    <a:gd name="connsiteY9" fmla="*/ 11249 h 254967"/>
                    <a:gd name="connsiteX10" fmla="*/ 12107 w 226314"/>
                    <a:gd name="connsiteY10" fmla="*/ 16873 h 254967"/>
                    <a:gd name="connsiteX11" fmla="*/ 0 w 226314"/>
                    <a:gd name="connsiteY11" fmla="*/ 33746 h 254967"/>
                    <a:gd name="connsiteX12" fmla="*/ 0 w 226314"/>
                    <a:gd name="connsiteY12" fmla="*/ 34683 h 254967"/>
                    <a:gd name="connsiteX13" fmla="*/ 0 w 226314"/>
                    <a:gd name="connsiteY13" fmla="*/ 35620 h 254967"/>
                    <a:gd name="connsiteX14" fmla="*/ 0 w 226314"/>
                    <a:gd name="connsiteY14" fmla="*/ 222159 h 254967"/>
                    <a:gd name="connsiteX15" fmla="*/ 12107 w 226314"/>
                    <a:gd name="connsiteY15" fmla="*/ 238095 h 254967"/>
                    <a:gd name="connsiteX16" fmla="*/ 25146 w 226314"/>
                    <a:gd name="connsiteY16" fmla="*/ 243719 h 254967"/>
                    <a:gd name="connsiteX17" fmla="*/ 40979 w 226314"/>
                    <a:gd name="connsiteY17" fmla="*/ 248406 h 254967"/>
                    <a:gd name="connsiteX18" fmla="*/ 96859 w 226314"/>
                    <a:gd name="connsiteY18" fmla="*/ 254968 h 254967"/>
                    <a:gd name="connsiteX19" fmla="*/ 113623 w 226314"/>
                    <a:gd name="connsiteY19" fmla="*/ 254968 h 254967"/>
                    <a:gd name="connsiteX20" fmla="*/ 139700 w 226314"/>
                    <a:gd name="connsiteY20" fmla="*/ 254030 h 254967"/>
                    <a:gd name="connsiteX21" fmla="*/ 215138 w 226314"/>
                    <a:gd name="connsiteY21" fmla="*/ 238095 h 254967"/>
                    <a:gd name="connsiteX22" fmla="*/ 219795 w 226314"/>
                    <a:gd name="connsiteY22" fmla="*/ 234345 h 254967"/>
                    <a:gd name="connsiteX23" fmla="*/ 226314 w 226314"/>
                    <a:gd name="connsiteY23" fmla="*/ 221222 h 254967"/>
                    <a:gd name="connsiteX24" fmla="*/ 226314 w 226314"/>
                    <a:gd name="connsiteY24" fmla="*/ 36558 h 254967"/>
                    <a:gd name="connsiteX25" fmla="*/ 113623 w 226314"/>
                    <a:gd name="connsiteY25" fmla="*/ 15935 h 254967"/>
                    <a:gd name="connsiteX26" fmla="*/ 211413 w 226314"/>
                    <a:gd name="connsiteY26" fmla="*/ 34683 h 254967"/>
                    <a:gd name="connsiteX27" fmla="*/ 113623 w 226314"/>
                    <a:gd name="connsiteY27" fmla="*/ 53431 h 254967"/>
                    <a:gd name="connsiteX28" fmla="*/ 15833 w 226314"/>
                    <a:gd name="connsiteY28" fmla="*/ 34683 h 254967"/>
                    <a:gd name="connsiteX29" fmla="*/ 113623 w 226314"/>
                    <a:gd name="connsiteY29" fmla="*/ 15935 h 254967"/>
                    <a:gd name="connsiteX30" fmla="*/ 14901 w 226314"/>
                    <a:gd name="connsiteY30" fmla="*/ 53431 h 254967"/>
                    <a:gd name="connsiteX31" fmla="*/ 113623 w 226314"/>
                    <a:gd name="connsiteY31" fmla="*/ 68429 h 254967"/>
                    <a:gd name="connsiteX32" fmla="*/ 211413 w 226314"/>
                    <a:gd name="connsiteY32" fmla="*/ 53431 h 254967"/>
                    <a:gd name="connsiteX33" fmla="*/ 211413 w 226314"/>
                    <a:gd name="connsiteY33" fmla="*/ 98425 h 254967"/>
                    <a:gd name="connsiteX34" fmla="*/ 113623 w 226314"/>
                    <a:gd name="connsiteY34" fmla="*/ 116235 h 254967"/>
                    <a:gd name="connsiteX35" fmla="*/ 14901 w 226314"/>
                    <a:gd name="connsiteY35" fmla="*/ 98425 h 254967"/>
                    <a:gd name="connsiteX36" fmla="*/ 14901 w 226314"/>
                    <a:gd name="connsiteY36" fmla="*/ 53431 h 254967"/>
                    <a:gd name="connsiteX37" fmla="*/ 211413 w 226314"/>
                    <a:gd name="connsiteY37" fmla="*/ 117173 h 254967"/>
                    <a:gd name="connsiteX38" fmla="*/ 211413 w 226314"/>
                    <a:gd name="connsiteY38" fmla="*/ 160292 h 254967"/>
                    <a:gd name="connsiteX39" fmla="*/ 113623 w 226314"/>
                    <a:gd name="connsiteY39" fmla="*/ 178102 h 254967"/>
                    <a:gd name="connsiteX40" fmla="*/ 15833 w 226314"/>
                    <a:gd name="connsiteY40" fmla="*/ 159355 h 254967"/>
                    <a:gd name="connsiteX41" fmla="*/ 15833 w 226314"/>
                    <a:gd name="connsiteY41" fmla="*/ 116235 h 254967"/>
                    <a:gd name="connsiteX42" fmla="*/ 113623 w 226314"/>
                    <a:gd name="connsiteY42" fmla="*/ 131233 h 254967"/>
                    <a:gd name="connsiteX43" fmla="*/ 211413 w 226314"/>
                    <a:gd name="connsiteY43" fmla="*/ 117173 h 254967"/>
                    <a:gd name="connsiteX44" fmla="*/ 211413 w 226314"/>
                    <a:gd name="connsiteY44" fmla="*/ 117173 h 254967"/>
                    <a:gd name="connsiteX45" fmla="*/ 113623 w 226314"/>
                    <a:gd name="connsiteY45" fmla="*/ 240907 h 254967"/>
                    <a:gd name="connsiteX46" fmla="*/ 15833 w 226314"/>
                    <a:gd name="connsiteY46" fmla="*/ 223097 h 254967"/>
                    <a:gd name="connsiteX47" fmla="*/ 15833 w 226314"/>
                    <a:gd name="connsiteY47" fmla="*/ 179040 h 254967"/>
                    <a:gd name="connsiteX48" fmla="*/ 113623 w 226314"/>
                    <a:gd name="connsiteY48" fmla="*/ 194038 h 254967"/>
                    <a:gd name="connsiteX49" fmla="*/ 211413 w 226314"/>
                    <a:gd name="connsiteY49" fmla="*/ 179040 h 254967"/>
                    <a:gd name="connsiteX50" fmla="*/ 211413 w 226314"/>
                    <a:gd name="connsiteY50" fmla="*/ 223097 h 254967"/>
                    <a:gd name="connsiteX51" fmla="*/ 113623 w 226314"/>
                    <a:gd name="connsiteY51" fmla="*/ 240907 h 25496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</a:cxnLst>
                  <a:rect l="l" t="t" r="r" b="b"/>
                  <a:pathLst>
                    <a:path w="226314" h="254967">
                      <a:moveTo>
                        <a:pt x="226314" y="36558"/>
                      </a:moveTo>
                      <a:cubicBezTo>
                        <a:pt x="226314" y="36558"/>
                        <a:pt x="226314" y="35620"/>
                        <a:pt x="226314" y="36558"/>
                      </a:cubicBezTo>
                      <a:cubicBezTo>
                        <a:pt x="226314" y="35620"/>
                        <a:pt x="226314" y="34683"/>
                        <a:pt x="226314" y="34683"/>
                      </a:cubicBezTo>
                      <a:cubicBezTo>
                        <a:pt x="226314" y="29059"/>
                        <a:pt x="223520" y="24372"/>
                        <a:pt x="219795" y="21560"/>
                      </a:cubicBezTo>
                      <a:cubicBezTo>
                        <a:pt x="217932" y="20622"/>
                        <a:pt x="217001" y="18748"/>
                        <a:pt x="215138" y="17810"/>
                      </a:cubicBezTo>
                      <a:cubicBezTo>
                        <a:pt x="198374" y="7499"/>
                        <a:pt x="167640" y="2812"/>
                        <a:pt x="139700" y="937"/>
                      </a:cubicBezTo>
                      <a:cubicBezTo>
                        <a:pt x="130387" y="0"/>
                        <a:pt x="121073" y="0"/>
                        <a:pt x="113623" y="0"/>
                      </a:cubicBezTo>
                      <a:cubicBezTo>
                        <a:pt x="108035" y="0"/>
                        <a:pt x="102447" y="0"/>
                        <a:pt x="96859" y="0"/>
                      </a:cubicBezTo>
                      <a:cubicBezTo>
                        <a:pt x="78232" y="937"/>
                        <a:pt x="59605" y="2812"/>
                        <a:pt x="40979" y="6562"/>
                      </a:cubicBezTo>
                      <a:cubicBezTo>
                        <a:pt x="35391" y="7499"/>
                        <a:pt x="29803" y="9374"/>
                        <a:pt x="25146" y="11249"/>
                      </a:cubicBezTo>
                      <a:cubicBezTo>
                        <a:pt x="20489" y="13123"/>
                        <a:pt x="15833" y="14998"/>
                        <a:pt x="12107" y="16873"/>
                      </a:cubicBezTo>
                      <a:cubicBezTo>
                        <a:pt x="5588" y="19685"/>
                        <a:pt x="931" y="26247"/>
                        <a:pt x="0" y="33746"/>
                      </a:cubicBezTo>
                      <a:cubicBezTo>
                        <a:pt x="0" y="33746"/>
                        <a:pt x="0" y="34683"/>
                        <a:pt x="0" y="34683"/>
                      </a:cubicBezTo>
                      <a:cubicBezTo>
                        <a:pt x="0" y="34683"/>
                        <a:pt x="0" y="35620"/>
                        <a:pt x="0" y="35620"/>
                      </a:cubicBezTo>
                      <a:lnTo>
                        <a:pt x="0" y="222159"/>
                      </a:lnTo>
                      <a:cubicBezTo>
                        <a:pt x="931" y="229658"/>
                        <a:pt x="5588" y="235283"/>
                        <a:pt x="12107" y="238095"/>
                      </a:cubicBezTo>
                      <a:cubicBezTo>
                        <a:pt x="15833" y="240907"/>
                        <a:pt x="20489" y="242782"/>
                        <a:pt x="25146" y="243719"/>
                      </a:cubicBezTo>
                      <a:cubicBezTo>
                        <a:pt x="30734" y="245594"/>
                        <a:pt x="35391" y="246531"/>
                        <a:pt x="40979" y="248406"/>
                      </a:cubicBezTo>
                      <a:cubicBezTo>
                        <a:pt x="59605" y="252155"/>
                        <a:pt x="78232" y="254030"/>
                        <a:pt x="96859" y="254968"/>
                      </a:cubicBezTo>
                      <a:lnTo>
                        <a:pt x="113623" y="254968"/>
                      </a:lnTo>
                      <a:cubicBezTo>
                        <a:pt x="122005" y="254968"/>
                        <a:pt x="130387" y="254968"/>
                        <a:pt x="139700" y="254030"/>
                      </a:cubicBezTo>
                      <a:cubicBezTo>
                        <a:pt x="167640" y="252155"/>
                        <a:pt x="198374" y="247469"/>
                        <a:pt x="215138" y="238095"/>
                      </a:cubicBezTo>
                      <a:cubicBezTo>
                        <a:pt x="217001" y="237157"/>
                        <a:pt x="218863" y="236220"/>
                        <a:pt x="219795" y="234345"/>
                      </a:cubicBezTo>
                      <a:cubicBezTo>
                        <a:pt x="223520" y="231533"/>
                        <a:pt x="226314" y="226846"/>
                        <a:pt x="226314" y="221222"/>
                      </a:cubicBezTo>
                      <a:lnTo>
                        <a:pt x="226314" y="36558"/>
                      </a:lnTo>
                      <a:close/>
                      <a:moveTo>
                        <a:pt x="113623" y="15935"/>
                      </a:moveTo>
                      <a:cubicBezTo>
                        <a:pt x="173228" y="15935"/>
                        <a:pt x="208619" y="28121"/>
                        <a:pt x="211413" y="34683"/>
                      </a:cubicBezTo>
                      <a:cubicBezTo>
                        <a:pt x="208619" y="41245"/>
                        <a:pt x="173228" y="53431"/>
                        <a:pt x="113623" y="53431"/>
                      </a:cubicBezTo>
                      <a:cubicBezTo>
                        <a:pt x="54017" y="53431"/>
                        <a:pt x="18627" y="41245"/>
                        <a:pt x="15833" y="34683"/>
                      </a:cubicBezTo>
                      <a:cubicBezTo>
                        <a:pt x="18627" y="28121"/>
                        <a:pt x="54017" y="15935"/>
                        <a:pt x="113623" y="15935"/>
                      </a:cubicBezTo>
                      <a:close/>
                      <a:moveTo>
                        <a:pt x="14901" y="53431"/>
                      </a:moveTo>
                      <a:cubicBezTo>
                        <a:pt x="38185" y="64679"/>
                        <a:pt x="82889" y="68429"/>
                        <a:pt x="113623" y="68429"/>
                      </a:cubicBezTo>
                      <a:cubicBezTo>
                        <a:pt x="144357" y="68429"/>
                        <a:pt x="188129" y="64679"/>
                        <a:pt x="211413" y="53431"/>
                      </a:cubicBezTo>
                      <a:lnTo>
                        <a:pt x="211413" y="98425"/>
                      </a:lnTo>
                      <a:cubicBezTo>
                        <a:pt x="209550" y="102175"/>
                        <a:pt x="181610" y="116235"/>
                        <a:pt x="113623" y="116235"/>
                      </a:cubicBezTo>
                      <a:cubicBezTo>
                        <a:pt x="45635" y="116235"/>
                        <a:pt x="17695" y="103112"/>
                        <a:pt x="14901" y="98425"/>
                      </a:cubicBezTo>
                      <a:lnTo>
                        <a:pt x="14901" y="53431"/>
                      </a:lnTo>
                      <a:close/>
                      <a:moveTo>
                        <a:pt x="211413" y="117173"/>
                      </a:moveTo>
                      <a:lnTo>
                        <a:pt x="211413" y="160292"/>
                      </a:lnTo>
                      <a:cubicBezTo>
                        <a:pt x="209550" y="164979"/>
                        <a:pt x="181610" y="178102"/>
                        <a:pt x="113623" y="178102"/>
                      </a:cubicBezTo>
                      <a:cubicBezTo>
                        <a:pt x="45635" y="178102"/>
                        <a:pt x="17695" y="164042"/>
                        <a:pt x="15833" y="159355"/>
                      </a:cubicBezTo>
                      <a:lnTo>
                        <a:pt x="15833" y="116235"/>
                      </a:lnTo>
                      <a:cubicBezTo>
                        <a:pt x="39116" y="127484"/>
                        <a:pt x="83820" y="131233"/>
                        <a:pt x="113623" y="131233"/>
                      </a:cubicBezTo>
                      <a:cubicBezTo>
                        <a:pt x="143425" y="131233"/>
                        <a:pt x="188129" y="128421"/>
                        <a:pt x="211413" y="117173"/>
                      </a:cubicBezTo>
                      <a:lnTo>
                        <a:pt x="211413" y="117173"/>
                      </a:lnTo>
                      <a:close/>
                      <a:moveTo>
                        <a:pt x="113623" y="240907"/>
                      </a:moveTo>
                      <a:cubicBezTo>
                        <a:pt x="45635" y="240907"/>
                        <a:pt x="17695" y="226846"/>
                        <a:pt x="15833" y="223097"/>
                      </a:cubicBezTo>
                      <a:lnTo>
                        <a:pt x="15833" y="179040"/>
                      </a:lnTo>
                      <a:cubicBezTo>
                        <a:pt x="39116" y="190288"/>
                        <a:pt x="83820" y="194038"/>
                        <a:pt x="113623" y="194038"/>
                      </a:cubicBezTo>
                      <a:cubicBezTo>
                        <a:pt x="143425" y="194038"/>
                        <a:pt x="188129" y="190288"/>
                        <a:pt x="211413" y="179040"/>
                      </a:cubicBezTo>
                      <a:lnTo>
                        <a:pt x="211413" y="223097"/>
                      </a:lnTo>
                      <a:cubicBezTo>
                        <a:pt x="208619" y="226846"/>
                        <a:pt x="181610" y="240907"/>
                        <a:pt x="113623" y="240907"/>
                      </a:cubicBezTo>
                      <a:close/>
                    </a:path>
                  </a:pathLst>
                </a:custGeom>
                <a:solidFill>
                  <a:schemeClr val="tx1"/>
                </a:solidFill>
                <a:ln w="9313" cap="flat">
                  <a:noFill/>
                  <a:prstDash val="solid"/>
                  <a:miter/>
                </a:ln>
              </p:spPr>
              <p:txBody>
                <a:bodyPr wrap="none" lIns="0" tIns="0" rIns="0" bIns="0" rtlCol="0" anchor="ctr"/>
                <a:lstStyle/>
                <a:p>
                  <a:pPr>
                    <a:lnSpc>
                      <a:spcPct val="85000"/>
                    </a:lnSpc>
                  </a:pPr>
                  <a:endParaRPr lang="en-US" sz="800"/>
                </a:p>
              </p:txBody>
            </p:sp>
          </p:grpSp>
          <p:sp>
            <p:nvSpPr>
              <p:cNvPr id="29" name="TextBox 28">
                <a:extLst>
                  <a:ext uri="{FF2B5EF4-FFF2-40B4-BE49-F238E27FC236}">
                    <a16:creationId xmlns:a16="http://schemas.microsoft.com/office/drawing/2014/main" id="{68FD74E3-8877-4A7D-9ACD-9C5B15B01C5F}"/>
                  </a:ext>
                </a:extLst>
              </p:cNvPr>
              <p:cNvSpPr txBox="1"/>
              <p:nvPr/>
            </p:nvSpPr>
            <p:spPr>
              <a:xfrm>
                <a:off x="15097803" y="11218839"/>
                <a:ext cx="2628519" cy="694695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algn="ctr">
                  <a:lnSpc>
                    <a:spcPct val="85000"/>
                  </a:lnSpc>
                </a:pPr>
                <a:r>
                  <a:rPr lang="en-US" sz="800" dirty="0"/>
                  <a:t>Standard </a:t>
                </a:r>
              </a:p>
              <a:p>
                <a:pPr algn="ctr">
                  <a:lnSpc>
                    <a:spcPct val="85000"/>
                  </a:lnSpc>
                </a:pPr>
                <a:r>
                  <a:rPr lang="en-US" sz="800" dirty="0"/>
                  <a:t>Database Service</a:t>
                </a:r>
              </a:p>
            </p:txBody>
          </p:sp>
        </p:grpSp>
        <p:sp>
          <p:nvSpPr>
            <p:cNvPr id="35" name="TextBox 34">
              <a:extLst>
                <a:ext uri="{FF2B5EF4-FFF2-40B4-BE49-F238E27FC236}">
                  <a16:creationId xmlns:a16="http://schemas.microsoft.com/office/drawing/2014/main" id="{C8B380E9-BEE7-4D3A-9AE3-D4EDB0DBBA29}"/>
                </a:ext>
              </a:extLst>
            </p:cNvPr>
            <p:cNvSpPr txBox="1"/>
            <p:nvPr/>
          </p:nvSpPr>
          <p:spPr>
            <a:xfrm>
              <a:off x="6297138" y="2269505"/>
              <a:ext cx="979885" cy="338554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pPr algn="ctr"/>
              <a:r>
                <a:rPr lang="en-US" sz="800" dirty="0">
                  <a:solidFill>
                    <a:srgbClr val="2A5967"/>
                  </a:solidFill>
                </a:rPr>
                <a:t>Real-time data protection option</a:t>
              </a:r>
            </a:p>
          </p:txBody>
        </p:sp>
        <p:pic>
          <p:nvPicPr>
            <p:cNvPr id="36" name="Picture Placeholder 92">
              <a:extLst>
                <a:ext uri="{FF2B5EF4-FFF2-40B4-BE49-F238E27FC236}">
                  <a16:creationId xmlns:a16="http://schemas.microsoft.com/office/drawing/2014/main" id="{C6607873-7BF1-4674-B627-318F6E5DCB9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12"/>
                </a:ext>
              </a:extLst>
            </a:blip>
            <a:srcRect/>
            <a:stretch/>
          </p:blipFill>
          <p:spPr>
            <a:xfrm>
              <a:off x="6493557" y="1818974"/>
              <a:ext cx="587046" cy="552048"/>
            </a:xfrm>
            <a:prstGeom prst="rect">
              <a:avLst/>
            </a:prstGeom>
          </p:spPr>
        </p:pic>
      </p:grpSp>
      <p:grpSp>
        <p:nvGrpSpPr>
          <p:cNvPr id="91" name="Group 90">
            <a:extLst>
              <a:ext uri="{FF2B5EF4-FFF2-40B4-BE49-F238E27FC236}">
                <a16:creationId xmlns:a16="http://schemas.microsoft.com/office/drawing/2014/main" id="{D28C393F-3267-41F8-B42E-47F2AEE01C54}"/>
              </a:ext>
            </a:extLst>
          </p:cNvPr>
          <p:cNvGrpSpPr>
            <a:grpSpLocks noChangeAspect="1"/>
          </p:cNvGrpSpPr>
          <p:nvPr/>
        </p:nvGrpSpPr>
        <p:grpSpPr>
          <a:xfrm>
            <a:off x="9624486" y="3965416"/>
            <a:ext cx="2187636" cy="2187636"/>
            <a:chOff x="8428348" y="3608272"/>
            <a:chExt cx="2437447" cy="2437447"/>
          </a:xfrm>
          <a:solidFill>
            <a:schemeClr val="tx1"/>
          </a:solidFill>
        </p:grpSpPr>
        <p:pic>
          <p:nvPicPr>
            <p:cNvPr id="92" name="Picture Placeholder 48">
              <a:extLst>
                <a:ext uri="{FF2B5EF4-FFF2-40B4-BE49-F238E27FC236}">
                  <a16:creationId xmlns:a16="http://schemas.microsoft.com/office/drawing/2014/main" id="{FF88459D-AB23-4E4E-96CD-605382D6B9E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3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14"/>
                </a:ext>
              </a:extLst>
            </a:blip>
            <a:srcRect/>
            <a:stretch/>
          </p:blipFill>
          <p:spPr>
            <a:xfrm>
              <a:off x="8428348" y="3608272"/>
              <a:ext cx="2437447" cy="2437447"/>
            </a:xfrm>
            <a:prstGeom prst="rect">
              <a:avLst/>
            </a:prstGeom>
            <a:noFill/>
          </p:spPr>
        </p:pic>
        <p:sp>
          <p:nvSpPr>
            <p:cNvPr id="93" name="Picture Placeholder 39">
              <a:extLst>
                <a:ext uri="{FF2B5EF4-FFF2-40B4-BE49-F238E27FC236}">
                  <a16:creationId xmlns:a16="http://schemas.microsoft.com/office/drawing/2014/main" id="{4177849B-97BC-4360-A0C1-2AF005F0A2E7}"/>
                </a:ext>
              </a:extLst>
            </p:cNvPr>
            <p:cNvSpPr/>
            <p:nvPr/>
          </p:nvSpPr>
          <p:spPr>
            <a:xfrm>
              <a:off x="8766799" y="3782717"/>
              <a:ext cx="1897169" cy="833684"/>
            </a:xfrm>
            <a:custGeom>
              <a:avLst/>
              <a:gdLst>
                <a:gd name="connsiteX0" fmla="*/ 2018699 w 2074600"/>
                <a:gd name="connsiteY0" fmla="*/ 1012775 h 1036171"/>
                <a:gd name="connsiteX1" fmla="*/ 2005998 w 2074600"/>
                <a:gd name="connsiteY1" fmla="*/ 1036172 h 1036171"/>
                <a:gd name="connsiteX2" fmla="*/ 1071686 w 2074600"/>
                <a:gd name="connsiteY2" fmla="*/ 1036172 h 1036171"/>
                <a:gd name="connsiteX3" fmla="*/ 773655 w 2074600"/>
                <a:gd name="connsiteY3" fmla="*/ 735356 h 1036171"/>
                <a:gd name="connsiteX4" fmla="*/ 862785 w 2074600"/>
                <a:gd name="connsiteY4" fmla="*/ 735356 h 1036171"/>
                <a:gd name="connsiteX5" fmla="*/ 1071686 w 2074600"/>
                <a:gd name="connsiteY5" fmla="*/ 947041 h 1036171"/>
                <a:gd name="connsiteX6" fmla="*/ 1951851 w 2074600"/>
                <a:gd name="connsiteY6" fmla="*/ 947041 h 1036171"/>
                <a:gd name="connsiteX7" fmla="*/ 1808574 w 2074600"/>
                <a:gd name="connsiteY7" fmla="*/ 470526 h 1036171"/>
                <a:gd name="connsiteX8" fmla="*/ 1688693 w 2074600"/>
                <a:gd name="connsiteY8" fmla="*/ 421170 h 1036171"/>
                <a:gd name="connsiteX9" fmla="*/ 1523467 w 2074600"/>
                <a:gd name="connsiteY9" fmla="*/ 292710 h 1036171"/>
                <a:gd name="connsiteX10" fmla="*/ 1030329 w 2074600"/>
                <a:gd name="connsiteY10" fmla="*/ 127885 h 1036171"/>
                <a:gd name="connsiteX11" fmla="*/ 924954 w 2074600"/>
                <a:gd name="connsiteY11" fmla="*/ 206810 h 1036171"/>
                <a:gd name="connsiteX12" fmla="*/ 730203 w 2074600"/>
                <a:gd name="connsiteY12" fmla="*/ 279786 h 1036171"/>
                <a:gd name="connsiteX13" fmla="*/ 430613 w 2074600"/>
                <a:gd name="connsiteY13" fmla="*/ 503616 h 1036171"/>
                <a:gd name="connsiteX14" fmla="*/ 306053 w 2074600"/>
                <a:gd name="connsiteY14" fmla="*/ 669733 h 1036171"/>
                <a:gd name="connsiteX15" fmla="*/ 98824 w 2074600"/>
                <a:gd name="connsiteY15" fmla="*/ 947041 h 1036171"/>
                <a:gd name="connsiteX16" fmla="*/ 773655 w 2074600"/>
                <a:gd name="connsiteY16" fmla="*/ 947041 h 1036171"/>
                <a:gd name="connsiteX17" fmla="*/ 862228 w 2074600"/>
                <a:gd name="connsiteY17" fmla="*/ 1036172 h 1036171"/>
                <a:gd name="connsiteX18" fmla="*/ 0 w 2074600"/>
                <a:gd name="connsiteY18" fmla="*/ 1036172 h 1036171"/>
                <a:gd name="connsiteX19" fmla="*/ 3565 w 2074600"/>
                <a:gd name="connsiteY19" fmla="*/ 988264 h 1036171"/>
                <a:gd name="connsiteX20" fmla="*/ 264607 w 2074600"/>
                <a:gd name="connsiteY20" fmla="*/ 590518 h 1036171"/>
                <a:gd name="connsiteX21" fmla="*/ 342596 w 2074600"/>
                <a:gd name="connsiteY21" fmla="*/ 486124 h 1036171"/>
                <a:gd name="connsiteX22" fmla="*/ 737891 w 2074600"/>
                <a:gd name="connsiteY22" fmla="*/ 190655 h 1036171"/>
                <a:gd name="connsiteX23" fmla="*/ 858886 w 2074600"/>
                <a:gd name="connsiteY23" fmla="*/ 146090 h 1036171"/>
                <a:gd name="connsiteX24" fmla="*/ 1504437 w 2074600"/>
                <a:gd name="connsiteY24" fmla="*/ 121947 h 1036171"/>
                <a:gd name="connsiteX25" fmla="*/ 1602459 w 2074600"/>
                <a:gd name="connsiteY25" fmla="*/ 252824 h 1036171"/>
                <a:gd name="connsiteX26" fmla="*/ 1707076 w 2074600"/>
                <a:gd name="connsiteY26" fmla="*/ 334156 h 1036171"/>
                <a:gd name="connsiteX27" fmla="*/ 2063577 w 2074600"/>
                <a:gd name="connsiteY27" fmla="*/ 891680 h 1036171"/>
                <a:gd name="connsiteX28" fmla="*/ 2018699 w 2074600"/>
                <a:gd name="connsiteY28" fmla="*/ 1012775 h 1036171"/>
                <a:gd name="connsiteX0" fmla="*/ 2018699 w 2074600"/>
                <a:gd name="connsiteY0" fmla="*/ 1012775 h 1036172"/>
                <a:gd name="connsiteX1" fmla="*/ 2005998 w 2074600"/>
                <a:gd name="connsiteY1" fmla="*/ 1036172 h 1036172"/>
                <a:gd name="connsiteX2" fmla="*/ 1071686 w 2074600"/>
                <a:gd name="connsiteY2" fmla="*/ 1036172 h 1036172"/>
                <a:gd name="connsiteX3" fmla="*/ 773655 w 2074600"/>
                <a:gd name="connsiteY3" fmla="*/ 735356 h 1036172"/>
                <a:gd name="connsiteX4" fmla="*/ 862785 w 2074600"/>
                <a:gd name="connsiteY4" fmla="*/ 735356 h 1036172"/>
                <a:gd name="connsiteX5" fmla="*/ 1071686 w 2074600"/>
                <a:gd name="connsiteY5" fmla="*/ 947041 h 1036172"/>
                <a:gd name="connsiteX6" fmla="*/ 1951851 w 2074600"/>
                <a:gd name="connsiteY6" fmla="*/ 947041 h 1036172"/>
                <a:gd name="connsiteX7" fmla="*/ 1808574 w 2074600"/>
                <a:gd name="connsiteY7" fmla="*/ 470526 h 1036172"/>
                <a:gd name="connsiteX8" fmla="*/ 1688693 w 2074600"/>
                <a:gd name="connsiteY8" fmla="*/ 421170 h 1036172"/>
                <a:gd name="connsiteX9" fmla="*/ 1523467 w 2074600"/>
                <a:gd name="connsiteY9" fmla="*/ 292710 h 1036172"/>
                <a:gd name="connsiteX10" fmla="*/ 1030329 w 2074600"/>
                <a:gd name="connsiteY10" fmla="*/ 127885 h 1036172"/>
                <a:gd name="connsiteX11" fmla="*/ 924954 w 2074600"/>
                <a:gd name="connsiteY11" fmla="*/ 206810 h 1036172"/>
                <a:gd name="connsiteX12" fmla="*/ 730203 w 2074600"/>
                <a:gd name="connsiteY12" fmla="*/ 279786 h 1036172"/>
                <a:gd name="connsiteX13" fmla="*/ 430613 w 2074600"/>
                <a:gd name="connsiteY13" fmla="*/ 503616 h 1036172"/>
                <a:gd name="connsiteX14" fmla="*/ 306053 w 2074600"/>
                <a:gd name="connsiteY14" fmla="*/ 669733 h 1036172"/>
                <a:gd name="connsiteX15" fmla="*/ 98824 w 2074600"/>
                <a:gd name="connsiteY15" fmla="*/ 947041 h 1036172"/>
                <a:gd name="connsiteX16" fmla="*/ 570455 w 2074600"/>
                <a:gd name="connsiteY16" fmla="*/ 947041 h 1036172"/>
                <a:gd name="connsiteX17" fmla="*/ 862228 w 2074600"/>
                <a:gd name="connsiteY17" fmla="*/ 1036172 h 1036172"/>
                <a:gd name="connsiteX18" fmla="*/ 0 w 2074600"/>
                <a:gd name="connsiteY18" fmla="*/ 1036172 h 1036172"/>
                <a:gd name="connsiteX19" fmla="*/ 3565 w 2074600"/>
                <a:gd name="connsiteY19" fmla="*/ 988264 h 1036172"/>
                <a:gd name="connsiteX20" fmla="*/ 264607 w 2074600"/>
                <a:gd name="connsiteY20" fmla="*/ 590518 h 1036172"/>
                <a:gd name="connsiteX21" fmla="*/ 342596 w 2074600"/>
                <a:gd name="connsiteY21" fmla="*/ 486124 h 1036172"/>
                <a:gd name="connsiteX22" fmla="*/ 737891 w 2074600"/>
                <a:gd name="connsiteY22" fmla="*/ 190655 h 1036172"/>
                <a:gd name="connsiteX23" fmla="*/ 858886 w 2074600"/>
                <a:gd name="connsiteY23" fmla="*/ 146090 h 1036172"/>
                <a:gd name="connsiteX24" fmla="*/ 1504437 w 2074600"/>
                <a:gd name="connsiteY24" fmla="*/ 121947 h 1036172"/>
                <a:gd name="connsiteX25" fmla="*/ 1602459 w 2074600"/>
                <a:gd name="connsiteY25" fmla="*/ 252824 h 1036172"/>
                <a:gd name="connsiteX26" fmla="*/ 1707076 w 2074600"/>
                <a:gd name="connsiteY26" fmla="*/ 334156 h 1036172"/>
                <a:gd name="connsiteX27" fmla="*/ 2063577 w 2074600"/>
                <a:gd name="connsiteY27" fmla="*/ 891680 h 1036172"/>
                <a:gd name="connsiteX28" fmla="*/ 2018699 w 2074600"/>
                <a:gd name="connsiteY28" fmla="*/ 1012775 h 1036172"/>
                <a:gd name="connsiteX0" fmla="*/ 2018699 w 2074600"/>
                <a:gd name="connsiteY0" fmla="*/ 1012775 h 1039251"/>
                <a:gd name="connsiteX1" fmla="*/ 2005998 w 2074600"/>
                <a:gd name="connsiteY1" fmla="*/ 1036172 h 1039251"/>
                <a:gd name="connsiteX2" fmla="*/ 1071686 w 2074600"/>
                <a:gd name="connsiteY2" fmla="*/ 1036172 h 1039251"/>
                <a:gd name="connsiteX3" fmla="*/ 773655 w 2074600"/>
                <a:gd name="connsiteY3" fmla="*/ 735356 h 1039251"/>
                <a:gd name="connsiteX4" fmla="*/ 862785 w 2074600"/>
                <a:gd name="connsiteY4" fmla="*/ 735356 h 1039251"/>
                <a:gd name="connsiteX5" fmla="*/ 1071686 w 2074600"/>
                <a:gd name="connsiteY5" fmla="*/ 947041 h 1039251"/>
                <a:gd name="connsiteX6" fmla="*/ 1951851 w 2074600"/>
                <a:gd name="connsiteY6" fmla="*/ 947041 h 1039251"/>
                <a:gd name="connsiteX7" fmla="*/ 1808574 w 2074600"/>
                <a:gd name="connsiteY7" fmla="*/ 470526 h 1039251"/>
                <a:gd name="connsiteX8" fmla="*/ 1688693 w 2074600"/>
                <a:gd name="connsiteY8" fmla="*/ 421170 h 1039251"/>
                <a:gd name="connsiteX9" fmla="*/ 1523467 w 2074600"/>
                <a:gd name="connsiteY9" fmla="*/ 292710 h 1039251"/>
                <a:gd name="connsiteX10" fmla="*/ 1030329 w 2074600"/>
                <a:gd name="connsiteY10" fmla="*/ 127885 h 1039251"/>
                <a:gd name="connsiteX11" fmla="*/ 924954 w 2074600"/>
                <a:gd name="connsiteY11" fmla="*/ 206810 h 1039251"/>
                <a:gd name="connsiteX12" fmla="*/ 730203 w 2074600"/>
                <a:gd name="connsiteY12" fmla="*/ 279786 h 1039251"/>
                <a:gd name="connsiteX13" fmla="*/ 430613 w 2074600"/>
                <a:gd name="connsiteY13" fmla="*/ 503616 h 1039251"/>
                <a:gd name="connsiteX14" fmla="*/ 306053 w 2074600"/>
                <a:gd name="connsiteY14" fmla="*/ 669733 h 1039251"/>
                <a:gd name="connsiteX15" fmla="*/ 98824 w 2074600"/>
                <a:gd name="connsiteY15" fmla="*/ 947041 h 1039251"/>
                <a:gd name="connsiteX16" fmla="*/ 570455 w 2074600"/>
                <a:gd name="connsiteY16" fmla="*/ 947041 h 1039251"/>
                <a:gd name="connsiteX17" fmla="*/ 588216 w 2074600"/>
                <a:gd name="connsiteY17" fmla="*/ 1039251 h 1039251"/>
                <a:gd name="connsiteX18" fmla="*/ 0 w 2074600"/>
                <a:gd name="connsiteY18" fmla="*/ 1036172 h 1039251"/>
                <a:gd name="connsiteX19" fmla="*/ 3565 w 2074600"/>
                <a:gd name="connsiteY19" fmla="*/ 988264 h 1039251"/>
                <a:gd name="connsiteX20" fmla="*/ 264607 w 2074600"/>
                <a:gd name="connsiteY20" fmla="*/ 590518 h 1039251"/>
                <a:gd name="connsiteX21" fmla="*/ 342596 w 2074600"/>
                <a:gd name="connsiteY21" fmla="*/ 486124 h 1039251"/>
                <a:gd name="connsiteX22" fmla="*/ 737891 w 2074600"/>
                <a:gd name="connsiteY22" fmla="*/ 190655 h 1039251"/>
                <a:gd name="connsiteX23" fmla="*/ 858886 w 2074600"/>
                <a:gd name="connsiteY23" fmla="*/ 146090 h 1039251"/>
                <a:gd name="connsiteX24" fmla="*/ 1504437 w 2074600"/>
                <a:gd name="connsiteY24" fmla="*/ 121947 h 1039251"/>
                <a:gd name="connsiteX25" fmla="*/ 1602459 w 2074600"/>
                <a:gd name="connsiteY25" fmla="*/ 252824 h 1039251"/>
                <a:gd name="connsiteX26" fmla="*/ 1707076 w 2074600"/>
                <a:gd name="connsiteY26" fmla="*/ 334156 h 1039251"/>
                <a:gd name="connsiteX27" fmla="*/ 2063577 w 2074600"/>
                <a:gd name="connsiteY27" fmla="*/ 891680 h 1039251"/>
                <a:gd name="connsiteX28" fmla="*/ 2018699 w 2074600"/>
                <a:gd name="connsiteY28" fmla="*/ 1012775 h 1039251"/>
                <a:gd name="connsiteX0" fmla="*/ 2018699 w 2074600"/>
                <a:gd name="connsiteY0" fmla="*/ 1012775 h 1036172"/>
                <a:gd name="connsiteX1" fmla="*/ 2005998 w 2074600"/>
                <a:gd name="connsiteY1" fmla="*/ 1036172 h 1036172"/>
                <a:gd name="connsiteX2" fmla="*/ 1071686 w 2074600"/>
                <a:gd name="connsiteY2" fmla="*/ 1036172 h 1036172"/>
                <a:gd name="connsiteX3" fmla="*/ 773655 w 2074600"/>
                <a:gd name="connsiteY3" fmla="*/ 735356 h 1036172"/>
                <a:gd name="connsiteX4" fmla="*/ 862785 w 2074600"/>
                <a:gd name="connsiteY4" fmla="*/ 735356 h 1036172"/>
                <a:gd name="connsiteX5" fmla="*/ 1071686 w 2074600"/>
                <a:gd name="connsiteY5" fmla="*/ 947041 h 1036172"/>
                <a:gd name="connsiteX6" fmla="*/ 1951851 w 2074600"/>
                <a:gd name="connsiteY6" fmla="*/ 947041 h 1036172"/>
                <a:gd name="connsiteX7" fmla="*/ 1808574 w 2074600"/>
                <a:gd name="connsiteY7" fmla="*/ 470526 h 1036172"/>
                <a:gd name="connsiteX8" fmla="*/ 1688693 w 2074600"/>
                <a:gd name="connsiteY8" fmla="*/ 421170 h 1036172"/>
                <a:gd name="connsiteX9" fmla="*/ 1523467 w 2074600"/>
                <a:gd name="connsiteY9" fmla="*/ 292710 h 1036172"/>
                <a:gd name="connsiteX10" fmla="*/ 1030329 w 2074600"/>
                <a:gd name="connsiteY10" fmla="*/ 127885 h 1036172"/>
                <a:gd name="connsiteX11" fmla="*/ 924954 w 2074600"/>
                <a:gd name="connsiteY11" fmla="*/ 206810 h 1036172"/>
                <a:gd name="connsiteX12" fmla="*/ 730203 w 2074600"/>
                <a:gd name="connsiteY12" fmla="*/ 279786 h 1036172"/>
                <a:gd name="connsiteX13" fmla="*/ 430613 w 2074600"/>
                <a:gd name="connsiteY13" fmla="*/ 503616 h 1036172"/>
                <a:gd name="connsiteX14" fmla="*/ 306053 w 2074600"/>
                <a:gd name="connsiteY14" fmla="*/ 669733 h 1036172"/>
                <a:gd name="connsiteX15" fmla="*/ 98824 w 2074600"/>
                <a:gd name="connsiteY15" fmla="*/ 947041 h 1036172"/>
                <a:gd name="connsiteX16" fmla="*/ 570455 w 2074600"/>
                <a:gd name="connsiteY16" fmla="*/ 947041 h 1036172"/>
                <a:gd name="connsiteX17" fmla="*/ 582058 w 2074600"/>
                <a:gd name="connsiteY17" fmla="*/ 1033094 h 1036172"/>
                <a:gd name="connsiteX18" fmla="*/ 0 w 2074600"/>
                <a:gd name="connsiteY18" fmla="*/ 1036172 h 1036172"/>
                <a:gd name="connsiteX19" fmla="*/ 3565 w 2074600"/>
                <a:gd name="connsiteY19" fmla="*/ 988264 h 1036172"/>
                <a:gd name="connsiteX20" fmla="*/ 264607 w 2074600"/>
                <a:gd name="connsiteY20" fmla="*/ 590518 h 1036172"/>
                <a:gd name="connsiteX21" fmla="*/ 342596 w 2074600"/>
                <a:gd name="connsiteY21" fmla="*/ 486124 h 1036172"/>
                <a:gd name="connsiteX22" fmla="*/ 737891 w 2074600"/>
                <a:gd name="connsiteY22" fmla="*/ 190655 h 1036172"/>
                <a:gd name="connsiteX23" fmla="*/ 858886 w 2074600"/>
                <a:gd name="connsiteY23" fmla="*/ 146090 h 1036172"/>
                <a:gd name="connsiteX24" fmla="*/ 1504437 w 2074600"/>
                <a:gd name="connsiteY24" fmla="*/ 121947 h 1036172"/>
                <a:gd name="connsiteX25" fmla="*/ 1602459 w 2074600"/>
                <a:gd name="connsiteY25" fmla="*/ 252824 h 1036172"/>
                <a:gd name="connsiteX26" fmla="*/ 1707076 w 2074600"/>
                <a:gd name="connsiteY26" fmla="*/ 334156 h 1036172"/>
                <a:gd name="connsiteX27" fmla="*/ 2063577 w 2074600"/>
                <a:gd name="connsiteY27" fmla="*/ 891680 h 1036172"/>
                <a:gd name="connsiteX28" fmla="*/ 2018699 w 2074600"/>
                <a:gd name="connsiteY28" fmla="*/ 1012775 h 1036172"/>
                <a:gd name="connsiteX0" fmla="*/ 2018699 w 2074600"/>
                <a:gd name="connsiteY0" fmla="*/ 1012775 h 1036172"/>
                <a:gd name="connsiteX1" fmla="*/ 2005998 w 2074600"/>
                <a:gd name="connsiteY1" fmla="*/ 1036172 h 1036172"/>
                <a:gd name="connsiteX2" fmla="*/ 1071686 w 2074600"/>
                <a:gd name="connsiteY2" fmla="*/ 1036172 h 1036172"/>
                <a:gd name="connsiteX3" fmla="*/ 773655 w 2074600"/>
                <a:gd name="connsiteY3" fmla="*/ 735356 h 1036172"/>
                <a:gd name="connsiteX4" fmla="*/ 862785 w 2074600"/>
                <a:gd name="connsiteY4" fmla="*/ 735356 h 1036172"/>
                <a:gd name="connsiteX5" fmla="*/ 1071686 w 2074600"/>
                <a:gd name="connsiteY5" fmla="*/ 947041 h 1036172"/>
                <a:gd name="connsiteX6" fmla="*/ 1951851 w 2074600"/>
                <a:gd name="connsiteY6" fmla="*/ 947041 h 1036172"/>
                <a:gd name="connsiteX7" fmla="*/ 1808574 w 2074600"/>
                <a:gd name="connsiteY7" fmla="*/ 470526 h 1036172"/>
                <a:gd name="connsiteX8" fmla="*/ 1688693 w 2074600"/>
                <a:gd name="connsiteY8" fmla="*/ 421170 h 1036172"/>
                <a:gd name="connsiteX9" fmla="*/ 1523467 w 2074600"/>
                <a:gd name="connsiteY9" fmla="*/ 292710 h 1036172"/>
                <a:gd name="connsiteX10" fmla="*/ 1030329 w 2074600"/>
                <a:gd name="connsiteY10" fmla="*/ 127885 h 1036172"/>
                <a:gd name="connsiteX11" fmla="*/ 924954 w 2074600"/>
                <a:gd name="connsiteY11" fmla="*/ 206810 h 1036172"/>
                <a:gd name="connsiteX12" fmla="*/ 730203 w 2074600"/>
                <a:gd name="connsiteY12" fmla="*/ 279786 h 1036172"/>
                <a:gd name="connsiteX13" fmla="*/ 430613 w 2074600"/>
                <a:gd name="connsiteY13" fmla="*/ 503616 h 1036172"/>
                <a:gd name="connsiteX14" fmla="*/ 306053 w 2074600"/>
                <a:gd name="connsiteY14" fmla="*/ 669733 h 1036172"/>
                <a:gd name="connsiteX15" fmla="*/ 98824 w 2074600"/>
                <a:gd name="connsiteY15" fmla="*/ 947041 h 1036172"/>
                <a:gd name="connsiteX16" fmla="*/ 570455 w 2074600"/>
                <a:gd name="connsiteY16" fmla="*/ 947041 h 1036172"/>
                <a:gd name="connsiteX17" fmla="*/ 582058 w 2074600"/>
                <a:gd name="connsiteY17" fmla="*/ 1033094 h 1036172"/>
                <a:gd name="connsiteX18" fmla="*/ 0 w 2074600"/>
                <a:gd name="connsiteY18" fmla="*/ 1036172 h 1036172"/>
                <a:gd name="connsiteX19" fmla="*/ 3565 w 2074600"/>
                <a:gd name="connsiteY19" fmla="*/ 988264 h 1036172"/>
                <a:gd name="connsiteX20" fmla="*/ 264607 w 2074600"/>
                <a:gd name="connsiteY20" fmla="*/ 590518 h 1036172"/>
                <a:gd name="connsiteX21" fmla="*/ 342596 w 2074600"/>
                <a:gd name="connsiteY21" fmla="*/ 486124 h 1036172"/>
                <a:gd name="connsiteX22" fmla="*/ 737891 w 2074600"/>
                <a:gd name="connsiteY22" fmla="*/ 190655 h 1036172"/>
                <a:gd name="connsiteX23" fmla="*/ 858886 w 2074600"/>
                <a:gd name="connsiteY23" fmla="*/ 146090 h 1036172"/>
                <a:gd name="connsiteX24" fmla="*/ 1504437 w 2074600"/>
                <a:gd name="connsiteY24" fmla="*/ 121947 h 1036172"/>
                <a:gd name="connsiteX25" fmla="*/ 1602459 w 2074600"/>
                <a:gd name="connsiteY25" fmla="*/ 252824 h 1036172"/>
                <a:gd name="connsiteX26" fmla="*/ 1707076 w 2074600"/>
                <a:gd name="connsiteY26" fmla="*/ 334156 h 1036172"/>
                <a:gd name="connsiteX27" fmla="*/ 2063577 w 2074600"/>
                <a:gd name="connsiteY27" fmla="*/ 891680 h 1036172"/>
                <a:gd name="connsiteX28" fmla="*/ 2018699 w 2074600"/>
                <a:gd name="connsiteY28" fmla="*/ 1012775 h 1036172"/>
                <a:gd name="connsiteX0" fmla="*/ 2018699 w 2074600"/>
                <a:gd name="connsiteY0" fmla="*/ 1012775 h 1036172"/>
                <a:gd name="connsiteX1" fmla="*/ 2005998 w 2074600"/>
                <a:gd name="connsiteY1" fmla="*/ 1036172 h 1036172"/>
                <a:gd name="connsiteX2" fmla="*/ 1071686 w 2074600"/>
                <a:gd name="connsiteY2" fmla="*/ 1036172 h 1036172"/>
                <a:gd name="connsiteX3" fmla="*/ 773655 w 2074600"/>
                <a:gd name="connsiteY3" fmla="*/ 735356 h 1036172"/>
                <a:gd name="connsiteX4" fmla="*/ 862785 w 2074600"/>
                <a:gd name="connsiteY4" fmla="*/ 735356 h 1036172"/>
                <a:gd name="connsiteX5" fmla="*/ 1071686 w 2074600"/>
                <a:gd name="connsiteY5" fmla="*/ 947041 h 1036172"/>
                <a:gd name="connsiteX6" fmla="*/ 1951851 w 2074600"/>
                <a:gd name="connsiteY6" fmla="*/ 947041 h 1036172"/>
                <a:gd name="connsiteX7" fmla="*/ 1808574 w 2074600"/>
                <a:gd name="connsiteY7" fmla="*/ 470526 h 1036172"/>
                <a:gd name="connsiteX8" fmla="*/ 1688693 w 2074600"/>
                <a:gd name="connsiteY8" fmla="*/ 421170 h 1036172"/>
                <a:gd name="connsiteX9" fmla="*/ 1523467 w 2074600"/>
                <a:gd name="connsiteY9" fmla="*/ 292710 h 1036172"/>
                <a:gd name="connsiteX10" fmla="*/ 1030329 w 2074600"/>
                <a:gd name="connsiteY10" fmla="*/ 127885 h 1036172"/>
                <a:gd name="connsiteX11" fmla="*/ 924954 w 2074600"/>
                <a:gd name="connsiteY11" fmla="*/ 206810 h 1036172"/>
                <a:gd name="connsiteX12" fmla="*/ 730203 w 2074600"/>
                <a:gd name="connsiteY12" fmla="*/ 279786 h 1036172"/>
                <a:gd name="connsiteX13" fmla="*/ 430613 w 2074600"/>
                <a:gd name="connsiteY13" fmla="*/ 503616 h 1036172"/>
                <a:gd name="connsiteX14" fmla="*/ 306053 w 2074600"/>
                <a:gd name="connsiteY14" fmla="*/ 669733 h 1036172"/>
                <a:gd name="connsiteX15" fmla="*/ 98824 w 2074600"/>
                <a:gd name="connsiteY15" fmla="*/ 947041 h 1036172"/>
                <a:gd name="connsiteX16" fmla="*/ 570455 w 2074600"/>
                <a:gd name="connsiteY16" fmla="*/ 947041 h 1036172"/>
                <a:gd name="connsiteX17" fmla="*/ 557428 w 2074600"/>
                <a:gd name="connsiteY17" fmla="*/ 1033094 h 1036172"/>
                <a:gd name="connsiteX18" fmla="*/ 0 w 2074600"/>
                <a:gd name="connsiteY18" fmla="*/ 1036172 h 1036172"/>
                <a:gd name="connsiteX19" fmla="*/ 3565 w 2074600"/>
                <a:gd name="connsiteY19" fmla="*/ 988264 h 1036172"/>
                <a:gd name="connsiteX20" fmla="*/ 264607 w 2074600"/>
                <a:gd name="connsiteY20" fmla="*/ 590518 h 1036172"/>
                <a:gd name="connsiteX21" fmla="*/ 342596 w 2074600"/>
                <a:gd name="connsiteY21" fmla="*/ 486124 h 1036172"/>
                <a:gd name="connsiteX22" fmla="*/ 737891 w 2074600"/>
                <a:gd name="connsiteY22" fmla="*/ 190655 h 1036172"/>
                <a:gd name="connsiteX23" fmla="*/ 858886 w 2074600"/>
                <a:gd name="connsiteY23" fmla="*/ 146090 h 1036172"/>
                <a:gd name="connsiteX24" fmla="*/ 1504437 w 2074600"/>
                <a:gd name="connsiteY24" fmla="*/ 121947 h 1036172"/>
                <a:gd name="connsiteX25" fmla="*/ 1602459 w 2074600"/>
                <a:gd name="connsiteY25" fmla="*/ 252824 h 1036172"/>
                <a:gd name="connsiteX26" fmla="*/ 1707076 w 2074600"/>
                <a:gd name="connsiteY26" fmla="*/ 334156 h 1036172"/>
                <a:gd name="connsiteX27" fmla="*/ 2063577 w 2074600"/>
                <a:gd name="connsiteY27" fmla="*/ 891680 h 1036172"/>
                <a:gd name="connsiteX28" fmla="*/ 2018699 w 2074600"/>
                <a:gd name="connsiteY28" fmla="*/ 1012775 h 1036172"/>
                <a:gd name="connsiteX0" fmla="*/ 2018699 w 2074600"/>
                <a:gd name="connsiteY0" fmla="*/ 1012775 h 1036172"/>
                <a:gd name="connsiteX1" fmla="*/ 2005998 w 2074600"/>
                <a:gd name="connsiteY1" fmla="*/ 1036172 h 1036172"/>
                <a:gd name="connsiteX2" fmla="*/ 1071686 w 2074600"/>
                <a:gd name="connsiteY2" fmla="*/ 1036172 h 1036172"/>
                <a:gd name="connsiteX3" fmla="*/ 773655 w 2074600"/>
                <a:gd name="connsiteY3" fmla="*/ 735356 h 1036172"/>
                <a:gd name="connsiteX4" fmla="*/ 862785 w 2074600"/>
                <a:gd name="connsiteY4" fmla="*/ 735356 h 1036172"/>
                <a:gd name="connsiteX5" fmla="*/ 1071686 w 2074600"/>
                <a:gd name="connsiteY5" fmla="*/ 947041 h 1036172"/>
                <a:gd name="connsiteX6" fmla="*/ 1951851 w 2074600"/>
                <a:gd name="connsiteY6" fmla="*/ 947041 h 1036172"/>
                <a:gd name="connsiteX7" fmla="*/ 1808574 w 2074600"/>
                <a:gd name="connsiteY7" fmla="*/ 470526 h 1036172"/>
                <a:gd name="connsiteX8" fmla="*/ 1688693 w 2074600"/>
                <a:gd name="connsiteY8" fmla="*/ 421170 h 1036172"/>
                <a:gd name="connsiteX9" fmla="*/ 1523467 w 2074600"/>
                <a:gd name="connsiteY9" fmla="*/ 292710 h 1036172"/>
                <a:gd name="connsiteX10" fmla="*/ 1030329 w 2074600"/>
                <a:gd name="connsiteY10" fmla="*/ 127885 h 1036172"/>
                <a:gd name="connsiteX11" fmla="*/ 924954 w 2074600"/>
                <a:gd name="connsiteY11" fmla="*/ 206810 h 1036172"/>
                <a:gd name="connsiteX12" fmla="*/ 730203 w 2074600"/>
                <a:gd name="connsiteY12" fmla="*/ 279786 h 1036172"/>
                <a:gd name="connsiteX13" fmla="*/ 430613 w 2074600"/>
                <a:gd name="connsiteY13" fmla="*/ 503616 h 1036172"/>
                <a:gd name="connsiteX14" fmla="*/ 306053 w 2074600"/>
                <a:gd name="connsiteY14" fmla="*/ 669733 h 1036172"/>
                <a:gd name="connsiteX15" fmla="*/ 98824 w 2074600"/>
                <a:gd name="connsiteY15" fmla="*/ 947041 h 1036172"/>
                <a:gd name="connsiteX16" fmla="*/ 570455 w 2074600"/>
                <a:gd name="connsiteY16" fmla="*/ 947041 h 1036172"/>
                <a:gd name="connsiteX17" fmla="*/ 566665 w 2074600"/>
                <a:gd name="connsiteY17" fmla="*/ 1033094 h 1036172"/>
                <a:gd name="connsiteX18" fmla="*/ 0 w 2074600"/>
                <a:gd name="connsiteY18" fmla="*/ 1036172 h 1036172"/>
                <a:gd name="connsiteX19" fmla="*/ 3565 w 2074600"/>
                <a:gd name="connsiteY19" fmla="*/ 988264 h 1036172"/>
                <a:gd name="connsiteX20" fmla="*/ 264607 w 2074600"/>
                <a:gd name="connsiteY20" fmla="*/ 590518 h 1036172"/>
                <a:gd name="connsiteX21" fmla="*/ 342596 w 2074600"/>
                <a:gd name="connsiteY21" fmla="*/ 486124 h 1036172"/>
                <a:gd name="connsiteX22" fmla="*/ 737891 w 2074600"/>
                <a:gd name="connsiteY22" fmla="*/ 190655 h 1036172"/>
                <a:gd name="connsiteX23" fmla="*/ 858886 w 2074600"/>
                <a:gd name="connsiteY23" fmla="*/ 146090 h 1036172"/>
                <a:gd name="connsiteX24" fmla="*/ 1504437 w 2074600"/>
                <a:gd name="connsiteY24" fmla="*/ 121947 h 1036172"/>
                <a:gd name="connsiteX25" fmla="*/ 1602459 w 2074600"/>
                <a:gd name="connsiteY25" fmla="*/ 252824 h 1036172"/>
                <a:gd name="connsiteX26" fmla="*/ 1707076 w 2074600"/>
                <a:gd name="connsiteY26" fmla="*/ 334156 h 1036172"/>
                <a:gd name="connsiteX27" fmla="*/ 2063577 w 2074600"/>
                <a:gd name="connsiteY27" fmla="*/ 891680 h 1036172"/>
                <a:gd name="connsiteX28" fmla="*/ 2018699 w 2074600"/>
                <a:gd name="connsiteY28" fmla="*/ 1012775 h 1036172"/>
                <a:gd name="connsiteX0" fmla="*/ 2018699 w 2074600"/>
                <a:gd name="connsiteY0" fmla="*/ 1012775 h 1036172"/>
                <a:gd name="connsiteX1" fmla="*/ 2005998 w 2074600"/>
                <a:gd name="connsiteY1" fmla="*/ 1036172 h 1036172"/>
                <a:gd name="connsiteX2" fmla="*/ 1071686 w 2074600"/>
                <a:gd name="connsiteY2" fmla="*/ 1036172 h 1036172"/>
                <a:gd name="connsiteX3" fmla="*/ 773655 w 2074600"/>
                <a:gd name="connsiteY3" fmla="*/ 735356 h 1036172"/>
                <a:gd name="connsiteX4" fmla="*/ 862785 w 2074600"/>
                <a:gd name="connsiteY4" fmla="*/ 735356 h 1036172"/>
                <a:gd name="connsiteX5" fmla="*/ 1071686 w 2074600"/>
                <a:gd name="connsiteY5" fmla="*/ 947041 h 1036172"/>
                <a:gd name="connsiteX6" fmla="*/ 1951851 w 2074600"/>
                <a:gd name="connsiteY6" fmla="*/ 947041 h 1036172"/>
                <a:gd name="connsiteX7" fmla="*/ 1808574 w 2074600"/>
                <a:gd name="connsiteY7" fmla="*/ 470526 h 1036172"/>
                <a:gd name="connsiteX8" fmla="*/ 1688693 w 2074600"/>
                <a:gd name="connsiteY8" fmla="*/ 421170 h 1036172"/>
                <a:gd name="connsiteX9" fmla="*/ 1523467 w 2074600"/>
                <a:gd name="connsiteY9" fmla="*/ 292710 h 1036172"/>
                <a:gd name="connsiteX10" fmla="*/ 1030329 w 2074600"/>
                <a:gd name="connsiteY10" fmla="*/ 127885 h 1036172"/>
                <a:gd name="connsiteX11" fmla="*/ 924954 w 2074600"/>
                <a:gd name="connsiteY11" fmla="*/ 206810 h 1036172"/>
                <a:gd name="connsiteX12" fmla="*/ 730203 w 2074600"/>
                <a:gd name="connsiteY12" fmla="*/ 279786 h 1036172"/>
                <a:gd name="connsiteX13" fmla="*/ 430613 w 2074600"/>
                <a:gd name="connsiteY13" fmla="*/ 503616 h 1036172"/>
                <a:gd name="connsiteX14" fmla="*/ 306053 w 2074600"/>
                <a:gd name="connsiteY14" fmla="*/ 669733 h 1036172"/>
                <a:gd name="connsiteX15" fmla="*/ 98824 w 2074600"/>
                <a:gd name="connsiteY15" fmla="*/ 947041 h 1036172"/>
                <a:gd name="connsiteX16" fmla="*/ 570455 w 2074600"/>
                <a:gd name="connsiteY16" fmla="*/ 947041 h 1036172"/>
                <a:gd name="connsiteX17" fmla="*/ 572822 w 2074600"/>
                <a:gd name="connsiteY17" fmla="*/ 1033094 h 1036172"/>
                <a:gd name="connsiteX18" fmla="*/ 0 w 2074600"/>
                <a:gd name="connsiteY18" fmla="*/ 1036172 h 1036172"/>
                <a:gd name="connsiteX19" fmla="*/ 3565 w 2074600"/>
                <a:gd name="connsiteY19" fmla="*/ 988264 h 1036172"/>
                <a:gd name="connsiteX20" fmla="*/ 264607 w 2074600"/>
                <a:gd name="connsiteY20" fmla="*/ 590518 h 1036172"/>
                <a:gd name="connsiteX21" fmla="*/ 342596 w 2074600"/>
                <a:gd name="connsiteY21" fmla="*/ 486124 h 1036172"/>
                <a:gd name="connsiteX22" fmla="*/ 737891 w 2074600"/>
                <a:gd name="connsiteY22" fmla="*/ 190655 h 1036172"/>
                <a:gd name="connsiteX23" fmla="*/ 858886 w 2074600"/>
                <a:gd name="connsiteY23" fmla="*/ 146090 h 1036172"/>
                <a:gd name="connsiteX24" fmla="*/ 1504437 w 2074600"/>
                <a:gd name="connsiteY24" fmla="*/ 121947 h 1036172"/>
                <a:gd name="connsiteX25" fmla="*/ 1602459 w 2074600"/>
                <a:gd name="connsiteY25" fmla="*/ 252824 h 1036172"/>
                <a:gd name="connsiteX26" fmla="*/ 1707076 w 2074600"/>
                <a:gd name="connsiteY26" fmla="*/ 334156 h 1036172"/>
                <a:gd name="connsiteX27" fmla="*/ 2063577 w 2074600"/>
                <a:gd name="connsiteY27" fmla="*/ 891680 h 1036172"/>
                <a:gd name="connsiteX28" fmla="*/ 2018699 w 2074600"/>
                <a:gd name="connsiteY28" fmla="*/ 1012775 h 1036172"/>
                <a:gd name="connsiteX0" fmla="*/ 2018699 w 2074600"/>
                <a:gd name="connsiteY0" fmla="*/ 1012775 h 1036172"/>
                <a:gd name="connsiteX1" fmla="*/ 2005998 w 2074600"/>
                <a:gd name="connsiteY1" fmla="*/ 1036172 h 1036172"/>
                <a:gd name="connsiteX2" fmla="*/ 1071686 w 2074600"/>
                <a:gd name="connsiteY2" fmla="*/ 1036172 h 1036172"/>
                <a:gd name="connsiteX3" fmla="*/ 773655 w 2074600"/>
                <a:gd name="connsiteY3" fmla="*/ 735356 h 1036172"/>
                <a:gd name="connsiteX4" fmla="*/ 862785 w 2074600"/>
                <a:gd name="connsiteY4" fmla="*/ 735356 h 1036172"/>
                <a:gd name="connsiteX5" fmla="*/ 1071686 w 2074600"/>
                <a:gd name="connsiteY5" fmla="*/ 947041 h 1036172"/>
                <a:gd name="connsiteX6" fmla="*/ 1951851 w 2074600"/>
                <a:gd name="connsiteY6" fmla="*/ 947041 h 1036172"/>
                <a:gd name="connsiteX7" fmla="*/ 1808574 w 2074600"/>
                <a:gd name="connsiteY7" fmla="*/ 470526 h 1036172"/>
                <a:gd name="connsiteX8" fmla="*/ 1688693 w 2074600"/>
                <a:gd name="connsiteY8" fmla="*/ 421170 h 1036172"/>
                <a:gd name="connsiteX9" fmla="*/ 1523467 w 2074600"/>
                <a:gd name="connsiteY9" fmla="*/ 292710 h 1036172"/>
                <a:gd name="connsiteX10" fmla="*/ 1030329 w 2074600"/>
                <a:gd name="connsiteY10" fmla="*/ 127885 h 1036172"/>
                <a:gd name="connsiteX11" fmla="*/ 924954 w 2074600"/>
                <a:gd name="connsiteY11" fmla="*/ 206810 h 1036172"/>
                <a:gd name="connsiteX12" fmla="*/ 730203 w 2074600"/>
                <a:gd name="connsiteY12" fmla="*/ 279786 h 1036172"/>
                <a:gd name="connsiteX13" fmla="*/ 430613 w 2074600"/>
                <a:gd name="connsiteY13" fmla="*/ 503616 h 1036172"/>
                <a:gd name="connsiteX14" fmla="*/ 306053 w 2074600"/>
                <a:gd name="connsiteY14" fmla="*/ 669733 h 1036172"/>
                <a:gd name="connsiteX15" fmla="*/ 98824 w 2074600"/>
                <a:gd name="connsiteY15" fmla="*/ 947041 h 1036172"/>
                <a:gd name="connsiteX16" fmla="*/ 570455 w 2074600"/>
                <a:gd name="connsiteY16" fmla="*/ 947041 h 1036172"/>
                <a:gd name="connsiteX17" fmla="*/ 572822 w 2074600"/>
                <a:gd name="connsiteY17" fmla="*/ 1033094 h 1036172"/>
                <a:gd name="connsiteX18" fmla="*/ 0 w 2074600"/>
                <a:gd name="connsiteY18" fmla="*/ 1036172 h 1036172"/>
                <a:gd name="connsiteX19" fmla="*/ 3565 w 2074600"/>
                <a:gd name="connsiteY19" fmla="*/ 988264 h 1036172"/>
                <a:gd name="connsiteX20" fmla="*/ 264607 w 2074600"/>
                <a:gd name="connsiteY20" fmla="*/ 590518 h 1036172"/>
                <a:gd name="connsiteX21" fmla="*/ 342596 w 2074600"/>
                <a:gd name="connsiteY21" fmla="*/ 486124 h 1036172"/>
                <a:gd name="connsiteX22" fmla="*/ 737891 w 2074600"/>
                <a:gd name="connsiteY22" fmla="*/ 190655 h 1036172"/>
                <a:gd name="connsiteX23" fmla="*/ 858886 w 2074600"/>
                <a:gd name="connsiteY23" fmla="*/ 146090 h 1036172"/>
                <a:gd name="connsiteX24" fmla="*/ 1504437 w 2074600"/>
                <a:gd name="connsiteY24" fmla="*/ 121947 h 1036172"/>
                <a:gd name="connsiteX25" fmla="*/ 1602459 w 2074600"/>
                <a:gd name="connsiteY25" fmla="*/ 252824 h 1036172"/>
                <a:gd name="connsiteX26" fmla="*/ 1707076 w 2074600"/>
                <a:gd name="connsiteY26" fmla="*/ 334156 h 1036172"/>
                <a:gd name="connsiteX27" fmla="*/ 2063577 w 2074600"/>
                <a:gd name="connsiteY27" fmla="*/ 891680 h 1036172"/>
                <a:gd name="connsiteX28" fmla="*/ 2018699 w 2074600"/>
                <a:gd name="connsiteY28" fmla="*/ 1012775 h 1036172"/>
                <a:gd name="connsiteX0" fmla="*/ 2018699 w 2074600"/>
                <a:gd name="connsiteY0" fmla="*/ 1012775 h 1036172"/>
                <a:gd name="connsiteX1" fmla="*/ 2005998 w 2074600"/>
                <a:gd name="connsiteY1" fmla="*/ 1036172 h 1036172"/>
                <a:gd name="connsiteX2" fmla="*/ 1071686 w 2074600"/>
                <a:gd name="connsiteY2" fmla="*/ 1036172 h 1036172"/>
                <a:gd name="connsiteX3" fmla="*/ 773655 w 2074600"/>
                <a:gd name="connsiteY3" fmla="*/ 735356 h 1036172"/>
                <a:gd name="connsiteX4" fmla="*/ 862785 w 2074600"/>
                <a:gd name="connsiteY4" fmla="*/ 735356 h 1036172"/>
                <a:gd name="connsiteX5" fmla="*/ 1071686 w 2074600"/>
                <a:gd name="connsiteY5" fmla="*/ 947041 h 1036172"/>
                <a:gd name="connsiteX6" fmla="*/ 1951851 w 2074600"/>
                <a:gd name="connsiteY6" fmla="*/ 947041 h 1036172"/>
                <a:gd name="connsiteX7" fmla="*/ 1808574 w 2074600"/>
                <a:gd name="connsiteY7" fmla="*/ 470526 h 1036172"/>
                <a:gd name="connsiteX8" fmla="*/ 1688693 w 2074600"/>
                <a:gd name="connsiteY8" fmla="*/ 421170 h 1036172"/>
                <a:gd name="connsiteX9" fmla="*/ 1523467 w 2074600"/>
                <a:gd name="connsiteY9" fmla="*/ 292710 h 1036172"/>
                <a:gd name="connsiteX10" fmla="*/ 1030329 w 2074600"/>
                <a:gd name="connsiteY10" fmla="*/ 127885 h 1036172"/>
                <a:gd name="connsiteX11" fmla="*/ 924954 w 2074600"/>
                <a:gd name="connsiteY11" fmla="*/ 206810 h 1036172"/>
                <a:gd name="connsiteX12" fmla="*/ 730203 w 2074600"/>
                <a:gd name="connsiteY12" fmla="*/ 279786 h 1036172"/>
                <a:gd name="connsiteX13" fmla="*/ 430613 w 2074600"/>
                <a:gd name="connsiteY13" fmla="*/ 503616 h 1036172"/>
                <a:gd name="connsiteX14" fmla="*/ 306053 w 2074600"/>
                <a:gd name="connsiteY14" fmla="*/ 669733 h 1036172"/>
                <a:gd name="connsiteX15" fmla="*/ 98824 w 2074600"/>
                <a:gd name="connsiteY15" fmla="*/ 947041 h 1036172"/>
                <a:gd name="connsiteX16" fmla="*/ 570455 w 2074600"/>
                <a:gd name="connsiteY16" fmla="*/ 947041 h 1036172"/>
                <a:gd name="connsiteX17" fmla="*/ 572822 w 2074600"/>
                <a:gd name="connsiteY17" fmla="*/ 1035476 h 1036172"/>
                <a:gd name="connsiteX18" fmla="*/ 0 w 2074600"/>
                <a:gd name="connsiteY18" fmla="*/ 1036172 h 1036172"/>
                <a:gd name="connsiteX19" fmla="*/ 3565 w 2074600"/>
                <a:gd name="connsiteY19" fmla="*/ 988264 h 1036172"/>
                <a:gd name="connsiteX20" fmla="*/ 264607 w 2074600"/>
                <a:gd name="connsiteY20" fmla="*/ 590518 h 1036172"/>
                <a:gd name="connsiteX21" fmla="*/ 342596 w 2074600"/>
                <a:gd name="connsiteY21" fmla="*/ 486124 h 1036172"/>
                <a:gd name="connsiteX22" fmla="*/ 737891 w 2074600"/>
                <a:gd name="connsiteY22" fmla="*/ 190655 h 1036172"/>
                <a:gd name="connsiteX23" fmla="*/ 858886 w 2074600"/>
                <a:gd name="connsiteY23" fmla="*/ 146090 h 1036172"/>
                <a:gd name="connsiteX24" fmla="*/ 1504437 w 2074600"/>
                <a:gd name="connsiteY24" fmla="*/ 121947 h 1036172"/>
                <a:gd name="connsiteX25" fmla="*/ 1602459 w 2074600"/>
                <a:gd name="connsiteY25" fmla="*/ 252824 h 1036172"/>
                <a:gd name="connsiteX26" fmla="*/ 1707076 w 2074600"/>
                <a:gd name="connsiteY26" fmla="*/ 334156 h 1036172"/>
                <a:gd name="connsiteX27" fmla="*/ 2063577 w 2074600"/>
                <a:gd name="connsiteY27" fmla="*/ 891680 h 1036172"/>
                <a:gd name="connsiteX28" fmla="*/ 2018699 w 2074600"/>
                <a:gd name="connsiteY28" fmla="*/ 1012775 h 1036172"/>
                <a:gd name="connsiteX0" fmla="*/ 2018699 w 2074600"/>
                <a:gd name="connsiteY0" fmla="*/ 1012775 h 1036172"/>
                <a:gd name="connsiteX1" fmla="*/ 2005998 w 2074600"/>
                <a:gd name="connsiteY1" fmla="*/ 1036172 h 1036172"/>
                <a:gd name="connsiteX2" fmla="*/ 1071686 w 2074600"/>
                <a:gd name="connsiteY2" fmla="*/ 1036172 h 1036172"/>
                <a:gd name="connsiteX3" fmla="*/ 773655 w 2074600"/>
                <a:gd name="connsiteY3" fmla="*/ 735356 h 1036172"/>
                <a:gd name="connsiteX4" fmla="*/ 862785 w 2074600"/>
                <a:gd name="connsiteY4" fmla="*/ 735356 h 1036172"/>
                <a:gd name="connsiteX5" fmla="*/ 1071686 w 2074600"/>
                <a:gd name="connsiteY5" fmla="*/ 947041 h 1036172"/>
                <a:gd name="connsiteX6" fmla="*/ 1951851 w 2074600"/>
                <a:gd name="connsiteY6" fmla="*/ 947041 h 1036172"/>
                <a:gd name="connsiteX7" fmla="*/ 1808574 w 2074600"/>
                <a:gd name="connsiteY7" fmla="*/ 470526 h 1036172"/>
                <a:gd name="connsiteX8" fmla="*/ 1688693 w 2074600"/>
                <a:gd name="connsiteY8" fmla="*/ 421170 h 1036172"/>
                <a:gd name="connsiteX9" fmla="*/ 1523467 w 2074600"/>
                <a:gd name="connsiteY9" fmla="*/ 292710 h 1036172"/>
                <a:gd name="connsiteX10" fmla="*/ 1030329 w 2074600"/>
                <a:gd name="connsiteY10" fmla="*/ 127885 h 1036172"/>
                <a:gd name="connsiteX11" fmla="*/ 924954 w 2074600"/>
                <a:gd name="connsiteY11" fmla="*/ 206810 h 1036172"/>
                <a:gd name="connsiteX12" fmla="*/ 730203 w 2074600"/>
                <a:gd name="connsiteY12" fmla="*/ 279786 h 1036172"/>
                <a:gd name="connsiteX13" fmla="*/ 430613 w 2074600"/>
                <a:gd name="connsiteY13" fmla="*/ 503616 h 1036172"/>
                <a:gd name="connsiteX14" fmla="*/ 306053 w 2074600"/>
                <a:gd name="connsiteY14" fmla="*/ 669733 h 1036172"/>
                <a:gd name="connsiteX15" fmla="*/ 98824 w 2074600"/>
                <a:gd name="connsiteY15" fmla="*/ 947041 h 1036172"/>
                <a:gd name="connsiteX16" fmla="*/ 570455 w 2074600"/>
                <a:gd name="connsiteY16" fmla="*/ 947041 h 1036172"/>
                <a:gd name="connsiteX17" fmla="*/ 572822 w 2074600"/>
                <a:gd name="connsiteY17" fmla="*/ 1035476 h 1036172"/>
                <a:gd name="connsiteX18" fmla="*/ 0 w 2074600"/>
                <a:gd name="connsiteY18" fmla="*/ 1036172 h 1036172"/>
                <a:gd name="connsiteX19" fmla="*/ 3565 w 2074600"/>
                <a:gd name="connsiteY19" fmla="*/ 988264 h 1036172"/>
                <a:gd name="connsiteX20" fmla="*/ 264607 w 2074600"/>
                <a:gd name="connsiteY20" fmla="*/ 590518 h 1036172"/>
                <a:gd name="connsiteX21" fmla="*/ 342596 w 2074600"/>
                <a:gd name="connsiteY21" fmla="*/ 486124 h 1036172"/>
                <a:gd name="connsiteX22" fmla="*/ 737891 w 2074600"/>
                <a:gd name="connsiteY22" fmla="*/ 190655 h 1036172"/>
                <a:gd name="connsiteX23" fmla="*/ 858886 w 2074600"/>
                <a:gd name="connsiteY23" fmla="*/ 146090 h 1036172"/>
                <a:gd name="connsiteX24" fmla="*/ 1504437 w 2074600"/>
                <a:gd name="connsiteY24" fmla="*/ 121947 h 1036172"/>
                <a:gd name="connsiteX25" fmla="*/ 1602459 w 2074600"/>
                <a:gd name="connsiteY25" fmla="*/ 252824 h 1036172"/>
                <a:gd name="connsiteX26" fmla="*/ 1707076 w 2074600"/>
                <a:gd name="connsiteY26" fmla="*/ 334156 h 1036172"/>
                <a:gd name="connsiteX27" fmla="*/ 2063577 w 2074600"/>
                <a:gd name="connsiteY27" fmla="*/ 891680 h 1036172"/>
                <a:gd name="connsiteX28" fmla="*/ 2018699 w 2074600"/>
                <a:gd name="connsiteY28" fmla="*/ 1012775 h 1036172"/>
                <a:gd name="connsiteX0" fmla="*/ 2018699 w 2074600"/>
                <a:gd name="connsiteY0" fmla="*/ 1012775 h 1036172"/>
                <a:gd name="connsiteX1" fmla="*/ 2005998 w 2074600"/>
                <a:gd name="connsiteY1" fmla="*/ 1036172 h 1036172"/>
                <a:gd name="connsiteX2" fmla="*/ 1071686 w 2074600"/>
                <a:gd name="connsiteY2" fmla="*/ 1036172 h 1036172"/>
                <a:gd name="connsiteX3" fmla="*/ 773655 w 2074600"/>
                <a:gd name="connsiteY3" fmla="*/ 735356 h 1036172"/>
                <a:gd name="connsiteX4" fmla="*/ 1071686 w 2074600"/>
                <a:gd name="connsiteY4" fmla="*/ 947041 h 1036172"/>
                <a:gd name="connsiteX5" fmla="*/ 1951851 w 2074600"/>
                <a:gd name="connsiteY5" fmla="*/ 947041 h 1036172"/>
                <a:gd name="connsiteX6" fmla="*/ 1808574 w 2074600"/>
                <a:gd name="connsiteY6" fmla="*/ 470526 h 1036172"/>
                <a:gd name="connsiteX7" fmla="*/ 1688693 w 2074600"/>
                <a:gd name="connsiteY7" fmla="*/ 421170 h 1036172"/>
                <a:gd name="connsiteX8" fmla="*/ 1523467 w 2074600"/>
                <a:gd name="connsiteY8" fmla="*/ 292710 h 1036172"/>
                <a:gd name="connsiteX9" fmla="*/ 1030329 w 2074600"/>
                <a:gd name="connsiteY9" fmla="*/ 127885 h 1036172"/>
                <a:gd name="connsiteX10" fmla="*/ 924954 w 2074600"/>
                <a:gd name="connsiteY10" fmla="*/ 206810 h 1036172"/>
                <a:gd name="connsiteX11" fmla="*/ 730203 w 2074600"/>
                <a:gd name="connsiteY11" fmla="*/ 279786 h 1036172"/>
                <a:gd name="connsiteX12" fmla="*/ 430613 w 2074600"/>
                <a:gd name="connsiteY12" fmla="*/ 503616 h 1036172"/>
                <a:gd name="connsiteX13" fmla="*/ 306053 w 2074600"/>
                <a:gd name="connsiteY13" fmla="*/ 669733 h 1036172"/>
                <a:gd name="connsiteX14" fmla="*/ 98824 w 2074600"/>
                <a:gd name="connsiteY14" fmla="*/ 947041 h 1036172"/>
                <a:gd name="connsiteX15" fmla="*/ 570455 w 2074600"/>
                <a:gd name="connsiteY15" fmla="*/ 947041 h 1036172"/>
                <a:gd name="connsiteX16" fmla="*/ 572822 w 2074600"/>
                <a:gd name="connsiteY16" fmla="*/ 1035476 h 1036172"/>
                <a:gd name="connsiteX17" fmla="*/ 0 w 2074600"/>
                <a:gd name="connsiteY17" fmla="*/ 1036172 h 1036172"/>
                <a:gd name="connsiteX18" fmla="*/ 3565 w 2074600"/>
                <a:gd name="connsiteY18" fmla="*/ 988264 h 1036172"/>
                <a:gd name="connsiteX19" fmla="*/ 264607 w 2074600"/>
                <a:gd name="connsiteY19" fmla="*/ 590518 h 1036172"/>
                <a:gd name="connsiteX20" fmla="*/ 342596 w 2074600"/>
                <a:gd name="connsiteY20" fmla="*/ 486124 h 1036172"/>
                <a:gd name="connsiteX21" fmla="*/ 737891 w 2074600"/>
                <a:gd name="connsiteY21" fmla="*/ 190655 h 1036172"/>
                <a:gd name="connsiteX22" fmla="*/ 858886 w 2074600"/>
                <a:gd name="connsiteY22" fmla="*/ 146090 h 1036172"/>
                <a:gd name="connsiteX23" fmla="*/ 1504437 w 2074600"/>
                <a:gd name="connsiteY23" fmla="*/ 121947 h 1036172"/>
                <a:gd name="connsiteX24" fmla="*/ 1602459 w 2074600"/>
                <a:gd name="connsiteY24" fmla="*/ 252824 h 1036172"/>
                <a:gd name="connsiteX25" fmla="*/ 1707076 w 2074600"/>
                <a:gd name="connsiteY25" fmla="*/ 334156 h 1036172"/>
                <a:gd name="connsiteX26" fmla="*/ 2063577 w 2074600"/>
                <a:gd name="connsiteY26" fmla="*/ 891680 h 1036172"/>
                <a:gd name="connsiteX27" fmla="*/ 2018699 w 2074600"/>
                <a:gd name="connsiteY27" fmla="*/ 1012775 h 1036172"/>
                <a:gd name="connsiteX0" fmla="*/ 2018699 w 2074600"/>
                <a:gd name="connsiteY0" fmla="*/ 1012775 h 1036172"/>
                <a:gd name="connsiteX1" fmla="*/ 2005998 w 2074600"/>
                <a:gd name="connsiteY1" fmla="*/ 1036172 h 1036172"/>
                <a:gd name="connsiteX2" fmla="*/ 1071686 w 2074600"/>
                <a:gd name="connsiteY2" fmla="*/ 1036172 h 1036172"/>
                <a:gd name="connsiteX3" fmla="*/ 1071686 w 2074600"/>
                <a:gd name="connsiteY3" fmla="*/ 947041 h 1036172"/>
                <a:gd name="connsiteX4" fmla="*/ 1951851 w 2074600"/>
                <a:gd name="connsiteY4" fmla="*/ 947041 h 1036172"/>
                <a:gd name="connsiteX5" fmla="*/ 1808574 w 2074600"/>
                <a:gd name="connsiteY5" fmla="*/ 470526 h 1036172"/>
                <a:gd name="connsiteX6" fmla="*/ 1688693 w 2074600"/>
                <a:gd name="connsiteY6" fmla="*/ 421170 h 1036172"/>
                <a:gd name="connsiteX7" fmla="*/ 1523467 w 2074600"/>
                <a:gd name="connsiteY7" fmla="*/ 292710 h 1036172"/>
                <a:gd name="connsiteX8" fmla="*/ 1030329 w 2074600"/>
                <a:gd name="connsiteY8" fmla="*/ 127885 h 1036172"/>
                <a:gd name="connsiteX9" fmla="*/ 924954 w 2074600"/>
                <a:gd name="connsiteY9" fmla="*/ 206810 h 1036172"/>
                <a:gd name="connsiteX10" fmla="*/ 730203 w 2074600"/>
                <a:gd name="connsiteY10" fmla="*/ 279786 h 1036172"/>
                <a:gd name="connsiteX11" fmla="*/ 430613 w 2074600"/>
                <a:gd name="connsiteY11" fmla="*/ 503616 h 1036172"/>
                <a:gd name="connsiteX12" fmla="*/ 306053 w 2074600"/>
                <a:gd name="connsiteY12" fmla="*/ 669733 h 1036172"/>
                <a:gd name="connsiteX13" fmla="*/ 98824 w 2074600"/>
                <a:gd name="connsiteY13" fmla="*/ 947041 h 1036172"/>
                <a:gd name="connsiteX14" fmla="*/ 570455 w 2074600"/>
                <a:gd name="connsiteY14" fmla="*/ 947041 h 1036172"/>
                <a:gd name="connsiteX15" fmla="*/ 572822 w 2074600"/>
                <a:gd name="connsiteY15" fmla="*/ 1035476 h 1036172"/>
                <a:gd name="connsiteX16" fmla="*/ 0 w 2074600"/>
                <a:gd name="connsiteY16" fmla="*/ 1036172 h 1036172"/>
                <a:gd name="connsiteX17" fmla="*/ 3565 w 2074600"/>
                <a:gd name="connsiteY17" fmla="*/ 988264 h 1036172"/>
                <a:gd name="connsiteX18" fmla="*/ 264607 w 2074600"/>
                <a:gd name="connsiteY18" fmla="*/ 590518 h 1036172"/>
                <a:gd name="connsiteX19" fmla="*/ 342596 w 2074600"/>
                <a:gd name="connsiteY19" fmla="*/ 486124 h 1036172"/>
                <a:gd name="connsiteX20" fmla="*/ 737891 w 2074600"/>
                <a:gd name="connsiteY20" fmla="*/ 190655 h 1036172"/>
                <a:gd name="connsiteX21" fmla="*/ 858886 w 2074600"/>
                <a:gd name="connsiteY21" fmla="*/ 146090 h 1036172"/>
                <a:gd name="connsiteX22" fmla="*/ 1504437 w 2074600"/>
                <a:gd name="connsiteY22" fmla="*/ 121947 h 1036172"/>
                <a:gd name="connsiteX23" fmla="*/ 1602459 w 2074600"/>
                <a:gd name="connsiteY23" fmla="*/ 252824 h 1036172"/>
                <a:gd name="connsiteX24" fmla="*/ 1707076 w 2074600"/>
                <a:gd name="connsiteY24" fmla="*/ 334156 h 1036172"/>
                <a:gd name="connsiteX25" fmla="*/ 2063577 w 2074600"/>
                <a:gd name="connsiteY25" fmla="*/ 891680 h 1036172"/>
                <a:gd name="connsiteX26" fmla="*/ 2018699 w 2074600"/>
                <a:gd name="connsiteY26" fmla="*/ 1012775 h 1036172"/>
                <a:gd name="connsiteX0" fmla="*/ 2018699 w 2074600"/>
                <a:gd name="connsiteY0" fmla="*/ 1012775 h 1036172"/>
                <a:gd name="connsiteX1" fmla="*/ 2005998 w 2074600"/>
                <a:gd name="connsiteY1" fmla="*/ 1036172 h 1036172"/>
                <a:gd name="connsiteX2" fmla="*/ 1071686 w 2074600"/>
                <a:gd name="connsiteY2" fmla="*/ 1036172 h 1036172"/>
                <a:gd name="connsiteX3" fmla="*/ 1355055 w 2074600"/>
                <a:gd name="connsiteY3" fmla="*/ 944659 h 1036172"/>
                <a:gd name="connsiteX4" fmla="*/ 1951851 w 2074600"/>
                <a:gd name="connsiteY4" fmla="*/ 947041 h 1036172"/>
                <a:gd name="connsiteX5" fmla="*/ 1808574 w 2074600"/>
                <a:gd name="connsiteY5" fmla="*/ 470526 h 1036172"/>
                <a:gd name="connsiteX6" fmla="*/ 1688693 w 2074600"/>
                <a:gd name="connsiteY6" fmla="*/ 421170 h 1036172"/>
                <a:gd name="connsiteX7" fmla="*/ 1523467 w 2074600"/>
                <a:gd name="connsiteY7" fmla="*/ 292710 h 1036172"/>
                <a:gd name="connsiteX8" fmla="*/ 1030329 w 2074600"/>
                <a:gd name="connsiteY8" fmla="*/ 127885 h 1036172"/>
                <a:gd name="connsiteX9" fmla="*/ 924954 w 2074600"/>
                <a:gd name="connsiteY9" fmla="*/ 206810 h 1036172"/>
                <a:gd name="connsiteX10" fmla="*/ 730203 w 2074600"/>
                <a:gd name="connsiteY10" fmla="*/ 279786 h 1036172"/>
                <a:gd name="connsiteX11" fmla="*/ 430613 w 2074600"/>
                <a:gd name="connsiteY11" fmla="*/ 503616 h 1036172"/>
                <a:gd name="connsiteX12" fmla="*/ 306053 w 2074600"/>
                <a:gd name="connsiteY12" fmla="*/ 669733 h 1036172"/>
                <a:gd name="connsiteX13" fmla="*/ 98824 w 2074600"/>
                <a:gd name="connsiteY13" fmla="*/ 947041 h 1036172"/>
                <a:gd name="connsiteX14" fmla="*/ 570455 w 2074600"/>
                <a:gd name="connsiteY14" fmla="*/ 947041 h 1036172"/>
                <a:gd name="connsiteX15" fmla="*/ 572822 w 2074600"/>
                <a:gd name="connsiteY15" fmla="*/ 1035476 h 1036172"/>
                <a:gd name="connsiteX16" fmla="*/ 0 w 2074600"/>
                <a:gd name="connsiteY16" fmla="*/ 1036172 h 1036172"/>
                <a:gd name="connsiteX17" fmla="*/ 3565 w 2074600"/>
                <a:gd name="connsiteY17" fmla="*/ 988264 h 1036172"/>
                <a:gd name="connsiteX18" fmla="*/ 264607 w 2074600"/>
                <a:gd name="connsiteY18" fmla="*/ 590518 h 1036172"/>
                <a:gd name="connsiteX19" fmla="*/ 342596 w 2074600"/>
                <a:gd name="connsiteY19" fmla="*/ 486124 h 1036172"/>
                <a:gd name="connsiteX20" fmla="*/ 737891 w 2074600"/>
                <a:gd name="connsiteY20" fmla="*/ 190655 h 1036172"/>
                <a:gd name="connsiteX21" fmla="*/ 858886 w 2074600"/>
                <a:gd name="connsiteY21" fmla="*/ 146090 h 1036172"/>
                <a:gd name="connsiteX22" fmla="*/ 1504437 w 2074600"/>
                <a:gd name="connsiteY22" fmla="*/ 121947 h 1036172"/>
                <a:gd name="connsiteX23" fmla="*/ 1602459 w 2074600"/>
                <a:gd name="connsiteY23" fmla="*/ 252824 h 1036172"/>
                <a:gd name="connsiteX24" fmla="*/ 1707076 w 2074600"/>
                <a:gd name="connsiteY24" fmla="*/ 334156 h 1036172"/>
                <a:gd name="connsiteX25" fmla="*/ 2063577 w 2074600"/>
                <a:gd name="connsiteY25" fmla="*/ 891680 h 1036172"/>
                <a:gd name="connsiteX26" fmla="*/ 2018699 w 2074600"/>
                <a:gd name="connsiteY26" fmla="*/ 1012775 h 1036172"/>
                <a:gd name="connsiteX0" fmla="*/ 2018699 w 2074600"/>
                <a:gd name="connsiteY0" fmla="*/ 1012775 h 1040934"/>
                <a:gd name="connsiteX1" fmla="*/ 2005998 w 2074600"/>
                <a:gd name="connsiteY1" fmla="*/ 1036172 h 1040934"/>
                <a:gd name="connsiteX2" fmla="*/ 1355055 w 2074600"/>
                <a:gd name="connsiteY2" fmla="*/ 1040934 h 1040934"/>
                <a:gd name="connsiteX3" fmla="*/ 1355055 w 2074600"/>
                <a:gd name="connsiteY3" fmla="*/ 944659 h 1040934"/>
                <a:gd name="connsiteX4" fmla="*/ 1951851 w 2074600"/>
                <a:gd name="connsiteY4" fmla="*/ 947041 h 1040934"/>
                <a:gd name="connsiteX5" fmla="*/ 1808574 w 2074600"/>
                <a:gd name="connsiteY5" fmla="*/ 470526 h 1040934"/>
                <a:gd name="connsiteX6" fmla="*/ 1688693 w 2074600"/>
                <a:gd name="connsiteY6" fmla="*/ 421170 h 1040934"/>
                <a:gd name="connsiteX7" fmla="*/ 1523467 w 2074600"/>
                <a:gd name="connsiteY7" fmla="*/ 292710 h 1040934"/>
                <a:gd name="connsiteX8" fmla="*/ 1030329 w 2074600"/>
                <a:gd name="connsiteY8" fmla="*/ 127885 h 1040934"/>
                <a:gd name="connsiteX9" fmla="*/ 924954 w 2074600"/>
                <a:gd name="connsiteY9" fmla="*/ 206810 h 1040934"/>
                <a:gd name="connsiteX10" fmla="*/ 730203 w 2074600"/>
                <a:gd name="connsiteY10" fmla="*/ 279786 h 1040934"/>
                <a:gd name="connsiteX11" fmla="*/ 430613 w 2074600"/>
                <a:gd name="connsiteY11" fmla="*/ 503616 h 1040934"/>
                <a:gd name="connsiteX12" fmla="*/ 306053 w 2074600"/>
                <a:gd name="connsiteY12" fmla="*/ 669733 h 1040934"/>
                <a:gd name="connsiteX13" fmla="*/ 98824 w 2074600"/>
                <a:gd name="connsiteY13" fmla="*/ 947041 h 1040934"/>
                <a:gd name="connsiteX14" fmla="*/ 570455 w 2074600"/>
                <a:gd name="connsiteY14" fmla="*/ 947041 h 1040934"/>
                <a:gd name="connsiteX15" fmla="*/ 572822 w 2074600"/>
                <a:gd name="connsiteY15" fmla="*/ 1035476 h 1040934"/>
                <a:gd name="connsiteX16" fmla="*/ 0 w 2074600"/>
                <a:gd name="connsiteY16" fmla="*/ 1036172 h 1040934"/>
                <a:gd name="connsiteX17" fmla="*/ 3565 w 2074600"/>
                <a:gd name="connsiteY17" fmla="*/ 988264 h 1040934"/>
                <a:gd name="connsiteX18" fmla="*/ 264607 w 2074600"/>
                <a:gd name="connsiteY18" fmla="*/ 590518 h 1040934"/>
                <a:gd name="connsiteX19" fmla="*/ 342596 w 2074600"/>
                <a:gd name="connsiteY19" fmla="*/ 486124 h 1040934"/>
                <a:gd name="connsiteX20" fmla="*/ 737891 w 2074600"/>
                <a:gd name="connsiteY20" fmla="*/ 190655 h 1040934"/>
                <a:gd name="connsiteX21" fmla="*/ 858886 w 2074600"/>
                <a:gd name="connsiteY21" fmla="*/ 146090 h 1040934"/>
                <a:gd name="connsiteX22" fmla="*/ 1504437 w 2074600"/>
                <a:gd name="connsiteY22" fmla="*/ 121947 h 1040934"/>
                <a:gd name="connsiteX23" fmla="*/ 1602459 w 2074600"/>
                <a:gd name="connsiteY23" fmla="*/ 252824 h 1040934"/>
                <a:gd name="connsiteX24" fmla="*/ 1707076 w 2074600"/>
                <a:gd name="connsiteY24" fmla="*/ 334156 h 1040934"/>
                <a:gd name="connsiteX25" fmla="*/ 2063577 w 2074600"/>
                <a:gd name="connsiteY25" fmla="*/ 891680 h 1040934"/>
                <a:gd name="connsiteX26" fmla="*/ 2018699 w 2074600"/>
                <a:gd name="connsiteY26" fmla="*/ 1012775 h 1040934"/>
                <a:gd name="connsiteX0" fmla="*/ 2018699 w 2074600"/>
                <a:gd name="connsiteY0" fmla="*/ 1012775 h 1038553"/>
                <a:gd name="connsiteX1" fmla="*/ 2005998 w 2074600"/>
                <a:gd name="connsiteY1" fmla="*/ 1036172 h 1038553"/>
                <a:gd name="connsiteX2" fmla="*/ 1355055 w 2074600"/>
                <a:gd name="connsiteY2" fmla="*/ 1038553 h 1038553"/>
                <a:gd name="connsiteX3" fmla="*/ 1355055 w 2074600"/>
                <a:gd name="connsiteY3" fmla="*/ 944659 h 1038553"/>
                <a:gd name="connsiteX4" fmla="*/ 1951851 w 2074600"/>
                <a:gd name="connsiteY4" fmla="*/ 947041 h 1038553"/>
                <a:gd name="connsiteX5" fmla="*/ 1808574 w 2074600"/>
                <a:gd name="connsiteY5" fmla="*/ 470526 h 1038553"/>
                <a:gd name="connsiteX6" fmla="*/ 1688693 w 2074600"/>
                <a:gd name="connsiteY6" fmla="*/ 421170 h 1038553"/>
                <a:gd name="connsiteX7" fmla="*/ 1523467 w 2074600"/>
                <a:gd name="connsiteY7" fmla="*/ 292710 h 1038553"/>
                <a:gd name="connsiteX8" fmla="*/ 1030329 w 2074600"/>
                <a:gd name="connsiteY8" fmla="*/ 127885 h 1038553"/>
                <a:gd name="connsiteX9" fmla="*/ 924954 w 2074600"/>
                <a:gd name="connsiteY9" fmla="*/ 206810 h 1038553"/>
                <a:gd name="connsiteX10" fmla="*/ 730203 w 2074600"/>
                <a:gd name="connsiteY10" fmla="*/ 279786 h 1038553"/>
                <a:gd name="connsiteX11" fmla="*/ 430613 w 2074600"/>
                <a:gd name="connsiteY11" fmla="*/ 503616 h 1038553"/>
                <a:gd name="connsiteX12" fmla="*/ 306053 w 2074600"/>
                <a:gd name="connsiteY12" fmla="*/ 669733 h 1038553"/>
                <a:gd name="connsiteX13" fmla="*/ 98824 w 2074600"/>
                <a:gd name="connsiteY13" fmla="*/ 947041 h 1038553"/>
                <a:gd name="connsiteX14" fmla="*/ 570455 w 2074600"/>
                <a:gd name="connsiteY14" fmla="*/ 947041 h 1038553"/>
                <a:gd name="connsiteX15" fmla="*/ 572822 w 2074600"/>
                <a:gd name="connsiteY15" fmla="*/ 1035476 h 1038553"/>
                <a:gd name="connsiteX16" fmla="*/ 0 w 2074600"/>
                <a:gd name="connsiteY16" fmla="*/ 1036172 h 1038553"/>
                <a:gd name="connsiteX17" fmla="*/ 3565 w 2074600"/>
                <a:gd name="connsiteY17" fmla="*/ 988264 h 1038553"/>
                <a:gd name="connsiteX18" fmla="*/ 264607 w 2074600"/>
                <a:gd name="connsiteY18" fmla="*/ 590518 h 1038553"/>
                <a:gd name="connsiteX19" fmla="*/ 342596 w 2074600"/>
                <a:gd name="connsiteY19" fmla="*/ 486124 h 1038553"/>
                <a:gd name="connsiteX20" fmla="*/ 737891 w 2074600"/>
                <a:gd name="connsiteY20" fmla="*/ 190655 h 1038553"/>
                <a:gd name="connsiteX21" fmla="*/ 858886 w 2074600"/>
                <a:gd name="connsiteY21" fmla="*/ 146090 h 1038553"/>
                <a:gd name="connsiteX22" fmla="*/ 1504437 w 2074600"/>
                <a:gd name="connsiteY22" fmla="*/ 121947 h 1038553"/>
                <a:gd name="connsiteX23" fmla="*/ 1602459 w 2074600"/>
                <a:gd name="connsiteY23" fmla="*/ 252824 h 1038553"/>
                <a:gd name="connsiteX24" fmla="*/ 1707076 w 2074600"/>
                <a:gd name="connsiteY24" fmla="*/ 334156 h 1038553"/>
                <a:gd name="connsiteX25" fmla="*/ 2063577 w 2074600"/>
                <a:gd name="connsiteY25" fmla="*/ 891680 h 1038553"/>
                <a:gd name="connsiteX26" fmla="*/ 2018699 w 2074600"/>
                <a:gd name="connsiteY26" fmla="*/ 1012775 h 1038553"/>
                <a:gd name="connsiteX0" fmla="*/ 2018699 w 2074600"/>
                <a:gd name="connsiteY0" fmla="*/ 1012775 h 1038553"/>
                <a:gd name="connsiteX1" fmla="*/ 2005998 w 2074600"/>
                <a:gd name="connsiteY1" fmla="*/ 1036172 h 1038553"/>
                <a:gd name="connsiteX2" fmla="*/ 1355055 w 2074600"/>
                <a:gd name="connsiteY2" fmla="*/ 1038553 h 1038553"/>
                <a:gd name="connsiteX3" fmla="*/ 1355055 w 2074600"/>
                <a:gd name="connsiteY3" fmla="*/ 944659 h 1038553"/>
                <a:gd name="connsiteX4" fmla="*/ 1951851 w 2074600"/>
                <a:gd name="connsiteY4" fmla="*/ 947041 h 1038553"/>
                <a:gd name="connsiteX5" fmla="*/ 1808574 w 2074600"/>
                <a:gd name="connsiteY5" fmla="*/ 470526 h 1038553"/>
                <a:gd name="connsiteX6" fmla="*/ 1688693 w 2074600"/>
                <a:gd name="connsiteY6" fmla="*/ 421170 h 1038553"/>
                <a:gd name="connsiteX7" fmla="*/ 1523467 w 2074600"/>
                <a:gd name="connsiteY7" fmla="*/ 292710 h 1038553"/>
                <a:gd name="connsiteX8" fmla="*/ 1030329 w 2074600"/>
                <a:gd name="connsiteY8" fmla="*/ 127885 h 1038553"/>
                <a:gd name="connsiteX9" fmla="*/ 924954 w 2074600"/>
                <a:gd name="connsiteY9" fmla="*/ 206810 h 1038553"/>
                <a:gd name="connsiteX10" fmla="*/ 730203 w 2074600"/>
                <a:gd name="connsiteY10" fmla="*/ 279786 h 1038553"/>
                <a:gd name="connsiteX11" fmla="*/ 430613 w 2074600"/>
                <a:gd name="connsiteY11" fmla="*/ 503616 h 1038553"/>
                <a:gd name="connsiteX12" fmla="*/ 306053 w 2074600"/>
                <a:gd name="connsiteY12" fmla="*/ 669733 h 1038553"/>
                <a:gd name="connsiteX13" fmla="*/ 98824 w 2074600"/>
                <a:gd name="connsiteY13" fmla="*/ 947041 h 1038553"/>
                <a:gd name="connsiteX14" fmla="*/ 570455 w 2074600"/>
                <a:gd name="connsiteY14" fmla="*/ 947041 h 1038553"/>
                <a:gd name="connsiteX15" fmla="*/ 572822 w 2074600"/>
                <a:gd name="connsiteY15" fmla="*/ 1035476 h 1038553"/>
                <a:gd name="connsiteX16" fmla="*/ 0 w 2074600"/>
                <a:gd name="connsiteY16" fmla="*/ 1036172 h 1038553"/>
                <a:gd name="connsiteX17" fmla="*/ 3565 w 2074600"/>
                <a:gd name="connsiteY17" fmla="*/ 988264 h 1038553"/>
                <a:gd name="connsiteX18" fmla="*/ 264607 w 2074600"/>
                <a:gd name="connsiteY18" fmla="*/ 590518 h 1038553"/>
                <a:gd name="connsiteX19" fmla="*/ 342596 w 2074600"/>
                <a:gd name="connsiteY19" fmla="*/ 486124 h 1038553"/>
                <a:gd name="connsiteX20" fmla="*/ 737891 w 2074600"/>
                <a:gd name="connsiteY20" fmla="*/ 190655 h 1038553"/>
                <a:gd name="connsiteX21" fmla="*/ 858886 w 2074600"/>
                <a:gd name="connsiteY21" fmla="*/ 146090 h 1038553"/>
                <a:gd name="connsiteX22" fmla="*/ 1504437 w 2074600"/>
                <a:gd name="connsiteY22" fmla="*/ 121947 h 1038553"/>
                <a:gd name="connsiteX23" fmla="*/ 1602459 w 2074600"/>
                <a:gd name="connsiteY23" fmla="*/ 252824 h 1038553"/>
                <a:gd name="connsiteX24" fmla="*/ 1707076 w 2074600"/>
                <a:gd name="connsiteY24" fmla="*/ 334156 h 1038553"/>
                <a:gd name="connsiteX25" fmla="*/ 2063577 w 2074600"/>
                <a:gd name="connsiteY25" fmla="*/ 891680 h 1038553"/>
                <a:gd name="connsiteX26" fmla="*/ 2018699 w 2074600"/>
                <a:gd name="connsiteY26" fmla="*/ 1012775 h 1038553"/>
                <a:gd name="connsiteX0" fmla="*/ 2018699 w 2074600"/>
                <a:gd name="connsiteY0" fmla="*/ 1012775 h 1038553"/>
                <a:gd name="connsiteX1" fmla="*/ 2005998 w 2074600"/>
                <a:gd name="connsiteY1" fmla="*/ 1036172 h 1038553"/>
                <a:gd name="connsiteX2" fmla="*/ 1355055 w 2074600"/>
                <a:gd name="connsiteY2" fmla="*/ 1038553 h 1038553"/>
                <a:gd name="connsiteX3" fmla="*/ 1355055 w 2074600"/>
                <a:gd name="connsiteY3" fmla="*/ 944659 h 1038553"/>
                <a:gd name="connsiteX4" fmla="*/ 1951851 w 2074600"/>
                <a:gd name="connsiteY4" fmla="*/ 947041 h 1038553"/>
                <a:gd name="connsiteX5" fmla="*/ 1808574 w 2074600"/>
                <a:gd name="connsiteY5" fmla="*/ 470526 h 1038553"/>
                <a:gd name="connsiteX6" fmla="*/ 1688693 w 2074600"/>
                <a:gd name="connsiteY6" fmla="*/ 421170 h 1038553"/>
                <a:gd name="connsiteX7" fmla="*/ 1523467 w 2074600"/>
                <a:gd name="connsiteY7" fmla="*/ 292710 h 1038553"/>
                <a:gd name="connsiteX8" fmla="*/ 1030329 w 2074600"/>
                <a:gd name="connsiteY8" fmla="*/ 127885 h 1038553"/>
                <a:gd name="connsiteX9" fmla="*/ 924954 w 2074600"/>
                <a:gd name="connsiteY9" fmla="*/ 206810 h 1038553"/>
                <a:gd name="connsiteX10" fmla="*/ 730203 w 2074600"/>
                <a:gd name="connsiteY10" fmla="*/ 279786 h 1038553"/>
                <a:gd name="connsiteX11" fmla="*/ 430613 w 2074600"/>
                <a:gd name="connsiteY11" fmla="*/ 503616 h 1038553"/>
                <a:gd name="connsiteX12" fmla="*/ 306053 w 2074600"/>
                <a:gd name="connsiteY12" fmla="*/ 669733 h 1038553"/>
                <a:gd name="connsiteX13" fmla="*/ 98824 w 2074600"/>
                <a:gd name="connsiteY13" fmla="*/ 947041 h 1038553"/>
                <a:gd name="connsiteX14" fmla="*/ 570455 w 2074600"/>
                <a:gd name="connsiteY14" fmla="*/ 947041 h 1038553"/>
                <a:gd name="connsiteX15" fmla="*/ 572822 w 2074600"/>
                <a:gd name="connsiteY15" fmla="*/ 1035476 h 1038553"/>
                <a:gd name="connsiteX16" fmla="*/ 0 w 2074600"/>
                <a:gd name="connsiteY16" fmla="*/ 1036172 h 1038553"/>
                <a:gd name="connsiteX17" fmla="*/ 3565 w 2074600"/>
                <a:gd name="connsiteY17" fmla="*/ 988264 h 1038553"/>
                <a:gd name="connsiteX18" fmla="*/ 264607 w 2074600"/>
                <a:gd name="connsiteY18" fmla="*/ 590518 h 1038553"/>
                <a:gd name="connsiteX19" fmla="*/ 342596 w 2074600"/>
                <a:gd name="connsiteY19" fmla="*/ 486124 h 1038553"/>
                <a:gd name="connsiteX20" fmla="*/ 737891 w 2074600"/>
                <a:gd name="connsiteY20" fmla="*/ 190655 h 1038553"/>
                <a:gd name="connsiteX21" fmla="*/ 858886 w 2074600"/>
                <a:gd name="connsiteY21" fmla="*/ 146090 h 1038553"/>
                <a:gd name="connsiteX22" fmla="*/ 1504437 w 2074600"/>
                <a:gd name="connsiteY22" fmla="*/ 121947 h 1038553"/>
                <a:gd name="connsiteX23" fmla="*/ 1602459 w 2074600"/>
                <a:gd name="connsiteY23" fmla="*/ 252824 h 1038553"/>
                <a:gd name="connsiteX24" fmla="*/ 1707076 w 2074600"/>
                <a:gd name="connsiteY24" fmla="*/ 334156 h 1038553"/>
                <a:gd name="connsiteX25" fmla="*/ 2063577 w 2074600"/>
                <a:gd name="connsiteY25" fmla="*/ 891680 h 1038553"/>
                <a:gd name="connsiteX26" fmla="*/ 2018699 w 2074600"/>
                <a:gd name="connsiteY26" fmla="*/ 1012775 h 1038553"/>
                <a:gd name="connsiteX0" fmla="*/ 2018699 w 2074600"/>
                <a:gd name="connsiteY0" fmla="*/ 1012775 h 1038553"/>
                <a:gd name="connsiteX1" fmla="*/ 2005998 w 2074600"/>
                <a:gd name="connsiteY1" fmla="*/ 1036172 h 1038553"/>
                <a:gd name="connsiteX2" fmla="*/ 1355055 w 2074600"/>
                <a:gd name="connsiteY2" fmla="*/ 1038553 h 1038553"/>
                <a:gd name="connsiteX3" fmla="*/ 1479623 w 2074600"/>
                <a:gd name="connsiteY3" fmla="*/ 946658 h 1038553"/>
                <a:gd name="connsiteX4" fmla="*/ 1951851 w 2074600"/>
                <a:gd name="connsiteY4" fmla="*/ 947041 h 1038553"/>
                <a:gd name="connsiteX5" fmla="*/ 1808574 w 2074600"/>
                <a:gd name="connsiteY5" fmla="*/ 470526 h 1038553"/>
                <a:gd name="connsiteX6" fmla="*/ 1688693 w 2074600"/>
                <a:gd name="connsiteY6" fmla="*/ 421170 h 1038553"/>
                <a:gd name="connsiteX7" fmla="*/ 1523467 w 2074600"/>
                <a:gd name="connsiteY7" fmla="*/ 292710 h 1038553"/>
                <a:gd name="connsiteX8" fmla="*/ 1030329 w 2074600"/>
                <a:gd name="connsiteY8" fmla="*/ 127885 h 1038553"/>
                <a:gd name="connsiteX9" fmla="*/ 924954 w 2074600"/>
                <a:gd name="connsiteY9" fmla="*/ 206810 h 1038553"/>
                <a:gd name="connsiteX10" fmla="*/ 730203 w 2074600"/>
                <a:gd name="connsiteY10" fmla="*/ 279786 h 1038553"/>
                <a:gd name="connsiteX11" fmla="*/ 430613 w 2074600"/>
                <a:gd name="connsiteY11" fmla="*/ 503616 h 1038553"/>
                <a:gd name="connsiteX12" fmla="*/ 306053 w 2074600"/>
                <a:gd name="connsiteY12" fmla="*/ 669733 h 1038553"/>
                <a:gd name="connsiteX13" fmla="*/ 98824 w 2074600"/>
                <a:gd name="connsiteY13" fmla="*/ 947041 h 1038553"/>
                <a:gd name="connsiteX14" fmla="*/ 570455 w 2074600"/>
                <a:gd name="connsiteY14" fmla="*/ 947041 h 1038553"/>
                <a:gd name="connsiteX15" fmla="*/ 572822 w 2074600"/>
                <a:gd name="connsiteY15" fmla="*/ 1035476 h 1038553"/>
                <a:gd name="connsiteX16" fmla="*/ 0 w 2074600"/>
                <a:gd name="connsiteY16" fmla="*/ 1036172 h 1038553"/>
                <a:gd name="connsiteX17" fmla="*/ 3565 w 2074600"/>
                <a:gd name="connsiteY17" fmla="*/ 988264 h 1038553"/>
                <a:gd name="connsiteX18" fmla="*/ 264607 w 2074600"/>
                <a:gd name="connsiteY18" fmla="*/ 590518 h 1038553"/>
                <a:gd name="connsiteX19" fmla="*/ 342596 w 2074600"/>
                <a:gd name="connsiteY19" fmla="*/ 486124 h 1038553"/>
                <a:gd name="connsiteX20" fmla="*/ 737891 w 2074600"/>
                <a:gd name="connsiteY20" fmla="*/ 190655 h 1038553"/>
                <a:gd name="connsiteX21" fmla="*/ 858886 w 2074600"/>
                <a:gd name="connsiteY21" fmla="*/ 146090 h 1038553"/>
                <a:gd name="connsiteX22" fmla="*/ 1504437 w 2074600"/>
                <a:gd name="connsiteY22" fmla="*/ 121947 h 1038553"/>
                <a:gd name="connsiteX23" fmla="*/ 1602459 w 2074600"/>
                <a:gd name="connsiteY23" fmla="*/ 252824 h 1038553"/>
                <a:gd name="connsiteX24" fmla="*/ 1707076 w 2074600"/>
                <a:gd name="connsiteY24" fmla="*/ 334156 h 1038553"/>
                <a:gd name="connsiteX25" fmla="*/ 2063577 w 2074600"/>
                <a:gd name="connsiteY25" fmla="*/ 891680 h 1038553"/>
                <a:gd name="connsiteX26" fmla="*/ 2018699 w 2074600"/>
                <a:gd name="connsiteY26" fmla="*/ 1012775 h 1038553"/>
                <a:gd name="connsiteX0" fmla="*/ 2018699 w 2074600"/>
                <a:gd name="connsiteY0" fmla="*/ 1012775 h 1038553"/>
                <a:gd name="connsiteX1" fmla="*/ 2005998 w 2074600"/>
                <a:gd name="connsiteY1" fmla="*/ 1036172 h 1038553"/>
                <a:gd name="connsiteX2" fmla="*/ 1355055 w 2074600"/>
                <a:gd name="connsiteY2" fmla="*/ 1038553 h 1038553"/>
                <a:gd name="connsiteX3" fmla="*/ 1479623 w 2074600"/>
                <a:gd name="connsiteY3" fmla="*/ 946658 h 1038553"/>
                <a:gd name="connsiteX4" fmla="*/ 1951851 w 2074600"/>
                <a:gd name="connsiteY4" fmla="*/ 947041 h 1038553"/>
                <a:gd name="connsiteX5" fmla="*/ 1808574 w 2074600"/>
                <a:gd name="connsiteY5" fmla="*/ 470526 h 1038553"/>
                <a:gd name="connsiteX6" fmla="*/ 1688693 w 2074600"/>
                <a:gd name="connsiteY6" fmla="*/ 421170 h 1038553"/>
                <a:gd name="connsiteX7" fmla="*/ 1523467 w 2074600"/>
                <a:gd name="connsiteY7" fmla="*/ 292710 h 1038553"/>
                <a:gd name="connsiteX8" fmla="*/ 1030329 w 2074600"/>
                <a:gd name="connsiteY8" fmla="*/ 127885 h 1038553"/>
                <a:gd name="connsiteX9" fmla="*/ 924954 w 2074600"/>
                <a:gd name="connsiteY9" fmla="*/ 206810 h 1038553"/>
                <a:gd name="connsiteX10" fmla="*/ 730203 w 2074600"/>
                <a:gd name="connsiteY10" fmla="*/ 279786 h 1038553"/>
                <a:gd name="connsiteX11" fmla="*/ 430613 w 2074600"/>
                <a:gd name="connsiteY11" fmla="*/ 503616 h 1038553"/>
                <a:gd name="connsiteX12" fmla="*/ 306053 w 2074600"/>
                <a:gd name="connsiteY12" fmla="*/ 669733 h 1038553"/>
                <a:gd name="connsiteX13" fmla="*/ 98824 w 2074600"/>
                <a:gd name="connsiteY13" fmla="*/ 947041 h 1038553"/>
                <a:gd name="connsiteX14" fmla="*/ 570455 w 2074600"/>
                <a:gd name="connsiteY14" fmla="*/ 947041 h 1038553"/>
                <a:gd name="connsiteX15" fmla="*/ 572822 w 2074600"/>
                <a:gd name="connsiteY15" fmla="*/ 1035476 h 1038553"/>
                <a:gd name="connsiteX16" fmla="*/ 0 w 2074600"/>
                <a:gd name="connsiteY16" fmla="*/ 1036172 h 1038553"/>
                <a:gd name="connsiteX17" fmla="*/ 3565 w 2074600"/>
                <a:gd name="connsiteY17" fmla="*/ 988264 h 1038553"/>
                <a:gd name="connsiteX18" fmla="*/ 264607 w 2074600"/>
                <a:gd name="connsiteY18" fmla="*/ 590518 h 1038553"/>
                <a:gd name="connsiteX19" fmla="*/ 342596 w 2074600"/>
                <a:gd name="connsiteY19" fmla="*/ 486124 h 1038553"/>
                <a:gd name="connsiteX20" fmla="*/ 737891 w 2074600"/>
                <a:gd name="connsiteY20" fmla="*/ 190655 h 1038553"/>
                <a:gd name="connsiteX21" fmla="*/ 858886 w 2074600"/>
                <a:gd name="connsiteY21" fmla="*/ 146090 h 1038553"/>
                <a:gd name="connsiteX22" fmla="*/ 1504437 w 2074600"/>
                <a:gd name="connsiteY22" fmla="*/ 121947 h 1038553"/>
                <a:gd name="connsiteX23" fmla="*/ 1602459 w 2074600"/>
                <a:gd name="connsiteY23" fmla="*/ 252824 h 1038553"/>
                <a:gd name="connsiteX24" fmla="*/ 1707076 w 2074600"/>
                <a:gd name="connsiteY24" fmla="*/ 334156 h 1038553"/>
                <a:gd name="connsiteX25" fmla="*/ 2063577 w 2074600"/>
                <a:gd name="connsiteY25" fmla="*/ 891680 h 1038553"/>
                <a:gd name="connsiteX26" fmla="*/ 2018699 w 2074600"/>
                <a:gd name="connsiteY26" fmla="*/ 1012775 h 1038553"/>
                <a:gd name="connsiteX0" fmla="*/ 2018699 w 2074600"/>
                <a:gd name="connsiteY0" fmla="*/ 1012775 h 1038553"/>
                <a:gd name="connsiteX1" fmla="*/ 2005998 w 2074600"/>
                <a:gd name="connsiteY1" fmla="*/ 1036172 h 1038553"/>
                <a:gd name="connsiteX2" fmla="*/ 1355055 w 2074600"/>
                <a:gd name="connsiteY2" fmla="*/ 1038553 h 1038553"/>
                <a:gd name="connsiteX3" fmla="*/ 1479623 w 2074600"/>
                <a:gd name="connsiteY3" fmla="*/ 946658 h 1038553"/>
                <a:gd name="connsiteX4" fmla="*/ 1951851 w 2074600"/>
                <a:gd name="connsiteY4" fmla="*/ 947041 h 1038553"/>
                <a:gd name="connsiteX5" fmla="*/ 1808574 w 2074600"/>
                <a:gd name="connsiteY5" fmla="*/ 470526 h 1038553"/>
                <a:gd name="connsiteX6" fmla="*/ 1688693 w 2074600"/>
                <a:gd name="connsiteY6" fmla="*/ 421170 h 1038553"/>
                <a:gd name="connsiteX7" fmla="*/ 1523467 w 2074600"/>
                <a:gd name="connsiteY7" fmla="*/ 292710 h 1038553"/>
                <a:gd name="connsiteX8" fmla="*/ 1030329 w 2074600"/>
                <a:gd name="connsiteY8" fmla="*/ 127885 h 1038553"/>
                <a:gd name="connsiteX9" fmla="*/ 924954 w 2074600"/>
                <a:gd name="connsiteY9" fmla="*/ 206810 h 1038553"/>
                <a:gd name="connsiteX10" fmla="*/ 730203 w 2074600"/>
                <a:gd name="connsiteY10" fmla="*/ 279786 h 1038553"/>
                <a:gd name="connsiteX11" fmla="*/ 430613 w 2074600"/>
                <a:gd name="connsiteY11" fmla="*/ 503616 h 1038553"/>
                <a:gd name="connsiteX12" fmla="*/ 306053 w 2074600"/>
                <a:gd name="connsiteY12" fmla="*/ 669733 h 1038553"/>
                <a:gd name="connsiteX13" fmla="*/ 98824 w 2074600"/>
                <a:gd name="connsiteY13" fmla="*/ 947041 h 1038553"/>
                <a:gd name="connsiteX14" fmla="*/ 570455 w 2074600"/>
                <a:gd name="connsiteY14" fmla="*/ 947041 h 1038553"/>
                <a:gd name="connsiteX15" fmla="*/ 572822 w 2074600"/>
                <a:gd name="connsiteY15" fmla="*/ 1035476 h 1038553"/>
                <a:gd name="connsiteX16" fmla="*/ 0 w 2074600"/>
                <a:gd name="connsiteY16" fmla="*/ 1036172 h 1038553"/>
                <a:gd name="connsiteX17" fmla="*/ 3565 w 2074600"/>
                <a:gd name="connsiteY17" fmla="*/ 988264 h 1038553"/>
                <a:gd name="connsiteX18" fmla="*/ 264607 w 2074600"/>
                <a:gd name="connsiteY18" fmla="*/ 590518 h 1038553"/>
                <a:gd name="connsiteX19" fmla="*/ 342596 w 2074600"/>
                <a:gd name="connsiteY19" fmla="*/ 486124 h 1038553"/>
                <a:gd name="connsiteX20" fmla="*/ 737891 w 2074600"/>
                <a:gd name="connsiteY20" fmla="*/ 190655 h 1038553"/>
                <a:gd name="connsiteX21" fmla="*/ 858886 w 2074600"/>
                <a:gd name="connsiteY21" fmla="*/ 146090 h 1038553"/>
                <a:gd name="connsiteX22" fmla="*/ 1504437 w 2074600"/>
                <a:gd name="connsiteY22" fmla="*/ 121947 h 1038553"/>
                <a:gd name="connsiteX23" fmla="*/ 1602459 w 2074600"/>
                <a:gd name="connsiteY23" fmla="*/ 252824 h 1038553"/>
                <a:gd name="connsiteX24" fmla="*/ 1707076 w 2074600"/>
                <a:gd name="connsiteY24" fmla="*/ 334156 h 1038553"/>
                <a:gd name="connsiteX25" fmla="*/ 2063577 w 2074600"/>
                <a:gd name="connsiteY25" fmla="*/ 891680 h 1038553"/>
                <a:gd name="connsiteX26" fmla="*/ 2018699 w 2074600"/>
                <a:gd name="connsiteY26" fmla="*/ 1012775 h 1038553"/>
                <a:gd name="connsiteX0" fmla="*/ 2018699 w 2074600"/>
                <a:gd name="connsiteY0" fmla="*/ 1012775 h 1038553"/>
                <a:gd name="connsiteX1" fmla="*/ 2005998 w 2074600"/>
                <a:gd name="connsiteY1" fmla="*/ 1036172 h 1038553"/>
                <a:gd name="connsiteX2" fmla="*/ 1355055 w 2074600"/>
                <a:gd name="connsiteY2" fmla="*/ 1038553 h 1038553"/>
                <a:gd name="connsiteX3" fmla="*/ 1479623 w 2074600"/>
                <a:gd name="connsiteY3" fmla="*/ 946658 h 1038553"/>
                <a:gd name="connsiteX4" fmla="*/ 1951851 w 2074600"/>
                <a:gd name="connsiteY4" fmla="*/ 947041 h 1038553"/>
                <a:gd name="connsiteX5" fmla="*/ 1808574 w 2074600"/>
                <a:gd name="connsiteY5" fmla="*/ 470526 h 1038553"/>
                <a:gd name="connsiteX6" fmla="*/ 1688693 w 2074600"/>
                <a:gd name="connsiteY6" fmla="*/ 421170 h 1038553"/>
                <a:gd name="connsiteX7" fmla="*/ 1523467 w 2074600"/>
                <a:gd name="connsiteY7" fmla="*/ 292710 h 1038553"/>
                <a:gd name="connsiteX8" fmla="*/ 1030329 w 2074600"/>
                <a:gd name="connsiteY8" fmla="*/ 127885 h 1038553"/>
                <a:gd name="connsiteX9" fmla="*/ 924954 w 2074600"/>
                <a:gd name="connsiteY9" fmla="*/ 206810 h 1038553"/>
                <a:gd name="connsiteX10" fmla="*/ 730203 w 2074600"/>
                <a:gd name="connsiteY10" fmla="*/ 279786 h 1038553"/>
                <a:gd name="connsiteX11" fmla="*/ 430613 w 2074600"/>
                <a:gd name="connsiteY11" fmla="*/ 503616 h 1038553"/>
                <a:gd name="connsiteX12" fmla="*/ 306053 w 2074600"/>
                <a:gd name="connsiteY12" fmla="*/ 669733 h 1038553"/>
                <a:gd name="connsiteX13" fmla="*/ 98824 w 2074600"/>
                <a:gd name="connsiteY13" fmla="*/ 947041 h 1038553"/>
                <a:gd name="connsiteX14" fmla="*/ 570455 w 2074600"/>
                <a:gd name="connsiteY14" fmla="*/ 947041 h 1038553"/>
                <a:gd name="connsiteX15" fmla="*/ 572822 w 2074600"/>
                <a:gd name="connsiteY15" fmla="*/ 1035476 h 1038553"/>
                <a:gd name="connsiteX16" fmla="*/ 0 w 2074600"/>
                <a:gd name="connsiteY16" fmla="*/ 1036172 h 1038553"/>
                <a:gd name="connsiteX17" fmla="*/ 3565 w 2074600"/>
                <a:gd name="connsiteY17" fmla="*/ 988264 h 1038553"/>
                <a:gd name="connsiteX18" fmla="*/ 264607 w 2074600"/>
                <a:gd name="connsiteY18" fmla="*/ 590518 h 1038553"/>
                <a:gd name="connsiteX19" fmla="*/ 342596 w 2074600"/>
                <a:gd name="connsiteY19" fmla="*/ 486124 h 1038553"/>
                <a:gd name="connsiteX20" fmla="*/ 737891 w 2074600"/>
                <a:gd name="connsiteY20" fmla="*/ 190655 h 1038553"/>
                <a:gd name="connsiteX21" fmla="*/ 858886 w 2074600"/>
                <a:gd name="connsiteY21" fmla="*/ 146090 h 1038553"/>
                <a:gd name="connsiteX22" fmla="*/ 1504437 w 2074600"/>
                <a:gd name="connsiteY22" fmla="*/ 121947 h 1038553"/>
                <a:gd name="connsiteX23" fmla="*/ 1602459 w 2074600"/>
                <a:gd name="connsiteY23" fmla="*/ 252824 h 1038553"/>
                <a:gd name="connsiteX24" fmla="*/ 1707076 w 2074600"/>
                <a:gd name="connsiteY24" fmla="*/ 334156 h 1038553"/>
                <a:gd name="connsiteX25" fmla="*/ 2063577 w 2074600"/>
                <a:gd name="connsiteY25" fmla="*/ 891680 h 1038553"/>
                <a:gd name="connsiteX26" fmla="*/ 2018699 w 2074600"/>
                <a:gd name="connsiteY26" fmla="*/ 1012775 h 1038553"/>
                <a:gd name="connsiteX0" fmla="*/ 2018699 w 2074600"/>
                <a:gd name="connsiteY0" fmla="*/ 1012775 h 1038553"/>
                <a:gd name="connsiteX1" fmla="*/ 2005998 w 2074600"/>
                <a:gd name="connsiteY1" fmla="*/ 1036172 h 1038553"/>
                <a:gd name="connsiteX2" fmla="*/ 1355055 w 2074600"/>
                <a:gd name="connsiteY2" fmla="*/ 1038553 h 1038553"/>
                <a:gd name="connsiteX3" fmla="*/ 1479623 w 2074600"/>
                <a:gd name="connsiteY3" fmla="*/ 946658 h 1038553"/>
                <a:gd name="connsiteX4" fmla="*/ 1951851 w 2074600"/>
                <a:gd name="connsiteY4" fmla="*/ 947041 h 1038553"/>
                <a:gd name="connsiteX5" fmla="*/ 1808574 w 2074600"/>
                <a:gd name="connsiteY5" fmla="*/ 470526 h 1038553"/>
                <a:gd name="connsiteX6" fmla="*/ 1688693 w 2074600"/>
                <a:gd name="connsiteY6" fmla="*/ 421170 h 1038553"/>
                <a:gd name="connsiteX7" fmla="*/ 1523467 w 2074600"/>
                <a:gd name="connsiteY7" fmla="*/ 292710 h 1038553"/>
                <a:gd name="connsiteX8" fmla="*/ 1030329 w 2074600"/>
                <a:gd name="connsiteY8" fmla="*/ 127885 h 1038553"/>
                <a:gd name="connsiteX9" fmla="*/ 924954 w 2074600"/>
                <a:gd name="connsiteY9" fmla="*/ 206810 h 1038553"/>
                <a:gd name="connsiteX10" fmla="*/ 730203 w 2074600"/>
                <a:gd name="connsiteY10" fmla="*/ 279786 h 1038553"/>
                <a:gd name="connsiteX11" fmla="*/ 430613 w 2074600"/>
                <a:gd name="connsiteY11" fmla="*/ 503616 h 1038553"/>
                <a:gd name="connsiteX12" fmla="*/ 306053 w 2074600"/>
                <a:gd name="connsiteY12" fmla="*/ 669733 h 1038553"/>
                <a:gd name="connsiteX13" fmla="*/ 98824 w 2074600"/>
                <a:gd name="connsiteY13" fmla="*/ 947041 h 1038553"/>
                <a:gd name="connsiteX14" fmla="*/ 570455 w 2074600"/>
                <a:gd name="connsiteY14" fmla="*/ 947041 h 1038553"/>
                <a:gd name="connsiteX15" fmla="*/ 572822 w 2074600"/>
                <a:gd name="connsiteY15" fmla="*/ 1035476 h 1038553"/>
                <a:gd name="connsiteX16" fmla="*/ 0 w 2074600"/>
                <a:gd name="connsiteY16" fmla="*/ 1036172 h 1038553"/>
                <a:gd name="connsiteX17" fmla="*/ 3565 w 2074600"/>
                <a:gd name="connsiteY17" fmla="*/ 988264 h 1038553"/>
                <a:gd name="connsiteX18" fmla="*/ 264607 w 2074600"/>
                <a:gd name="connsiteY18" fmla="*/ 590518 h 1038553"/>
                <a:gd name="connsiteX19" fmla="*/ 342596 w 2074600"/>
                <a:gd name="connsiteY19" fmla="*/ 486124 h 1038553"/>
                <a:gd name="connsiteX20" fmla="*/ 737891 w 2074600"/>
                <a:gd name="connsiteY20" fmla="*/ 190655 h 1038553"/>
                <a:gd name="connsiteX21" fmla="*/ 858886 w 2074600"/>
                <a:gd name="connsiteY21" fmla="*/ 146090 h 1038553"/>
                <a:gd name="connsiteX22" fmla="*/ 1504437 w 2074600"/>
                <a:gd name="connsiteY22" fmla="*/ 121947 h 1038553"/>
                <a:gd name="connsiteX23" fmla="*/ 1602459 w 2074600"/>
                <a:gd name="connsiteY23" fmla="*/ 252824 h 1038553"/>
                <a:gd name="connsiteX24" fmla="*/ 1707076 w 2074600"/>
                <a:gd name="connsiteY24" fmla="*/ 334156 h 1038553"/>
                <a:gd name="connsiteX25" fmla="*/ 2063577 w 2074600"/>
                <a:gd name="connsiteY25" fmla="*/ 891680 h 1038553"/>
                <a:gd name="connsiteX26" fmla="*/ 2018699 w 2074600"/>
                <a:gd name="connsiteY26" fmla="*/ 1012775 h 1038553"/>
                <a:gd name="connsiteX0" fmla="*/ 2018699 w 2074600"/>
                <a:gd name="connsiteY0" fmla="*/ 1012775 h 1038553"/>
                <a:gd name="connsiteX1" fmla="*/ 2005998 w 2074600"/>
                <a:gd name="connsiteY1" fmla="*/ 1036172 h 1038553"/>
                <a:gd name="connsiteX2" fmla="*/ 1364224 w 2074600"/>
                <a:gd name="connsiteY2" fmla="*/ 1034890 h 1038553"/>
                <a:gd name="connsiteX3" fmla="*/ 1355055 w 2074600"/>
                <a:gd name="connsiteY3" fmla="*/ 1038553 h 1038553"/>
                <a:gd name="connsiteX4" fmla="*/ 1479623 w 2074600"/>
                <a:gd name="connsiteY4" fmla="*/ 946658 h 1038553"/>
                <a:gd name="connsiteX5" fmla="*/ 1951851 w 2074600"/>
                <a:gd name="connsiteY5" fmla="*/ 947041 h 1038553"/>
                <a:gd name="connsiteX6" fmla="*/ 1808574 w 2074600"/>
                <a:gd name="connsiteY6" fmla="*/ 470526 h 1038553"/>
                <a:gd name="connsiteX7" fmla="*/ 1688693 w 2074600"/>
                <a:gd name="connsiteY7" fmla="*/ 421170 h 1038553"/>
                <a:gd name="connsiteX8" fmla="*/ 1523467 w 2074600"/>
                <a:gd name="connsiteY8" fmla="*/ 292710 h 1038553"/>
                <a:gd name="connsiteX9" fmla="*/ 1030329 w 2074600"/>
                <a:gd name="connsiteY9" fmla="*/ 127885 h 1038553"/>
                <a:gd name="connsiteX10" fmla="*/ 924954 w 2074600"/>
                <a:gd name="connsiteY10" fmla="*/ 206810 h 1038553"/>
                <a:gd name="connsiteX11" fmla="*/ 730203 w 2074600"/>
                <a:gd name="connsiteY11" fmla="*/ 279786 h 1038553"/>
                <a:gd name="connsiteX12" fmla="*/ 430613 w 2074600"/>
                <a:gd name="connsiteY12" fmla="*/ 503616 h 1038553"/>
                <a:gd name="connsiteX13" fmla="*/ 306053 w 2074600"/>
                <a:gd name="connsiteY13" fmla="*/ 669733 h 1038553"/>
                <a:gd name="connsiteX14" fmla="*/ 98824 w 2074600"/>
                <a:gd name="connsiteY14" fmla="*/ 947041 h 1038553"/>
                <a:gd name="connsiteX15" fmla="*/ 570455 w 2074600"/>
                <a:gd name="connsiteY15" fmla="*/ 947041 h 1038553"/>
                <a:gd name="connsiteX16" fmla="*/ 572822 w 2074600"/>
                <a:gd name="connsiteY16" fmla="*/ 1035476 h 1038553"/>
                <a:gd name="connsiteX17" fmla="*/ 0 w 2074600"/>
                <a:gd name="connsiteY17" fmla="*/ 1036172 h 1038553"/>
                <a:gd name="connsiteX18" fmla="*/ 3565 w 2074600"/>
                <a:gd name="connsiteY18" fmla="*/ 988264 h 1038553"/>
                <a:gd name="connsiteX19" fmla="*/ 264607 w 2074600"/>
                <a:gd name="connsiteY19" fmla="*/ 590518 h 1038553"/>
                <a:gd name="connsiteX20" fmla="*/ 342596 w 2074600"/>
                <a:gd name="connsiteY20" fmla="*/ 486124 h 1038553"/>
                <a:gd name="connsiteX21" fmla="*/ 737891 w 2074600"/>
                <a:gd name="connsiteY21" fmla="*/ 190655 h 1038553"/>
                <a:gd name="connsiteX22" fmla="*/ 858886 w 2074600"/>
                <a:gd name="connsiteY22" fmla="*/ 146090 h 1038553"/>
                <a:gd name="connsiteX23" fmla="*/ 1504437 w 2074600"/>
                <a:gd name="connsiteY23" fmla="*/ 121947 h 1038553"/>
                <a:gd name="connsiteX24" fmla="*/ 1602459 w 2074600"/>
                <a:gd name="connsiteY24" fmla="*/ 252824 h 1038553"/>
                <a:gd name="connsiteX25" fmla="*/ 1707076 w 2074600"/>
                <a:gd name="connsiteY25" fmla="*/ 334156 h 1038553"/>
                <a:gd name="connsiteX26" fmla="*/ 2063577 w 2074600"/>
                <a:gd name="connsiteY26" fmla="*/ 891680 h 1038553"/>
                <a:gd name="connsiteX27" fmla="*/ 2018699 w 2074600"/>
                <a:gd name="connsiteY27" fmla="*/ 1012775 h 1038553"/>
                <a:gd name="connsiteX0" fmla="*/ 2018699 w 2074600"/>
                <a:gd name="connsiteY0" fmla="*/ 1012775 h 1038553"/>
                <a:gd name="connsiteX1" fmla="*/ 2005998 w 2074600"/>
                <a:gd name="connsiteY1" fmla="*/ 1036172 h 1038553"/>
                <a:gd name="connsiteX2" fmla="*/ 1364224 w 2074600"/>
                <a:gd name="connsiteY2" fmla="*/ 1034890 h 1038553"/>
                <a:gd name="connsiteX3" fmla="*/ 1355055 w 2074600"/>
                <a:gd name="connsiteY3" fmla="*/ 1038553 h 1038553"/>
                <a:gd name="connsiteX4" fmla="*/ 1484887 w 2074600"/>
                <a:gd name="connsiteY4" fmla="*/ 950656 h 1038553"/>
                <a:gd name="connsiteX5" fmla="*/ 1951851 w 2074600"/>
                <a:gd name="connsiteY5" fmla="*/ 947041 h 1038553"/>
                <a:gd name="connsiteX6" fmla="*/ 1808574 w 2074600"/>
                <a:gd name="connsiteY6" fmla="*/ 470526 h 1038553"/>
                <a:gd name="connsiteX7" fmla="*/ 1688693 w 2074600"/>
                <a:gd name="connsiteY7" fmla="*/ 421170 h 1038553"/>
                <a:gd name="connsiteX8" fmla="*/ 1523467 w 2074600"/>
                <a:gd name="connsiteY8" fmla="*/ 292710 h 1038553"/>
                <a:gd name="connsiteX9" fmla="*/ 1030329 w 2074600"/>
                <a:gd name="connsiteY9" fmla="*/ 127885 h 1038553"/>
                <a:gd name="connsiteX10" fmla="*/ 924954 w 2074600"/>
                <a:gd name="connsiteY10" fmla="*/ 206810 h 1038553"/>
                <a:gd name="connsiteX11" fmla="*/ 730203 w 2074600"/>
                <a:gd name="connsiteY11" fmla="*/ 279786 h 1038553"/>
                <a:gd name="connsiteX12" fmla="*/ 430613 w 2074600"/>
                <a:gd name="connsiteY12" fmla="*/ 503616 h 1038553"/>
                <a:gd name="connsiteX13" fmla="*/ 306053 w 2074600"/>
                <a:gd name="connsiteY13" fmla="*/ 669733 h 1038553"/>
                <a:gd name="connsiteX14" fmla="*/ 98824 w 2074600"/>
                <a:gd name="connsiteY14" fmla="*/ 947041 h 1038553"/>
                <a:gd name="connsiteX15" fmla="*/ 570455 w 2074600"/>
                <a:gd name="connsiteY15" fmla="*/ 947041 h 1038553"/>
                <a:gd name="connsiteX16" fmla="*/ 572822 w 2074600"/>
                <a:gd name="connsiteY16" fmla="*/ 1035476 h 1038553"/>
                <a:gd name="connsiteX17" fmla="*/ 0 w 2074600"/>
                <a:gd name="connsiteY17" fmla="*/ 1036172 h 1038553"/>
                <a:gd name="connsiteX18" fmla="*/ 3565 w 2074600"/>
                <a:gd name="connsiteY18" fmla="*/ 988264 h 1038553"/>
                <a:gd name="connsiteX19" fmla="*/ 264607 w 2074600"/>
                <a:gd name="connsiteY19" fmla="*/ 590518 h 1038553"/>
                <a:gd name="connsiteX20" fmla="*/ 342596 w 2074600"/>
                <a:gd name="connsiteY20" fmla="*/ 486124 h 1038553"/>
                <a:gd name="connsiteX21" fmla="*/ 737891 w 2074600"/>
                <a:gd name="connsiteY21" fmla="*/ 190655 h 1038553"/>
                <a:gd name="connsiteX22" fmla="*/ 858886 w 2074600"/>
                <a:gd name="connsiteY22" fmla="*/ 146090 h 1038553"/>
                <a:gd name="connsiteX23" fmla="*/ 1504437 w 2074600"/>
                <a:gd name="connsiteY23" fmla="*/ 121947 h 1038553"/>
                <a:gd name="connsiteX24" fmla="*/ 1602459 w 2074600"/>
                <a:gd name="connsiteY24" fmla="*/ 252824 h 1038553"/>
                <a:gd name="connsiteX25" fmla="*/ 1707076 w 2074600"/>
                <a:gd name="connsiteY25" fmla="*/ 334156 h 1038553"/>
                <a:gd name="connsiteX26" fmla="*/ 2063577 w 2074600"/>
                <a:gd name="connsiteY26" fmla="*/ 891680 h 1038553"/>
                <a:gd name="connsiteX27" fmla="*/ 2018699 w 2074600"/>
                <a:gd name="connsiteY27" fmla="*/ 1012775 h 1038553"/>
                <a:gd name="connsiteX0" fmla="*/ 2018699 w 2074600"/>
                <a:gd name="connsiteY0" fmla="*/ 1012775 h 1038553"/>
                <a:gd name="connsiteX1" fmla="*/ 2005998 w 2074600"/>
                <a:gd name="connsiteY1" fmla="*/ 1036172 h 1038553"/>
                <a:gd name="connsiteX2" fmla="*/ 1364224 w 2074600"/>
                <a:gd name="connsiteY2" fmla="*/ 1034890 h 1038553"/>
                <a:gd name="connsiteX3" fmla="*/ 1355055 w 2074600"/>
                <a:gd name="connsiteY3" fmla="*/ 1038553 h 1038553"/>
                <a:gd name="connsiteX4" fmla="*/ 1528748 w 2074600"/>
                <a:gd name="connsiteY4" fmla="*/ 946658 h 1038553"/>
                <a:gd name="connsiteX5" fmla="*/ 1951851 w 2074600"/>
                <a:gd name="connsiteY5" fmla="*/ 947041 h 1038553"/>
                <a:gd name="connsiteX6" fmla="*/ 1808574 w 2074600"/>
                <a:gd name="connsiteY6" fmla="*/ 470526 h 1038553"/>
                <a:gd name="connsiteX7" fmla="*/ 1688693 w 2074600"/>
                <a:gd name="connsiteY7" fmla="*/ 421170 h 1038553"/>
                <a:gd name="connsiteX8" fmla="*/ 1523467 w 2074600"/>
                <a:gd name="connsiteY8" fmla="*/ 292710 h 1038553"/>
                <a:gd name="connsiteX9" fmla="*/ 1030329 w 2074600"/>
                <a:gd name="connsiteY9" fmla="*/ 127885 h 1038553"/>
                <a:gd name="connsiteX10" fmla="*/ 924954 w 2074600"/>
                <a:gd name="connsiteY10" fmla="*/ 206810 h 1038553"/>
                <a:gd name="connsiteX11" fmla="*/ 730203 w 2074600"/>
                <a:gd name="connsiteY11" fmla="*/ 279786 h 1038553"/>
                <a:gd name="connsiteX12" fmla="*/ 430613 w 2074600"/>
                <a:gd name="connsiteY12" fmla="*/ 503616 h 1038553"/>
                <a:gd name="connsiteX13" fmla="*/ 306053 w 2074600"/>
                <a:gd name="connsiteY13" fmla="*/ 669733 h 1038553"/>
                <a:gd name="connsiteX14" fmla="*/ 98824 w 2074600"/>
                <a:gd name="connsiteY14" fmla="*/ 947041 h 1038553"/>
                <a:gd name="connsiteX15" fmla="*/ 570455 w 2074600"/>
                <a:gd name="connsiteY15" fmla="*/ 947041 h 1038553"/>
                <a:gd name="connsiteX16" fmla="*/ 572822 w 2074600"/>
                <a:gd name="connsiteY16" fmla="*/ 1035476 h 1038553"/>
                <a:gd name="connsiteX17" fmla="*/ 0 w 2074600"/>
                <a:gd name="connsiteY17" fmla="*/ 1036172 h 1038553"/>
                <a:gd name="connsiteX18" fmla="*/ 3565 w 2074600"/>
                <a:gd name="connsiteY18" fmla="*/ 988264 h 1038553"/>
                <a:gd name="connsiteX19" fmla="*/ 264607 w 2074600"/>
                <a:gd name="connsiteY19" fmla="*/ 590518 h 1038553"/>
                <a:gd name="connsiteX20" fmla="*/ 342596 w 2074600"/>
                <a:gd name="connsiteY20" fmla="*/ 486124 h 1038553"/>
                <a:gd name="connsiteX21" fmla="*/ 737891 w 2074600"/>
                <a:gd name="connsiteY21" fmla="*/ 190655 h 1038553"/>
                <a:gd name="connsiteX22" fmla="*/ 858886 w 2074600"/>
                <a:gd name="connsiteY22" fmla="*/ 146090 h 1038553"/>
                <a:gd name="connsiteX23" fmla="*/ 1504437 w 2074600"/>
                <a:gd name="connsiteY23" fmla="*/ 121947 h 1038553"/>
                <a:gd name="connsiteX24" fmla="*/ 1602459 w 2074600"/>
                <a:gd name="connsiteY24" fmla="*/ 252824 h 1038553"/>
                <a:gd name="connsiteX25" fmla="*/ 1707076 w 2074600"/>
                <a:gd name="connsiteY25" fmla="*/ 334156 h 1038553"/>
                <a:gd name="connsiteX26" fmla="*/ 2063577 w 2074600"/>
                <a:gd name="connsiteY26" fmla="*/ 891680 h 1038553"/>
                <a:gd name="connsiteX27" fmla="*/ 2018699 w 2074600"/>
                <a:gd name="connsiteY27" fmla="*/ 1012775 h 10385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2074600" h="1038553">
                  <a:moveTo>
                    <a:pt x="2018699" y="1012775"/>
                  </a:moveTo>
                  <a:lnTo>
                    <a:pt x="2005998" y="1036172"/>
                  </a:lnTo>
                  <a:lnTo>
                    <a:pt x="1364224" y="1034890"/>
                  </a:lnTo>
                  <a:lnTo>
                    <a:pt x="1355055" y="1038553"/>
                  </a:lnTo>
                  <a:cubicBezTo>
                    <a:pt x="1429561" y="1005077"/>
                    <a:pt x="1464776" y="1011903"/>
                    <a:pt x="1528748" y="946658"/>
                  </a:cubicBezTo>
                  <a:lnTo>
                    <a:pt x="1951851" y="947041"/>
                  </a:lnTo>
                  <a:cubicBezTo>
                    <a:pt x="2029328" y="774685"/>
                    <a:pt x="1968263" y="571578"/>
                    <a:pt x="1808574" y="470526"/>
                  </a:cubicBezTo>
                  <a:cubicBezTo>
                    <a:pt x="1771774" y="447252"/>
                    <a:pt x="1731208" y="430551"/>
                    <a:pt x="1688693" y="421170"/>
                  </a:cubicBezTo>
                  <a:cubicBezTo>
                    <a:pt x="1616999" y="405594"/>
                    <a:pt x="1556234" y="358355"/>
                    <a:pt x="1523467" y="292710"/>
                  </a:cubicBezTo>
                  <a:cubicBezTo>
                    <a:pt x="1432799" y="111017"/>
                    <a:pt x="1212022" y="37226"/>
                    <a:pt x="1030329" y="127885"/>
                  </a:cubicBezTo>
                  <a:cubicBezTo>
                    <a:pt x="990744" y="147639"/>
                    <a:pt x="955047" y="174378"/>
                    <a:pt x="924954" y="206810"/>
                  </a:cubicBezTo>
                  <a:cubicBezTo>
                    <a:pt x="875007" y="260233"/>
                    <a:pt x="802956" y="287240"/>
                    <a:pt x="730203" y="279786"/>
                  </a:cubicBezTo>
                  <a:cubicBezTo>
                    <a:pt x="587650" y="266294"/>
                    <a:pt x="458099" y="363090"/>
                    <a:pt x="430613" y="503616"/>
                  </a:cubicBezTo>
                  <a:cubicBezTo>
                    <a:pt x="416526" y="575054"/>
                    <a:pt x="370682" y="636198"/>
                    <a:pt x="306053" y="669733"/>
                  </a:cubicBezTo>
                  <a:cubicBezTo>
                    <a:pt x="198372" y="725808"/>
                    <a:pt x="122095" y="827884"/>
                    <a:pt x="98824" y="947041"/>
                  </a:cubicBezTo>
                  <a:lnTo>
                    <a:pt x="570455" y="947041"/>
                  </a:lnTo>
                  <a:cubicBezTo>
                    <a:pt x="570078" y="1003108"/>
                    <a:pt x="570923" y="955831"/>
                    <a:pt x="572822" y="1035476"/>
                  </a:cubicBezTo>
                  <a:lnTo>
                    <a:pt x="0" y="1036172"/>
                  </a:lnTo>
                  <a:lnTo>
                    <a:pt x="3565" y="988264"/>
                  </a:lnTo>
                  <a:cubicBezTo>
                    <a:pt x="15596" y="819339"/>
                    <a:pt x="114420" y="668764"/>
                    <a:pt x="264607" y="590518"/>
                  </a:cubicBezTo>
                  <a:cubicBezTo>
                    <a:pt x="305068" y="569316"/>
                    <a:pt x="333744" y="530934"/>
                    <a:pt x="342596" y="486124"/>
                  </a:cubicBezTo>
                  <a:cubicBezTo>
                    <a:pt x="378866" y="300698"/>
                    <a:pt x="549781" y="172941"/>
                    <a:pt x="737891" y="190655"/>
                  </a:cubicBezTo>
                  <a:cubicBezTo>
                    <a:pt x="782980" y="195558"/>
                    <a:pt x="827757" y="179068"/>
                    <a:pt x="858886" y="146090"/>
                  </a:cubicBezTo>
                  <a:cubicBezTo>
                    <a:pt x="1030485" y="-38841"/>
                    <a:pt x="1319514" y="-49649"/>
                    <a:pt x="1504437" y="121947"/>
                  </a:cubicBezTo>
                  <a:cubicBezTo>
                    <a:pt x="1544713" y="159326"/>
                    <a:pt x="1577926" y="203657"/>
                    <a:pt x="1602459" y="252824"/>
                  </a:cubicBezTo>
                  <a:cubicBezTo>
                    <a:pt x="1623193" y="294392"/>
                    <a:pt x="1661675" y="324307"/>
                    <a:pt x="1707076" y="334156"/>
                  </a:cubicBezTo>
                  <a:cubicBezTo>
                    <a:pt x="1959483" y="389662"/>
                    <a:pt x="2119094" y="639284"/>
                    <a:pt x="2063577" y="891680"/>
                  </a:cubicBezTo>
                  <a:cubicBezTo>
                    <a:pt x="2054285" y="933928"/>
                    <a:pt x="2039188" y="974683"/>
                    <a:pt x="2018699" y="1012775"/>
                  </a:cubicBezTo>
                  <a:close/>
                </a:path>
              </a:pathLst>
            </a:custGeom>
            <a:grpFill/>
            <a:ln w="1111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4" name="Group 3">
            <a:extLst>
              <a:ext uri="{FF2B5EF4-FFF2-40B4-BE49-F238E27FC236}">
                <a16:creationId xmlns:a16="http://schemas.microsoft.com/office/drawing/2014/main" id="{41AC0FEC-8DC4-4A8B-814B-0A6B2390F562}"/>
              </a:ext>
            </a:extLst>
          </p:cNvPr>
          <p:cNvGrpSpPr/>
          <p:nvPr/>
        </p:nvGrpSpPr>
        <p:grpSpPr>
          <a:xfrm>
            <a:off x="10073657" y="1534390"/>
            <a:ext cx="1909151" cy="1159603"/>
            <a:chOff x="8878894" y="1395779"/>
            <a:chExt cx="2623348" cy="1541417"/>
          </a:xfrm>
        </p:grpSpPr>
        <p:pic>
          <p:nvPicPr>
            <p:cNvPr id="63" name="Picture 62">
              <a:extLst>
                <a:ext uri="{FF2B5EF4-FFF2-40B4-BE49-F238E27FC236}">
                  <a16:creationId xmlns:a16="http://schemas.microsoft.com/office/drawing/2014/main" id="{5393B080-905D-42E2-91F6-1A526CC58AC5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/>
            <a:stretch>
              <a:fillRect/>
            </a:stretch>
          </p:blipFill>
          <p:spPr>
            <a:xfrm>
              <a:off x="8892404" y="1658502"/>
              <a:ext cx="2609838" cy="1278694"/>
            </a:xfrm>
            <a:prstGeom prst="rect">
              <a:avLst/>
            </a:prstGeom>
            <a:ln w="6350">
              <a:solidFill>
                <a:schemeClr val="tx1"/>
              </a:solidFill>
            </a:ln>
          </p:spPr>
        </p:pic>
        <p:sp>
          <p:nvSpPr>
            <p:cNvPr id="64" name="Rectangle 63">
              <a:extLst>
                <a:ext uri="{FF2B5EF4-FFF2-40B4-BE49-F238E27FC236}">
                  <a16:creationId xmlns:a16="http://schemas.microsoft.com/office/drawing/2014/main" id="{5CC38173-DD13-4786-BEC7-DEE2E02AE074}"/>
                </a:ext>
              </a:extLst>
            </p:cNvPr>
            <p:cNvSpPr/>
            <p:nvPr/>
          </p:nvSpPr>
          <p:spPr>
            <a:xfrm>
              <a:off x="8878894" y="1395779"/>
              <a:ext cx="2609838" cy="373420"/>
            </a:xfrm>
            <a:prstGeom prst="rect">
              <a:avLst/>
            </a:prstGeom>
            <a:solidFill>
              <a:schemeClr val="tx1"/>
            </a:solidFill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50" b="1" dirty="0">
                  <a:solidFill>
                    <a:schemeClr val="bg1"/>
                  </a:solidFill>
                </a:rPr>
                <a:t>OCI native administration</a:t>
              </a:r>
              <a:endParaRPr lang="en-US" sz="1400" b="1" dirty="0">
                <a:solidFill>
                  <a:schemeClr val="bg1"/>
                </a:solidFill>
              </a:endParaRPr>
            </a:p>
          </p:txBody>
        </p:sp>
      </p:grpSp>
      <p:sp>
        <p:nvSpPr>
          <p:cNvPr id="8" name="Slide Number Placeholder 7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345D60D9-5372-5F40-9443-0F9AE5BDC3C8}" type="slidenum">
              <a:rPr lang="en-US" smtClean="0"/>
              <a:t>3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688672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31535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C38B6F3C-673A-2C4F-BDD8-A174DA9D4B4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12" r="91391"/>
          <a:stretch/>
        </p:blipFill>
        <p:spPr>
          <a:xfrm>
            <a:off x="-1" y="0"/>
            <a:ext cx="1083365" cy="6858000"/>
          </a:xfrm>
          <a:prstGeom prst="rect">
            <a:avLst/>
          </a:prstGeom>
        </p:spPr>
      </p:pic>
      <p:sp>
        <p:nvSpPr>
          <p:cNvPr id="10" name="Title 6"/>
          <p:cNvSpPr txBox="1">
            <a:spLocks/>
          </p:cNvSpPr>
          <p:nvPr/>
        </p:nvSpPr>
        <p:spPr>
          <a:xfrm>
            <a:off x="3487833" y="3017520"/>
            <a:ext cx="5642916" cy="822960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noAutofit/>
          </a:bodyPr>
          <a:lstStyle>
            <a:lvl1pPr algn="l" defTabSz="914400" rtl="0" eaLnBrk="1" latinLnBrk="0" hangingPunct="1">
              <a:lnSpc>
                <a:spcPct val="95000"/>
              </a:lnSpc>
              <a:spcBef>
                <a:spcPct val="0"/>
              </a:spcBef>
              <a:buNone/>
              <a:defRPr lang="en-US" sz="4000" b="0" i="0" kern="1200" baseline="0" dirty="0">
                <a:solidFill>
                  <a:schemeClr val="tx1"/>
                </a:solidFill>
                <a:latin typeface="+mj-lt"/>
                <a:ea typeface="+mn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5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>
                <a:solidFill>
                  <a:srgbClr val="FCFBFA"/>
                </a:solidFill>
                <a:latin typeface="Georgia"/>
              </a:rPr>
              <a:t>OCI Cloud Region Maps </a:t>
            </a:r>
            <a:endParaRPr kumimoji="0" lang="en-US" sz="4000" b="0" i="0" u="none" strike="noStrike" kern="1200" cap="none" spc="0" normalizeH="0" baseline="0" noProof="0" dirty="0">
              <a:ln>
                <a:noFill/>
              </a:ln>
              <a:solidFill>
                <a:srgbClr val="FCFBFA"/>
              </a:solidFill>
              <a:effectLst/>
              <a:uLnTx/>
              <a:uFillTx/>
              <a:latin typeface="Georgia"/>
              <a:ea typeface="+mn-ea"/>
              <a:cs typeface="+mj-cs"/>
            </a:endParaRP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Copyright © 2024, Oracle and/or its affiliates. All rights reserved   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5D60D9-5372-5F40-9443-0F9AE5BDC3C8}" type="slidenum">
              <a:rPr lang="en-US" smtClean="0"/>
              <a:pPr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920771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1" name="Rectangle 260">
            <a:extLst>
              <a:ext uri="{FF2B5EF4-FFF2-40B4-BE49-F238E27FC236}">
                <a16:creationId xmlns:a16="http://schemas.microsoft.com/office/drawing/2014/main" id="{77364A9D-F364-4638-8553-3A0B1028B667}"/>
              </a:ext>
            </a:extLst>
          </p:cNvPr>
          <p:cNvSpPr/>
          <p:nvPr/>
        </p:nvSpPr>
        <p:spPr>
          <a:xfrm>
            <a:off x="2039208" y="1523161"/>
            <a:ext cx="4999400" cy="4007662"/>
          </a:xfrm>
          <a:prstGeom prst="rect">
            <a:avLst/>
          </a:prstGeom>
          <a:solidFill>
            <a:schemeClr val="accent2">
              <a:alpha val="26000"/>
            </a:schemeClr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6" tIns="45719" rIns="91436" bIns="4571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b="1" dirty="0">
              <a:solidFill>
                <a:srgbClr val="41817E"/>
              </a:solidFill>
            </a:endParaRPr>
          </a:p>
        </p:txBody>
      </p:sp>
      <p:sp>
        <p:nvSpPr>
          <p:cNvPr id="262" name="Rectangle 261">
            <a:extLst>
              <a:ext uri="{FF2B5EF4-FFF2-40B4-BE49-F238E27FC236}">
                <a16:creationId xmlns:a16="http://schemas.microsoft.com/office/drawing/2014/main" id="{4459DB9A-F184-4178-84CB-78CEA55999BF}"/>
              </a:ext>
            </a:extLst>
          </p:cNvPr>
          <p:cNvSpPr/>
          <p:nvPr/>
        </p:nvSpPr>
        <p:spPr>
          <a:xfrm>
            <a:off x="7092774" y="1523161"/>
            <a:ext cx="4724400" cy="4007662"/>
          </a:xfrm>
          <a:prstGeom prst="rect">
            <a:avLst/>
          </a:prstGeom>
          <a:solidFill>
            <a:schemeClr val="accent2">
              <a:alpha val="26000"/>
            </a:schemeClr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6" tIns="45719" rIns="91436" bIns="4571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10" name="Right Arrow 13">
            <a:extLst>
              <a:ext uri="{FF2B5EF4-FFF2-40B4-BE49-F238E27FC236}">
                <a16:creationId xmlns:a16="http://schemas.microsoft.com/office/drawing/2014/main" id="{74AF2495-168A-4060-B831-72EF5D99A19D}"/>
              </a:ext>
            </a:extLst>
          </p:cNvPr>
          <p:cNvSpPr/>
          <p:nvPr/>
        </p:nvSpPr>
        <p:spPr>
          <a:xfrm>
            <a:off x="3552709" y="4159224"/>
            <a:ext cx="2038100" cy="636523"/>
          </a:xfrm>
          <a:prstGeom prst="rightArrow">
            <a:avLst/>
          </a:prstGeom>
          <a:gradFill>
            <a:gsLst>
              <a:gs pos="0">
                <a:srgbClr val="E5DBBE"/>
              </a:gs>
              <a:gs pos="96000">
                <a:srgbClr val="D39F5D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893" tIns="60947" rIns="121893" bIns="60947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>
              <a:solidFill>
                <a:srgbClr val="FFFFFF"/>
              </a:solidFill>
              <a:latin typeface="Oracle Sans" panose="020B0503020204020204" pitchFamily="34" charset="0"/>
            </a:endParaRPr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026A9AB4-22A6-444D-8137-BE719F16AD7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Incremental-forever backups reduce backup overhead on production database services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3634E940-ED8C-47BF-A6A3-6831EB44C13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covery Service eliminates weekly full backups 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23C090C-8EDA-4141-9356-9EA9C40DBF3C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1127760" y="6423658"/>
            <a:ext cx="5745379" cy="365125"/>
          </a:xfrm>
        </p:spPr>
        <p:txBody>
          <a:bodyPr/>
          <a:lstStyle/>
          <a:p>
            <a:r>
              <a:rPr lang="en-US" smtClean="0"/>
              <a:t>Copyright © 2024, Oracle and/or its affiliates. All rights reserved   </a:t>
            </a:r>
            <a:endParaRPr lang="en-US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F636A9A0-BC35-46C1-961B-5EB17C1CE680}"/>
              </a:ext>
            </a:extLst>
          </p:cNvPr>
          <p:cNvSpPr txBox="1"/>
          <p:nvPr/>
        </p:nvSpPr>
        <p:spPr>
          <a:xfrm>
            <a:off x="3533407" y="4006823"/>
            <a:ext cx="1524000" cy="10668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dirty="0">
                <a:solidFill>
                  <a:srgbClr val="41817E"/>
                </a:solidFill>
              </a:rPr>
              <a:t>01001010110</a:t>
            </a:r>
            <a:br>
              <a:rPr lang="en-US" dirty="0">
                <a:solidFill>
                  <a:srgbClr val="41817E"/>
                </a:solidFill>
              </a:rPr>
            </a:br>
            <a:r>
              <a:rPr lang="en-US" dirty="0">
                <a:solidFill>
                  <a:srgbClr val="41817E"/>
                </a:solidFill>
              </a:rPr>
              <a:t>10010101101</a:t>
            </a:r>
          </a:p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dirty="0">
                <a:solidFill>
                  <a:srgbClr val="41817E"/>
                </a:solidFill>
              </a:rPr>
              <a:t>01001010010</a:t>
            </a:r>
            <a:br>
              <a:rPr lang="en-US" dirty="0">
                <a:solidFill>
                  <a:srgbClr val="41817E"/>
                </a:solidFill>
              </a:rPr>
            </a:br>
            <a:r>
              <a:rPr lang="en-US" dirty="0">
                <a:solidFill>
                  <a:srgbClr val="41817E"/>
                </a:solidFill>
              </a:rPr>
              <a:t>10010101100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E8E60C16-A775-4F6B-9DEE-2A77B49B7721}"/>
              </a:ext>
            </a:extLst>
          </p:cNvPr>
          <p:cNvSpPr txBox="1"/>
          <p:nvPr/>
        </p:nvSpPr>
        <p:spPr>
          <a:xfrm>
            <a:off x="2847607" y="5552089"/>
            <a:ext cx="4164394" cy="338528"/>
          </a:xfrm>
          <a:prstGeom prst="rect">
            <a:avLst/>
          </a:prstGeom>
          <a:noFill/>
        </p:spPr>
        <p:txBody>
          <a:bodyPr wrap="square" lIns="121893" tIns="60947" rIns="121893" bIns="60947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00" b="1">
                <a:solidFill>
                  <a:srgbClr val="FFFFFF"/>
                </a:solidFill>
                <a:ea typeface="ＭＳ Ｐゴシック" pitchFamily="34" charset="-128"/>
              </a:rPr>
              <a:t>Recovery Appliance Delta Push (What it Does)</a:t>
            </a:r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17713BB2-6373-443E-94E1-65A8DAAEF1D1}"/>
              </a:ext>
            </a:extLst>
          </p:cNvPr>
          <p:cNvGrpSpPr>
            <a:grpSpLocks noChangeAspect="1"/>
          </p:cNvGrpSpPr>
          <p:nvPr/>
        </p:nvGrpSpPr>
        <p:grpSpPr>
          <a:xfrm>
            <a:off x="5114764" y="3413753"/>
            <a:ext cx="1995143" cy="1995143"/>
            <a:chOff x="8428348" y="3608272"/>
            <a:chExt cx="2437447" cy="2437447"/>
          </a:xfrm>
          <a:solidFill>
            <a:schemeClr val="tx1"/>
          </a:solidFill>
        </p:grpSpPr>
        <p:pic>
          <p:nvPicPr>
            <p:cNvPr id="16" name="Picture Placeholder 48">
              <a:extLst>
                <a:ext uri="{FF2B5EF4-FFF2-40B4-BE49-F238E27FC236}">
                  <a16:creationId xmlns:a16="http://schemas.microsoft.com/office/drawing/2014/main" id="{84EBA798-4EC0-407D-B297-C05483EB14A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4"/>
                </a:ext>
              </a:extLst>
            </a:blip>
            <a:srcRect/>
            <a:stretch/>
          </p:blipFill>
          <p:spPr>
            <a:xfrm>
              <a:off x="8428348" y="3608272"/>
              <a:ext cx="2437447" cy="2437447"/>
            </a:xfrm>
            <a:prstGeom prst="rect">
              <a:avLst/>
            </a:prstGeom>
            <a:noFill/>
          </p:spPr>
        </p:pic>
        <p:sp>
          <p:nvSpPr>
            <p:cNvPr id="17" name="Picture Placeholder 39">
              <a:extLst>
                <a:ext uri="{FF2B5EF4-FFF2-40B4-BE49-F238E27FC236}">
                  <a16:creationId xmlns:a16="http://schemas.microsoft.com/office/drawing/2014/main" id="{F0B9AEE2-928B-479D-B269-163AA59495F9}"/>
                </a:ext>
              </a:extLst>
            </p:cNvPr>
            <p:cNvSpPr/>
            <p:nvPr/>
          </p:nvSpPr>
          <p:spPr>
            <a:xfrm>
              <a:off x="8766799" y="3782717"/>
              <a:ext cx="1897169" cy="833684"/>
            </a:xfrm>
            <a:custGeom>
              <a:avLst/>
              <a:gdLst>
                <a:gd name="connsiteX0" fmla="*/ 2018699 w 2074600"/>
                <a:gd name="connsiteY0" fmla="*/ 1012775 h 1036171"/>
                <a:gd name="connsiteX1" fmla="*/ 2005998 w 2074600"/>
                <a:gd name="connsiteY1" fmla="*/ 1036172 h 1036171"/>
                <a:gd name="connsiteX2" fmla="*/ 1071686 w 2074600"/>
                <a:gd name="connsiteY2" fmla="*/ 1036172 h 1036171"/>
                <a:gd name="connsiteX3" fmla="*/ 773655 w 2074600"/>
                <a:gd name="connsiteY3" fmla="*/ 735356 h 1036171"/>
                <a:gd name="connsiteX4" fmla="*/ 862785 w 2074600"/>
                <a:gd name="connsiteY4" fmla="*/ 735356 h 1036171"/>
                <a:gd name="connsiteX5" fmla="*/ 1071686 w 2074600"/>
                <a:gd name="connsiteY5" fmla="*/ 947041 h 1036171"/>
                <a:gd name="connsiteX6" fmla="*/ 1951851 w 2074600"/>
                <a:gd name="connsiteY6" fmla="*/ 947041 h 1036171"/>
                <a:gd name="connsiteX7" fmla="*/ 1808574 w 2074600"/>
                <a:gd name="connsiteY7" fmla="*/ 470526 h 1036171"/>
                <a:gd name="connsiteX8" fmla="*/ 1688693 w 2074600"/>
                <a:gd name="connsiteY8" fmla="*/ 421170 h 1036171"/>
                <a:gd name="connsiteX9" fmla="*/ 1523467 w 2074600"/>
                <a:gd name="connsiteY9" fmla="*/ 292710 h 1036171"/>
                <a:gd name="connsiteX10" fmla="*/ 1030329 w 2074600"/>
                <a:gd name="connsiteY10" fmla="*/ 127885 h 1036171"/>
                <a:gd name="connsiteX11" fmla="*/ 924954 w 2074600"/>
                <a:gd name="connsiteY11" fmla="*/ 206810 h 1036171"/>
                <a:gd name="connsiteX12" fmla="*/ 730203 w 2074600"/>
                <a:gd name="connsiteY12" fmla="*/ 279786 h 1036171"/>
                <a:gd name="connsiteX13" fmla="*/ 430613 w 2074600"/>
                <a:gd name="connsiteY13" fmla="*/ 503616 h 1036171"/>
                <a:gd name="connsiteX14" fmla="*/ 306053 w 2074600"/>
                <a:gd name="connsiteY14" fmla="*/ 669733 h 1036171"/>
                <a:gd name="connsiteX15" fmla="*/ 98824 w 2074600"/>
                <a:gd name="connsiteY15" fmla="*/ 947041 h 1036171"/>
                <a:gd name="connsiteX16" fmla="*/ 773655 w 2074600"/>
                <a:gd name="connsiteY16" fmla="*/ 947041 h 1036171"/>
                <a:gd name="connsiteX17" fmla="*/ 862228 w 2074600"/>
                <a:gd name="connsiteY17" fmla="*/ 1036172 h 1036171"/>
                <a:gd name="connsiteX18" fmla="*/ 0 w 2074600"/>
                <a:gd name="connsiteY18" fmla="*/ 1036172 h 1036171"/>
                <a:gd name="connsiteX19" fmla="*/ 3565 w 2074600"/>
                <a:gd name="connsiteY19" fmla="*/ 988264 h 1036171"/>
                <a:gd name="connsiteX20" fmla="*/ 264607 w 2074600"/>
                <a:gd name="connsiteY20" fmla="*/ 590518 h 1036171"/>
                <a:gd name="connsiteX21" fmla="*/ 342596 w 2074600"/>
                <a:gd name="connsiteY21" fmla="*/ 486124 h 1036171"/>
                <a:gd name="connsiteX22" fmla="*/ 737891 w 2074600"/>
                <a:gd name="connsiteY22" fmla="*/ 190655 h 1036171"/>
                <a:gd name="connsiteX23" fmla="*/ 858886 w 2074600"/>
                <a:gd name="connsiteY23" fmla="*/ 146090 h 1036171"/>
                <a:gd name="connsiteX24" fmla="*/ 1504437 w 2074600"/>
                <a:gd name="connsiteY24" fmla="*/ 121947 h 1036171"/>
                <a:gd name="connsiteX25" fmla="*/ 1602459 w 2074600"/>
                <a:gd name="connsiteY25" fmla="*/ 252824 h 1036171"/>
                <a:gd name="connsiteX26" fmla="*/ 1707076 w 2074600"/>
                <a:gd name="connsiteY26" fmla="*/ 334156 h 1036171"/>
                <a:gd name="connsiteX27" fmla="*/ 2063577 w 2074600"/>
                <a:gd name="connsiteY27" fmla="*/ 891680 h 1036171"/>
                <a:gd name="connsiteX28" fmla="*/ 2018699 w 2074600"/>
                <a:gd name="connsiteY28" fmla="*/ 1012775 h 1036171"/>
                <a:gd name="connsiteX0" fmla="*/ 2018699 w 2074600"/>
                <a:gd name="connsiteY0" fmla="*/ 1012775 h 1036172"/>
                <a:gd name="connsiteX1" fmla="*/ 2005998 w 2074600"/>
                <a:gd name="connsiteY1" fmla="*/ 1036172 h 1036172"/>
                <a:gd name="connsiteX2" fmla="*/ 1071686 w 2074600"/>
                <a:gd name="connsiteY2" fmla="*/ 1036172 h 1036172"/>
                <a:gd name="connsiteX3" fmla="*/ 773655 w 2074600"/>
                <a:gd name="connsiteY3" fmla="*/ 735356 h 1036172"/>
                <a:gd name="connsiteX4" fmla="*/ 862785 w 2074600"/>
                <a:gd name="connsiteY4" fmla="*/ 735356 h 1036172"/>
                <a:gd name="connsiteX5" fmla="*/ 1071686 w 2074600"/>
                <a:gd name="connsiteY5" fmla="*/ 947041 h 1036172"/>
                <a:gd name="connsiteX6" fmla="*/ 1951851 w 2074600"/>
                <a:gd name="connsiteY6" fmla="*/ 947041 h 1036172"/>
                <a:gd name="connsiteX7" fmla="*/ 1808574 w 2074600"/>
                <a:gd name="connsiteY7" fmla="*/ 470526 h 1036172"/>
                <a:gd name="connsiteX8" fmla="*/ 1688693 w 2074600"/>
                <a:gd name="connsiteY8" fmla="*/ 421170 h 1036172"/>
                <a:gd name="connsiteX9" fmla="*/ 1523467 w 2074600"/>
                <a:gd name="connsiteY9" fmla="*/ 292710 h 1036172"/>
                <a:gd name="connsiteX10" fmla="*/ 1030329 w 2074600"/>
                <a:gd name="connsiteY10" fmla="*/ 127885 h 1036172"/>
                <a:gd name="connsiteX11" fmla="*/ 924954 w 2074600"/>
                <a:gd name="connsiteY11" fmla="*/ 206810 h 1036172"/>
                <a:gd name="connsiteX12" fmla="*/ 730203 w 2074600"/>
                <a:gd name="connsiteY12" fmla="*/ 279786 h 1036172"/>
                <a:gd name="connsiteX13" fmla="*/ 430613 w 2074600"/>
                <a:gd name="connsiteY13" fmla="*/ 503616 h 1036172"/>
                <a:gd name="connsiteX14" fmla="*/ 306053 w 2074600"/>
                <a:gd name="connsiteY14" fmla="*/ 669733 h 1036172"/>
                <a:gd name="connsiteX15" fmla="*/ 98824 w 2074600"/>
                <a:gd name="connsiteY15" fmla="*/ 947041 h 1036172"/>
                <a:gd name="connsiteX16" fmla="*/ 570455 w 2074600"/>
                <a:gd name="connsiteY16" fmla="*/ 947041 h 1036172"/>
                <a:gd name="connsiteX17" fmla="*/ 862228 w 2074600"/>
                <a:gd name="connsiteY17" fmla="*/ 1036172 h 1036172"/>
                <a:gd name="connsiteX18" fmla="*/ 0 w 2074600"/>
                <a:gd name="connsiteY18" fmla="*/ 1036172 h 1036172"/>
                <a:gd name="connsiteX19" fmla="*/ 3565 w 2074600"/>
                <a:gd name="connsiteY19" fmla="*/ 988264 h 1036172"/>
                <a:gd name="connsiteX20" fmla="*/ 264607 w 2074600"/>
                <a:gd name="connsiteY20" fmla="*/ 590518 h 1036172"/>
                <a:gd name="connsiteX21" fmla="*/ 342596 w 2074600"/>
                <a:gd name="connsiteY21" fmla="*/ 486124 h 1036172"/>
                <a:gd name="connsiteX22" fmla="*/ 737891 w 2074600"/>
                <a:gd name="connsiteY22" fmla="*/ 190655 h 1036172"/>
                <a:gd name="connsiteX23" fmla="*/ 858886 w 2074600"/>
                <a:gd name="connsiteY23" fmla="*/ 146090 h 1036172"/>
                <a:gd name="connsiteX24" fmla="*/ 1504437 w 2074600"/>
                <a:gd name="connsiteY24" fmla="*/ 121947 h 1036172"/>
                <a:gd name="connsiteX25" fmla="*/ 1602459 w 2074600"/>
                <a:gd name="connsiteY25" fmla="*/ 252824 h 1036172"/>
                <a:gd name="connsiteX26" fmla="*/ 1707076 w 2074600"/>
                <a:gd name="connsiteY26" fmla="*/ 334156 h 1036172"/>
                <a:gd name="connsiteX27" fmla="*/ 2063577 w 2074600"/>
                <a:gd name="connsiteY27" fmla="*/ 891680 h 1036172"/>
                <a:gd name="connsiteX28" fmla="*/ 2018699 w 2074600"/>
                <a:gd name="connsiteY28" fmla="*/ 1012775 h 1036172"/>
                <a:gd name="connsiteX0" fmla="*/ 2018699 w 2074600"/>
                <a:gd name="connsiteY0" fmla="*/ 1012775 h 1039251"/>
                <a:gd name="connsiteX1" fmla="*/ 2005998 w 2074600"/>
                <a:gd name="connsiteY1" fmla="*/ 1036172 h 1039251"/>
                <a:gd name="connsiteX2" fmla="*/ 1071686 w 2074600"/>
                <a:gd name="connsiteY2" fmla="*/ 1036172 h 1039251"/>
                <a:gd name="connsiteX3" fmla="*/ 773655 w 2074600"/>
                <a:gd name="connsiteY3" fmla="*/ 735356 h 1039251"/>
                <a:gd name="connsiteX4" fmla="*/ 862785 w 2074600"/>
                <a:gd name="connsiteY4" fmla="*/ 735356 h 1039251"/>
                <a:gd name="connsiteX5" fmla="*/ 1071686 w 2074600"/>
                <a:gd name="connsiteY5" fmla="*/ 947041 h 1039251"/>
                <a:gd name="connsiteX6" fmla="*/ 1951851 w 2074600"/>
                <a:gd name="connsiteY6" fmla="*/ 947041 h 1039251"/>
                <a:gd name="connsiteX7" fmla="*/ 1808574 w 2074600"/>
                <a:gd name="connsiteY7" fmla="*/ 470526 h 1039251"/>
                <a:gd name="connsiteX8" fmla="*/ 1688693 w 2074600"/>
                <a:gd name="connsiteY8" fmla="*/ 421170 h 1039251"/>
                <a:gd name="connsiteX9" fmla="*/ 1523467 w 2074600"/>
                <a:gd name="connsiteY9" fmla="*/ 292710 h 1039251"/>
                <a:gd name="connsiteX10" fmla="*/ 1030329 w 2074600"/>
                <a:gd name="connsiteY10" fmla="*/ 127885 h 1039251"/>
                <a:gd name="connsiteX11" fmla="*/ 924954 w 2074600"/>
                <a:gd name="connsiteY11" fmla="*/ 206810 h 1039251"/>
                <a:gd name="connsiteX12" fmla="*/ 730203 w 2074600"/>
                <a:gd name="connsiteY12" fmla="*/ 279786 h 1039251"/>
                <a:gd name="connsiteX13" fmla="*/ 430613 w 2074600"/>
                <a:gd name="connsiteY13" fmla="*/ 503616 h 1039251"/>
                <a:gd name="connsiteX14" fmla="*/ 306053 w 2074600"/>
                <a:gd name="connsiteY14" fmla="*/ 669733 h 1039251"/>
                <a:gd name="connsiteX15" fmla="*/ 98824 w 2074600"/>
                <a:gd name="connsiteY15" fmla="*/ 947041 h 1039251"/>
                <a:gd name="connsiteX16" fmla="*/ 570455 w 2074600"/>
                <a:gd name="connsiteY16" fmla="*/ 947041 h 1039251"/>
                <a:gd name="connsiteX17" fmla="*/ 588216 w 2074600"/>
                <a:gd name="connsiteY17" fmla="*/ 1039251 h 1039251"/>
                <a:gd name="connsiteX18" fmla="*/ 0 w 2074600"/>
                <a:gd name="connsiteY18" fmla="*/ 1036172 h 1039251"/>
                <a:gd name="connsiteX19" fmla="*/ 3565 w 2074600"/>
                <a:gd name="connsiteY19" fmla="*/ 988264 h 1039251"/>
                <a:gd name="connsiteX20" fmla="*/ 264607 w 2074600"/>
                <a:gd name="connsiteY20" fmla="*/ 590518 h 1039251"/>
                <a:gd name="connsiteX21" fmla="*/ 342596 w 2074600"/>
                <a:gd name="connsiteY21" fmla="*/ 486124 h 1039251"/>
                <a:gd name="connsiteX22" fmla="*/ 737891 w 2074600"/>
                <a:gd name="connsiteY22" fmla="*/ 190655 h 1039251"/>
                <a:gd name="connsiteX23" fmla="*/ 858886 w 2074600"/>
                <a:gd name="connsiteY23" fmla="*/ 146090 h 1039251"/>
                <a:gd name="connsiteX24" fmla="*/ 1504437 w 2074600"/>
                <a:gd name="connsiteY24" fmla="*/ 121947 h 1039251"/>
                <a:gd name="connsiteX25" fmla="*/ 1602459 w 2074600"/>
                <a:gd name="connsiteY25" fmla="*/ 252824 h 1039251"/>
                <a:gd name="connsiteX26" fmla="*/ 1707076 w 2074600"/>
                <a:gd name="connsiteY26" fmla="*/ 334156 h 1039251"/>
                <a:gd name="connsiteX27" fmla="*/ 2063577 w 2074600"/>
                <a:gd name="connsiteY27" fmla="*/ 891680 h 1039251"/>
                <a:gd name="connsiteX28" fmla="*/ 2018699 w 2074600"/>
                <a:gd name="connsiteY28" fmla="*/ 1012775 h 1039251"/>
                <a:gd name="connsiteX0" fmla="*/ 2018699 w 2074600"/>
                <a:gd name="connsiteY0" fmla="*/ 1012775 h 1036172"/>
                <a:gd name="connsiteX1" fmla="*/ 2005998 w 2074600"/>
                <a:gd name="connsiteY1" fmla="*/ 1036172 h 1036172"/>
                <a:gd name="connsiteX2" fmla="*/ 1071686 w 2074600"/>
                <a:gd name="connsiteY2" fmla="*/ 1036172 h 1036172"/>
                <a:gd name="connsiteX3" fmla="*/ 773655 w 2074600"/>
                <a:gd name="connsiteY3" fmla="*/ 735356 h 1036172"/>
                <a:gd name="connsiteX4" fmla="*/ 862785 w 2074600"/>
                <a:gd name="connsiteY4" fmla="*/ 735356 h 1036172"/>
                <a:gd name="connsiteX5" fmla="*/ 1071686 w 2074600"/>
                <a:gd name="connsiteY5" fmla="*/ 947041 h 1036172"/>
                <a:gd name="connsiteX6" fmla="*/ 1951851 w 2074600"/>
                <a:gd name="connsiteY6" fmla="*/ 947041 h 1036172"/>
                <a:gd name="connsiteX7" fmla="*/ 1808574 w 2074600"/>
                <a:gd name="connsiteY7" fmla="*/ 470526 h 1036172"/>
                <a:gd name="connsiteX8" fmla="*/ 1688693 w 2074600"/>
                <a:gd name="connsiteY8" fmla="*/ 421170 h 1036172"/>
                <a:gd name="connsiteX9" fmla="*/ 1523467 w 2074600"/>
                <a:gd name="connsiteY9" fmla="*/ 292710 h 1036172"/>
                <a:gd name="connsiteX10" fmla="*/ 1030329 w 2074600"/>
                <a:gd name="connsiteY10" fmla="*/ 127885 h 1036172"/>
                <a:gd name="connsiteX11" fmla="*/ 924954 w 2074600"/>
                <a:gd name="connsiteY11" fmla="*/ 206810 h 1036172"/>
                <a:gd name="connsiteX12" fmla="*/ 730203 w 2074600"/>
                <a:gd name="connsiteY12" fmla="*/ 279786 h 1036172"/>
                <a:gd name="connsiteX13" fmla="*/ 430613 w 2074600"/>
                <a:gd name="connsiteY13" fmla="*/ 503616 h 1036172"/>
                <a:gd name="connsiteX14" fmla="*/ 306053 w 2074600"/>
                <a:gd name="connsiteY14" fmla="*/ 669733 h 1036172"/>
                <a:gd name="connsiteX15" fmla="*/ 98824 w 2074600"/>
                <a:gd name="connsiteY15" fmla="*/ 947041 h 1036172"/>
                <a:gd name="connsiteX16" fmla="*/ 570455 w 2074600"/>
                <a:gd name="connsiteY16" fmla="*/ 947041 h 1036172"/>
                <a:gd name="connsiteX17" fmla="*/ 582058 w 2074600"/>
                <a:gd name="connsiteY17" fmla="*/ 1033094 h 1036172"/>
                <a:gd name="connsiteX18" fmla="*/ 0 w 2074600"/>
                <a:gd name="connsiteY18" fmla="*/ 1036172 h 1036172"/>
                <a:gd name="connsiteX19" fmla="*/ 3565 w 2074600"/>
                <a:gd name="connsiteY19" fmla="*/ 988264 h 1036172"/>
                <a:gd name="connsiteX20" fmla="*/ 264607 w 2074600"/>
                <a:gd name="connsiteY20" fmla="*/ 590518 h 1036172"/>
                <a:gd name="connsiteX21" fmla="*/ 342596 w 2074600"/>
                <a:gd name="connsiteY21" fmla="*/ 486124 h 1036172"/>
                <a:gd name="connsiteX22" fmla="*/ 737891 w 2074600"/>
                <a:gd name="connsiteY22" fmla="*/ 190655 h 1036172"/>
                <a:gd name="connsiteX23" fmla="*/ 858886 w 2074600"/>
                <a:gd name="connsiteY23" fmla="*/ 146090 h 1036172"/>
                <a:gd name="connsiteX24" fmla="*/ 1504437 w 2074600"/>
                <a:gd name="connsiteY24" fmla="*/ 121947 h 1036172"/>
                <a:gd name="connsiteX25" fmla="*/ 1602459 w 2074600"/>
                <a:gd name="connsiteY25" fmla="*/ 252824 h 1036172"/>
                <a:gd name="connsiteX26" fmla="*/ 1707076 w 2074600"/>
                <a:gd name="connsiteY26" fmla="*/ 334156 h 1036172"/>
                <a:gd name="connsiteX27" fmla="*/ 2063577 w 2074600"/>
                <a:gd name="connsiteY27" fmla="*/ 891680 h 1036172"/>
                <a:gd name="connsiteX28" fmla="*/ 2018699 w 2074600"/>
                <a:gd name="connsiteY28" fmla="*/ 1012775 h 1036172"/>
                <a:gd name="connsiteX0" fmla="*/ 2018699 w 2074600"/>
                <a:gd name="connsiteY0" fmla="*/ 1012775 h 1036172"/>
                <a:gd name="connsiteX1" fmla="*/ 2005998 w 2074600"/>
                <a:gd name="connsiteY1" fmla="*/ 1036172 h 1036172"/>
                <a:gd name="connsiteX2" fmla="*/ 1071686 w 2074600"/>
                <a:gd name="connsiteY2" fmla="*/ 1036172 h 1036172"/>
                <a:gd name="connsiteX3" fmla="*/ 773655 w 2074600"/>
                <a:gd name="connsiteY3" fmla="*/ 735356 h 1036172"/>
                <a:gd name="connsiteX4" fmla="*/ 862785 w 2074600"/>
                <a:gd name="connsiteY4" fmla="*/ 735356 h 1036172"/>
                <a:gd name="connsiteX5" fmla="*/ 1071686 w 2074600"/>
                <a:gd name="connsiteY5" fmla="*/ 947041 h 1036172"/>
                <a:gd name="connsiteX6" fmla="*/ 1951851 w 2074600"/>
                <a:gd name="connsiteY6" fmla="*/ 947041 h 1036172"/>
                <a:gd name="connsiteX7" fmla="*/ 1808574 w 2074600"/>
                <a:gd name="connsiteY7" fmla="*/ 470526 h 1036172"/>
                <a:gd name="connsiteX8" fmla="*/ 1688693 w 2074600"/>
                <a:gd name="connsiteY8" fmla="*/ 421170 h 1036172"/>
                <a:gd name="connsiteX9" fmla="*/ 1523467 w 2074600"/>
                <a:gd name="connsiteY9" fmla="*/ 292710 h 1036172"/>
                <a:gd name="connsiteX10" fmla="*/ 1030329 w 2074600"/>
                <a:gd name="connsiteY10" fmla="*/ 127885 h 1036172"/>
                <a:gd name="connsiteX11" fmla="*/ 924954 w 2074600"/>
                <a:gd name="connsiteY11" fmla="*/ 206810 h 1036172"/>
                <a:gd name="connsiteX12" fmla="*/ 730203 w 2074600"/>
                <a:gd name="connsiteY12" fmla="*/ 279786 h 1036172"/>
                <a:gd name="connsiteX13" fmla="*/ 430613 w 2074600"/>
                <a:gd name="connsiteY13" fmla="*/ 503616 h 1036172"/>
                <a:gd name="connsiteX14" fmla="*/ 306053 w 2074600"/>
                <a:gd name="connsiteY14" fmla="*/ 669733 h 1036172"/>
                <a:gd name="connsiteX15" fmla="*/ 98824 w 2074600"/>
                <a:gd name="connsiteY15" fmla="*/ 947041 h 1036172"/>
                <a:gd name="connsiteX16" fmla="*/ 570455 w 2074600"/>
                <a:gd name="connsiteY16" fmla="*/ 947041 h 1036172"/>
                <a:gd name="connsiteX17" fmla="*/ 582058 w 2074600"/>
                <a:gd name="connsiteY17" fmla="*/ 1033094 h 1036172"/>
                <a:gd name="connsiteX18" fmla="*/ 0 w 2074600"/>
                <a:gd name="connsiteY18" fmla="*/ 1036172 h 1036172"/>
                <a:gd name="connsiteX19" fmla="*/ 3565 w 2074600"/>
                <a:gd name="connsiteY19" fmla="*/ 988264 h 1036172"/>
                <a:gd name="connsiteX20" fmla="*/ 264607 w 2074600"/>
                <a:gd name="connsiteY20" fmla="*/ 590518 h 1036172"/>
                <a:gd name="connsiteX21" fmla="*/ 342596 w 2074600"/>
                <a:gd name="connsiteY21" fmla="*/ 486124 h 1036172"/>
                <a:gd name="connsiteX22" fmla="*/ 737891 w 2074600"/>
                <a:gd name="connsiteY22" fmla="*/ 190655 h 1036172"/>
                <a:gd name="connsiteX23" fmla="*/ 858886 w 2074600"/>
                <a:gd name="connsiteY23" fmla="*/ 146090 h 1036172"/>
                <a:gd name="connsiteX24" fmla="*/ 1504437 w 2074600"/>
                <a:gd name="connsiteY24" fmla="*/ 121947 h 1036172"/>
                <a:gd name="connsiteX25" fmla="*/ 1602459 w 2074600"/>
                <a:gd name="connsiteY25" fmla="*/ 252824 h 1036172"/>
                <a:gd name="connsiteX26" fmla="*/ 1707076 w 2074600"/>
                <a:gd name="connsiteY26" fmla="*/ 334156 h 1036172"/>
                <a:gd name="connsiteX27" fmla="*/ 2063577 w 2074600"/>
                <a:gd name="connsiteY27" fmla="*/ 891680 h 1036172"/>
                <a:gd name="connsiteX28" fmla="*/ 2018699 w 2074600"/>
                <a:gd name="connsiteY28" fmla="*/ 1012775 h 1036172"/>
                <a:gd name="connsiteX0" fmla="*/ 2018699 w 2074600"/>
                <a:gd name="connsiteY0" fmla="*/ 1012775 h 1036172"/>
                <a:gd name="connsiteX1" fmla="*/ 2005998 w 2074600"/>
                <a:gd name="connsiteY1" fmla="*/ 1036172 h 1036172"/>
                <a:gd name="connsiteX2" fmla="*/ 1071686 w 2074600"/>
                <a:gd name="connsiteY2" fmla="*/ 1036172 h 1036172"/>
                <a:gd name="connsiteX3" fmla="*/ 773655 w 2074600"/>
                <a:gd name="connsiteY3" fmla="*/ 735356 h 1036172"/>
                <a:gd name="connsiteX4" fmla="*/ 862785 w 2074600"/>
                <a:gd name="connsiteY4" fmla="*/ 735356 h 1036172"/>
                <a:gd name="connsiteX5" fmla="*/ 1071686 w 2074600"/>
                <a:gd name="connsiteY5" fmla="*/ 947041 h 1036172"/>
                <a:gd name="connsiteX6" fmla="*/ 1951851 w 2074600"/>
                <a:gd name="connsiteY6" fmla="*/ 947041 h 1036172"/>
                <a:gd name="connsiteX7" fmla="*/ 1808574 w 2074600"/>
                <a:gd name="connsiteY7" fmla="*/ 470526 h 1036172"/>
                <a:gd name="connsiteX8" fmla="*/ 1688693 w 2074600"/>
                <a:gd name="connsiteY8" fmla="*/ 421170 h 1036172"/>
                <a:gd name="connsiteX9" fmla="*/ 1523467 w 2074600"/>
                <a:gd name="connsiteY9" fmla="*/ 292710 h 1036172"/>
                <a:gd name="connsiteX10" fmla="*/ 1030329 w 2074600"/>
                <a:gd name="connsiteY10" fmla="*/ 127885 h 1036172"/>
                <a:gd name="connsiteX11" fmla="*/ 924954 w 2074600"/>
                <a:gd name="connsiteY11" fmla="*/ 206810 h 1036172"/>
                <a:gd name="connsiteX12" fmla="*/ 730203 w 2074600"/>
                <a:gd name="connsiteY12" fmla="*/ 279786 h 1036172"/>
                <a:gd name="connsiteX13" fmla="*/ 430613 w 2074600"/>
                <a:gd name="connsiteY13" fmla="*/ 503616 h 1036172"/>
                <a:gd name="connsiteX14" fmla="*/ 306053 w 2074600"/>
                <a:gd name="connsiteY14" fmla="*/ 669733 h 1036172"/>
                <a:gd name="connsiteX15" fmla="*/ 98824 w 2074600"/>
                <a:gd name="connsiteY15" fmla="*/ 947041 h 1036172"/>
                <a:gd name="connsiteX16" fmla="*/ 570455 w 2074600"/>
                <a:gd name="connsiteY16" fmla="*/ 947041 h 1036172"/>
                <a:gd name="connsiteX17" fmla="*/ 557428 w 2074600"/>
                <a:gd name="connsiteY17" fmla="*/ 1033094 h 1036172"/>
                <a:gd name="connsiteX18" fmla="*/ 0 w 2074600"/>
                <a:gd name="connsiteY18" fmla="*/ 1036172 h 1036172"/>
                <a:gd name="connsiteX19" fmla="*/ 3565 w 2074600"/>
                <a:gd name="connsiteY19" fmla="*/ 988264 h 1036172"/>
                <a:gd name="connsiteX20" fmla="*/ 264607 w 2074600"/>
                <a:gd name="connsiteY20" fmla="*/ 590518 h 1036172"/>
                <a:gd name="connsiteX21" fmla="*/ 342596 w 2074600"/>
                <a:gd name="connsiteY21" fmla="*/ 486124 h 1036172"/>
                <a:gd name="connsiteX22" fmla="*/ 737891 w 2074600"/>
                <a:gd name="connsiteY22" fmla="*/ 190655 h 1036172"/>
                <a:gd name="connsiteX23" fmla="*/ 858886 w 2074600"/>
                <a:gd name="connsiteY23" fmla="*/ 146090 h 1036172"/>
                <a:gd name="connsiteX24" fmla="*/ 1504437 w 2074600"/>
                <a:gd name="connsiteY24" fmla="*/ 121947 h 1036172"/>
                <a:gd name="connsiteX25" fmla="*/ 1602459 w 2074600"/>
                <a:gd name="connsiteY25" fmla="*/ 252824 h 1036172"/>
                <a:gd name="connsiteX26" fmla="*/ 1707076 w 2074600"/>
                <a:gd name="connsiteY26" fmla="*/ 334156 h 1036172"/>
                <a:gd name="connsiteX27" fmla="*/ 2063577 w 2074600"/>
                <a:gd name="connsiteY27" fmla="*/ 891680 h 1036172"/>
                <a:gd name="connsiteX28" fmla="*/ 2018699 w 2074600"/>
                <a:gd name="connsiteY28" fmla="*/ 1012775 h 1036172"/>
                <a:gd name="connsiteX0" fmla="*/ 2018699 w 2074600"/>
                <a:gd name="connsiteY0" fmla="*/ 1012775 h 1036172"/>
                <a:gd name="connsiteX1" fmla="*/ 2005998 w 2074600"/>
                <a:gd name="connsiteY1" fmla="*/ 1036172 h 1036172"/>
                <a:gd name="connsiteX2" fmla="*/ 1071686 w 2074600"/>
                <a:gd name="connsiteY2" fmla="*/ 1036172 h 1036172"/>
                <a:gd name="connsiteX3" fmla="*/ 773655 w 2074600"/>
                <a:gd name="connsiteY3" fmla="*/ 735356 h 1036172"/>
                <a:gd name="connsiteX4" fmla="*/ 862785 w 2074600"/>
                <a:gd name="connsiteY4" fmla="*/ 735356 h 1036172"/>
                <a:gd name="connsiteX5" fmla="*/ 1071686 w 2074600"/>
                <a:gd name="connsiteY5" fmla="*/ 947041 h 1036172"/>
                <a:gd name="connsiteX6" fmla="*/ 1951851 w 2074600"/>
                <a:gd name="connsiteY6" fmla="*/ 947041 h 1036172"/>
                <a:gd name="connsiteX7" fmla="*/ 1808574 w 2074600"/>
                <a:gd name="connsiteY7" fmla="*/ 470526 h 1036172"/>
                <a:gd name="connsiteX8" fmla="*/ 1688693 w 2074600"/>
                <a:gd name="connsiteY8" fmla="*/ 421170 h 1036172"/>
                <a:gd name="connsiteX9" fmla="*/ 1523467 w 2074600"/>
                <a:gd name="connsiteY9" fmla="*/ 292710 h 1036172"/>
                <a:gd name="connsiteX10" fmla="*/ 1030329 w 2074600"/>
                <a:gd name="connsiteY10" fmla="*/ 127885 h 1036172"/>
                <a:gd name="connsiteX11" fmla="*/ 924954 w 2074600"/>
                <a:gd name="connsiteY11" fmla="*/ 206810 h 1036172"/>
                <a:gd name="connsiteX12" fmla="*/ 730203 w 2074600"/>
                <a:gd name="connsiteY12" fmla="*/ 279786 h 1036172"/>
                <a:gd name="connsiteX13" fmla="*/ 430613 w 2074600"/>
                <a:gd name="connsiteY13" fmla="*/ 503616 h 1036172"/>
                <a:gd name="connsiteX14" fmla="*/ 306053 w 2074600"/>
                <a:gd name="connsiteY14" fmla="*/ 669733 h 1036172"/>
                <a:gd name="connsiteX15" fmla="*/ 98824 w 2074600"/>
                <a:gd name="connsiteY15" fmla="*/ 947041 h 1036172"/>
                <a:gd name="connsiteX16" fmla="*/ 570455 w 2074600"/>
                <a:gd name="connsiteY16" fmla="*/ 947041 h 1036172"/>
                <a:gd name="connsiteX17" fmla="*/ 566665 w 2074600"/>
                <a:gd name="connsiteY17" fmla="*/ 1033094 h 1036172"/>
                <a:gd name="connsiteX18" fmla="*/ 0 w 2074600"/>
                <a:gd name="connsiteY18" fmla="*/ 1036172 h 1036172"/>
                <a:gd name="connsiteX19" fmla="*/ 3565 w 2074600"/>
                <a:gd name="connsiteY19" fmla="*/ 988264 h 1036172"/>
                <a:gd name="connsiteX20" fmla="*/ 264607 w 2074600"/>
                <a:gd name="connsiteY20" fmla="*/ 590518 h 1036172"/>
                <a:gd name="connsiteX21" fmla="*/ 342596 w 2074600"/>
                <a:gd name="connsiteY21" fmla="*/ 486124 h 1036172"/>
                <a:gd name="connsiteX22" fmla="*/ 737891 w 2074600"/>
                <a:gd name="connsiteY22" fmla="*/ 190655 h 1036172"/>
                <a:gd name="connsiteX23" fmla="*/ 858886 w 2074600"/>
                <a:gd name="connsiteY23" fmla="*/ 146090 h 1036172"/>
                <a:gd name="connsiteX24" fmla="*/ 1504437 w 2074600"/>
                <a:gd name="connsiteY24" fmla="*/ 121947 h 1036172"/>
                <a:gd name="connsiteX25" fmla="*/ 1602459 w 2074600"/>
                <a:gd name="connsiteY25" fmla="*/ 252824 h 1036172"/>
                <a:gd name="connsiteX26" fmla="*/ 1707076 w 2074600"/>
                <a:gd name="connsiteY26" fmla="*/ 334156 h 1036172"/>
                <a:gd name="connsiteX27" fmla="*/ 2063577 w 2074600"/>
                <a:gd name="connsiteY27" fmla="*/ 891680 h 1036172"/>
                <a:gd name="connsiteX28" fmla="*/ 2018699 w 2074600"/>
                <a:gd name="connsiteY28" fmla="*/ 1012775 h 1036172"/>
                <a:gd name="connsiteX0" fmla="*/ 2018699 w 2074600"/>
                <a:gd name="connsiteY0" fmla="*/ 1012775 h 1036172"/>
                <a:gd name="connsiteX1" fmla="*/ 2005998 w 2074600"/>
                <a:gd name="connsiteY1" fmla="*/ 1036172 h 1036172"/>
                <a:gd name="connsiteX2" fmla="*/ 1071686 w 2074600"/>
                <a:gd name="connsiteY2" fmla="*/ 1036172 h 1036172"/>
                <a:gd name="connsiteX3" fmla="*/ 773655 w 2074600"/>
                <a:gd name="connsiteY3" fmla="*/ 735356 h 1036172"/>
                <a:gd name="connsiteX4" fmla="*/ 862785 w 2074600"/>
                <a:gd name="connsiteY4" fmla="*/ 735356 h 1036172"/>
                <a:gd name="connsiteX5" fmla="*/ 1071686 w 2074600"/>
                <a:gd name="connsiteY5" fmla="*/ 947041 h 1036172"/>
                <a:gd name="connsiteX6" fmla="*/ 1951851 w 2074600"/>
                <a:gd name="connsiteY6" fmla="*/ 947041 h 1036172"/>
                <a:gd name="connsiteX7" fmla="*/ 1808574 w 2074600"/>
                <a:gd name="connsiteY7" fmla="*/ 470526 h 1036172"/>
                <a:gd name="connsiteX8" fmla="*/ 1688693 w 2074600"/>
                <a:gd name="connsiteY8" fmla="*/ 421170 h 1036172"/>
                <a:gd name="connsiteX9" fmla="*/ 1523467 w 2074600"/>
                <a:gd name="connsiteY9" fmla="*/ 292710 h 1036172"/>
                <a:gd name="connsiteX10" fmla="*/ 1030329 w 2074600"/>
                <a:gd name="connsiteY10" fmla="*/ 127885 h 1036172"/>
                <a:gd name="connsiteX11" fmla="*/ 924954 w 2074600"/>
                <a:gd name="connsiteY11" fmla="*/ 206810 h 1036172"/>
                <a:gd name="connsiteX12" fmla="*/ 730203 w 2074600"/>
                <a:gd name="connsiteY12" fmla="*/ 279786 h 1036172"/>
                <a:gd name="connsiteX13" fmla="*/ 430613 w 2074600"/>
                <a:gd name="connsiteY13" fmla="*/ 503616 h 1036172"/>
                <a:gd name="connsiteX14" fmla="*/ 306053 w 2074600"/>
                <a:gd name="connsiteY14" fmla="*/ 669733 h 1036172"/>
                <a:gd name="connsiteX15" fmla="*/ 98824 w 2074600"/>
                <a:gd name="connsiteY15" fmla="*/ 947041 h 1036172"/>
                <a:gd name="connsiteX16" fmla="*/ 570455 w 2074600"/>
                <a:gd name="connsiteY16" fmla="*/ 947041 h 1036172"/>
                <a:gd name="connsiteX17" fmla="*/ 572822 w 2074600"/>
                <a:gd name="connsiteY17" fmla="*/ 1033094 h 1036172"/>
                <a:gd name="connsiteX18" fmla="*/ 0 w 2074600"/>
                <a:gd name="connsiteY18" fmla="*/ 1036172 h 1036172"/>
                <a:gd name="connsiteX19" fmla="*/ 3565 w 2074600"/>
                <a:gd name="connsiteY19" fmla="*/ 988264 h 1036172"/>
                <a:gd name="connsiteX20" fmla="*/ 264607 w 2074600"/>
                <a:gd name="connsiteY20" fmla="*/ 590518 h 1036172"/>
                <a:gd name="connsiteX21" fmla="*/ 342596 w 2074600"/>
                <a:gd name="connsiteY21" fmla="*/ 486124 h 1036172"/>
                <a:gd name="connsiteX22" fmla="*/ 737891 w 2074600"/>
                <a:gd name="connsiteY22" fmla="*/ 190655 h 1036172"/>
                <a:gd name="connsiteX23" fmla="*/ 858886 w 2074600"/>
                <a:gd name="connsiteY23" fmla="*/ 146090 h 1036172"/>
                <a:gd name="connsiteX24" fmla="*/ 1504437 w 2074600"/>
                <a:gd name="connsiteY24" fmla="*/ 121947 h 1036172"/>
                <a:gd name="connsiteX25" fmla="*/ 1602459 w 2074600"/>
                <a:gd name="connsiteY25" fmla="*/ 252824 h 1036172"/>
                <a:gd name="connsiteX26" fmla="*/ 1707076 w 2074600"/>
                <a:gd name="connsiteY26" fmla="*/ 334156 h 1036172"/>
                <a:gd name="connsiteX27" fmla="*/ 2063577 w 2074600"/>
                <a:gd name="connsiteY27" fmla="*/ 891680 h 1036172"/>
                <a:gd name="connsiteX28" fmla="*/ 2018699 w 2074600"/>
                <a:gd name="connsiteY28" fmla="*/ 1012775 h 1036172"/>
                <a:gd name="connsiteX0" fmla="*/ 2018699 w 2074600"/>
                <a:gd name="connsiteY0" fmla="*/ 1012775 h 1036172"/>
                <a:gd name="connsiteX1" fmla="*/ 2005998 w 2074600"/>
                <a:gd name="connsiteY1" fmla="*/ 1036172 h 1036172"/>
                <a:gd name="connsiteX2" fmla="*/ 1071686 w 2074600"/>
                <a:gd name="connsiteY2" fmla="*/ 1036172 h 1036172"/>
                <a:gd name="connsiteX3" fmla="*/ 773655 w 2074600"/>
                <a:gd name="connsiteY3" fmla="*/ 735356 h 1036172"/>
                <a:gd name="connsiteX4" fmla="*/ 862785 w 2074600"/>
                <a:gd name="connsiteY4" fmla="*/ 735356 h 1036172"/>
                <a:gd name="connsiteX5" fmla="*/ 1071686 w 2074600"/>
                <a:gd name="connsiteY5" fmla="*/ 947041 h 1036172"/>
                <a:gd name="connsiteX6" fmla="*/ 1951851 w 2074600"/>
                <a:gd name="connsiteY6" fmla="*/ 947041 h 1036172"/>
                <a:gd name="connsiteX7" fmla="*/ 1808574 w 2074600"/>
                <a:gd name="connsiteY7" fmla="*/ 470526 h 1036172"/>
                <a:gd name="connsiteX8" fmla="*/ 1688693 w 2074600"/>
                <a:gd name="connsiteY8" fmla="*/ 421170 h 1036172"/>
                <a:gd name="connsiteX9" fmla="*/ 1523467 w 2074600"/>
                <a:gd name="connsiteY9" fmla="*/ 292710 h 1036172"/>
                <a:gd name="connsiteX10" fmla="*/ 1030329 w 2074600"/>
                <a:gd name="connsiteY10" fmla="*/ 127885 h 1036172"/>
                <a:gd name="connsiteX11" fmla="*/ 924954 w 2074600"/>
                <a:gd name="connsiteY11" fmla="*/ 206810 h 1036172"/>
                <a:gd name="connsiteX12" fmla="*/ 730203 w 2074600"/>
                <a:gd name="connsiteY12" fmla="*/ 279786 h 1036172"/>
                <a:gd name="connsiteX13" fmla="*/ 430613 w 2074600"/>
                <a:gd name="connsiteY13" fmla="*/ 503616 h 1036172"/>
                <a:gd name="connsiteX14" fmla="*/ 306053 w 2074600"/>
                <a:gd name="connsiteY14" fmla="*/ 669733 h 1036172"/>
                <a:gd name="connsiteX15" fmla="*/ 98824 w 2074600"/>
                <a:gd name="connsiteY15" fmla="*/ 947041 h 1036172"/>
                <a:gd name="connsiteX16" fmla="*/ 570455 w 2074600"/>
                <a:gd name="connsiteY16" fmla="*/ 947041 h 1036172"/>
                <a:gd name="connsiteX17" fmla="*/ 572822 w 2074600"/>
                <a:gd name="connsiteY17" fmla="*/ 1033094 h 1036172"/>
                <a:gd name="connsiteX18" fmla="*/ 0 w 2074600"/>
                <a:gd name="connsiteY18" fmla="*/ 1036172 h 1036172"/>
                <a:gd name="connsiteX19" fmla="*/ 3565 w 2074600"/>
                <a:gd name="connsiteY19" fmla="*/ 988264 h 1036172"/>
                <a:gd name="connsiteX20" fmla="*/ 264607 w 2074600"/>
                <a:gd name="connsiteY20" fmla="*/ 590518 h 1036172"/>
                <a:gd name="connsiteX21" fmla="*/ 342596 w 2074600"/>
                <a:gd name="connsiteY21" fmla="*/ 486124 h 1036172"/>
                <a:gd name="connsiteX22" fmla="*/ 737891 w 2074600"/>
                <a:gd name="connsiteY22" fmla="*/ 190655 h 1036172"/>
                <a:gd name="connsiteX23" fmla="*/ 858886 w 2074600"/>
                <a:gd name="connsiteY23" fmla="*/ 146090 h 1036172"/>
                <a:gd name="connsiteX24" fmla="*/ 1504437 w 2074600"/>
                <a:gd name="connsiteY24" fmla="*/ 121947 h 1036172"/>
                <a:gd name="connsiteX25" fmla="*/ 1602459 w 2074600"/>
                <a:gd name="connsiteY25" fmla="*/ 252824 h 1036172"/>
                <a:gd name="connsiteX26" fmla="*/ 1707076 w 2074600"/>
                <a:gd name="connsiteY26" fmla="*/ 334156 h 1036172"/>
                <a:gd name="connsiteX27" fmla="*/ 2063577 w 2074600"/>
                <a:gd name="connsiteY27" fmla="*/ 891680 h 1036172"/>
                <a:gd name="connsiteX28" fmla="*/ 2018699 w 2074600"/>
                <a:gd name="connsiteY28" fmla="*/ 1012775 h 1036172"/>
                <a:gd name="connsiteX0" fmla="*/ 2018699 w 2074600"/>
                <a:gd name="connsiteY0" fmla="*/ 1012775 h 1036172"/>
                <a:gd name="connsiteX1" fmla="*/ 2005998 w 2074600"/>
                <a:gd name="connsiteY1" fmla="*/ 1036172 h 1036172"/>
                <a:gd name="connsiteX2" fmla="*/ 1071686 w 2074600"/>
                <a:gd name="connsiteY2" fmla="*/ 1036172 h 1036172"/>
                <a:gd name="connsiteX3" fmla="*/ 773655 w 2074600"/>
                <a:gd name="connsiteY3" fmla="*/ 735356 h 1036172"/>
                <a:gd name="connsiteX4" fmla="*/ 862785 w 2074600"/>
                <a:gd name="connsiteY4" fmla="*/ 735356 h 1036172"/>
                <a:gd name="connsiteX5" fmla="*/ 1071686 w 2074600"/>
                <a:gd name="connsiteY5" fmla="*/ 947041 h 1036172"/>
                <a:gd name="connsiteX6" fmla="*/ 1951851 w 2074600"/>
                <a:gd name="connsiteY6" fmla="*/ 947041 h 1036172"/>
                <a:gd name="connsiteX7" fmla="*/ 1808574 w 2074600"/>
                <a:gd name="connsiteY7" fmla="*/ 470526 h 1036172"/>
                <a:gd name="connsiteX8" fmla="*/ 1688693 w 2074600"/>
                <a:gd name="connsiteY8" fmla="*/ 421170 h 1036172"/>
                <a:gd name="connsiteX9" fmla="*/ 1523467 w 2074600"/>
                <a:gd name="connsiteY9" fmla="*/ 292710 h 1036172"/>
                <a:gd name="connsiteX10" fmla="*/ 1030329 w 2074600"/>
                <a:gd name="connsiteY10" fmla="*/ 127885 h 1036172"/>
                <a:gd name="connsiteX11" fmla="*/ 924954 w 2074600"/>
                <a:gd name="connsiteY11" fmla="*/ 206810 h 1036172"/>
                <a:gd name="connsiteX12" fmla="*/ 730203 w 2074600"/>
                <a:gd name="connsiteY12" fmla="*/ 279786 h 1036172"/>
                <a:gd name="connsiteX13" fmla="*/ 430613 w 2074600"/>
                <a:gd name="connsiteY13" fmla="*/ 503616 h 1036172"/>
                <a:gd name="connsiteX14" fmla="*/ 306053 w 2074600"/>
                <a:gd name="connsiteY14" fmla="*/ 669733 h 1036172"/>
                <a:gd name="connsiteX15" fmla="*/ 98824 w 2074600"/>
                <a:gd name="connsiteY15" fmla="*/ 947041 h 1036172"/>
                <a:gd name="connsiteX16" fmla="*/ 570455 w 2074600"/>
                <a:gd name="connsiteY16" fmla="*/ 947041 h 1036172"/>
                <a:gd name="connsiteX17" fmla="*/ 572822 w 2074600"/>
                <a:gd name="connsiteY17" fmla="*/ 1035476 h 1036172"/>
                <a:gd name="connsiteX18" fmla="*/ 0 w 2074600"/>
                <a:gd name="connsiteY18" fmla="*/ 1036172 h 1036172"/>
                <a:gd name="connsiteX19" fmla="*/ 3565 w 2074600"/>
                <a:gd name="connsiteY19" fmla="*/ 988264 h 1036172"/>
                <a:gd name="connsiteX20" fmla="*/ 264607 w 2074600"/>
                <a:gd name="connsiteY20" fmla="*/ 590518 h 1036172"/>
                <a:gd name="connsiteX21" fmla="*/ 342596 w 2074600"/>
                <a:gd name="connsiteY21" fmla="*/ 486124 h 1036172"/>
                <a:gd name="connsiteX22" fmla="*/ 737891 w 2074600"/>
                <a:gd name="connsiteY22" fmla="*/ 190655 h 1036172"/>
                <a:gd name="connsiteX23" fmla="*/ 858886 w 2074600"/>
                <a:gd name="connsiteY23" fmla="*/ 146090 h 1036172"/>
                <a:gd name="connsiteX24" fmla="*/ 1504437 w 2074600"/>
                <a:gd name="connsiteY24" fmla="*/ 121947 h 1036172"/>
                <a:gd name="connsiteX25" fmla="*/ 1602459 w 2074600"/>
                <a:gd name="connsiteY25" fmla="*/ 252824 h 1036172"/>
                <a:gd name="connsiteX26" fmla="*/ 1707076 w 2074600"/>
                <a:gd name="connsiteY26" fmla="*/ 334156 h 1036172"/>
                <a:gd name="connsiteX27" fmla="*/ 2063577 w 2074600"/>
                <a:gd name="connsiteY27" fmla="*/ 891680 h 1036172"/>
                <a:gd name="connsiteX28" fmla="*/ 2018699 w 2074600"/>
                <a:gd name="connsiteY28" fmla="*/ 1012775 h 1036172"/>
                <a:gd name="connsiteX0" fmla="*/ 2018699 w 2074600"/>
                <a:gd name="connsiteY0" fmla="*/ 1012775 h 1036172"/>
                <a:gd name="connsiteX1" fmla="*/ 2005998 w 2074600"/>
                <a:gd name="connsiteY1" fmla="*/ 1036172 h 1036172"/>
                <a:gd name="connsiteX2" fmla="*/ 1071686 w 2074600"/>
                <a:gd name="connsiteY2" fmla="*/ 1036172 h 1036172"/>
                <a:gd name="connsiteX3" fmla="*/ 773655 w 2074600"/>
                <a:gd name="connsiteY3" fmla="*/ 735356 h 1036172"/>
                <a:gd name="connsiteX4" fmla="*/ 862785 w 2074600"/>
                <a:gd name="connsiteY4" fmla="*/ 735356 h 1036172"/>
                <a:gd name="connsiteX5" fmla="*/ 1071686 w 2074600"/>
                <a:gd name="connsiteY5" fmla="*/ 947041 h 1036172"/>
                <a:gd name="connsiteX6" fmla="*/ 1951851 w 2074600"/>
                <a:gd name="connsiteY6" fmla="*/ 947041 h 1036172"/>
                <a:gd name="connsiteX7" fmla="*/ 1808574 w 2074600"/>
                <a:gd name="connsiteY7" fmla="*/ 470526 h 1036172"/>
                <a:gd name="connsiteX8" fmla="*/ 1688693 w 2074600"/>
                <a:gd name="connsiteY8" fmla="*/ 421170 h 1036172"/>
                <a:gd name="connsiteX9" fmla="*/ 1523467 w 2074600"/>
                <a:gd name="connsiteY9" fmla="*/ 292710 h 1036172"/>
                <a:gd name="connsiteX10" fmla="*/ 1030329 w 2074600"/>
                <a:gd name="connsiteY10" fmla="*/ 127885 h 1036172"/>
                <a:gd name="connsiteX11" fmla="*/ 924954 w 2074600"/>
                <a:gd name="connsiteY11" fmla="*/ 206810 h 1036172"/>
                <a:gd name="connsiteX12" fmla="*/ 730203 w 2074600"/>
                <a:gd name="connsiteY12" fmla="*/ 279786 h 1036172"/>
                <a:gd name="connsiteX13" fmla="*/ 430613 w 2074600"/>
                <a:gd name="connsiteY13" fmla="*/ 503616 h 1036172"/>
                <a:gd name="connsiteX14" fmla="*/ 306053 w 2074600"/>
                <a:gd name="connsiteY14" fmla="*/ 669733 h 1036172"/>
                <a:gd name="connsiteX15" fmla="*/ 98824 w 2074600"/>
                <a:gd name="connsiteY15" fmla="*/ 947041 h 1036172"/>
                <a:gd name="connsiteX16" fmla="*/ 570455 w 2074600"/>
                <a:gd name="connsiteY16" fmla="*/ 947041 h 1036172"/>
                <a:gd name="connsiteX17" fmla="*/ 572822 w 2074600"/>
                <a:gd name="connsiteY17" fmla="*/ 1035476 h 1036172"/>
                <a:gd name="connsiteX18" fmla="*/ 0 w 2074600"/>
                <a:gd name="connsiteY18" fmla="*/ 1036172 h 1036172"/>
                <a:gd name="connsiteX19" fmla="*/ 3565 w 2074600"/>
                <a:gd name="connsiteY19" fmla="*/ 988264 h 1036172"/>
                <a:gd name="connsiteX20" fmla="*/ 264607 w 2074600"/>
                <a:gd name="connsiteY20" fmla="*/ 590518 h 1036172"/>
                <a:gd name="connsiteX21" fmla="*/ 342596 w 2074600"/>
                <a:gd name="connsiteY21" fmla="*/ 486124 h 1036172"/>
                <a:gd name="connsiteX22" fmla="*/ 737891 w 2074600"/>
                <a:gd name="connsiteY22" fmla="*/ 190655 h 1036172"/>
                <a:gd name="connsiteX23" fmla="*/ 858886 w 2074600"/>
                <a:gd name="connsiteY23" fmla="*/ 146090 h 1036172"/>
                <a:gd name="connsiteX24" fmla="*/ 1504437 w 2074600"/>
                <a:gd name="connsiteY24" fmla="*/ 121947 h 1036172"/>
                <a:gd name="connsiteX25" fmla="*/ 1602459 w 2074600"/>
                <a:gd name="connsiteY25" fmla="*/ 252824 h 1036172"/>
                <a:gd name="connsiteX26" fmla="*/ 1707076 w 2074600"/>
                <a:gd name="connsiteY26" fmla="*/ 334156 h 1036172"/>
                <a:gd name="connsiteX27" fmla="*/ 2063577 w 2074600"/>
                <a:gd name="connsiteY27" fmla="*/ 891680 h 1036172"/>
                <a:gd name="connsiteX28" fmla="*/ 2018699 w 2074600"/>
                <a:gd name="connsiteY28" fmla="*/ 1012775 h 1036172"/>
                <a:gd name="connsiteX0" fmla="*/ 2018699 w 2074600"/>
                <a:gd name="connsiteY0" fmla="*/ 1012775 h 1036172"/>
                <a:gd name="connsiteX1" fmla="*/ 2005998 w 2074600"/>
                <a:gd name="connsiteY1" fmla="*/ 1036172 h 1036172"/>
                <a:gd name="connsiteX2" fmla="*/ 1071686 w 2074600"/>
                <a:gd name="connsiteY2" fmla="*/ 1036172 h 1036172"/>
                <a:gd name="connsiteX3" fmla="*/ 773655 w 2074600"/>
                <a:gd name="connsiteY3" fmla="*/ 735356 h 1036172"/>
                <a:gd name="connsiteX4" fmla="*/ 1071686 w 2074600"/>
                <a:gd name="connsiteY4" fmla="*/ 947041 h 1036172"/>
                <a:gd name="connsiteX5" fmla="*/ 1951851 w 2074600"/>
                <a:gd name="connsiteY5" fmla="*/ 947041 h 1036172"/>
                <a:gd name="connsiteX6" fmla="*/ 1808574 w 2074600"/>
                <a:gd name="connsiteY6" fmla="*/ 470526 h 1036172"/>
                <a:gd name="connsiteX7" fmla="*/ 1688693 w 2074600"/>
                <a:gd name="connsiteY7" fmla="*/ 421170 h 1036172"/>
                <a:gd name="connsiteX8" fmla="*/ 1523467 w 2074600"/>
                <a:gd name="connsiteY8" fmla="*/ 292710 h 1036172"/>
                <a:gd name="connsiteX9" fmla="*/ 1030329 w 2074600"/>
                <a:gd name="connsiteY9" fmla="*/ 127885 h 1036172"/>
                <a:gd name="connsiteX10" fmla="*/ 924954 w 2074600"/>
                <a:gd name="connsiteY10" fmla="*/ 206810 h 1036172"/>
                <a:gd name="connsiteX11" fmla="*/ 730203 w 2074600"/>
                <a:gd name="connsiteY11" fmla="*/ 279786 h 1036172"/>
                <a:gd name="connsiteX12" fmla="*/ 430613 w 2074600"/>
                <a:gd name="connsiteY12" fmla="*/ 503616 h 1036172"/>
                <a:gd name="connsiteX13" fmla="*/ 306053 w 2074600"/>
                <a:gd name="connsiteY13" fmla="*/ 669733 h 1036172"/>
                <a:gd name="connsiteX14" fmla="*/ 98824 w 2074600"/>
                <a:gd name="connsiteY14" fmla="*/ 947041 h 1036172"/>
                <a:gd name="connsiteX15" fmla="*/ 570455 w 2074600"/>
                <a:gd name="connsiteY15" fmla="*/ 947041 h 1036172"/>
                <a:gd name="connsiteX16" fmla="*/ 572822 w 2074600"/>
                <a:gd name="connsiteY16" fmla="*/ 1035476 h 1036172"/>
                <a:gd name="connsiteX17" fmla="*/ 0 w 2074600"/>
                <a:gd name="connsiteY17" fmla="*/ 1036172 h 1036172"/>
                <a:gd name="connsiteX18" fmla="*/ 3565 w 2074600"/>
                <a:gd name="connsiteY18" fmla="*/ 988264 h 1036172"/>
                <a:gd name="connsiteX19" fmla="*/ 264607 w 2074600"/>
                <a:gd name="connsiteY19" fmla="*/ 590518 h 1036172"/>
                <a:gd name="connsiteX20" fmla="*/ 342596 w 2074600"/>
                <a:gd name="connsiteY20" fmla="*/ 486124 h 1036172"/>
                <a:gd name="connsiteX21" fmla="*/ 737891 w 2074600"/>
                <a:gd name="connsiteY21" fmla="*/ 190655 h 1036172"/>
                <a:gd name="connsiteX22" fmla="*/ 858886 w 2074600"/>
                <a:gd name="connsiteY22" fmla="*/ 146090 h 1036172"/>
                <a:gd name="connsiteX23" fmla="*/ 1504437 w 2074600"/>
                <a:gd name="connsiteY23" fmla="*/ 121947 h 1036172"/>
                <a:gd name="connsiteX24" fmla="*/ 1602459 w 2074600"/>
                <a:gd name="connsiteY24" fmla="*/ 252824 h 1036172"/>
                <a:gd name="connsiteX25" fmla="*/ 1707076 w 2074600"/>
                <a:gd name="connsiteY25" fmla="*/ 334156 h 1036172"/>
                <a:gd name="connsiteX26" fmla="*/ 2063577 w 2074600"/>
                <a:gd name="connsiteY26" fmla="*/ 891680 h 1036172"/>
                <a:gd name="connsiteX27" fmla="*/ 2018699 w 2074600"/>
                <a:gd name="connsiteY27" fmla="*/ 1012775 h 1036172"/>
                <a:gd name="connsiteX0" fmla="*/ 2018699 w 2074600"/>
                <a:gd name="connsiteY0" fmla="*/ 1012775 h 1036172"/>
                <a:gd name="connsiteX1" fmla="*/ 2005998 w 2074600"/>
                <a:gd name="connsiteY1" fmla="*/ 1036172 h 1036172"/>
                <a:gd name="connsiteX2" fmla="*/ 1071686 w 2074600"/>
                <a:gd name="connsiteY2" fmla="*/ 1036172 h 1036172"/>
                <a:gd name="connsiteX3" fmla="*/ 1071686 w 2074600"/>
                <a:gd name="connsiteY3" fmla="*/ 947041 h 1036172"/>
                <a:gd name="connsiteX4" fmla="*/ 1951851 w 2074600"/>
                <a:gd name="connsiteY4" fmla="*/ 947041 h 1036172"/>
                <a:gd name="connsiteX5" fmla="*/ 1808574 w 2074600"/>
                <a:gd name="connsiteY5" fmla="*/ 470526 h 1036172"/>
                <a:gd name="connsiteX6" fmla="*/ 1688693 w 2074600"/>
                <a:gd name="connsiteY6" fmla="*/ 421170 h 1036172"/>
                <a:gd name="connsiteX7" fmla="*/ 1523467 w 2074600"/>
                <a:gd name="connsiteY7" fmla="*/ 292710 h 1036172"/>
                <a:gd name="connsiteX8" fmla="*/ 1030329 w 2074600"/>
                <a:gd name="connsiteY8" fmla="*/ 127885 h 1036172"/>
                <a:gd name="connsiteX9" fmla="*/ 924954 w 2074600"/>
                <a:gd name="connsiteY9" fmla="*/ 206810 h 1036172"/>
                <a:gd name="connsiteX10" fmla="*/ 730203 w 2074600"/>
                <a:gd name="connsiteY10" fmla="*/ 279786 h 1036172"/>
                <a:gd name="connsiteX11" fmla="*/ 430613 w 2074600"/>
                <a:gd name="connsiteY11" fmla="*/ 503616 h 1036172"/>
                <a:gd name="connsiteX12" fmla="*/ 306053 w 2074600"/>
                <a:gd name="connsiteY12" fmla="*/ 669733 h 1036172"/>
                <a:gd name="connsiteX13" fmla="*/ 98824 w 2074600"/>
                <a:gd name="connsiteY13" fmla="*/ 947041 h 1036172"/>
                <a:gd name="connsiteX14" fmla="*/ 570455 w 2074600"/>
                <a:gd name="connsiteY14" fmla="*/ 947041 h 1036172"/>
                <a:gd name="connsiteX15" fmla="*/ 572822 w 2074600"/>
                <a:gd name="connsiteY15" fmla="*/ 1035476 h 1036172"/>
                <a:gd name="connsiteX16" fmla="*/ 0 w 2074600"/>
                <a:gd name="connsiteY16" fmla="*/ 1036172 h 1036172"/>
                <a:gd name="connsiteX17" fmla="*/ 3565 w 2074600"/>
                <a:gd name="connsiteY17" fmla="*/ 988264 h 1036172"/>
                <a:gd name="connsiteX18" fmla="*/ 264607 w 2074600"/>
                <a:gd name="connsiteY18" fmla="*/ 590518 h 1036172"/>
                <a:gd name="connsiteX19" fmla="*/ 342596 w 2074600"/>
                <a:gd name="connsiteY19" fmla="*/ 486124 h 1036172"/>
                <a:gd name="connsiteX20" fmla="*/ 737891 w 2074600"/>
                <a:gd name="connsiteY20" fmla="*/ 190655 h 1036172"/>
                <a:gd name="connsiteX21" fmla="*/ 858886 w 2074600"/>
                <a:gd name="connsiteY21" fmla="*/ 146090 h 1036172"/>
                <a:gd name="connsiteX22" fmla="*/ 1504437 w 2074600"/>
                <a:gd name="connsiteY22" fmla="*/ 121947 h 1036172"/>
                <a:gd name="connsiteX23" fmla="*/ 1602459 w 2074600"/>
                <a:gd name="connsiteY23" fmla="*/ 252824 h 1036172"/>
                <a:gd name="connsiteX24" fmla="*/ 1707076 w 2074600"/>
                <a:gd name="connsiteY24" fmla="*/ 334156 h 1036172"/>
                <a:gd name="connsiteX25" fmla="*/ 2063577 w 2074600"/>
                <a:gd name="connsiteY25" fmla="*/ 891680 h 1036172"/>
                <a:gd name="connsiteX26" fmla="*/ 2018699 w 2074600"/>
                <a:gd name="connsiteY26" fmla="*/ 1012775 h 1036172"/>
                <a:gd name="connsiteX0" fmla="*/ 2018699 w 2074600"/>
                <a:gd name="connsiteY0" fmla="*/ 1012775 h 1036172"/>
                <a:gd name="connsiteX1" fmla="*/ 2005998 w 2074600"/>
                <a:gd name="connsiteY1" fmla="*/ 1036172 h 1036172"/>
                <a:gd name="connsiteX2" fmla="*/ 1071686 w 2074600"/>
                <a:gd name="connsiteY2" fmla="*/ 1036172 h 1036172"/>
                <a:gd name="connsiteX3" fmla="*/ 1355055 w 2074600"/>
                <a:gd name="connsiteY3" fmla="*/ 944659 h 1036172"/>
                <a:gd name="connsiteX4" fmla="*/ 1951851 w 2074600"/>
                <a:gd name="connsiteY4" fmla="*/ 947041 h 1036172"/>
                <a:gd name="connsiteX5" fmla="*/ 1808574 w 2074600"/>
                <a:gd name="connsiteY5" fmla="*/ 470526 h 1036172"/>
                <a:gd name="connsiteX6" fmla="*/ 1688693 w 2074600"/>
                <a:gd name="connsiteY6" fmla="*/ 421170 h 1036172"/>
                <a:gd name="connsiteX7" fmla="*/ 1523467 w 2074600"/>
                <a:gd name="connsiteY7" fmla="*/ 292710 h 1036172"/>
                <a:gd name="connsiteX8" fmla="*/ 1030329 w 2074600"/>
                <a:gd name="connsiteY8" fmla="*/ 127885 h 1036172"/>
                <a:gd name="connsiteX9" fmla="*/ 924954 w 2074600"/>
                <a:gd name="connsiteY9" fmla="*/ 206810 h 1036172"/>
                <a:gd name="connsiteX10" fmla="*/ 730203 w 2074600"/>
                <a:gd name="connsiteY10" fmla="*/ 279786 h 1036172"/>
                <a:gd name="connsiteX11" fmla="*/ 430613 w 2074600"/>
                <a:gd name="connsiteY11" fmla="*/ 503616 h 1036172"/>
                <a:gd name="connsiteX12" fmla="*/ 306053 w 2074600"/>
                <a:gd name="connsiteY12" fmla="*/ 669733 h 1036172"/>
                <a:gd name="connsiteX13" fmla="*/ 98824 w 2074600"/>
                <a:gd name="connsiteY13" fmla="*/ 947041 h 1036172"/>
                <a:gd name="connsiteX14" fmla="*/ 570455 w 2074600"/>
                <a:gd name="connsiteY14" fmla="*/ 947041 h 1036172"/>
                <a:gd name="connsiteX15" fmla="*/ 572822 w 2074600"/>
                <a:gd name="connsiteY15" fmla="*/ 1035476 h 1036172"/>
                <a:gd name="connsiteX16" fmla="*/ 0 w 2074600"/>
                <a:gd name="connsiteY16" fmla="*/ 1036172 h 1036172"/>
                <a:gd name="connsiteX17" fmla="*/ 3565 w 2074600"/>
                <a:gd name="connsiteY17" fmla="*/ 988264 h 1036172"/>
                <a:gd name="connsiteX18" fmla="*/ 264607 w 2074600"/>
                <a:gd name="connsiteY18" fmla="*/ 590518 h 1036172"/>
                <a:gd name="connsiteX19" fmla="*/ 342596 w 2074600"/>
                <a:gd name="connsiteY19" fmla="*/ 486124 h 1036172"/>
                <a:gd name="connsiteX20" fmla="*/ 737891 w 2074600"/>
                <a:gd name="connsiteY20" fmla="*/ 190655 h 1036172"/>
                <a:gd name="connsiteX21" fmla="*/ 858886 w 2074600"/>
                <a:gd name="connsiteY21" fmla="*/ 146090 h 1036172"/>
                <a:gd name="connsiteX22" fmla="*/ 1504437 w 2074600"/>
                <a:gd name="connsiteY22" fmla="*/ 121947 h 1036172"/>
                <a:gd name="connsiteX23" fmla="*/ 1602459 w 2074600"/>
                <a:gd name="connsiteY23" fmla="*/ 252824 h 1036172"/>
                <a:gd name="connsiteX24" fmla="*/ 1707076 w 2074600"/>
                <a:gd name="connsiteY24" fmla="*/ 334156 h 1036172"/>
                <a:gd name="connsiteX25" fmla="*/ 2063577 w 2074600"/>
                <a:gd name="connsiteY25" fmla="*/ 891680 h 1036172"/>
                <a:gd name="connsiteX26" fmla="*/ 2018699 w 2074600"/>
                <a:gd name="connsiteY26" fmla="*/ 1012775 h 1036172"/>
                <a:gd name="connsiteX0" fmla="*/ 2018699 w 2074600"/>
                <a:gd name="connsiteY0" fmla="*/ 1012775 h 1040934"/>
                <a:gd name="connsiteX1" fmla="*/ 2005998 w 2074600"/>
                <a:gd name="connsiteY1" fmla="*/ 1036172 h 1040934"/>
                <a:gd name="connsiteX2" fmla="*/ 1355055 w 2074600"/>
                <a:gd name="connsiteY2" fmla="*/ 1040934 h 1040934"/>
                <a:gd name="connsiteX3" fmla="*/ 1355055 w 2074600"/>
                <a:gd name="connsiteY3" fmla="*/ 944659 h 1040934"/>
                <a:gd name="connsiteX4" fmla="*/ 1951851 w 2074600"/>
                <a:gd name="connsiteY4" fmla="*/ 947041 h 1040934"/>
                <a:gd name="connsiteX5" fmla="*/ 1808574 w 2074600"/>
                <a:gd name="connsiteY5" fmla="*/ 470526 h 1040934"/>
                <a:gd name="connsiteX6" fmla="*/ 1688693 w 2074600"/>
                <a:gd name="connsiteY6" fmla="*/ 421170 h 1040934"/>
                <a:gd name="connsiteX7" fmla="*/ 1523467 w 2074600"/>
                <a:gd name="connsiteY7" fmla="*/ 292710 h 1040934"/>
                <a:gd name="connsiteX8" fmla="*/ 1030329 w 2074600"/>
                <a:gd name="connsiteY8" fmla="*/ 127885 h 1040934"/>
                <a:gd name="connsiteX9" fmla="*/ 924954 w 2074600"/>
                <a:gd name="connsiteY9" fmla="*/ 206810 h 1040934"/>
                <a:gd name="connsiteX10" fmla="*/ 730203 w 2074600"/>
                <a:gd name="connsiteY10" fmla="*/ 279786 h 1040934"/>
                <a:gd name="connsiteX11" fmla="*/ 430613 w 2074600"/>
                <a:gd name="connsiteY11" fmla="*/ 503616 h 1040934"/>
                <a:gd name="connsiteX12" fmla="*/ 306053 w 2074600"/>
                <a:gd name="connsiteY12" fmla="*/ 669733 h 1040934"/>
                <a:gd name="connsiteX13" fmla="*/ 98824 w 2074600"/>
                <a:gd name="connsiteY13" fmla="*/ 947041 h 1040934"/>
                <a:gd name="connsiteX14" fmla="*/ 570455 w 2074600"/>
                <a:gd name="connsiteY14" fmla="*/ 947041 h 1040934"/>
                <a:gd name="connsiteX15" fmla="*/ 572822 w 2074600"/>
                <a:gd name="connsiteY15" fmla="*/ 1035476 h 1040934"/>
                <a:gd name="connsiteX16" fmla="*/ 0 w 2074600"/>
                <a:gd name="connsiteY16" fmla="*/ 1036172 h 1040934"/>
                <a:gd name="connsiteX17" fmla="*/ 3565 w 2074600"/>
                <a:gd name="connsiteY17" fmla="*/ 988264 h 1040934"/>
                <a:gd name="connsiteX18" fmla="*/ 264607 w 2074600"/>
                <a:gd name="connsiteY18" fmla="*/ 590518 h 1040934"/>
                <a:gd name="connsiteX19" fmla="*/ 342596 w 2074600"/>
                <a:gd name="connsiteY19" fmla="*/ 486124 h 1040934"/>
                <a:gd name="connsiteX20" fmla="*/ 737891 w 2074600"/>
                <a:gd name="connsiteY20" fmla="*/ 190655 h 1040934"/>
                <a:gd name="connsiteX21" fmla="*/ 858886 w 2074600"/>
                <a:gd name="connsiteY21" fmla="*/ 146090 h 1040934"/>
                <a:gd name="connsiteX22" fmla="*/ 1504437 w 2074600"/>
                <a:gd name="connsiteY22" fmla="*/ 121947 h 1040934"/>
                <a:gd name="connsiteX23" fmla="*/ 1602459 w 2074600"/>
                <a:gd name="connsiteY23" fmla="*/ 252824 h 1040934"/>
                <a:gd name="connsiteX24" fmla="*/ 1707076 w 2074600"/>
                <a:gd name="connsiteY24" fmla="*/ 334156 h 1040934"/>
                <a:gd name="connsiteX25" fmla="*/ 2063577 w 2074600"/>
                <a:gd name="connsiteY25" fmla="*/ 891680 h 1040934"/>
                <a:gd name="connsiteX26" fmla="*/ 2018699 w 2074600"/>
                <a:gd name="connsiteY26" fmla="*/ 1012775 h 1040934"/>
                <a:gd name="connsiteX0" fmla="*/ 2018699 w 2074600"/>
                <a:gd name="connsiteY0" fmla="*/ 1012775 h 1038553"/>
                <a:gd name="connsiteX1" fmla="*/ 2005998 w 2074600"/>
                <a:gd name="connsiteY1" fmla="*/ 1036172 h 1038553"/>
                <a:gd name="connsiteX2" fmla="*/ 1355055 w 2074600"/>
                <a:gd name="connsiteY2" fmla="*/ 1038553 h 1038553"/>
                <a:gd name="connsiteX3" fmla="*/ 1355055 w 2074600"/>
                <a:gd name="connsiteY3" fmla="*/ 944659 h 1038553"/>
                <a:gd name="connsiteX4" fmla="*/ 1951851 w 2074600"/>
                <a:gd name="connsiteY4" fmla="*/ 947041 h 1038553"/>
                <a:gd name="connsiteX5" fmla="*/ 1808574 w 2074600"/>
                <a:gd name="connsiteY5" fmla="*/ 470526 h 1038553"/>
                <a:gd name="connsiteX6" fmla="*/ 1688693 w 2074600"/>
                <a:gd name="connsiteY6" fmla="*/ 421170 h 1038553"/>
                <a:gd name="connsiteX7" fmla="*/ 1523467 w 2074600"/>
                <a:gd name="connsiteY7" fmla="*/ 292710 h 1038553"/>
                <a:gd name="connsiteX8" fmla="*/ 1030329 w 2074600"/>
                <a:gd name="connsiteY8" fmla="*/ 127885 h 1038553"/>
                <a:gd name="connsiteX9" fmla="*/ 924954 w 2074600"/>
                <a:gd name="connsiteY9" fmla="*/ 206810 h 1038553"/>
                <a:gd name="connsiteX10" fmla="*/ 730203 w 2074600"/>
                <a:gd name="connsiteY10" fmla="*/ 279786 h 1038553"/>
                <a:gd name="connsiteX11" fmla="*/ 430613 w 2074600"/>
                <a:gd name="connsiteY11" fmla="*/ 503616 h 1038553"/>
                <a:gd name="connsiteX12" fmla="*/ 306053 w 2074600"/>
                <a:gd name="connsiteY12" fmla="*/ 669733 h 1038553"/>
                <a:gd name="connsiteX13" fmla="*/ 98824 w 2074600"/>
                <a:gd name="connsiteY13" fmla="*/ 947041 h 1038553"/>
                <a:gd name="connsiteX14" fmla="*/ 570455 w 2074600"/>
                <a:gd name="connsiteY14" fmla="*/ 947041 h 1038553"/>
                <a:gd name="connsiteX15" fmla="*/ 572822 w 2074600"/>
                <a:gd name="connsiteY15" fmla="*/ 1035476 h 1038553"/>
                <a:gd name="connsiteX16" fmla="*/ 0 w 2074600"/>
                <a:gd name="connsiteY16" fmla="*/ 1036172 h 1038553"/>
                <a:gd name="connsiteX17" fmla="*/ 3565 w 2074600"/>
                <a:gd name="connsiteY17" fmla="*/ 988264 h 1038553"/>
                <a:gd name="connsiteX18" fmla="*/ 264607 w 2074600"/>
                <a:gd name="connsiteY18" fmla="*/ 590518 h 1038553"/>
                <a:gd name="connsiteX19" fmla="*/ 342596 w 2074600"/>
                <a:gd name="connsiteY19" fmla="*/ 486124 h 1038553"/>
                <a:gd name="connsiteX20" fmla="*/ 737891 w 2074600"/>
                <a:gd name="connsiteY20" fmla="*/ 190655 h 1038553"/>
                <a:gd name="connsiteX21" fmla="*/ 858886 w 2074600"/>
                <a:gd name="connsiteY21" fmla="*/ 146090 h 1038553"/>
                <a:gd name="connsiteX22" fmla="*/ 1504437 w 2074600"/>
                <a:gd name="connsiteY22" fmla="*/ 121947 h 1038553"/>
                <a:gd name="connsiteX23" fmla="*/ 1602459 w 2074600"/>
                <a:gd name="connsiteY23" fmla="*/ 252824 h 1038553"/>
                <a:gd name="connsiteX24" fmla="*/ 1707076 w 2074600"/>
                <a:gd name="connsiteY24" fmla="*/ 334156 h 1038553"/>
                <a:gd name="connsiteX25" fmla="*/ 2063577 w 2074600"/>
                <a:gd name="connsiteY25" fmla="*/ 891680 h 1038553"/>
                <a:gd name="connsiteX26" fmla="*/ 2018699 w 2074600"/>
                <a:gd name="connsiteY26" fmla="*/ 1012775 h 1038553"/>
                <a:gd name="connsiteX0" fmla="*/ 2018699 w 2074600"/>
                <a:gd name="connsiteY0" fmla="*/ 1012775 h 1038553"/>
                <a:gd name="connsiteX1" fmla="*/ 2005998 w 2074600"/>
                <a:gd name="connsiteY1" fmla="*/ 1036172 h 1038553"/>
                <a:gd name="connsiteX2" fmla="*/ 1355055 w 2074600"/>
                <a:gd name="connsiteY2" fmla="*/ 1038553 h 1038553"/>
                <a:gd name="connsiteX3" fmla="*/ 1355055 w 2074600"/>
                <a:gd name="connsiteY3" fmla="*/ 944659 h 1038553"/>
                <a:gd name="connsiteX4" fmla="*/ 1951851 w 2074600"/>
                <a:gd name="connsiteY4" fmla="*/ 947041 h 1038553"/>
                <a:gd name="connsiteX5" fmla="*/ 1808574 w 2074600"/>
                <a:gd name="connsiteY5" fmla="*/ 470526 h 1038553"/>
                <a:gd name="connsiteX6" fmla="*/ 1688693 w 2074600"/>
                <a:gd name="connsiteY6" fmla="*/ 421170 h 1038553"/>
                <a:gd name="connsiteX7" fmla="*/ 1523467 w 2074600"/>
                <a:gd name="connsiteY7" fmla="*/ 292710 h 1038553"/>
                <a:gd name="connsiteX8" fmla="*/ 1030329 w 2074600"/>
                <a:gd name="connsiteY8" fmla="*/ 127885 h 1038553"/>
                <a:gd name="connsiteX9" fmla="*/ 924954 w 2074600"/>
                <a:gd name="connsiteY9" fmla="*/ 206810 h 1038553"/>
                <a:gd name="connsiteX10" fmla="*/ 730203 w 2074600"/>
                <a:gd name="connsiteY10" fmla="*/ 279786 h 1038553"/>
                <a:gd name="connsiteX11" fmla="*/ 430613 w 2074600"/>
                <a:gd name="connsiteY11" fmla="*/ 503616 h 1038553"/>
                <a:gd name="connsiteX12" fmla="*/ 306053 w 2074600"/>
                <a:gd name="connsiteY12" fmla="*/ 669733 h 1038553"/>
                <a:gd name="connsiteX13" fmla="*/ 98824 w 2074600"/>
                <a:gd name="connsiteY13" fmla="*/ 947041 h 1038553"/>
                <a:gd name="connsiteX14" fmla="*/ 570455 w 2074600"/>
                <a:gd name="connsiteY14" fmla="*/ 947041 h 1038553"/>
                <a:gd name="connsiteX15" fmla="*/ 572822 w 2074600"/>
                <a:gd name="connsiteY15" fmla="*/ 1035476 h 1038553"/>
                <a:gd name="connsiteX16" fmla="*/ 0 w 2074600"/>
                <a:gd name="connsiteY16" fmla="*/ 1036172 h 1038553"/>
                <a:gd name="connsiteX17" fmla="*/ 3565 w 2074600"/>
                <a:gd name="connsiteY17" fmla="*/ 988264 h 1038553"/>
                <a:gd name="connsiteX18" fmla="*/ 264607 w 2074600"/>
                <a:gd name="connsiteY18" fmla="*/ 590518 h 1038553"/>
                <a:gd name="connsiteX19" fmla="*/ 342596 w 2074600"/>
                <a:gd name="connsiteY19" fmla="*/ 486124 h 1038553"/>
                <a:gd name="connsiteX20" fmla="*/ 737891 w 2074600"/>
                <a:gd name="connsiteY20" fmla="*/ 190655 h 1038553"/>
                <a:gd name="connsiteX21" fmla="*/ 858886 w 2074600"/>
                <a:gd name="connsiteY21" fmla="*/ 146090 h 1038553"/>
                <a:gd name="connsiteX22" fmla="*/ 1504437 w 2074600"/>
                <a:gd name="connsiteY22" fmla="*/ 121947 h 1038553"/>
                <a:gd name="connsiteX23" fmla="*/ 1602459 w 2074600"/>
                <a:gd name="connsiteY23" fmla="*/ 252824 h 1038553"/>
                <a:gd name="connsiteX24" fmla="*/ 1707076 w 2074600"/>
                <a:gd name="connsiteY24" fmla="*/ 334156 h 1038553"/>
                <a:gd name="connsiteX25" fmla="*/ 2063577 w 2074600"/>
                <a:gd name="connsiteY25" fmla="*/ 891680 h 1038553"/>
                <a:gd name="connsiteX26" fmla="*/ 2018699 w 2074600"/>
                <a:gd name="connsiteY26" fmla="*/ 1012775 h 1038553"/>
                <a:gd name="connsiteX0" fmla="*/ 2018699 w 2074600"/>
                <a:gd name="connsiteY0" fmla="*/ 1012775 h 1038553"/>
                <a:gd name="connsiteX1" fmla="*/ 2005998 w 2074600"/>
                <a:gd name="connsiteY1" fmla="*/ 1036172 h 1038553"/>
                <a:gd name="connsiteX2" fmla="*/ 1355055 w 2074600"/>
                <a:gd name="connsiteY2" fmla="*/ 1038553 h 1038553"/>
                <a:gd name="connsiteX3" fmla="*/ 1355055 w 2074600"/>
                <a:gd name="connsiteY3" fmla="*/ 944659 h 1038553"/>
                <a:gd name="connsiteX4" fmla="*/ 1951851 w 2074600"/>
                <a:gd name="connsiteY4" fmla="*/ 947041 h 1038553"/>
                <a:gd name="connsiteX5" fmla="*/ 1808574 w 2074600"/>
                <a:gd name="connsiteY5" fmla="*/ 470526 h 1038553"/>
                <a:gd name="connsiteX6" fmla="*/ 1688693 w 2074600"/>
                <a:gd name="connsiteY6" fmla="*/ 421170 h 1038553"/>
                <a:gd name="connsiteX7" fmla="*/ 1523467 w 2074600"/>
                <a:gd name="connsiteY7" fmla="*/ 292710 h 1038553"/>
                <a:gd name="connsiteX8" fmla="*/ 1030329 w 2074600"/>
                <a:gd name="connsiteY8" fmla="*/ 127885 h 1038553"/>
                <a:gd name="connsiteX9" fmla="*/ 924954 w 2074600"/>
                <a:gd name="connsiteY9" fmla="*/ 206810 h 1038553"/>
                <a:gd name="connsiteX10" fmla="*/ 730203 w 2074600"/>
                <a:gd name="connsiteY10" fmla="*/ 279786 h 1038553"/>
                <a:gd name="connsiteX11" fmla="*/ 430613 w 2074600"/>
                <a:gd name="connsiteY11" fmla="*/ 503616 h 1038553"/>
                <a:gd name="connsiteX12" fmla="*/ 306053 w 2074600"/>
                <a:gd name="connsiteY12" fmla="*/ 669733 h 1038553"/>
                <a:gd name="connsiteX13" fmla="*/ 98824 w 2074600"/>
                <a:gd name="connsiteY13" fmla="*/ 947041 h 1038553"/>
                <a:gd name="connsiteX14" fmla="*/ 570455 w 2074600"/>
                <a:gd name="connsiteY14" fmla="*/ 947041 h 1038553"/>
                <a:gd name="connsiteX15" fmla="*/ 572822 w 2074600"/>
                <a:gd name="connsiteY15" fmla="*/ 1035476 h 1038553"/>
                <a:gd name="connsiteX16" fmla="*/ 0 w 2074600"/>
                <a:gd name="connsiteY16" fmla="*/ 1036172 h 1038553"/>
                <a:gd name="connsiteX17" fmla="*/ 3565 w 2074600"/>
                <a:gd name="connsiteY17" fmla="*/ 988264 h 1038553"/>
                <a:gd name="connsiteX18" fmla="*/ 264607 w 2074600"/>
                <a:gd name="connsiteY18" fmla="*/ 590518 h 1038553"/>
                <a:gd name="connsiteX19" fmla="*/ 342596 w 2074600"/>
                <a:gd name="connsiteY19" fmla="*/ 486124 h 1038553"/>
                <a:gd name="connsiteX20" fmla="*/ 737891 w 2074600"/>
                <a:gd name="connsiteY20" fmla="*/ 190655 h 1038553"/>
                <a:gd name="connsiteX21" fmla="*/ 858886 w 2074600"/>
                <a:gd name="connsiteY21" fmla="*/ 146090 h 1038553"/>
                <a:gd name="connsiteX22" fmla="*/ 1504437 w 2074600"/>
                <a:gd name="connsiteY22" fmla="*/ 121947 h 1038553"/>
                <a:gd name="connsiteX23" fmla="*/ 1602459 w 2074600"/>
                <a:gd name="connsiteY23" fmla="*/ 252824 h 1038553"/>
                <a:gd name="connsiteX24" fmla="*/ 1707076 w 2074600"/>
                <a:gd name="connsiteY24" fmla="*/ 334156 h 1038553"/>
                <a:gd name="connsiteX25" fmla="*/ 2063577 w 2074600"/>
                <a:gd name="connsiteY25" fmla="*/ 891680 h 1038553"/>
                <a:gd name="connsiteX26" fmla="*/ 2018699 w 2074600"/>
                <a:gd name="connsiteY26" fmla="*/ 1012775 h 1038553"/>
                <a:gd name="connsiteX0" fmla="*/ 2018699 w 2074600"/>
                <a:gd name="connsiteY0" fmla="*/ 1012775 h 1038553"/>
                <a:gd name="connsiteX1" fmla="*/ 2005998 w 2074600"/>
                <a:gd name="connsiteY1" fmla="*/ 1036172 h 1038553"/>
                <a:gd name="connsiteX2" fmla="*/ 1355055 w 2074600"/>
                <a:gd name="connsiteY2" fmla="*/ 1038553 h 1038553"/>
                <a:gd name="connsiteX3" fmla="*/ 1479623 w 2074600"/>
                <a:gd name="connsiteY3" fmla="*/ 946658 h 1038553"/>
                <a:gd name="connsiteX4" fmla="*/ 1951851 w 2074600"/>
                <a:gd name="connsiteY4" fmla="*/ 947041 h 1038553"/>
                <a:gd name="connsiteX5" fmla="*/ 1808574 w 2074600"/>
                <a:gd name="connsiteY5" fmla="*/ 470526 h 1038553"/>
                <a:gd name="connsiteX6" fmla="*/ 1688693 w 2074600"/>
                <a:gd name="connsiteY6" fmla="*/ 421170 h 1038553"/>
                <a:gd name="connsiteX7" fmla="*/ 1523467 w 2074600"/>
                <a:gd name="connsiteY7" fmla="*/ 292710 h 1038553"/>
                <a:gd name="connsiteX8" fmla="*/ 1030329 w 2074600"/>
                <a:gd name="connsiteY8" fmla="*/ 127885 h 1038553"/>
                <a:gd name="connsiteX9" fmla="*/ 924954 w 2074600"/>
                <a:gd name="connsiteY9" fmla="*/ 206810 h 1038553"/>
                <a:gd name="connsiteX10" fmla="*/ 730203 w 2074600"/>
                <a:gd name="connsiteY10" fmla="*/ 279786 h 1038553"/>
                <a:gd name="connsiteX11" fmla="*/ 430613 w 2074600"/>
                <a:gd name="connsiteY11" fmla="*/ 503616 h 1038553"/>
                <a:gd name="connsiteX12" fmla="*/ 306053 w 2074600"/>
                <a:gd name="connsiteY12" fmla="*/ 669733 h 1038553"/>
                <a:gd name="connsiteX13" fmla="*/ 98824 w 2074600"/>
                <a:gd name="connsiteY13" fmla="*/ 947041 h 1038553"/>
                <a:gd name="connsiteX14" fmla="*/ 570455 w 2074600"/>
                <a:gd name="connsiteY14" fmla="*/ 947041 h 1038553"/>
                <a:gd name="connsiteX15" fmla="*/ 572822 w 2074600"/>
                <a:gd name="connsiteY15" fmla="*/ 1035476 h 1038553"/>
                <a:gd name="connsiteX16" fmla="*/ 0 w 2074600"/>
                <a:gd name="connsiteY16" fmla="*/ 1036172 h 1038553"/>
                <a:gd name="connsiteX17" fmla="*/ 3565 w 2074600"/>
                <a:gd name="connsiteY17" fmla="*/ 988264 h 1038553"/>
                <a:gd name="connsiteX18" fmla="*/ 264607 w 2074600"/>
                <a:gd name="connsiteY18" fmla="*/ 590518 h 1038553"/>
                <a:gd name="connsiteX19" fmla="*/ 342596 w 2074600"/>
                <a:gd name="connsiteY19" fmla="*/ 486124 h 1038553"/>
                <a:gd name="connsiteX20" fmla="*/ 737891 w 2074600"/>
                <a:gd name="connsiteY20" fmla="*/ 190655 h 1038553"/>
                <a:gd name="connsiteX21" fmla="*/ 858886 w 2074600"/>
                <a:gd name="connsiteY21" fmla="*/ 146090 h 1038553"/>
                <a:gd name="connsiteX22" fmla="*/ 1504437 w 2074600"/>
                <a:gd name="connsiteY22" fmla="*/ 121947 h 1038553"/>
                <a:gd name="connsiteX23" fmla="*/ 1602459 w 2074600"/>
                <a:gd name="connsiteY23" fmla="*/ 252824 h 1038553"/>
                <a:gd name="connsiteX24" fmla="*/ 1707076 w 2074600"/>
                <a:gd name="connsiteY24" fmla="*/ 334156 h 1038553"/>
                <a:gd name="connsiteX25" fmla="*/ 2063577 w 2074600"/>
                <a:gd name="connsiteY25" fmla="*/ 891680 h 1038553"/>
                <a:gd name="connsiteX26" fmla="*/ 2018699 w 2074600"/>
                <a:gd name="connsiteY26" fmla="*/ 1012775 h 1038553"/>
                <a:gd name="connsiteX0" fmla="*/ 2018699 w 2074600"/>
                <a:gd name="connsiteY0" fmla="*/ 1012775 h 1038553"/>
                <a:gd name="connsiteX1" fmla="*/ 2005998 w 2074600"/>
                <a:gd name="connsiteY1" fmla="*/ 1036172 h 1038553"/>
                <a:gd name="connsiteX2" fmla="*/ 1355055 w 2074600"/>
                <a:gd name="connsiteY2" fmla="*/ 1038553 h 1038553"/>
                <a:gd name="connsiteX3" fmla="*/ 1479623 w 2074600"/>
                <a:gd name="connsiteY3" fmla="*/ 946658 h 1038553"/>
                <a:gd name="connsiteX4" fmla="*/ 1951851 w 2074600"/>
                <a:gd name="connsiteY4" fmla="*/ 947041 h 1038553"/>
                <a:gd name="connsiteX5" fmla="*/ 1808574 w 2074600"/>
                <a:gd name="connsiteY5" fmla="*/ 470526 h 1038553"/>
                <a:gd name="connsiteX6" fmla="*/ 1688693 w 2074600"/>
                <a:gd name="connsiteY6" fmla="*/ 421170 h 1038553"/>
                <a:gd name="connsiteX7" fmla="*/ 1523467 w 2074600"/>
                <a:gd name="connsiteY7" fmla="*/ 292710 h 1038553"/>
                <a:gd name="connsiteX8" fmla="*/ 1030329 w 2074600"/>
                <a:gd name="connsiteY8" fmla="*/ 127885 h 1038553"/>
                <a:gd name="connsiteX9" fmla="*/ 924954 w 2074600"/>
                <a:gd name="connsiteY9" fmla="*/ 206810 h 1038553"/>
                <a:gd name="connsiteX10" fmla="*/ 730203 w 2074600"/>
                <a:gd name="connsiteY10" fmla="*/ 279786 h 1038553"/>
                <a:gd name="connsiteX11" fmla="*/ 430613 w 2074600"/>
                <a:gd name="connsiteY11" fmla="*/ 503616 h 1038553"/>
                <a:gd name="connsiteX12" fmla="*/ 306053 w 2074600"/>
                <a:gd name="connsiteY12" fmla="*/ 669733 h 1038553"/>
                <a:gd name="connsiteX13" fmla="*/ 98824 w 2074600"/>
                <a:gd name="connsiteY13" fmla="*/ 947041 h 1038553"/>
                <a:gd name="connsiteX14" fmla="*/ 570455 w 2074600"/>
                <a:gd name="connsiteY14" fmla="*/ 947041 h 1038553"/>
                <a:gd name="connsiteX15" fmla="*/ 572822 w 2074600"/>
                <a:gd name="connsiteY15" fmla="*/ 1035476 h 1038553"/>
                <a:gd name="connsiteX16" fmla="*/ 0 w 2074600"/>
                <a:gd name="connsiteY16" fmla="*/ 1036172 h 1038553"/>
                <a:gd name="connsiteX17" fmla="*/ 3565 w 2074600"/>
                <a:gd name="connsiteY17" fmla="*/ 988264 h 1038553"/>
                <a:gd name="connsiteX18" fmla="*/ 264607 w 2074600"/>
                <a:gd name="connsiteY18" fmla="*/ 590518 h 1038553"/>
                <a:gd name="connsiteX19" fmla="*/ 342596 w 2074600"/>
                <a:gd name="connsiteY19" fmla="*/ 486124 h 1038553"/>
                <a:gd name="connsiteX20" fmla="*/ 737891 w 2074600"/>
                <a:gd name="connsiteY20" fmla="*/ 190655 h 1038553"/>
                <a:gd name="connsiteX21" fmla="*/ 858886 w 2074600"/>
                <a:gd name="connsiteY21" fmla="*/ 146090 h 1038553"/>
                <a:gd name="connsiteX22" fmla="*/ 1504437 w 2074600"/>
                <a:gd name="connsiteY22" fmla="*/ 121947 h 1038553"/>
                <a:gd name="connsiteX23" fmla="*/ 1602459 w 2074600"/>
                <a:gd name="connsiteY23" fmla="*/ 252824 h 1038553"/>
                <a:gd name="connsiteX24" fmla="*/ 1707076 w 2074600"/>
                <a:gd name="connsiteY24" fmla="*/ 334156 h 1038553"/>
                <a:gd name="connsiteX25" fmla="*/ 2063577 w 2074600"/>
                <a:gd name="connsiteY25" fmla="*/ 891680 h 1038553"/>
                <a:gd name="connsiteX26" fmla="*/ 2018699 w 2074600"/>
                <a:gd name="connsiteY26" fmla="*/ 1012775 h 1038553"/>
                <a:gd name="connsiteX0" fmla="*/ 2018699 w 2074600"/>
                <a:gd name="connsiteY0" fmla="*/ 1012775 h 1038553"/>
                <a:gd name="connsiteX1" fmla="*/ 2005998 w 2074600"/>
                <a:gd name="connsiteY1" fmla="*/ 1036172 h 1038553"/>
                <a:gd name="connsiteX2" fmla="*/ 1355055 w 2074600"/>
                <a:gd name="connsiteY2" fmla="*/ 1038553 h 1038553"/>
                <a:gd name="connsiteX3" fmla="*/ 1479623 w 2074600"/>
                <a:gd name="connsiteY3" fmla="*/ 946658 h 1038553"/>
                <a:gd name="connsiteX4" fmla="*/ 1951851 w 2074600"/>
                <a:gd name="connsiteY4" fmla="*/ 947041 h 1038553"/>
                <a:gd name="connsiteX5" fmla="*/ 1808574 w 2074600"/>
                <a:gd name="connsiteY5" fmla="*/ 470526 h 1038553"/>
                <a:gd name="connsiteX6" fmla="*/ 1688693 w 2074600"/>
                <a:gd name="connsiteY6" fmla="*/ 421170 h 1038553"/>
                <a:gd name="connsiteX7" fmla="*/ 1523467 w 2074600"/>
                <a:gd name="connsiteY7" fmla="*/ 292710 h 1038553"/>
                <a:gd name="connsiteX8" fmla="*/ 1030329 w 2074600"/>
                <a:gd name="connsiteY8" fmla="*/ 127885 h 1038553"/>
                <a:gd name="connsiteX9" fmla="*/ 924954 w 2074600"/>
                <a:gd name="connsiteY9" fmla="*/ 206810 h 1038553"/>
                <a:gd name="connsiteX10" fmla="*/ 730203 w 2074600"/>
                <a:gd name="connsiteY10" fmla="*/ 279786 h 1038553"/>
                <a:gd name="connsiteX11" fmla="*/ 430613 w 2074600"/>
                <a:gd name="connsiteY11" fmla="*/ 503616 h 1038553"/>
                <a:gd name="connsiteX12" fmla="*/ 306053 w 2074600"/>
                <a:gd name="connsiteY12" fmla="*/ 669733 h 1038553"/>
                <a:gd name="connsiteX13" fmla="*/ 98824 w 2074600"/>
                <a:gd name="connsiteY13" fmla="*/ 947041 h 1038553"/>
                <a:gd name="connsiteX14" fmla="*/ 570455 w 2074600"/>
                <a:gd name="connsiteY14" fmla="*/ 947041 h 1038553"/>
                <a:gd name="connsiteX15" fmla="*/ 572822 w 2074600"/>
                <a:gd name="connsiteY15" fmla="*/ 1035476 h 1038553"/>
                <a:gd name="connsiteX16" fmla="*/ 0 w 2074600"/>
                <a:gd name="connsiteY16" fmla="*/ 1036172 h 1038553"/>
                <a:gd name="connsiteX17" fmla="*/ 3565 w 2074600"/>
                <a:gd name="connsiteY17" fmla="*/ 988264 h 1038553"/>
                <a:gd name="connsiteX18" fmla="*/ 264607 w 2074600"/>
                <a:gd name="connsiteY18" fmla="*/ 590518 h 1038553"/>
                <a:gd name="connsiteX19" fmla="*/ 342596 w 2074600"/>
                <a:gd name="connsiteY19" fmla="*/ 486124 h 1038553"/>
                <a:gd name="connsiteX20" fmla="*/ 737891 w 2074600"/>
                <a:gd name="connsiteY20" fmla="*/ 190655 h 1038553"/>
                <a:gd name="connsiteX21" fmla="*/ 858886 w 2074600"/>
                <a:gd name="connsiteY21" fmla="*/ 146090 h 1038553"/>
                <a:gd name="connsiteX22" fmla="*/ 1504437 w 2074600"/>
                <a:gd name="connsiteY22" fmla="*/ 121947 h 1038553"/>
                <a:gd name="connsiteX23" fmla="*/ 1602459 w 2074600"/>
                <a:gd name="connsiteY23" fmla="*/ 252824 h 1038553"/>
                <a:gd name="connsiteX24" fmla="*/ 1707076 w 2074600"/>
                <a:gd name="connsiteY24" fmla="*/ 334156 h 1038553"/>
                <a:gd name="connsiteX25" fmla="*/ 2063577 w 2074600"/>
                <a:gd name="connsiteY25" fmla="*/ 891680 h 1038553"/>
                <a:gd name="connsiteX26" fmla="*/ 2018699 w 2074600"/>
                <a:gd name="connsiteY26" fmla="*/ 1012775 h 1038553"/>
                <a:gd name="connsiteX0" fmla="*/ 2018699 w 2074600"/>
                <a:gd name="connsiteY0" fmla="*/ 1012775 h 1038553"/>
                <a:gd name="connsiteX1" fmla="*/ 2005998 w 2074600"/>
                <a:gd name="connsiteY1" fmla="*/ 1036172 h 1038553"/>
                <a:gd name="connsiteX2" fmla="*/ 1355055 w 2074600"/>
                <a:gd name="connsiteY2" fmla="*/ 1038553 h 1038553"/>
                <a:gd name="connsiteX3" fmla="*/ 1479623 w 2074600"/>
                <a:gd name="connsiteY3" fmla="*/ 946658 h 1038553"/>
                <a:gd name="connsiteX4" fmla="*/ 1951851 w 2074600"/>
                <a:gd name="connsiteY4" fmla="*/ 947041 h 1038553"/>
                <a:gd name="connsiteX5" fmla="*/ 1808574 w 2074600"/>
                <a:gd name="connsiteY5" fmla="*/ 470526 h 1038553"/>
                <a:gd name="connsiteX6" fmla="*/ 1688693 w 2074600"/>
                <a:gd name="connsiteY6" fmla="*/ 421170 h 1038553"/>
                <a:gd name="connsiteX7" fmla="*/ 1523467 w 2074600"/>
                <a:gd name="connsiteY7" fmla="*/ 292710 h 1038553"/>
                <a:gd name="connsiteX8" fmla="*/ 1030329 w 2074600"/>
                <a:gd name="connsiteY8" fmla="*/ 127885 h 1038553"/>
                <a:gd name="connsiteX9" fmla="*/ 924954 w 2074600"/>
                <a:gd name="connsiteY9" fmla="*/ 206810 h 1038553"/>
                <a:gd name="connsiteX10" fmla="*/ 730203 w 2074600"/>
                <a:gd name="connsiteY10" fmla="*/ 279786 h 1038553"/>
                <a:gd name="connsiteX11" fmla="*/ 430613 w 2074600"/>
                <a:gd name="connsiteY11" fmla="*/ 503616 h 1038553"/>
                <a:gd name="connsiteX12" fmla="*/ 306053 w 2074600"/>
                <a:gd name="connsiteY12" fmla="*/ 669733 h 1038553"/>
                <a:gd name="connsiteX13" fmla="*/ 98824 w 2074600"/>
                <a:gd name="connsiteY13" fmla="*/ 947041 h 1038553"/>
                <a:gd name="connsiteX14" fmla="*/ 570455 w 2074600"/>
                <a:gd name="connsiteY14" fmla="*/ 947041 h 1038553"/>
                <a:gd name="connsiteX15" fmla="*/ 572822 w 2074600"/>
                <a:gd name="connsiteY15" fmla="*/ 1035476 h 1038553"/>
                <a:gd name="connsiteX16" fmla="*/ 0 w 2074600"/>
                <a:gd name="connsiteY16" fmla="*/ 1036172 h 1038553"/>
                <a:gd name="connsiteX17" fmla="*/ 3565 w 2074600"/>
                <a:gd name="connsiteY17" fmla="*/ 988264 h 1038553"/>
                <a:gd name="connsiteX18" fmla="*/ 264607 w 2074600"/>
                <a:gd name="connsiteY18" fmla="*/ 590518 h 1038553"/>
                <a:gd name="connsiteX19" fmla="*/ 342596 w 2074600"/>
                <a:gd name="connsiteY19" fmla="*/ 486124 h 1038553"/>
                <a:gd name="connsiteX20" fmla="*/ 737891 w 2074600"/>
                <a:gd name="connsiteY20" fmla="*/ 190655 h 1038553"/>
                <a:gd name="connsiteX21" fmla="*/ 858886 w 2074600"/>
                <a:gd name="connsiteY21" fmla="*/ 146090 h 1038553"/>
                <a:gd name="connsiteX22" fmla="*/ 1504437 w 2074600"/>
                <a:gd name="connsiteY22" fmla="*/ 121947 h 1038553"/>
                <a:gd name="connsiteX23" fmla="*/ 1602459 w 2074600"/>
                <a:gd name="connsiteY23" fmla="*/ 252824 h 1038553"/>
                <a:gd name="connsiteX24" fmla="*/ 1707076 w 2074600"/>
                <a:gd name="connsiteY24" fmla="*/ 334156 h 1038553"/>
                <a:gd name="connsiteX25" fmla="*/ 2063577 w 2074600"/>
                <a:gd name="connsiteY25" fmla="*/ 891680 h 1038553"/>
                <a:gd name="connsiteX26" fmla="*/ 2018699 w 2074600"/>
                <a:gd name="connsiteY26" fmla="*/ 1012775 h 1038553"/>
                <a:gd name="connsiteX0" fmla="*/ 2018699 w 2074600"/>
                <a:gd name="connsiteY0" fmla="*/ 1012775 h 1038553"/>
                <a:gd name="connsiteX1" fmla="*/ 2005998 w 2074600"/>
                <a:gd name="connsiteY1" fmla="*/ 1036172 h 1038553"/>
                <a:gd name="connsiteX2" fmla="*/ 1355055 w 2074600"/>
                <a:gd name="connsiteY2" fmla="*/ 1038553 h 1038553"/>
                <a:gd name="connsiteX3" fmla="*/ 1479623 w 2074600"/>
                <a:gd name="connsiteY3" fmla="*/ 946658 h 1038553"/>
                <a:gd name="connsiteX4" fmla="*/ 1951851 w 2074600"/>
                <a:gd name="connsiteY4" fmla="*/ 947041 h 1038553"/>
                <a:gd name="connsiteX5" fmla="*/ 1808574 w 2074600"/>
                <a:gd name="connsiteY5" fmla="*/ 470526 h 1038553"/>
                <a:gd name="connsiteX6" fmla="*/ 1688693 w 2074600"/>
                <a:gd name="connsiteY6" fmla="*/ 421170 h 1038553"/>
                <a:gd name="connsiteX7" fmla="*/ 1523467 w 2074600"/>
                <a:gd name="connsiteY7" fmla="*/ 292710 h 1038553"/>
                <a:gd name="connsiteX8" fmla="*/ 1030329 w 2074600"/>
                <a:gd name="connsiteY8" fmla="*/ 127885 h 1038553"/>
                <a:gd name="connsiteX9" fmla="*/ 924954 w 2074600"/>
                <a:gd name="connsiteY9" fmla="*/ 206810 h 1038553"/>
                <a:gd name="connsiteX10" fmla="*/ 730203 w 2074600"/>
                <a:gd name="connsiteY10" fmla="*/ 279786 h 1038553"/>
                <a:gd name="connsiteX11" fmla="*/ 430613 w 2074600"/>
                <a:gd name="connsiteY11" fmla="*/ 503616 h 1038553"/>
                <a:gd name="connsiteX12" fmla="*/ 306053 w 2074600"/>
                <a:gd name="connsiteY12" fmla="*/ 669733 h 1038553"/>
                <a:gd name="connsiteX13" fmla="*/ 98824 w 2074600"/>
                <a:gd name="connsiteY13" fmla="*/ 947041 h 1038553"/>
                <a:gd name="connsiteX14" fmla="*/ 570455 w 2074600"/>
                <a:gd name="connsiteY14" fmla="*/ 947041 h 1038553"/>
                <a:gd name="connsiteX15" fmla="*/ 572822 w 2074600"/>
                <a:gd name="connsiteY15" fmla="*/ 1035476 h 1038553"/>
                <a:gd name="connsiteX16" fmla="*/ 0 w 2074600"/>
                <a:gd name="connsiteY16" fmla="*/ 1036172 h 1038553"/>
                <a:gd name="connsiteX17" fmla="*/ 3565 w 2074600"/>
                <a:gd name="connsiteY17" fmla="*/ 988264 h 1038553"/>
                <a:gd name="connsiteX18" fmla="*/ 264607 w 2074600"/>
                <a:gd name="connsiteY18" fmla="*/ 590518 h 1038553"/>
                <a:gd name="connsiteX19" fmla="*/ 342596 w 2074600"/>
                <a:gd name="connsiteY19" fmla="*/ 486124 h 1038553"/>
                <a:gd name="connsiteX20" fmla="*/ 737891 w 2074600"/>
                <a:gd name="connsiteY20" fmla="*/ 190655 h 1038553"/>
                <a:gd name="connsiteX21" fmla="*/ 858886 w 2074600"/>
                <a:gd name="connsiteY21" fmla="*/ 146090 h 1038553"/>
                <a:gd name="connsiteX22" fmla="*/ 1504437 w 2074600"/>
                <a:gd name="connsiteY22" fmla="*/ 121947 h 1038553"/>
                <a:gd name="connsiteX23" fmla="*/ 1602459 w 2074600"/>
                <a:gd name="connsiteY23" fmla="*/ 252824 h 1038553"/>
                <a:gd name="connsiteX24" fmla="*/ 1707076 w 2074600"/>
                <a:gd name="connsiteY24" fmla="*/ 334156 h 1038553"/>
                <a:gd name="connsiteX25" fmla="*/ 2063577 w 2074600"/>
                <a:gd name="connsiteY25" fmla="*/ 891680 h 1038553"/>
                <a:gd name="connsiteX26" fmla="*/ 2018699 w 2074600"/>
                <a:gd name="connsiteY26" fmla="*/ 1012775 h 1038553"/>
                <a:gd name="connsiteX0" fmla="*/ 2018699 w 2074600"/>
                <a:gd name="connsiteY0" fmla="*/ 1012775 h 1038553"/>
                <a:gd name="connsiteX1" fmla="*/ 2005998 w 2074600"/>
                <a:gd name="connsiteY1" fmla="*/ 1036172 h 1038553"/>
                <a:gd name="connsiteX2" fmla="*/ 1364224 w 2074600"/>
                <a:gd name="connsiteY2" fmla="*/ 1034890 h 1038553"/>
                <a:gd name="connsiteX3" fmla="*/ 1355055 w 2074600"/>
                <a:gd name="connsiteY3" fmla="*/ 1038553 h 1038553"/>
                <a:gd name="connsiteX4" fmla="*/ 1479623 w 2074600"/>
                <a:gd name="connsiteY4" fmla="*/ 946658 h 1038553"/>
                <a:gd name="connsiteX5" fmla="*/ 1951851 w 2074600"/>
                <a:gd name="connsiteY5" fmla="*/ 947041 h 1038553"/>
                <a:gd name="connsiteX6" fmla="*/ 1808574 w 2074600"/>
                <a:gd name="connsiteY6" fmla="*/ 470526 h 1038553"/>
                <a:gd name="connsiteX7" fmla="*/ 1688693 w 2074600"/>
                <a:gd name="connsiteY7" fmla="*/ 421170 h 1038553"/>
                <a:gd name="connsiteX8" fmla="*/ 1523467 w 2074600"/>
                <a:gd name="connsiteY8" fmla="*/ 292710 h 1038553"/>
                <a:gd name="connsiteX9" fmla="*/ 1030329 w 2074600"/>
                <a:gd name="connsiteY9" fmla="*/ 127885 h 1038553"/>
                <a:gd name="connsiteX10" fmla="*/ 924954 w 2074600"/>
                <a:gd name="connsiteY10" fmla="*/ 206810 h 1038553"/>
                <a:gd name="connsiteX11" fmla="*/ 730203 w 2074600"/>
                <a:gd name="connsiteY11" fmla="*/ 279786 h 1038553"/>
                <a:gd name="connsiteX12" fmla="*/ 430613 w 2074600"/>
                <a:gd name="connsiteY12" fmla="*/ 503616 h 1038553"/>
                <a:gd name="connsiteX13" fmla="*/ 306053 w 2074600"/>
                <a:gd name="connsiteY13" fmla="*/ 669733 h 1038553"/>
                <a:gd name="connsiteX14" fmla="*/ 98824 w 2074600"/>
                <a:gd name="connsiteY14" fmla="*/ 947041 h 1038553"/>
                <a:gd name="connsiteX15" fmla="*/ 570455 w 2074600"/>
                <a:gd name="connsiteY15" fmla="*/ 947041 h 1038553"/>
                <a:gd name="connsiteX16" fmla="*/ 572822 w 2074600"/>
                <a:gd name="connsiteY16" fmla="*/ 1035476 h 1038553"/>
                <a:gd name="connsiteX17" fmla="*/ 0 w 2074600"/>
                <a:gd name="connsiteY17" fmla="*/ 1036172 h 1038553"/>
                <a:gd name="connsiteX18" fmla="*/ 3565 w 2074600"/>
                <a:gd name="connsiteY18" fmla="*/ 988264 h 1038553"/>
                <a:gd name="connsiteX19" fmla="*/ 264607 w 2074600"/>
                <a:gd name="connsiteY19" fmla="*/ 590518 h 1038553"/>
                <a:gd name="connsiteX20" fmla="*/ 342596 w 2074600"/>
                <a:gd name="connsiteY20" fmla="*/ 486124 h 1038553"/>
                <a:gd name="connsiteX21" fmla="*/ 737891 w 2074600"/>
                <a:gd name="connsiteY21" fmla="*/ 190655 h 1038553"/>
                <a:gd name="connsiteX22" fmla="*/ 858886 w 2074600"/>
                <a:gd name="connsiteY22" fmla="*/ 146090 h 1038553"/>
                <a:gd name="connsiteX23" fmla="*/ 1504437 w 2074600"/>
                <a:gd name="connsiteY23" fmla="*/ 121947 h 1038553"/>
                <a:gd name="connsiteX24" fmla="*/ 1602459 w 2074600"/>
                <a:gd name="connsiteY24" fmla="*/ 252824 h 1038553"/>
                <a:gd name="connsiteX25" fmla="*/ 1707076 w 2074600"/>
                <a:gd name="connsiteY25" fmla="*/ 334156 h 1038553"/>
                <a:gd name="connsiteX26" fmla="*/ 2063577 w 2074600"/>
                <a:gd name="connsiteY26" fmla="*/ 891680 h 1038553"/>
                <a:gd name="connsiteX27" fmla="*/ 2018699 w 2074600"/>
                <a:gd name="connsiteY27" fmla="*/ 1012775 h 1038553"/>
                <a:gd name="connsiteX0" fmla="*/ 2018699 w 2074600"/>
                <a:gd name="connsiteY0" fmla="*/ 1012775 h 1038553"/>
                <a:gd name="connsiteX1" fmla="*/ 2005998 w 2074600"/>
                <a:gd name="connsiteY1" fmla="*/ 1036172 h 1038553"/>
                <a:gd name="connsiteX2" fmla="*/ 1364224 w 2074600"/>
                <a:gd name="connsiteY2" fmla="*/ 1034890 h 1038553"/>
                <a:gd name="connsiteX3" fmla="*/ 1355055 w 2074600"/>
                <a:gd name="connsiteY3" fmla="*/ 1038553 h 1038553"/>
                <a:gd name="connsiteX4" fmla="*/ 1484887 w 2074600"/>
                <a:gd name="connsiteY4" fmla="*/ 950656 h 1038553"/>
                <a:gd name="connsiteX5" fmla="*/ 1951851 w 2074600"/>
                <a:gd name="connsiteY5" fmla="*/ 947041 h 1038553"/>
                <a:gd name="connsiteX6" fmla="*/ 1808574 w 2074600"/>
                <a:gd name="connsiteY6" fmla="*/ 470526 h 1038553"/>
                <a:gd name="connsiteX7" fmla="*/ 1688693 w 2074600"/>
                <a:gd name="connsiteY7" fmla="*/ 421170 h 1038553"/>
                <a:gd name="connsiteX8" fmla="*/ 1523467 w 2074600"/>
                <a:gd name="connsiteY8" fmla="*/ 292710 h 1038553"/>
                <a:gd name="connsiteX9" fmla="*/ 1030329 w 2074600"/>
                <a:gd name="connsiteY9" fmla="*/ 127885 h 1038553"/>
                <a:gd name="connsiteX10" fmla="*/ 924954 w 2074600"/>
                <a:gd name="connsiteY10" fmla="*/ 206810 h 1038553"/>
                <a:gd name="connsiteX11" fmla="*/ 730203 w 2074600"/>
                <a:gd name="connsiteY11" fmla="*/ 279786 h 1038553"/>
                <a:gd name="connsiteX12" fmla="*/ 430613 w 2074600"/>
                <a:gd name="connsiteY12" fmla="*/ 503616 h 1038553"/>
                <a:gd name="connsiteX13" fmla="*/ 306053 w 2074600"/>
                <a:gd name="connsiteY13" fmla="*/ 669733 h 1038553"/>
                <a:gd name="connsiteX14" fmla="*/ 98824 w 2074600"/>
                <a:gd name="connsiteY14" fmla="*/ 947041 h 1038553"/>
                <a:gd name="connsiteX15" fmla="*/ 570455 w 2074600"/>
                <a:gd name="connsiteY15" fmla="*/ 947041 h 1038553"/>
                <a:gd name="connsiteX16" fmla="*/ 572822 w 2074600"/>
                <a:gd name="connsiteY16" fmla="*/ 1035476 h 1038553"/>
                <a:gd name="connsiteX17" fmla="*/ 0 w 2074600"/>
                <a:gd name="connsiteY17" fmla="*/ 1036172 h 1038553"/>
                <a:gd name="connsiteX18" fmla="*/ 3565 w 2074600"/>
                <a:gd name="connsiteY18" fmla="*/ 988264 h 1038553"/>
                <a:gd name="connsiteX19" fmla="*/ 264607 w 2074600"/>
                <a:gd name="connsiteY19" fmla="*/ 590518 h 1038553"/>
                <a:gd name="connsiteX20" fmla="*/ 342596 w 2074600"/>
                <a:gd name="connsiteY20" fmla="*/ 486124 h 1038553"/>
                <a:gd name="connsiteX21" fmla="*/ 737891 w 2074600"/>
                <a:gd name="connsiteY21" fmla="*/ 190655 h 1038553"/>
                <a:gd name="connsiteX22" fmla="*/ 858886 w 2074600"/>
                <a:gd name="connsiteY22" fmla="*/ 146090 h 1038553"/>
                <a:gd name="connsiteX23" fmla="*/ 1504437 w 2074600"/>
                <a:gd name="connsiteY23" fmla="*/ 121947 h 1038553"/>
                <a:gd name="connsiteX24" fmla="*/ 1602459 w 2074600"/>
                <a:gd name="connsiteY24" fmla="*/ 252824 h 1038553"/>
                <a:gd name="connsiteX25" fmla="*/ 1707076 w 2074600"/>
                <a:gd name="connsiteY25" fmla="*/ 334156 h 1038553"/>
                <a:gd name="connsiteX26" fmla="*/ 2063577 w 2074600"/>
                <a:gd name="connsiteY26" fmla="*/ 891680 h 1038553"/>
                <a:gd name="connsiteX27" fmla="*/ 2018699 w 2074600"/>
                <a:gd name="connsiteY27" fmla="*/ 1012775 h 1038553"/>
                <a:gd name="connsiteX0" fmla="*/ 2018699 w 2074600"/>
                <a:gd name="connsiteY0" fmla="*/ 1012775 h 1038553"/>
                <a:gd name="connsiteX1" fmla="*/ 2005998 w 2074600"/>
                <a:gd name="connsiteY1" fmla="*/ 1036172 h 1038553"/>
                <a:gd name="connsiteX2" fmla="*/ 1364224 w 2074600"/>
                <a:gd name="connsiteY2" fmla="*/ 1034890 h 1038553"/>
                <a:gd name="connsiteX3" fmla="*/ 1355055 w 2074600"/>
                <a:gd name="connsiteY3" fmla="*/ 1038553 h 1038553"/>
                <a:gd name="connsiteX4" fmla="*/ 1528748 w 2074600"/>
                <a:gd name="connsiteY4" fmla="*/ 946658 h 1038553"/>
                <a:gd name="connsiteX5" fmla="*/ 1951851 w 2074600"/>
                <a:gd name="connsiteY5" fmla="*/ 947041 h 1038553"/>
                <a:gd name="connsiteX6" fmla="*/ 1808574 w 2074600"/>
                <a:gd name="connsiteY6" fmla="*/ 470526 h 1038553"/>
                <a:gd name="connsiteX7" fmla="*/ 1688693 w 2074600"/>
                <a:gd name="connsiteY7" fmla="*/ 421170 h 1038553"/>
                <a:gd name="connsiteX8" fmla="*/ 1523467 w 2074600"/>
                <a:gd name="connsiteY8" fmla="*/ 292710 h 1038553"/>
                <a:gd name="connsiteX9" fmla="*/ 1030329 w 2074600"/>
                <a:gd name="connsiteY9" fmla="*/ 127885 h 1038553"/>
                <a:gd name="connsiteX10" fmla="*/ 924954 w 2074600"/>
                <a:gd name="connsiteY10" fmla="*/ 206810 h 1038553"/>
                <a:gd name="connsiteX11" fmla="*/ 730203 w 2074600"/>
                <a:gd name="connsiteY11" fmla="*/ 279786 h 1038553"/>
                <a:gd name="connsiteX12" fmla="*/ 430613 w 2074600"/>
                <a:gd name="connsiteY12" fmla="*/ 503616 h 1038553"/>
                <a:gd name="connsiteX13" fmla="*/ 306053 w 2074600"/>
                <a:gd name="connsiteY13" fmla="*/ 669733 h 1038553"/>
                <a:gd name="connsiteX14" fmla="*/ 98824 w 2074600"/>
                <a:gd name="connsiteY14" fmla="*/ 947041 h 1038553"/>
                <a:gd name="connsiteX15" fmla="*/ 570455 w 2074600"/>
                <a:gd name="connsiteY15" fmla="*/ 947041 h 1038553"/>
                <a:gd name="connsiteX16" fmla="*/ 572822 w 2074600"/>
                <a:gd name="connsiteY16" fmla="*/ 1035476 h 1038553"/>
                <a:gd name="connsiteX17" fmla="*/ 0 w 2074600"/>
                <a:gd name="connsiteY17" fmla="*/ 1036172 h 1038553"/>
                <a:gd name="connsiteX18" fmla="*/ 3565 w 2074600"/>
                <a:gd name="connsiteY18" fmla="*/ 988264 h 1038553"/>
                <a:gd name="connsiteX19" fmla="*/ 264607 w 2074600"/>
                <a:gd name="connsiteY19" fmla="*/ 590518 h 1038553"/>
                <a:gd name="connsiteX20" fmla="*/ 342596 w 2074600"/>
                <a:gd name="connsiteY20" fmla="*/ 486124 h 1038553"/>
                <a:gd name="connsiteX21" fmla="*/ 737891 w 2074600"/>
                <a:gd name="connsiteY21" fmla="*/ 190655 h 1038553"/>
                <a:gd name="connsiteX22" fmla="*/ 858886 w 2074600"/>
                <a:gd name="connsiteY22" fmla="*/ 146090 h 1038553"/>
                <a:gd name="connsiteX23" fmla="*/ 1504437 w 2074600"/>
                <a:gd name="connsiteY23" fmla="*/ 121947 h 1038553"/>
                <a:gd name="connsiteX24" fmla="*/ 1602459 w 2074600"/>
                <a:gd name="connsiteY24" fmla="*/ 252824 h 1038553"/>
                <a:gd name="connsiteX25" fmla="*/ 1707076 w 2074600"/>
                <a:gd name="connsiteY25" fmla="*/ 334156 h 1038553"/>
                <a:gd name="connsiteX26" fmla="*/ 2063577 w 2074600"/>
                <a:gd name="connsiteY26" fmla="*/ 891680 h 1038553"/>
                <a:gd name="connsiteX27" fmla="*/ 2018699 w 2074600"/>
                <a:gd name="connsiteY27" fmla="*/ 1012775 h 10385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2074600" h="1038553">
                  <a:moveTo>
                    <a:pt x="2018699" y="1012775"/>
                  </a:moveTo>
                  <a:lnTo>
                    <a:pt x="2005998" y="1036172"/>
                  </a:lnTo>
                  <a:lnTo>
                    <a:pt x="1364224" y="1034890"/>
                  </a:lnTo>
                  <a:lnTo>
                    <a:pt x="1355055" y="1038553"/>
                  </a:lnTo>
                  <a:cubicBezTo>
                    <a:pt x="1429561" y="1005077"/>
                    <a:pt x="1464776" y="1011903"/>
                    <a:pt x="1528748" y="946658"/>
                  </a:cubicBezTo>
                  <a:lnTo>
                    <a:pt x="1951851" y="947041"/>
                  </a:lnTo>
                  <a:cubicBezTo>
                    <a:pt x="2029328" y="774685"/>
                    <a:pt x="1968263" y="571578"/>
                    <a:pt x="1808574" y="470526"/>
                  </a:cubicBezTo>
                  <a:cubicBezTo>
                    <a:pt x="1771774" y="447252"/>
                    <a:pt x="1731208" y="430551"/>
                    <a:pt x="1688693" y="421170"/>
                  </a:cubicBezTo>
                  <a:cubicBezTo>
                    <a:pt x="1616999" y="405594"/>
                    <a:pt x="1556234" y="358355"/>
                    <a:pt x="1523467" y="292710"/>
                  </a:cubicBezTo>
                  <a:cubicBezTo>
                    <a:pt x="1432799" y="111017"/>
                    <a:pt x="1212022" y="37226"/>
                    <a:pt x="1030329" y="127885"/>
                  </a:cubicBezTo>
                  <a:cubicBezTo>
                    <a:pt x="990744" y="147639"/>
                    <a:pt x="955047" y="174378"/>
                    <a:pt x="924954" y="206810"/>
                  </a:cubicBezTo>
                  <a:cubicBezTo>
                    <a:pt x="875007" y="260233"/>
                    <a:pt x="802956" y="287240"/>
                    <a:pt x="730203" y="279786"/>
                  </a:cubicBezTo>
                  <a:cubicBezTo>
                    <a:pt x="587650" y="266294"/>
                    <a:pt x="458099" y="363090"/>
                    <a:pt x="430613" y="503616"/>
                  </a:cubicBezTo>
                  <a:cubicBezTo>
                    <a:pt x="416526" y="575054"/>
                    <a:pt x="370682" y="636198"/>
                    <a:pt x="306053" y="669733"/>
                  </a:cubicBezTo>
                  <a:cubicBezTo>
                    <a:pt x="198372" y="725808"/>
                    <a:pt x="122095" y="827884"/>
                    <a:pt x="98824" y="947041"/>
                  </a:cubicBezTo>
                  <a:lnTo>
                    <a:pt x="570455" y="947041"/>
                  </a:lnTo>
                  <a:cubicBezTo>
                    <a:pt x="570078" y="1003108"/>
                    <a:pt x="570923" y="955831"/>
                    <a:pt x="572822" y="1035476"/>
                  </a:cubicBezTo>
                  <a:lnTo>
                    <a:pt x="0" y="1036172"/>
                  </a:lnTo>
                  <a:lnTo>
                    <a:pt x="3565" y="988264"/>
                  </a:lnTo>
                  <a:cubicBezTo>
                    <a:pt x="15596" y="819339"/>
                    <a:pt x="114420" y="668764"/>
                    <a:pt x="264607" y="590518"/>
                  </a:cubicBezTo>
                  <a:cubicBezTo>
                    <a:pt x="305068" y="569316"/>
                    <a:pt x="333744" y="530934"/>
                    <a:pt x="342596" y="486124"/>
                  </a:cubicBezTo>
                  <a:cubicBezTo>
                    <a:pt x="378866" y="300698"/>
                    <a:pt x="549781" y="172941"/>
                    <a:pt x="737891" y="190655"/>
                  </a:cubicBezTo>
                  <a:cubicBezTo>
                    <a:pt x="782980" y="195558"/>
                    <a:pt x="827757" y="179068"/>
                    <a:pt x="858886" y="146090"/>
                  </a:cubicBezTo>
                  <a:cubicBezTo>
                    <a:pt x="1030485" y="-38841"/>
                    <a:pt x="1319514" y="-49649"/>
                    <a:pt x="1504437" y="121947"/>
                  </a:cubicBezTo>
                  <a:cubicBezTo>
                    <a:pt x="1544713" y="159326"/>
                    <a:pt x="1577926" y="203657"/>
                    <a:pt x="1602459" y="252824"/>
                  </a:cubicBezTo>
                  <a:cubicBezTo>
                    <a:pt x="1623193" y="294392"/>
                    <a:pt x="1661675" y="324307"/>
                    <a:pt x="1707076" y="334156"/>
                  </a:cubicBezTo>
                  <a:cubicBezTo>
                    <a:pt x="1959483" y="389662"/>
                    <a:pt x="2119094" y="639284"/>
                    <a:pt x="2063577" y="891680"/>
                  </a:cubicBezTo>
                  <a:cubicBezTo>
                    <a:pt x="2054285" y="933928"/>
                    <a:pt x="2039188" y="974683"/>
                    <a:pt x="2018699" y="1012775"/>
                  </a:cubicBezTo>
                  <a:close/>
                </a:path>
              </a:pathLst>
            </a:custGeom>
            <a:grpFill/>
            <a:ln w="1111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18" name="Rectangle 17">
            <a:extLst>
              <a:ext uri="{FF2B5EF4-FFF2-40B4-BE49-F238E27FC236}">
                <a16:creationId xmlns:a16="http://schemas.microsoft.com/office/drawing/2014/main" id="{AD8EAACF-9563-4FC3-9FF8-A0089A50372F}"/>
              </a:ext>
            </a:extLst>
          </p:cNvPr>
          <p:cNvSpPr/>
          <p:nvPr/>
        </p:nvSpPr>
        <p:spPr>
          <a:xfrm>
            <a:off x="7092774" y="5530823"/>
            <a:ext cx="4727449" cy="604174"/>
          </a:xfrm>
          <a:prstGeom prst="rect">
            <a:avLst/>
          </a:prstGeom>
          <a:solidFill>
            <a:schemeClr val="accent4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6" tIns="45719" rIns="91436" bIns="4571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>
              <a:solidFill>
                <a:srgbClr val="FFFFFF"/>
              </a:solidFill>
              <a:latin typeface="Oracle Sans" panose="020B0503020204020204" pitchFamily="34" charset="0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1364C3DD-E7EA-4827-86F6-E1C722027C12}"/>
              </a:ext>
            </a:extLst>
          </p:cNvPr>
          <p:cNvSpPr txBox="1"/>
          <p:nvPr/>
        </p:nvSpPr>
        <p:spPr>
          <a:xfrm>
            <a:off x="7092774" y="5552089"/>
            <a:ext cx="4724400" cy="553972"/>
          </a:xfrm>
          <a:prstGeom prst="rect">
            <a:avLst/>
          </a:prstGeom>
          <a:noFill/>
        </p:spPr>
        <p:txBody>
          <a:bodyPr wrap="square" lIns="121893" tIns="60947" rIns="121893" bIns="60947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00" b="1" dirty="0">
                <a:solidFill>
                  <a:srgbClr val="FFFFFF"/>
                </a:solidFill>
                <a:ea typeface="ＭＳ Ｐゴシック" pitchFamily="34" charset="-128"/>
              </a:rPr>
              <a:t>Incremental forever backups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00" b="1" dirty="0">
                <a:solidFill>
                  <a:srgbClr val="FFFFFF"/>
                </a:solidFill>
                <a:ea typeface="ＭＳ Ｐゴシック" pitchFamily="34" charset="-128"/>
              </a:rPr>
              <a:t>stored on Recovery Service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67E37660-284E-4E60-ACFE-F8B541B028B5}"/>
              </a:ext>
            </a:extLst>
          </p:cNvPr>
          <p:cNvSpPr txBox="1"/>
          <p:nvPr/>
        </p:nvSpPr>
        <p:spPr>
          <a:xfrm>
            <a:off x="8019261" y="3696297"/>
            <a:ext cx="871531" cy="677082"/>
          </a:xfrm>
          <a:prstGeom prst="rect">
            <a:avLst/>
          </a:prstGeom>
          <a:noFill/>
        </p:spPr>
        <p:txBody>
          <a:bodyPr wrap="none" lIns="121893" tIns="60947" rIns="121893" bIns="60947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b="1" dirty="0">
                <a:solidFill>
                  <a:srgbClr val="41817E"/>
                </a:solidFill>
                <a:ea typeface="ＭＳ Ｐゴシック" pitchFamily="34" charset="-128"/>
              </a:rPr>
              <a:t>Day 0</a:t>
            </a:r>
            <a:br>
              <a:rPr lang="en-US" b="1" dirty="0">
                <a:solidFill>
                  <a:srgbClr val="41817E"/>
                </a:solidFill>
                <a:ea typeface="ＭＳ Ｐゴシック" pitchFamily="34" charset="-128"/>
              </a:rPr>
            </a:br>
            <a:r>
              <a:rPr lang="en-US" b="1" dirty="0">
                <a:solidFill>
                  <a:srgbClr val="41817E"/>
                </a:solidFill>
                <a:ea typeface="ＭＳ Ｐゴシック" pitchFamily="34" charset="-128"/>
              </a:rPr>
              <a:t>Full</a:t>
            </a:r>
            <a:endParaRPr lang="en-US" sz="1600" b="1" dirty="0">
              <a:solidFill>
                <a:srgbClr val="41817E"/>
              </a:solidFill>
              <a:ea typeface="ＭＳ Ｐゴシック" pitchFamily="34" charset="-128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666A3B09-BAC7-417A-9633-AB0CDA7A4891}"/>
              </a:ext>
            </a:extLst>
          </p:cNvPr>
          <p:cNvSpPr txBox="1"/>
          <p:nvPr/>
        </p:nvSpPr>
        <p:spPr>
          <a:xfrm>
            <a:off x="9119169" y="3696297"/>
            <a:ext cx="860309" cy="677082"/>
          </a:xfrm>
          <a:prstGeom prst="rect">
            <a:avLst/>
          </a:prstGeom>
          <a:noFill/>
        </p:spPr>
        <p:txBody>
          <a:bodyPr wrap="none" lIns="121893" tIns="60947" rIns="121893" bIns="60947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b="1" dirty="0">
                <a:solidFill>
                  <a:srgbClr val="594564"/>
                </a:solidFill>
                <a:ea typeface="ＭＳ Ｐゴシック" pitchFamily="34" charset="-128"/>
              </a:rPr>
              <a:t>Day 1</a:t>
            </a:r>
            <a:br>
              <a:rPr lang="en-US" b="1" dirty="0">
                <a:solidFill>
                  <a:srgbClr val="594564"/>
                </a:solidFill>
                <a:ea typeface="ＭＳ Ｐゴシック" pitchFamily="34" charset="-128"/>
              </a:rPr>
            </a:br>
            <a:r>
              <a:rPr lang="en-US" b="1" dirty="0">
                <a:solidFill>
                  <a:srgbClr val="594564"/>
                </a:solidFill>
                <a:ea typeface="ＭＳ Ｐゴシック" pitchFamily="34" charset="-128"/>
              </a:rPr>
              <a:t>Incr</a:t>
            </a:r>
            <a:endParaRPr lang="en-US" sz="1600" b="1" dirty="0">
              <a:solidFill>
                <a:srgbClr val="594564"/>
              </a:solidFill>
              <a:ea typeface="ＭＳ Ｐゴシック" pitchFamily="34" charset="-128"/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51DE0B86-F092-42C2-813A-459E387E9BFD}"/>
              </a:ext>
            </a:extLst>
          </p:cNvPr>
          <p:cNvSpPr txBox="1"/>
          <p:nvPr/>
        </p:nvSpPr>
        <p:spPr>
          <a:xfrm>
            <a:off x="10213465" y="3696297"/>
            <a:ext cx="897179" cy="677082"/>
          </a:xfrm>
          <a:prstGeom prst="rect">
            <a:avLst/>
          </a:prstGeom>
          <a:noFill/>
        </p:spPr>
        <p:txBody>
          <a:bodyPr wrap="none" lIns="121893" tIns="60947" rIns="121893" bIns="60947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b="1" dirty="0">
                <a:solidFill>
                  <a:srgbClr val="759C6C"/>
                </a:solidFill>
                <a:ea typeface="ＭＳ Ｐゴシック" pitchFamily="34" charset="-128"/>
              </a:rPr>
              <a:t>Day N</a:t>
            </a:r>
            <a:br>
              <a:rPr lang="en-US" b="1" dirty="0">
                <a:solidFill>
                  <a:srgbClr val="759C6C"/>
                </a:solidFill>
                <a:ea typeface="ＭＳ Ｐゴシック" pitchFamily="34" charset="-128"/>
              </a:rPr>
            </a:br>
            <a:r>
              <a:rPr lang="en-US" b="1" dirty="0">
                <a:solidFill>
                  <a:srgbClr val="759C6C"/>
                </a:solidFill>
                <a:ea typeface="ＭＳ Ｐゴシック" pitchFamily="34" charset="-128"/>
              </a:rPr>
              <a:t>Incr</a:t>
            </a:r>
          </a:p>
        </p:txBody>
      </p:sp>
      <p:grpSp>
        <p:nvGrpSpPr>
          <p:cNvPr id="24" name="Group 183">
            <a:extLst>
              <a:ext uri="{FF2B5EF4-FFF2-40B4-BE49-F238E27FC236}">
                <a16:creationId xmlns:a16="http://schemas.microsoft.com/office/drawing/2014/main" id="{98797B23-086B-401C-B354-076E393BAEBE}"/>
              </a:ext>
            </a:extLst>
          </p:cNvPr>
          <p:cNvGrpSpPr/>
          <p:nvPr/>
        </p:nvGrpSpPr>
        <p:grpSpPr>
          <a:xfrm>
            <a:off x="8029208" y="4399044"/>
            <a:ext cx="838200" cy="1033140"/>
            <a:chOff x="7923212" y="4278420"/>
            <a:chExt cx="838200" cy="1033140"/>
          </a:xfrm>
        </p:grpSpPr>
        <p:sp>
          <p:nvSpPr>
            <p:cNvPr id="25" name="Can 41">
              <a:extLst>
                <a:ext uri="{FF2B5EF4-FFF2-40B4-BE49-F238E27FC236}">
                  <a16:creationId xmlns:a16="http://schemas.microsoft.com/office/drawing/2014/main" id="{744B19D4-7FCA-4ED0-AFDB-CF394145939E}"/>
                </a:ext>
              </a:extLst>
            </p:cNvPr>
            <p:cNvSpPr/>
            <p:nvPr/>
          </p:nvSpPr>
          <p:spPr>
            <a:xfrm>
              <a:off x="7923212" y="4278420"/>
              <a:ext cx="838200" cy="1033140"/>
            </a:xfrm>
            <a:prstGeom prst="can">
              <a:avLst>
                <a:gd name="adj" fmla="val 15901"/>
              </a:avLst>
            </a:prstGeom>
            <a:gradFill flip="none" rotWithShape="1">
              <a:gsLst>
                <a:gs pos="28000">
                  <a:schemeClr val="accent5"/>
                </a:gs>
                <a:gs pos="0">
                  <a:schemeClr val="accent5">
                    <a:lumMod val="40000"/>
                    <a:lumOff val="60000"/>
                  </a:schemeClr>
                </a:gs>
                <a:gs pos="100000">
                  <a:schemeClr val="accent5">
                    <a:lumMod val="60000"/>
                    <a:lumOff val="40000"/>
                  </a:schemeClr>
                </a:gs>
              </a:gsLst>
              <a:lin ang="0" scaled="1"/>
            </a:gradFill>
            <a:ln>
              <a:noFill/>
            </a:ln>
            <a:effectLst>
              <a:outerShdw blurRad="203200" dist="50800" dir="5400000" sx="88000" sy="88000" rotWithShape="0">
                <a:prstClr val="black">
                  <a:alpha val="72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>
                <a:solidFill>
                  <a:srgbClr val="FFFFFF"/>
                </a:solidFill>
                <a:latin typeface="Oracle Sans" panose="020B0503020204020204" pitchFamily="34" charset="0"/>
              </a:endParaRPr>
            </a:p>
          </p:txBody>
        </p:sp>
        <p:grpSp>
          <p:nvGrpSpPr>
            <p:cNvPr id="26" name="Group 181">
              <a:extLst>
                <a:ext uri="{FF2B5EF4-FFF2-40B4-BE49-F238E27FC236}">
                  <a16:creationId xmlns:a16="http://schemas.microsoft.com/office/drawing/2014/main" id="{3E81D266-8747-4462-A7BE-CF87D45A0C71}"/>
                </a:ext>
              </a:extLst>
            </p:cNvPr>
            <p:cNvGrpSpPr/>
            <p:nvPr/>
          </p:nvGrpSpPr>
          <p:grpSpPr>
            <a:xfrm>
              <a:off x="7985818" y="4495800"/>
              <a:ext cx="699394" cy="715367"/>
              <a:chOff x="7916018" y="4542433"/>
              <a:chExt cx="699394" cy="715367"/>
            </a:xfrm>
          </p:grpSpPr>
          <p:sp>
            <p:nvSpPr>
              <p:cNvPr id="27" name="Rectangle 26">
                <a:extLst>
                  <a:ext uri="{FF2B5EF4-FFF2-40B4-BE49-F238E27FC236}">
                    <a16:creationId xmlns:a16="http://schemas.microsoft.com/office/drawing/2014/main" id="{9DCC43D4-FEA2-447B-AF0D-EDBA966FFF5B}"/>
                  </a:ext>
                </a:extLst>
              </p:cNvPr>
              <p:cNvSpPr/>
              <p:nvPr/>
            </p:nvSpPr>
            <p:spPr>
              <a:xfrm>
                <a:off x="8501492" y="4542433"/>
                <a:ext cx="113920" cy="118872"/>
              </a:xfrm>
              <a:prstGeom prst="rect">
                <a:avLst/>
              </a:prstGeom>
              <a:solidFill>
                <a:srgbClr val="41817E"/>
              </a:solidFill>
              <a:ln w="1270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>
                  <a:solidFill>
                    <a:srgbClr val="FFFFFF"/>
                  </a:solidFill>
                  <a:latin typeface="Oracle Sans" panose="020B0503020204020204" pitchFamily="34" charset="0"/>
                </a:endParaRPr>
              </a:p>
            </p:txBody>
          </p:sp>
          <p:sp>
            <p:nvSpPr>
              <p:cNvPr id="28" name="Rectangle 27">
                <a:extLst>
                  <a:ext uri="{FF2B5EF4-FFF2-40B4-BE49-F238E27FC236}">
                    <a16:creationId xmlns:a16="http://schemas.microsoft.com/office/drawing/2014/main" id="{03DBA60C-FA69-4943-949F-F8531C80721C}"/>
                  </a:ext>
                </a:extLst>
              </p:cNvPr>
              <p:cNvSpPr/>
              <p:nvPr/>
            </p:nvSpPr>
            <p:spPr>
              <a:xfrm>
                <a:off x="8208754" y="4542433"/>
                <a:ext cx="113920" cy="118872"/>
              </a:xfrm>
              <a:prstGeom prst="rect">
                <a:avLst/>
              </a:prstGeom>
              <a:solidFill>
                <a:srgbClr val="41817E"/>
              </a:solidFill>
              <a:ln w="1270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>
                  <a:solidFill>
                    <a:srgbClr val="FFFFFF"/>
                  </a:solidFill>
                  <a:latin typeface="Oracle Sans" panose="020B0503020204020204" pitchFamily="34" charset="0"/>
                </a:endParaRPr>
              </a:p>
            </p:txBody>
          </p:sp>
          <p:sp>
            <p:nvSpPr>
              <p:cNvPr id="29" name="Rectangle 28">
                <a:extLst>
                  <a:ext uri="{FF2B5EF4-FFF2-40B4-BE49-F238E27FC236}">
                    <a16:creationId xmlns:a16="http://schemas.microsoft.com/office/drawing/2014/main" id="{FAC92EA4-3D12-411E-9D73-10F46E053174}"/>
                  </a:ext>
                </a:extLst>
              </p:cNvPr>
              <p:cNvSpPr/>
              <p:nvPr/>
            </p:nvSpPr>
            <p:spPr>
              <a:xfrm>
                <a:off x="7916018" y="4542433"/>
                <a:ext cx="113920" cy="118872"/>
              </a:xfrm>
              <a:prstGeom prst="rect">
                <a:avLst/>
              </a:prstGeom>
              <a:solidFill>
                <a:srgbClr val="41817E"/>
              </a:solidFill>
              <a:ln w="1270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>
                  <a:solidFill>
                    <a:srgbClr val="FFFFFF"/>
                  </a:solidFill>
                  <a:latin typeface="Oracle Sans" panose="020B0503020204020204" pitchFamily="34" charset="0"/>
                </a:endParaRPr>
              </a:p>
            </p:txBody>
          </p:sp>
          <p:sp>
            <p:nvSpPr>
              <p:cNvPr id="30" name="Rectangle 29">
                <a:extLst>
                  <a:ext uri="{FF2B5EF4-FFF2-40B4-BE49-F238E27FC236}">
                    <a16:creationId xmlns:a16="http://schemas.microsoft.com/office/drawing/2014/main" id="{E526CEE9-E64C-4F5B-9749-21FF44F569FB}"/>
                  </a:ext>
                </a:extLst>
              </p:cNvPr>
              <p:cNvSpPr/>
              <p:nvPr/>
            </p:nvSpPr>
            <p:spPr>
              <a:xfrm>
                <a:off x="8062386" y="4542433"/>
                <a:ext cx="113920" cy="118872"/>
              </a:xfrm>
              <a:prstGeom prst="rect">
                <a:avLst/>
              </a:prstGeom>
              <a:solidFill>
                <a:srgbClr val="41817E"/>
              </a:solidFill>
              <a:ln w="1270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>
                  <a:solidFill>
                    <a:srgbClr val="FFFFFF"/>
                  </a:solidFill>
                  <a:latin typeface="Oracle Sans" panose="020B0503020204020204" pitchFamily="34" charset="0"/>
                </a:endParaRPr>
              </a:p>
            </p:txBody>
          </p:sp>
          <p:sp>
            <p:nvSpPr>
              <p:cNvPr id="31" name="Rectangle 30">
                <a:extLst>
                  <a:ext uri="{FF2B5EF4-FFF2-40B4-BE49-F238E27FC236}">
                    <a16:creationId xmlns:a16="http://schemas.microsoft.com/office/drawing/2014/main" id="{2F9C64F7-112F-4317-8F0F-34E94424D289}"/>
                  </a:ext>
                </a:extLst>
              </p:cNvPr>
              <p:cNvSpPr/>
              <p:nvPr/>
            </p:nvSpPr>
            <p:spPr>
              <a:xfrm>
                <a:off x="8355122" y="4542433"/>
                <a:ext cx="113920" cy="118872"/>
              </a:xfrm>
              <a:prstGeom prst="rect">
                <a:avLst/>
              </a:prstGeom>
              <a:solidFill>
                <a:srgbClr val="41817E"/>
              </a:solidFill>
              <a:ln w="1270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>
                  <a:solidFill>
                    <a:srgbClr val="FFFFFF"/>
                  </a:solidFill>
                  <a:latin typeface="Oracle Sans" panose="020B0503020204020204" pitchFamily="34" charset="0"/>
                </a:endParaRPr>
              </a:p>
            </p:txBody>
          </p:sp>
          <p:grpSp>
            <p:nvGrpSpPr>
              <p:cNvPr id="32" name="Group 160">
                <a:extLst>
                  <a:ext uri="{FF2B5EF4-FFF2-40B4-BE49-F238E27FC236}">
                    <a16:creationId xmlns:a16="http://schemas.microsoft.com/office/drawing/2014/main" id="{874A58E0-9150-4F10-870C-B00DE9490AFB}"/>
                  </a:ext>
                </a:extLst>
              </p:cNvPr>
              <p:cNvGrpSpPr/>
              <p:nvPr/>
            </p:nvGrpSpPr>
            <p:grpSpPr>
              <a:xfrm>
                <a:off x="7916018" y="4691557"/>
                <a:ext cx="113920" cy="566243"/>
                <a:chOff x="7916018" y="4691557"/>
                <a:chExt cx="113920" cy="566243"/>
              </a:xfrm>
            </p:grpSpPr>
            <p:sp>
              <p:nvSpPr>
                <p:cNvPr id="53" name="Rectangle 52">
                  <a:extLst>
                    <a:ext uri="{FF2B5EF4-FFF2-40B4-BE49-F238E27FC236}">
                      <a16:creationId xmlns:a16="http://schemas.microsoft.com/office/drawing/2014/main" id="{850E2BD2-E995-458E-9B5F-C02AB70F3CB8}"/>
                    </a:ext>
                  </a:extLst>
                </p:cNvPr>
                <p:cNvSpPr/>
                <p:nvPr/>
              </p:nvSpPr>
              <p:spPr>
                <a:xfrm>
                  <a:off x="7916018" y="4691557"/>
                  <a:ext cx="113920" cy="118872"/>
                </a:xfrm>
                <a:prstGeom prst="rect">
                  <a:avLst/>
                </a:prstGeom>
                <a:solidFill>
                  <a:srgbClr val="41817E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fontAlgn="base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>
                    <a:solidFill>
                      <a:srgbClr val="FFFFFF"/>
                    </a:solidFill>
                    <a:latin typeface="Oracle Sans" panose="020B0503020204020204" pitchFamily="34" charset="0"/>
                  </a:endParaRPr>
                </a:p>
              </p:txBody>
            </p:sp>
            <p:sp>
              <p:nvSpPr>
                <p:cNvPr id="54" name="Rectangle 53">
                  <a:extLst>
                    <a:ext uri="{FF2B5EF4-FFF2-40B4-BE49-F238E27FC236}">
                      <a16:creationId xmlns:a16="http://schemas.microsoft.com/office/drawing/2014/main" id="{EB677BED-C971-4B08-BF3C-9704E382C30A}"/>
                    </a:ext>
                  </a:extLst>
                </p:cNvPr>
                <p:cNvSpPr/>
                <p:nvPr/>
              </p:nvSpPr>
              <p:spPr>
                <a:xfrm>
                  <a:off x="7916018" y="4840681"/>
                  <a:ext cx="113920" cy="118872"/>
                </a:xfrm>
                <a:prstGeom prst="rect">
                  <a:avLst/>
                </a:prstGeom>
                <a:solidFill>
                  <a:srgbClr val="41817E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fontAlgn="base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>
                    <a:solidFill>
                      <a:srgbClr val="FFFFFF"/>
                    </a:solidFill>
                    <a:latin typeface="Oracle Sans" panose="020B0503020204020204" pitchFamily="34" charset="0"/>
                  </a:endParaRPr>
                </a:p>
              </p:txBody>
            </p:sp>
            <p:sp>
              <p:nvSpPr>
                <p:cNvPr id="55" name="Rectangle 54">
                  <a:extLst>
                    <a:ext uri="{FF2B5EF4-FFF2-40B4-BE49-F238E27FC236}">
                      <a16:creationId xmlns:a16="http://schemas.microsoft.com/office/drawing/2014/main" id="{6829B158-7B78-4ABA-9C0D-E508C8BEB5BE}"/>
                    </a:ext>
                  </a:extLst>
                </p:cNvPr>
                <p:cNvSpPr/>
                <p:nvPr/>
              </p:nvSpPr>
              <p:spPr>
                <a:xfrm>
                  <a:off x="7916018" y="4989805"/>
                  <a:ext cx="113920" cy="118872"/>
                </a:xfrm>
                <a:prstGeom prst="rect">
                  <a:avLst/>
                </a:prstGeom>
                <a:solidFill>
                  <a:srgbClr val="41817E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fontAlgn="base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>
                    <a:solidFill>
                      <a:srgbClr val="0070C0"/>
                    </a:solidFill>
                    <a:latin typeface="Oracle Sans" panose="020B0503020204020204" pitchFamily="34" charset="0"/>
                  </a:endParaRPr>
                </a:p>
              </p:txBody>
            </p:sp>
            <p:sp>
              <p:nvSpPr>
                <p:cNvPr id="56" name="Rectangle 55">
                  <a:extLst>
                    <a:ext uri="{FF2B5EF4-FFF2-40B4-BE49-F238E27FC236}">
                      <a16:creationId xmlns:a16="http://schemas.microsoft.com/office/drawing/2014/main" id="{4B15C44E-D198-4EDA-86FE-E9B571005B5F}"/>
                    </a:ext>
                  </a:extLst>
                </p:cNvPr>
                <p:cNvSpPr/>
                <p:nvPr/>
              </p:nvSpPr>
              <p:spPr>
                <a:xfrm>
                  <a:off x="7916018" y="5138928"/>
                  <a:ext cx="113920" cy="118872"/>
                </a:xfrm>
                <a:prstGeom prst="rect">
                  <a:avLst/>
                </a:prstGeom>
                <a:solidFill>
                  <a:srgbClr val="41817E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fontAlgn="base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>
                    <a:solidFill>
                      <a:srgbClr val="FFFFFF"/>
                    </a:solidFill>
                    <a:latin typeface="Oracle Sans" panose="020B0503020204020204" pitchFamily="34" charset="0"/>
                  </a:endParaRPr>
                </a:p>
              </p:txBody>
            </p:sp>
          </p:grpSp>
          <p:grpSp>
            <p:nvGrpSpPr>
              <p:cNvPr id="33" name="Group 161">
                <a:extLst>
                  <a:ext uri="{FF2B5EF4-FFF2-40B4-BE49-F238E27FC236}">
                    <a16:creationId xmlns:a16="http://schemas.microsoft.com/office/drawing/2014/main" id="{030118EE-D058-4627-95A9-DF0DB3F3AE2D}"/>
                  </a:ext>
                </a:extLst>
              </p:cNvPr>
              <p:cNvGrpSpPr/>
              <p:nvPr/>
            </p:nvGrpSpPr>
            <p:grpSpPr>
              <a:xfrm>
                <a:off x="8062386" y="4691557"/>
                <a:ext cx="113920" cy="566243"/>
                <a:chOff x="7916018" y="4691557"/>
                <a:chExt cx="113920" cy="566243"/>
              </a:xfrm>
            </p:grpSpPr>
            <p:sp>
              <p:nvSpPr>
                <p:cNvPr id="49" name="Rectangle 48">
                  <a:extLst>
                    <a:ext uri="{FF2B5EF4-FFF2-40B4-BE49-F238E27FC236}">
                      <a16:creationId xmlns:a16="http://schemas.microsoft.com/office/drawing/2014/main" id="{496C700B-9975-45B3-ACEC-F6C4A862551D}"/>
                    </a:ext>
                  </a:extLst>
                </p:cNvPr>
                <p:cNvSpPr/>
                <p:nvPr/>
              </p:nvSpPr>
              <p:spPr>
                <a:xfrm>
                  <a:off x="7916018" y="4691557"/>
                  <a:ext cx="113920" cy="118872"/>
                </a:xfrm>
                <a:prstGeom prst="rect">
                  <a:avLst/>
                </a:prstGeom>
                <a:solidFill>
                  <a:srgbClr val="41817E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fontAlgn="base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>
                    <a:solidFill>
                      <a:srgbClr val="FFFFFF"/>
                    </a:solidFill>
                    <a:latin typeface="Oracle Sans" panose="020B0503020204020204" pitchFamily="34" charset="0"/>
                  </a:endParaRPr>
                </a:p>
              </p:txBody>
            </p:sp>
            <p:sp>
              <p:nvSpPr>
                <p:cNvPr id="50" name="Rectangle 49">
                  <a:extLst>
                    <a:ext uri="{FF2B5EF4-FFF2-40B4-BE49-F238E27FC236}">
                      <a16:creationId xmlns:a16="http://schemas.microsoft.com/office/drawing/2014/main" id="{37CB7E16-D47D-4A6A-9368-5CECA1AAA6C1}"/>
                    </a:ext>
                  </a:extLst>
                </p:cNvPr>
                <p:cNvSpPr/>
                <p:nvPr/>
              </p:nvSpPr>
              <p:spPr>
                <a:xfrm>
                  <a:off x="7916018" y="4840681"/>
                  <a:ext cx="113920" cy="118872"/>
                </a:xfrm>
                <a:prstGeom prst="rect">
                  <a:avLst/>
                </a:prstGeom>
                <a:solidFill>
                  <a:srgbClr val="41817E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fontAlgn="base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>
                    <a:solidFill>
                      <a:srgbClr val="FFFFFF"/>
                    </a:solidFill>
                    <a:latin typeface="Oracle Sans" panose="020B0503020204020204" pitchFamily="34" charset="0"/>
                  </a:endParaRPr>
                </a:p>
              </p:txBody>
            </p:sp>
            <p:sp>
              <p:nvSpPr>
                <p:cNvPr id="51" name="Rectangle 50">
                  <a:extLst>
                    <a:ext uri="{FF2B5EF4-FFF2-40B4-BE49-F238E27FC236}">
                      <a16:creationId xmlns:a16="http://schemas.microsoft.com/office/drawing/2014/main" id="{E3D2FDFD-D61A-4BE1-98A8-760E32A1A510}"/>
                    </a:ext>
                  </a:extLst>
                </p:cNvPr>
                <p:cNvSpPr/>
                <p:nvPr/>
              </p:nvSpPr>
              <p:spPr>
                <a:xfrm>
                  <a:off x="7916018" y="4989805"/>
                  <a:ext cx="113920" cy="118872"/>
                </a:xfrm>
                <a:prstGeom prst="rect">
                  <a:avLst/>
                </a:prstGeom>
                <a:solidFill>
                  <a:srgbClr val="41817E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fontAlgn="base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>
                    <a:solidFill>
                      <a:srgbClr val="0070C0"/>
                    </a:solidFill>
                    <a:latin typeface="Oracle Sans" panose="020B0503020204020204" pitchFamily="34" charset="0"/>
                  </a:endParaRPr>
                </a:p>
              </p:txBody>
            </p:sp>
            <p:sp>
              <p:nvSpPr>
                <p:cNvPr id="52" name="Rectangle 51">
                  <a:extLst>
                    <a:ext uri="{FF2B5EF4-FFF2-40B4-BE49-F238E27FC236}">
                      <a16:creationId xmlns:a16="http://schemas.microsoft.com/office/drawing/2014/main" id="{3CA0948C-65C0-41F9-A4A2-38E9B0AFE477}"/>
                    </a:ext>
                  </a:extLst>
                </p:cNvPr>
                <p:cNvSpPr/>
                <p:nvPr/>
              </p:nvSpPr>
              <p:spPr>
                <a:xfrm>
                  <a:off x="7916018" y="5138928"/>
                  <a:ext cx="113920" cy="118872"/>
                </a:xfrm>
                <a:prstGeom prst="rect">
                  <a:avLst/>
                </a:prstGeom>
                <a:solidFill>
                  <a:srgbClr val="41817E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fontAlgn="base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>
                    <a:solidFill>
                      <a:srgbClr val="FFFFFF"/>
                    </a:solidFill>
                    <a:latin typeface="Oracle Sans" panose="020B0503020204020204" pitchFamily="34" charset="0"/>
                  </a:endParaRPr>
                </a:p>
              </p:txBody>
            </p:sp>
          </p:grpSp>
          <p:grpSp>
            <p:nvGrpSpPr>
              <p:cNvPr id="34" name="Group 166">
                <a:extLst>
                  <a:ext uri="{FF2B5EF4-FFF2-40B4-BE49-F238E27FC236}">
                    <a16:creationId xmlns:a16="http://schemas.microsoft.com/office/drawing/2014/main" id="{A4074E90-09F5-4195-B370-C997376AFDEC}"/>
                  </a:ext>
                </a:extLst>
              </p:cNvPr>
              <p:cNvGrpSpPr/>
              <p:nvPr/>
            </p:nvGrpSpPr>
            <p:grpSpPr>
              <a:xfrm>
                <a:off x="8208754" y="4691557"/>
                <a:ext cx="113920" cy="566243"/>
                <a:chOff x="7916018" y="4691557"/>
                <a:chExt cx="113920" cy="566243"/>
              </a:xfrm>
            </p:grpSpPr>
            <p:sp>
              <p:nvSpPr>
                <p:cNvPr id="45" name="Rectangle 44">
                  <a:extLst>
                    <a:ext uri="{FF2B5EF4-FFF2-40B4-BE49-F238E27FC236}">
                      <a16:creationId xmlns:a16="http://schemas.microsoft.com/office/drawing/2014/main" id="{6B66E346-67D5-409A-A98B-31189B956BA1}"/>
                    </a:ext>
                  </a:extLst>
                </p:cNvPr>
                <p:cNvSpPr/>
                <p:nvPr/>
              </p:nvSpPr>
              <p:spPr>
                <a:xfrm>
                  <a:off x="7916018" y="4691557"/>
                  <a:ext cx="113920" cy="118872"/>
                </a:xfrm>
                <a:prstGeom prst="rect">
                  <a:avLst/>
                </a:prstGeom>
                <a:solidFill>
                  <a:srgbClr val="41817E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fontAlgn="base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>
                    <a:solidFill>
                      <a:srgbClr val="FFFFFF"/>
                    </a:solidFill>
                    <a:latin typeface="Oracle Sans" panose="020B0503020204020204" pitchFamily="34" charset="0"/>
                  </a:endParaRPr>
                </a:p>
              </p:txBody>
            </p:sp>
            <p:sp>
              <p:nvSpPr>
                <p:cNvPr id="46" name="Rectangle 45">
                  <a:extLst>
                    <a:ext uri="{FF2B5EF4-FFF2-40B4-BE49-F238E27FC236}">
                      <a16:creationId xmlns:a16="http://schemas.microsoft.com/office/drawing/2014/main" id="{3F5D58C8-E646-4EF9-B83F-71CBB3A03C0E}"/>
                    </a:ext>
                  </a:extLst>
                </p:cNvPr>
                <p:cNvSpPr/>
                <p:nvPr/>
              </p:nvSpPr>
              <p:spPr>
                <a:xfrm>
                  <a:off x="7916018" y="4840681"/>
                  <a:ext cx="113920" cy="118872"/>
                </a:xfrm>
                <a:prstGeom prst="rect">
                  <a:avLst/>
                </a:prstGeom>
                <a:solidFill>
                  <a:srgbClr val="41817E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fontAlgn="base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>
                    <a:solidFill>
                      <a:srgbClr val="FFFFFF"/>
                    </a:solidFill>
                    <a:latin typeface="Oracle Sans" panose="020B0503020204020204" pitchFamily="34" charset="0"/>
                  </a:endParaRPr>
                </a:p>
              </p:txBody>
            </p:sp>
            <p:sp>
              <p:nvSpPr>
                <p:cNvPr id="47" name="Rectangle 46">
                  <a:extLst>
                    <a:ext uri="{FF2B5EF4-FFF2-40B4-BE49-F238E27FC236}">
                      <a16:creationId xmlns:a16="http://schemas.microsoft.com/office/drawing/2014/main" id="{FC61314C-2B3C-4136-9981-458DB52B233E}"/>
                    </a:ext>
                  </a:extLst>
                </p:cNvPr>
                <p:cNvSpPr/>
                <p:nvPr/>
              </p:nvSpPr>
              <p:spPr>
                <a:xfrm>
                  <a:off x="7916018" y="4989805"/>
                  <a:ext cx="113920" cy="118872"/>
                </a:xfrm>
                <a:prstGeom prst="rect">
                  <a:avLst/>
                </a:prstGeom>
                <a:solidFill>
                  <a:srgbClr val="41817E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fontAlgn="base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>
                    <a:solidFill>
                      <a:srgbClr val="0070C0"/>
                    </a:solidFill>
                    <a:latin typeface="Oracle Sans" panose="020B0503020204020204" pitchFamily="34" charset="0"/>
                  </a:endParaRPr>
                </a:p>
              </p:txBody>
            </p:sp>
            <p:sp>
              <p:nvSpPr>
                <p:cNvPr id="48" name="Rectangle 47">
                  <a:extLst>
                    <a:ext uri="{FF2B5EF4-FFF2-40B4-BE49-F238E27FC236}">
                      <a16:creationId xmlns:a16="http://schemas.microsoft.com/office/drawing/2014/main" id="{73D21D66-7BAB-4E37-970D-2623DDA9D27C}"/>
                    </a:ext>
                  </a:extLst>
                </p:cNvPr>
                <p:cNvSpPr/>
                <p:nvPr/>
              </p:nvSpPr>
              <p:spPr>
                <a:xfrm>
                  <a:off x="7916018" y="5138928"/>
                  <a:ext cx="113920" cy="118872"/>
                </a:xfrm>
                <a:prstGeom prst="rect">
                  <a:avLst/>
                </a:prstGeom>
                <a:solidFill>
                  <a:srgbClr val="41817E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fontAlgn="base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>
                    <a:solidFill>
                      <a:srgbClr val="FFFFFF"/>
                    </a:solidFill>
                    <a:latin typeface="Oracle Sans" panose="020B0503020204020204" pitchFamily="34" charset="0"/>
                  </a:endParaRPr>
                </a:p>
              </p:txBody>
            </p:sp>
          </p:grpSp>
          <p:grpSp>
            <p:nvGrpSpPr>
              <p:cNvPr id="35" name="Group 171">
                <a:extLst>
                  <a:ext uri="{FF2B5EF4-FFF2-40B4-BE49-F238E27FC236}">
                    <a16:creationId xmlns:a16="http://schemas.microsoft.com/office/drawing/2014/main" id="{67332B60-5147-416E-AE7F-B8947BA5EBE0}"/>
                  </a:ext>
                </a:extLst>
              </p:cNvPr>
              <p:cNvGrpSpPr/>
              <p:nvPr/>
            </p:nvGrpSpPr>
            <p:grpSpPr>
              <a:xfrm>
                <a:off x="8355122" y="4691557"/>
                <a:ext cx="113920" cy="566243"/>
                <a:chOff x="7916018" y="4691557"/>
                <a:chExt cx="113920" cy="566243"/>
              </a:xfrm>
            </p:grpSpPr>
            <p:sp>
              <p:nvSpPr>
                <p:cNvPr id="41" name="Rectangle 40">
                  <a:extLst>
                    <a:ext uri="{FF2B5EF4-FFF2-40B4-BE49-F238E27FC236}">
                      <a16:creationId xmlns:a16="http://schemas.microsoft.com/office/drawing/2014/main" id="{2FCED1D3-5208-4A2C-B083-799FDB0C20D2}"/>
                    </a:ext>
                  </a:extLst>
                </p:cNvPr>
                <p:cNvSpPr/>
                <p:nvPr/>
              </p:nvSpPr>
              <p:spPr>
                <a:xfrm>
                  <a:off x="7916018" y="4691557"/>
                  <a:ext cx="113920" cy="118872"/>
                </a:xfrm>
                <a:prstGeom prst="rect">
                  <a:avLst/>
                </a:prstGeom>
                <a:solidFill>
                  <a:srgbClr val="41817E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fontAlgn="base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>
                    <a:solidFill>
                      <a:srgbClr val="FFFFFF"/>
                    </a:solidFill>
                    <a:latin typeface="Oracle Sans" panose="020B0503020204020204" pitchFamily="34" charset="0"/>
                  </a:endParaRPr>
                </a:p>
              </p:txBody>
            </p:sp>
            <p:sp>
              <p:nvSpPr>
                <p:cNvPr id="42" name="Rectangle 41">
                  <a:extLst>
                    <a:ext uri="{FF2B5EF4-FFF2-40B4-BE49-F238E27FC236}">
                      <a16:creationId xmlns:a16="http://schemas.microsoft.com/office/drawing/2014/main" id="{020C169C-0AAB-41DD-93A0-7E28FDEA19AB}"/>
                    </a:ext>
                  </a:extLst>
                </p:cNvPr>
                <p:cNvSpPr/>
                <p:nvPr/>
              </p:nvSpPr>
              <p:spPr>
                <a:xfrm>
                  <a:off x="7916018" y="4840681"/>
                  <a:ext cx="113920" cy="118872"/>
                </a:xfrm>
                <a:prstGeom prst="rect">
                  <a:avLst/>
                </a:prstGeom>
                <a:solidFill>
                  <a:srgbClr val="41817E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fontAlgn="base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>
                    <a:solidFill>
                      <a:srgbClr val="FFFFFF"/>
                    </a:solidFill>
                    <a:latin typeface="Oracle Sans" panose="020B0503020204020204" pitchFamily="34" charset="0"/>
                  </a:endParaRPr>
                </a:p>
              </p:txBody>
            </p:sp>
            <p:sp>
              <p:nvSpPr>
                <p:cNvPr id="43" name="Rectangle 42">
                  <a:extLst>
                    <a:ext uri="{FF2B5EF4-FFF2-40B4-BE49-F238E27FC236}">
                      <a16:creationId xmlns:a16="http://schemas.microsoft.com/office/drawing/2014/main" id="{3FAA2156-D104-4680-A606-9A3275E3FAE8}"/>
                    </a:ext>
                  </a:extLst>
                </p:cNvPr>
                <p:cNvSpPr/>
                <p:nvPr/>
              </p:nvSpPr>
              <p:spPr>
                <a:xfrm>
                  <a:off x="7916018" y="4989805"/>
                  <a:ext cx="113920" cy="118872"/>
                </a:xfrm>
                <a:prstGeom prst="rect">
                  <a:avLst/>
                </a:prstGeom>
                <a:solidFill>
                  <a:srgbClr val="41817E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fontAlgn="base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>
                    <a:solidFill>
                      <a:srgbClr val="0070C0"/>
                    </a:solidFill>
                    <a:latin typeface="Oracle Sans" panose="020B0503020204020204" pitchFamily="34" charset="0"/>
                  </a:endParaRPr>
                </a:p>
              </p:txBody>
            </p:sp>
            <p:sp>
              <p:nvSpPr>
                <p:cNvPr id="44" name="Rectangle 43">
                  <a:extLst>
                    <a:ext uri="{FF2B5EF4-FFF2-40B4-BE49-F238E27FC236}">
                      <a16:creationId xmlns:a16="http://schemas.microsoft.com/office/drawing/2014/main" id="{8ABB28EB-B4AA-4FA9-BCCB-F61D3BEA6111}"/>
                    </a:ext>
                  </a:extLst>
                </p:cNvPr>
                <p:cNvSpPr/>
                <p:nvPr/>
              </p:nvSpPr>
              <p:spPr>
                <a:xfrm>
                  <a:off x="7916018" y="5138928"/>
                  <a:ext cx="113920" cy="118872"/>
                </a:xfrm>
                <a:prstGeom prst="rect">
                  <a:avLst/>
                </a:prstGeom>
                <a:solidFill>
                  <a:srgbClr val="41817E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fontAlgn="base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>
                    <a:solidFill>
                      <a:srgbClr val="FFFFFF"/>
                    </a:solidFill>
                    <a:latin typeface="Oracle Sans" panose="020B0503020204020204" pitchFamily="34" charset="0"/>
                  </a:endParaRPr>
                </a:p>
              </p:txBody>
            </p:sp>
          </p:grpSp>
          <p:grpSp>
            <p:nvGrpSpPr>
              <p:cNvPr id="36" name="Group 176">
                <a:extLst>
                  <a:ext uri="{FF2B5EF4-FFF2-40B4-BE49-F238E27FC236}">
                    <a16:creationId xmlns:a16="http://schemas.microsoft.com/office/drawing/2014/main" id="{A07FB475-9719-49A7-A5EC-EB1DAD40D475}"/>
                  </a:ext>
                </a:extLst>
              </p:cNvPr>
              <p:cNvGrpSpPr/>
              <p:nvPr/>
            </p:nvGrpSpPr>
            <p:grpSpPr>
              <a:xfrm>
                <a:off x="8501492" y="4691557"/>
                <a:ext cx="113920" cy="566243"/>
                <a:chOff x="7916018" y="4691557"/>
                <a:chExt cx="113920" cy="566243"/>
              </a:xfrm>
            </p:grpSpPr>
            <p:sp>
              <p:nvSpPr>
                <p:cNvPr id="37" name="Rectangle 36">
                  <a:extLst>
                    <a:ext uri="{FF2B5EF4-FFF2-40B4-BE49-F238E27FC236}">
                      <a16:creationId xmlns:a16="http://schemas.microsoft.com/office/drawing/2014/main" id="{7AD0BF8A-6683-455D-9291-D003228A9326}"/>
                    </a:ext>
                  </a:extLst>
                </p:cNvPr>
                <p:cNvSpPr/>
                <p:nvPr/>
              </p:nvSpPr>
              <p:spPr>
                <a:xfrm>
                  <a:off x="7916018" y="4691557"/>
                  <a:ext cx="113920" cy="118872"/>
                </a:xfrm>
                <a:prstGeom prst="rect">
                  <a:avLst/>
                </a:prstGeom>
                <a:solidFill>
                  <a:srgbClr val="41817E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fontAlgn="base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>
                    <a:solidFill>
                      <a:srgbClr val="FFFFFF"/>
                    </a:solidFill>
                    <a:latin typeface="Oracle Sans" panose="020B0503020204020204" pitchFamily="34" charset="0"/>
                  </a:endParaRPr>
                </a:p>
              </p:txBody>
            </p:sp>
            <p:sp>
              <p:nvSpPr>
                <p:cNvPr id="38" name="Rectangle 37">
                  <a:extLst>
                    <a:ext uri="{FF2B5EF4-FFF2-40B4-BE49-F238E27FC236}">
                      <a16:creationId xmlns:a16="http://schemas.microsoft.com/office/drawing/2014/main" id="{A2F3528B-9351-4469-A529-5C80E6B63798}"/>
                    </a:ext>
                  </a:extLst>
                </p:cNvPr>
                <p:cNvSpPr/>
                <p:nvPr/>
              </p:nvSpPr>
              <p:spPr>
                <a:xfrm>
                  <a:off x="7916018" y="4840681"/>
                  <a:ext cx="113920" cy="118872"/>
                </a:xfrm>
                <a:prstGeom prst="rect">
                  <a:avLst/>
                </a:prstGeom>
                <a:solidFill>
                  <a:srgbClr val="41817E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fontAlgn="base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>
                    <a:solidFill>
                      <a:srgbClr val="FFFFFF"/>
                    </a:solidFill>
                    <a:latin typeface="Oracle Sans" panose="020B0503020204020204" pitchFamily="34" charset="0"/>
                  </a:endParaRPr>
                </a:p>
              </p:txBody>
            </p:sp>
            <p:sp>
              <p:nvSpPr>
                <p:cNvPr id="39" name="Rectangle 38">
                  <a:extLst>
                    <a:ext uri="{FF2B5EF4-FFF2-40B4-BE49-F238E27FC236}">
                      <a16:creationId xmlns:a16="http://schemas.microsoft.com/office/drawing/2014/main" id="{11F69F99-FEF7-4A7D-B3FE-DB379B289F6C}"/>
                    </a:ext>
                  </a:extLst>
                </p:cNvPr>
                <p:cNvSpPr/>
                <p:nvPr/>
              </p:nvSpPr>
              <p:spPr>
                <a:xfrm>
                  <a:off x="7916018" y="4989805"/>
                  <a:ext cx="113920" cy="118872"/>
                </a:xfrm>
                <a:prstGeom prst="rect">
                  <a:avLst/>
                </a:prstGeom>
                <a:solidFill>
                  <a:srgbClr val="41817E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fontAlgn="base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>
                    <a:solidFill>
                      <a:srgbClr val="0070C0"/>
                    </a:solidFill>
                    <a:latin typeface="Oracle Sans" panose="020B0503020204020204" pitchFamily="34" charset="0"/>
                  </a:endParaRPr>
                </a:p>
              </p:txBody>
            </p:sp>
            <p:sp>
              <p:nvSpPr>
                <p:cNvPr id="40" name="Rectangle 39">
                  <a:extLst>
                    <a:ext uri="{FF2B5EF4-FFF2-40B4-BE49-F238E27FC236}">
                      <a16:creationId xmlns:a16="http://schemas.microsoft.com/office/drawing/2014/main" id="{B5921D16-448E-41DC-9A19-C4543B6835F8}"/>
                    </a:ext>
                  </a:extLst>
                </p:cNvPr>
                <p:cNvSpPr/>
                <p:nvPr/>
              </p:nvSpPr>
              <p:spPr>
                <a:xfrm>
                  <a:off x="7916018" y="5138928"/>
                  <a:ext cx="113920" cy="118872"/>
                </a:xfrm>
                <a:prstGeom prst="rect">
                  <a:avLst/>
                </a:prstGeom>
                <a:solidFill>
                  <a:srgbClr val="41817E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fontAlgn="base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>
                    <a:solidFill>
                      <a:srgbClr val="FFFFFF"/>
                    </a:solidFill>
                    <a:latin typeface="Oracle Sans" panose="020B0503020204020204" pitchFamily="34" charset="0"/>
                  </a:endParaRPr>
                </a:p>
              </p:txBody>
            </p:sp>
          </p:grpSp>
        </p:grpSp>
      </p:grpSp>
      <p:grpSp>
        <p:nvGrpSpPr>
          <p:cNvPr id="57" name="Group 184">
            <a:extLst>
              <a:ext uri="{FF2B5EF4-FFF2-40B4-BE49-F238E27FC236}">
                <a16:creationId xmlns:a16="http://schemas.microsoft.com/office/drawing/2014/main" id="{9D7947EB-9E5E-4C79-A462-04CEABE2C72F}"/>
              </a:ext>
            </a:extLst>
          </p:cNvPr>
          <p:cNvGrpSpPr/>
          <p:nvPr/>
        </p:nvGrpSpPr>
        <p:grpSpPr>
          <a:xfrm>
            <a:off x="9124215" y="4401552"/>
            <a:ext cx="838200" cy="1033140"/>
            <a:chOff x="7923212" y="4278420"/>
            <a:chExt cx="838200" cy="1033140"/>
          </a:xfrm>
        </p:grpSpPr>
        <p:sp>
          <p:nvSpPr>
            <p:cNvPr id="58" name="Can 74">
              <a:extLst>
                <a:ext uri="{FF2B5EF4-FFF2-40B4-BE49-F238E27FC236}">
                  <a16:creationId xmlns:a16="http://schemas.microsoft.com/office/drawing/2014/main" id="{0737F315-6EE7-41F5-A9D9-FE5A70F130B1}"/>
                </a:ext>
              </a:extLst>
            </p:cNvPr>
            <p:cNvSpPr/>
            <p:nvPr/>
          </p:nvSpPr>
          <p:spPr>
            <a:xfrm>
              <a:off x="7923212" y="4278420"/>
              <a:ext cx="838200" cy="1033140"/>
            </a:xfrm>
            <a:prstGeom prst="can">
              <a:avLst>
                <a:gd name="adj" fmla="val 15901"/>
              </a:avLst>
            </a:prstGeom>
            <a:gradFill flip="none" rotWithShape="1">
              <a:gsLst>
                <a:gs pos="28000">
                  <a:schemeClr val="accent5"/>
                </a:gs>
                <a:gs pos="0">
                  <a:schemeClr val="accent5">
                    <a:lumMod val="40000"/>
                    <a:lumOff val="60000"/>
                  </a:schemeClr>
                </a:gs>
                <a:gs pos="100000">
                  <a:schemeClr val="accent5">
                    <a:lumMod val="60000"/>
                    <a:lumOff val="40000"/>
                  </a:schemeClr>
                </a:gs>
              </a:gsLst>
              <a:lin ang="0" scaled="1"/>
            </a:gradFill>
            <a:ln>
              <a:noFill/>
            </a:ln>
            <a:effectLst>
              <a:outerShdw blurRad="203200" dist="50800" dir="5400000" sx="88000" sy="88000" rotWithShape="0">
                <a:prstClr val="black">
                  <a:alpha val="72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>
                <a:solidFill>
                  <a:srgbClr val="FFFFFF"/>
                </a:solidFill>
                <a:latin typeface="Oracle Sans" panose="020B0503020204020204" pitchFamily="34" charset="0"/>
              </a:endParaRPr>
            </a:p>
          </p:txBody>
        </p:sp>
        <p:grpSp>
          <p:nvGrpSpPr>
            <p:cNvPr id="59" name="Group 186">
              <a:extLst>
                <a:ext uri="{FF2B5EF4-FFF2-40B4-BE49-F238E27FC236}">
                  <a16:creationId xmlns:a16="http://schemas.microsoft.com/office/drawing/2014/main" id="{D68B319E-96C5-496A-8030-FD0EDAB4948A}"/>
                </a:ext>
              </a:extLst>
            </p:cNvPr>
            <p:cNvGrpSpPr/>
            <p:nvPr/>
          </p:nvGrpSpPr>
          <p:grpSpPr>
            <a:xfrm>
              <a:off x="7985818" y="4495800"/>
              <a:ext cx="699394" cy="715367"/>
              <a:chOff x="7916018" y="4542433"/>
              <a:chExt cx="699394" cy="715367"/>
            </a:xfrm>
          </p:grpSpPr>
          <p:sp>
            <p:nvSpPr>
              <p:cNvPr id="60" name="Rectangle 59">
                <a:extLst>
                  <a:ext uri="{FF2B5EF4-FFF2-40B4-BE49-F238E27FC236}">
                    <a16:creationId xmlns:a16="http://schemas.microsoft.com/office/drawing/2014/main" id="{6BBB0E7A-2935-43D9-93CA-9F6A30B64193}"/>
                  </a:ext>
                </a:extLst>
              </p:cNvPr>
              <p:cNvSpPr/>
              <p:nvPr/>
            </p:nvSpPr>
            <p:spPr>
              <a:xfrm>
                <a:off x="8501492" y="4542433"/>
                <a:ext cx="113920" cy="118872"/>
              </a:xfrm>
              <a:prstGeom prst="rect">
                <a:avLst/>
              </a:prstGeom>
              <a:solidFill>
                <a:schemeClr val="bg2"/>
              </a:solidFill>
              <a:ln w="1270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>
                  <a:solidFill>
                    <a:srgbClr val="FFFFFF"/>
                  </a:solidFill>
                  <a:latin typeface="Oracle Sans" panose="020B0503020204020204" pitchFamily="34" charset="0"/>
                </a:endParaRPr>
              </a:p>
            </p:txBody>
          </p:sp>
          <p:sp>
            <p:nvSpPr>
              <p:cNvPr id="61" name="Rectangle 60">
                <a:extLst>
                  <a:ext uri="{FF2B5EF4-FFF2-40B4-BE49-F238E27FC236}">
                    <a16:creationId xmlns:a16="http://schemas.microsoft.com/office/drawing/2014/main" id="{AA3ED644-6FDC-424D-B266-EE3EB1F4BDC0}"/>
                  </a:ext>
                </a:extLst>
              </p:cNvPr>
              <p:cNvSpPr/>
              <p:nvPr/>
            </p:nvSpPr>
            <p:spPr>
              <a:xfrm>
                <a:off x="8208754" y="4542433"/>
                <a:ext cx="113920" cy="118872"/>
              </a:xfrm>
              <a:prstGeom prst="rect">
                <a:avLst/>
              </a:prstGeom>
              <a:solidFill>
                <a:schemeClr val="bg2"/>
              </a:solidFill>
              <a:ln w="1270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>
                  <a:solidFill>
                    <a:srgbClr val="FFFFFF"/>
                  </a:solidFill>
                  <a:latin typeface="Oracle Sans" panose="020B0503020204020204" pitchFamily="34" charset="0"/>
                </a:endParaRPr>
              </a:p>
            </p:txBody>
          </p:sp>
          <p:sp>
            <p:nvSpPr>
              <p:cNvPr id="62" name="Rectangle 61">
                <a:extLst>
                  <a:ext uri="{FF2B5EF4-FFF2-40B4-BE49-F238E27FC236}">
                    <a16:creationId xmlns:a16="http://schemas.microsoft.com/office/drawing/2014/main" id="{79D7A4BC-BC1B-482B-8E31-0F1B9332B8B1}"/>
                  </a:ext>
                </a:extLst>
              </p:cNvPr>
              <p:cNvSpPr/>
              <p:nvPr/>
            </p:nvSpPr>
            <p:spPr>
              <a:xfrm>
                <a:off x="7916018" y="4542433"/>
                <a:ext cx="113920" cy="118872"/>
              </a:xfrm>
              <a:prstGeom prst="rect">
                <a:avLst/>
              </a:prstGeom>
              <a:solidFill>
                <a:schemeClr val="bg2"/>
              </a:solidFill>
              <a:ln w="1270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>
                  <a:solidFill>
                    <a:srgbClr val="FFFFFF"/>
                  </a:solidFill>
                  <a:latin typeface="Oracle Sans" panose="020B0503020204020204" pitchFamily="34" charset="0"/>
                </a:endParaRPr>
              </a:p>
            </p:txBody>
          </p:sp>
          <p:sp>
            <p:nvSpPr>
              <p:cNvPr id="63" name="Rectangle 62">
                <a:extLst>
                  <a:ext uri="{FF2B5EF4-FFF2-40B4-BE49-F238E27FC236}">
                    <a16:creationId xmlns:a16="http://schemas.microsoft.com/office/drawing/2014/main" id="{549E39D8-A8FD-45E9-B4B2-1AE0D53F3AFC}"/>
                  </a:ext>
                </a:extLst>
              </p:cNvPr>
              <p:cNvSpPr/>
              <p:nvPr/>
            </p:nvSpPr>
            <p:spPr>
              <a:xfrm>
                <a:off x="8062386" y="4542433"/>
                <a:ext cx="113920" cy="118872"/>
              </a:xfrm>
              <a:prstGeom prst="rect">
                <a:avLst/>
              </a:prstGeom>
              <a:solidFill>
                <a:schemeClr val="bg2"/>
              </a:solidFill>
              <a:ln w="1270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>
                  <a:solidFill>
                    <a:srgbClr val="FFFFFF"/>
                  </a:solidFill>
                  <a:latin typeface="Oracle Sans" panose="020B0503020204020204" pitchFamily="34" charset="0"/>
                </a:endParaRPr>
              </a:p>
            </p:txBody>
          </p:sp>
          <p:sp>
            <p:nvSpPr>
              <p:cNvPr id="64" name="Rectangle 63">
                <a:extLst>
                  <a:ext uri="{FF2B5EF4-FFF2-40B4-BE49-F238E27FC236}">
                    <a16:creationId xmlns:a16="http://schemas.microsoft.com/office/drawing/2014/main" id="{EE45B7E6-3B3D-4985-BDD2-5C6719106CC8}"/>
                  </a:ext>
                </a:extLst>
              </p:cNvPr>
              <p:cNvSpPr/>
              <p:nvPr/>
            </p:nvSpPr>
            <p:spPr>
              <a:xfrm>
                <a:off x="8355122" y="4542433"/>
                <a:ext cx="113920" cy="118872"/>
              </a:xfrm>
              <a:prstGeom prst="rect">
                <a:avLst/>
              </a:prstGeom>
              <a:solidFill>
                <a:schemeClr val="bg2"/>
              </a:solidFill>
              <a:ln w="1270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>
                  <a:solidFill>
                    <a:srgbClr val="FFFFFF"/>
                  </a:solidFill>
                  <a:latin typeface="Oracle Sans" panose="020B0503020204020204" pitchFamily="34" charset="0"/>
                </a:endParaRPr>
              </a:p>
            </p:txBody>
          </p:sp>
          <p:grpSp>
            <p:nvGrpSpPr>
              <p:cNvPr id="65" name="Group 192">
                <a:extLst>
                  <a:ext uri="{FF2B5EF4-FFF2-40B4-BE49-F238E27FC236}">
                    <a16:creationId xmlns:a16="http://schemas.microsoft.com/office/drawing/2014/main" id="{99196DBB-E486-4303-ADB4-B1EB606C1140}"/>
                  </a:ext>
                </a:extLst>
              </p:cNvPr>
              <p:cNvGrpSpPr/>
              <p:nvPr/>
            </p:nvGrpSpPr>
            <p:grpSpPr>
              <a:xfrm>
                <a:off x="7916018" y="4691557"/>
                <a:ext cx="113920" cy="566243"/>
                <a:chOff x="7916018" y="4691557"/>
                <a:chExt cx="113920" cy="566243"/>
              </a:xfrm>
            </p:grpSpPr>
            <p:sp>
              <p:nvSpPr>
                <p:cNvPr id="86" name="Rectangle 85">
                  <a:extLst>
                    <a:ext uri="{FF2B5EF4-FFF2-40B4-BE49-F238E27FC236}">
                      <a16:creationId xmlns:a16="http://schemas.microsoft.com/office/drawing/2014/main" id="{A939AC63-0D92-41BC-AE4D-5DB4E961592E}"/>
                    </a:ext>
                  </a:extLst>
                </p:cNvPr>
                <p:cNvSpPr/>
                <p:nvPr/>
              </p:nvSpPr>
              <p:spPr>
                <a:xfrm>
                  <a:off x="7916018" y="4691557"/>
                  <a:ext cx="113920" cy="118872"/>
                </a:xfrm>
                <a:prstGeom prst="rect">
                  <a:avLst/>
                </a:prstGeom>
                <a:solidFill>
                  <a:srgbClr val="594564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fontAlgn="base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>
                    <a:solidFill>
                      <a:srgbClr val="FFFFFF"/>
                    </a:solidFill>
                    <a:latin typeface="Oracle Sans" panose="020B0503020204020204" pitchFamily="34" charset="0"/>
                  </a:endParaRPr>
                </a:p>
              </p:txBody>
            </p:sp>
            <p:sp>
              <p:nvSpPr>
                <p:cNvPr id="87" name="Rectangle 86">
                  <a:extLst>
                    <a:ext uri="{FF2B5EF4-FFF2-40B4-BE49-F238E27FC236}">
                      <a16:creationId xmlns:a16="http://schemas.microsoft.com/office/drawing/2014/main" id="{AC21E447-26D1-4B76-B637-5C6A3F4441B6}"/>
                    </a:ext>
                  </a:extLst>
                </p:cNvPr>
                <p:cNvSpPr/>
                <p:nvPr/>
              </p:nvSpPr>
              <p:spPr>
                <a:xfrm>
                  <a:off x="7916018" y="4840681"/>
                  <a:ext cx="113920" cy="118872"/>
                </a:xfrm>
                <a:prstGeom prst="rect">
                  <a:avLst/>
                </a:prstGeom>
                <a:solidFill>
                  <a:schemeClr val="bg2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fontAlgn="base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>
                    <a:solidFill>
                      <a:srgbClr val="FFFFFF"/>
                    </a:solidFill>
                    <a:latin typeface="Oracle Sans" panose="020B0503020204020204" pitchFamily="34" charset="0"/>
                  </a:endParaRPr>
                </a:p>
              </p:txBody>
            </p:sp>
            <p:sp>
              <p:nvSpPr>
                <p:cNvPr id="88" name="Rectangle 87">
                  <a:extLst>
                    <a:ext uri="{FF2B5EF4-FFF2-40B4-BE49-F238E27FC236}">
                      <a16:creationId xmlns:a16="http://schemas.microsoft.com/office/drawing/2014/main" id="{388F8139-D2DF-46EE-8B76-9420B48DAA75}"/>
                    </a:ext>
                  </a:extLst>
                </p:cNvPr>
                <p:cNvSpPr/>
                <p:nvPr/>
              </p:nvSpPr>
              <p:spPr>
                <a:xfrm>
                  <a:off x="7916018" y="4989805"/>
                  <a:ext cx="113920" cy="118872"/>
                </a:xfrm>
                <a:prstGeom prst="rect">
                  <a:avLst/>
                </a:prstGeom>
                <a:solidFill>
                  <a:schemeClr val="bg2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fontAlgn="base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>
                    <a:solidFill>
                      <a:srgbClr val="0070C0"/>
                    </a:solidFill>
                    <a:latin typeface="Oracle Sans" panose="020B0503020204020204" pitchFamily="34" charset="0"/>
                  </a:endParaRPr>
                </a:p>
              </p:txBody>
            </p:sp>
            <p:sp>
              <p:nvSpPr>
                <p:cNvPr id="89" name="Rectangle 88">
                  <a:extLst>
                    <a:ext uri="{FF2B5EF4-FFF2-40B4-BE49-F238E27FC236}">
                      <a16:creationId xmlns:a16="http://schemas.microsoft.com/office/drawing/2014/main" id="{D616410A-0044-42C9-9592-B46004DF5F70}"/>
                    </a:ext>
                  </a:extLst>
                </p:cNvPr>
                <p:cNvSpPr/>
                <p:nvPr/>
              </p:nvSpPr>
              <p:spPr>
                <a:xfrm>
                  <a:off x="7916018" y="5138928"/>
                  <a:ext cx="113920" cy="118872"/>
                </a:xfrm>
                <a:prstGeom prst="rect">
                  <a:avLst/>
                </a:prstGeom>
                <a:solidFill>
                  <a:schemeClr val="bg2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fontAlgn="base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>
                    <a:solidFill>
                      <a:srgbClr val="FFFFFF"/>
                    </a:solidFill>
                    <a:latin typeface="Oracle Sans" panose="020B0503020204020204" pitchFamily="34" charset="0"/>
                  </a:endParaRPr>
                </a:p>
              </p:txBody>
            </p:sp>
          </p:grpSp>
          <p:grpSp>
            <p:nvGrpSpPr>
              <p:cNvPr id="66" name="Group 193">
                <a:extLst>
                  <a:ext uri="{FF2B5EF4-FFF2-40B4-BE49-F238E27FC236}">
                    <a16:creationId xmlns:a16="http://schemas.microsoft.com/office/drawing/2014/main" id="{65982B07-0B94-4B4D-B7F3-AE34D962DC83}"/>
                  </a:ext>
                </a:extLst>
              </p:cNvPr>
              <p:cNvGrpSpPr/>
              <p:nvPr/>
            </p:nvGrpSpPr>
            <p:grpSpPr>
              <a:xfrm>
                <a:off x="8062386" y="4691557"/>
                <a:ext cx="113920" cy="566243"/>
                <a:chOff x="7916018" y="4691557"/>
                <a:chExt cx="113920" cy="566243"/>
              </a:xfrm>
            </p:grpSpPr>
            <p:sp>
              <p:nvSpPr>
                <p:cNvPr id="82" name="Rectangle 81">
                  <a:extLst>
                    <a:ext uri="{FF2B5EF4-FFF2-40B4-BE49-F238E27FC236}">
                      <a16:creationId xmlns:a16="http://schemas.microsoft.com/office/drawing/2014/main" id="{E49DDD51-2383-4382-9491-2CD75BF4C6DA}"/>
                    </a:ext>
                  </a:extLst>
                </p:cNvPr>
                <p:cNvSpPr/>
                <p:nvPr/>
              </p:nvSpPr>
              <p:spPr>
                <a:xfrm>
                  <a:off x="7916018" y="4691557"/>
                  <a:ext cx="113920" cy="118872"/>
                </a:xfrm>
                <a:prstGeom prst="rect">
                  <a:avLst/>
                </a:prstGeom>
                <a:solidFill>
                  <a:schemeClr val="bg2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fontAlgn="base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>
                    <a:solidFill>
                      <a:srgbClr val="FFFFFF"/>
                    </a:solidFill>
                    <a:latin typeface="Oracle Sans" panose="020B0503020204020204" pitchFamily="34" charset="0"/>
                  </a:endParaRPr>
                </a:p>
              </p:txBody>
            </p:sp>
            <p:sp>
              <p:nvSpPr>
                <p:cNvPr id="83" name="Rectangle 82">
                  <a:extLst>
                    <a:ext uri="{FF2B5EF4-FFF2-40B4-BE49-F238E27FC236}">
                      <a16:creationId xmlns:a16="http://schemas.microsoft.com/office/drawing/2014/main" id="{DC2DAD1B-9941-476A-AA8E-04EA389D0A3A}"/>
                    </a:ext>
                  </a:extLst>
                </p:cNvPr>
                <p:cNvSpPr/>
                <p:nvPr/>
              </p:nvSpPr>
              <p:spPr>
                <a:xfrm>
                  <a:off x="7916018" y="4840680"/>
                  <a:ext cx="113920" cy="118872"/>
                </a:xfrm>
                <a:prstGeom prst="rect">
                  <a:avLst/>
                </a:prstGeom>
                <a:solidFill>
                  <a:srgbClr val="594564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fontAlgn="base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>
                    <a:solidFill>
                      <a:srgbClr val="FFFFFF"/>
                    </a:solidFill>
                    <a:latin typeface="Oracle Sans" panose="020B0503020204020204" pitchFamily="34" charset="0"/>
                  </a:endParaRPr>
                </a:p>
              </p:txBody>
            </p:sp>
            <p:sp>
              <p:nvSpPr>
                <p:cNvPr id="84" name="Rectangle 83">
                  <a:extLst>
                    <a:ext uri="{FF2B5EF4-FFF2-40B4-BE49-F238E27FC236}">
                      <a16:creationId xmlns:a16="http://schemas.microsoft.com/office/drawing/2014/main" id="{5132E276-4E94-49CE-891E-6CF16D6E522F}"/>
                    </a:ext>
                  </a:extLst>
                </p:cNvPr>
                <p:cNvSpPr/>
                <p:nvPr/>
              </p:nvSpPr>
              <p:spPr>
                <a:xfrm>
                  <a:off x="7916018" y="4989805"/>
                  <a:ext cx="113920" cy="118872"/>
                </a:xfrm>
                <a:prstGeom prst="rect">
                  <a:avLst/>
                </a:prstGeom>
                <a:solidFill>
                  <a:schemeClr val="bg2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fontAlgn="base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>
                    <a:solidFill>
                      <a:srgbClr val="0070C0"/>
                    </a:solidFill>
                    <a:latin typeface="Oracle Sans" panose="020B0503020204020204" pitchFamily="34" charset="0"/>
                  </a:endParaRPr>
                </a:p>
              </p:txBody>
            </p:sp>
            <p:sp>
              <p:nvSpPr>
                <p:cNvPr id="85" name="Rectangle 84">
                  <a:extLst>
                    <a:ext uri="{FF2B5EF4-FFF2-40B4-BE49-F238E27FC236}">
                      <a16:creationId xmlns:a16="http://schemas.microsoft.com/office/drawing/2014/main" id="{9BC17D3D-BB37-4FC8-8249-4B5CF0F8503F}"/>
                    </a:ext>
                  </a:extLst>
                </p:cNvPr>
                <p:cNvSpPr/>
                <p:nvPr/>
              </p:nvSpPr>
              <p:spPr>
                <a:xfrm>
                  <a:off x="7916018" y="5138928"/>
                  <a:ext cx="113920" cy="118872"/>
                </a:xfrm>
                <a:prstGeom prst="rect">
                  <a:avLst/>
                </a:prstGeom>
                <a:solidFill>
                  <a:schemeClr val="bg2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fontAlgn="base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>
                    <a:solidFill>
                      <a:srgbClr val="FFFFFF"/>
                    </a:solidFill>
                    <a:latin typeface="Oracle Sans" panose="020B0503020204020204" pitchFamily="34" charset="0"/>
                  </a:endParaRPr>
                </a:p>
              </p:txBody>
            </p:sp>
          </p:grpSp>
          <p:grpSp>
            <p:nvGrpSpPr>
              <p:cNvPr id="67" name="Group 194">
                <a:extLst>
                  <a:ext uri="{FF2B5EF4-FFF2-40B4-BE49-F238E27FC236}">
                    <a16:creationId xmlns:a16="http://schemas.microsoft.com/office/drawing/2014/main" id="{EE3DC018-BFF8-4409-8DFD-F62B1FDB08B3}"/>
                  </a:ext>
                </a:extLst>
              </p:cNvPr>
              <p:cNvGrpSpPr/>
              <p:nvPr/>
            </p:nvGrpSpPr>
            <p:grpSpPr>
              <a:xfrm>
                <a:off x="8208754" y="4691557"/>
                <a:ext cx="113920" cy="566243"/>
                <a:chOff x="7916018" y="4691557"/>
                <a:chExt cx="113920" cy="566243"/>
              </a:xfrm>
            </p:grpSpPr>
            <p:sp>
              <p:nvSpPr>
                <p:cNvPr id="78" name="Rectangle 77">
                  <a:extLst>
                    <a:ext uri="{FF2B5EF4-FFF2-40B4-BE49-F238E27FC236}">
                      <a16:creationId xmlns:a16="http://schemas.microsoft.com/office/drawing/2014/main" id="{7EE40804-7D03-4ADF-9ADC-70DDF6AF74D2}"/>
                    </a:ext>
                  </a:extLst>
                </p:cNvPr>
                <p:cNvSpPr/>
                <p:nvPr/>
              </p:nvSpPr>
              <p:spPr>
                <a:xfrm>
                  <a:off x="7916018" y="4691557"/>
                  <a:ext cx="113920" cy="118872"/>
                </a:xfrm>
                <a:prstGeom prst="rect">
                  <a:avLst/>
                </a:prstGeom>
                <a:solidFill>
                  <a:schemeClr val="bg2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fontAlgn="base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>
                    <a:solidFill>
                      <a:srgbClr val="FFFFFF"/>
                    </a:solidFill>
                    <a:latin typeface="Oracle Sans" panose="020B0503020204020204" pitchFamily="34" charset="0"/>
                  </a:endParaRPr>
                </a:p>
              </p:txBody>
            </p:sp>
            <p:sp>
              <p:nvSpPr>
                <p:cNvPr id="79" name="Rectangle 78">
                  <a:extLst>
                    <a:ext uri="{FF2B5EF4-FFF2-40B4-BE49-F238E27FC236}">
                      <a16:creationId xmlns:a16="http://schemas.microsoft.com/office/drawing/2014/main" id="{2C3996DA-45D0-43A5-94BD-4C6440CF0DAE}"/>
                    </a:ext>
                  </a:extLst>
                </p:cNvPr>
                <p:cNvSpPr/>
                <p:nvPr/>
              </p:nvSpPr>
              <p:spPr>
                <a:xfrm>
                  <a:off x="7916018" y="4840681"/>
                  <a:ext cx="113920" cy="118872"/>
                </a:xfrm>
                <a:prstGeom prst="rect">
                  <a:avLst/>
                </a:prstGeom>
                <a:solidFill>
                  <a:schemeClr val="bg2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fontAlgn="base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>
                    <a:solidFill>
                      <a:srgbClr val="FFFFFF"/>
                    </a:solidFill>
                    <a:latin typeface="Oracle Sans" panose="020B0503020204020204" pitchFamily="34" charset="0"/>
                  </a:endParaRPr>
                </a:p>
              </p:txBody>
            </p:sp>
            <p:sp>
              <p:nvSpPr>
                <p:cNvPr id="80" name="Rectangle 79">
                  <a:extLst>
                    <a:ext uri="{FF2B5EF4-FFF2-40B4-BE49-F238E27FC236}">
                      <a16:creationId xmlns:a16="http://schemas.microsoft.com/office/drawing/2014/main" id="{EA78E817-818C-4194-8279-EB4DDC8327EC}"/>
                    </a:ext>
                  </a:extLst>
                </p:cNvPr>
                <p:cNvSpPr/>
                <p:nvPr/>
              </p:nvSpPr>
              <p:spPr>
                <a:xfrm>
                  <a:off x="7916018" y="4989805"/>
                  <a:ext cx="113920" cy="118872"/>
                </a:xfrm>
                <a:prstGeom prst="rect">
                  <a:avLst/>
                </a:prstGeom>
                <a:solidFill>
                  <a:schemeClr val="bg2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fontAlgn="base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>
                    <a:solidFill>
                      <a:srgbClr val="0070C0"/>
                    </a:solidFill>
                    <a:latin typeface="Oracle Sans" panose="020B0503020204020204" pitchFamily="34" charset="0"/>
                  </a:endParaRPr>
                </a:p>
              </p:txBody>
            </p:sp>
            <p:sp>
              <p:nvSpPr>
                <p:cNvPr id="81" name="Rectangle 80">
                  <a:extLst>
                    <a:ext uri="{FF2B5EF4-FFF2-40B4-BE49-F238E27FC236}">
                      <a16:creationId xmlns:a16="http://schemas.microsoft.com/office/drawing/2014/main" id="{3D868829-B32C-411E-A652-E83C73A46E4E}"/>
                    </a:ext>
                  </a:extLst>
                </p:cNvPr>
                <p:cNvSpPr/>
                <p:nvPr/>
              </p:nvSpPr>
              <p:spPr>
                <a:xfrm>
                  <a:off x="7916018" y="5138928"/>
                  <a:ext cx="113920" cy="118872"/>
                </a:xfrm>
                <a:prstGeom prst="rect">
                  <a:avLst/>
                </a:prstGeom>
                <a:solidFill>
                  <a:schemeClr val="bg2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fontAlgn="base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>
                    <a:solidFill>
                      <a:srgbClr val="FFFFFF"/>
                    </a:solidFill>
                    <a:latin typeface="Oracle Sans" panose="020B0503020204020204" pitchFamily="34" charset="0"/>
                  </a:endParaRPr>
                </a:p>
              </p:txBody>
            </p:sp>
          </p:grpSp>
          <p:grpSp>
            <p:nvGrpSpPr>
              <p:cNvPr id="68" name="Group 195">
                <a:extLst>
                  <a:ext uri="{FF2B5EF4-FFF2-40B4-BE49-F238E27FC236}">
                    <a16:creationId xmlns:a16="http://schemas.microsoft.com/office/drawing/2014/main" id="{F6578FF4-07AD-4737-87EC-A6123D2EE314}"/>
                  </a:ext>
                </a:extLst>
              </p:cNvPr>
              <p:cNvGrpSpPr/>
              <p:nvPr/>
            </p:nvGrpSpPr>
            <p:grpSpPr>
              <a:xfrm>
                <a:off x="8355122" y="4691557"/>
                <a:ext cx="113920" cy="566243"/>
                <a:chOff x="7916018" y="4691557"/>
                <a:chExt cx="113920" cy="566243"/>
              </a:xfrm>
            </p:grpSpPr>
            <p:sp>
              <p:nvSpPr>
                <p:cNvPr id="74" name="Rectangle 73">
                  <a:extLst>
                    <a:ext uri="{FF2B5EF4-FFF2-40B4-BE49-F238E27FC236}">
                      <a16:creationId xmlns:a16="http://schemas.microsoft.com/office/drawing/2014/main" id="{653073CF-E174-4556-AE6C-118718EF663F}"/>
                    </a:ext>
                  </a:extLst>
                </p:cNvPr>
                <p:cNvSpPr/>
                <p:nvPr/>
              </p:nvSpPr>
              <p:spPr>
                <a:xfrm>
                  <a:off x="7916018" y="4691557"/>
                  <a:ext cx="113920" cy="118872"/>
                </a:xfrm>
                <a:prstGeom prst="rect">
                  <a:avLst/>
                </a:prstGeom>
                <a:solidFill>
                  <a:schemeClr val="bg2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fontAlgn="base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>
                    <a:solidFill>
                      <a:srgbClr val="FFFFFF"/>
                    </a:solidFill>
                    <a:latin typeface="Oracle Sans" panose="020B0503020204020204" pitchFamily="34" charset="0"/>
                  </a:endParaRPr>
                </a:p>
              </p:txBody>
            </p:sp>
            <p:sp>
              <p:nvSpPr>
                <p:cNvPr id="75" name="Rectangle 74">
                  <a:extLst>
                    <a:ext uri="{FF2B5EF4-FFF2-40B4-BE49-F238E27FC236}">
                      <a16:creationId xmlns:a16="http://schemas.microsoft.com/office/drawing/2014/main" id="{0DB4447B-D89E-40A2-8B83-211FC77B3D5E}"/>
                    </a:ext>
                  </a:extLst>
                </p:cNvPr>
                <p:cNvSpPr/>
                <p:nvPr/>
              </p:nvSpPr>
              <p:spPr>
                <a:xfrm>
                  <a:off x="7916018" y="4840681"/>
                  <a:ext cx="113920" cy="118872"/>
                </a:xfrm>
                <a:prstGeom prst="rect">
                  <a:avLst/>
                </a:prstGeom>
                <a:solidFill>
                  <a:schemeClr val="bg2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fontAlgn="base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>
                    <a:solidFill>
                      <a:srgbClr val="FFFFFF"/>
                    </a:solidFill>
                    <a:latin typeface="Oracle Sans" panose="020B0503020204020204" pitchFamily="34" charset="0"/>
                  </a:endParaRPr>
                </a:p>
              </p:txBody>
            </p:sp>
            <p:sp>
              <p:nvSpPr>
                <p:cNvPr id="76" name="Rectangle 75">
                  <a:extLst>
                    <a:ext uri="{FF2B5EF4-FFF2-40B4-BE49-F238E27FC236}">
                      <a16:creationId xmlns:a16="http://schemas.microsoft.com/office/drawing/2014/main" id="{22115F38-E92A-4055-AE77-744A5B08E9D4}"/>
                    </a:ext>
                  </a:extLst>
                </p:cNvPr>
                <p:cNvSpPr/>
                <p:nvPr/>
              </p:nvSpPr>
              <p:spPr>
                <a:xfrm>
                  <a:off x="7916018" y="4989805"/>
                  <a:ext cx="113920" cy="118872"/>
                </a:xfrm>
                <a:prstGeom prst="rect">
                  <a:avLst/>
                </a:prstGeom>
                <a:solidFill>
                  <a:srgbClr val="594564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fontAlgn="base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>
                    <a:solidFill>
                      <a:srgbClr val="0070C0"/>
                    </a:solidFill>
                    <a:latin typeface="Oracle Sans" panose="020B0503020204020204" pitchFamily="34" charset="0"/>
                  </a:endParaRPr>
                </a:p>
              </p:txBody>
            </p:sp>
            <p:sp>
              <p:nvSpPr>
                <p:cNvPr id="77" name="Rectangle 76">
                  <a:extLst>
                    <a:ext uri="{FF2B5EF4-FFF2-40B4-BE49-F238E27FC236}">
                      <a16:creationId xmlns:a16="http://schemas.microsoft.com/office/drawing/2014/main" id="{D6F59E0B-50B2-474D-B824-1B7FF080F917}"/>
                    </a:ext>
                  </a:extLst>
                </p:cNvPr>
                <p:cNvSpPr/>
                <p:nvPr/>
              </p:nvSpPr>
              <p:spPr>
                <a:xfrm>
                  <a:off x="7916018" y="5138928"/>
                  <a:ext cx="113920" cy="118872"/>
                </a:xfrm>
                <a:prstGeom prst="rect">
                  <a:avLst/>
                </a:prstGeom>
                <a:solidFill>
                  <a:schemeClr val="bg2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fontAlgn="base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>
                    <a:solidFill>
                      <a:srgbClr val="FFFFFF"/>
                    </a:solidFill>
                    <a:latin typeface="Oracle Sans" panose="020B0503020204020204" pitchFamily="34" charset="0"/>
                  </a:endParaRPr>
                </a:p>
              </p:txBody>
            </p:sp>
          </p:grpSp>
          <p:grpSp>
            <p:nvGrpSpPr>
              <p:cNvPr id="69" name="Group 196">
                <a:extLst>
                  <a:ext uri="{FF2B5EF4-FFF2-40B4-BE49-F238E27FC236}">
                    <a16:creationId xmlns:a16="http://schemas.microsoft.com/office/drawing/2014/main" id="{6E13E8E3-ADDB-4CA7-AEA0-B956EAF8EEF6}"/>
                  </a:ext>
                </a:extLst>
              </p:cNvPr>
              <p:cNvGrpSpPr/>
              <p:nvPr/>
            </p:nvGrpSpPr>
            <p:grpSpPr>
              <a:xfrm>
                <a:off x="8501492" y="4691557"/>
                <a:ext cx="113920" cy="566243"/>
                <a:chOff x="7916018" y="4691557"/>
                <a:chExt cx="113920" cy="566243"/>
              </a:xfrm>
            </p:grpSpPr>
            <p:sp>
              <p:nvSpPr>
                <p:cNvPr id="70" name="Rectangle 69">
                  <a:extLst>
                    <a:ext uri="{FF2B5EF4-FFF2-40B4-BE49-F238E27FC236}">
                      <a16:creationId xmlns:a16="http://schemas.microsoft.com/office/drawing/2014/main" id="{A2489F8F-269F-404B-ACC7-F7C464405603}"/>
                    </a:ext>
                  </a:extLst>
                </p:cNvPr>
                <p:cNvSpPr/>
                <p:nvPr/>
              </p:nvSpPr>
              <p:spPr>
                <a:xfrm>
                  <a:off x="7916018" y="4691557"/>
                  <a:ext cx="113920" cy="118872"/>
                </a:xfrm>
                <a:prstGeom prst="rect">
                  <a:avLst/>
                </a:prstGeom>
                <a:solidFill>
                  <a:schemeClr val="bg2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fontAlgn="base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>
                    <a:solidFill>
                      <a:srgbClr val="FFFFFF"/>
                    </a:solidFill>
                    <a:latin typeface="Oracle Sans" panose="020B0503020204020204" pitchFamily="34" charset="0"/>
                  </a:endParaRPr>
                </a:p>
              </p:txBody>
            </p:sp>
            <p:sp>
              <p:nvSpPr>
                <p:cNvPr id="71" name="Rectangle 70">
                  <a:extLst>
                    <a:ext uri="{FF2B5EF4-FFF2-40B4-BE49-F238E27FC236}">
                      <a16:creationId xmlns:a16="http://schemas.microsoft.com/office/drawing/2014/main" id="{6205D560-8FA3-408F-9D4A-68C448552AB2}"/>
                    </a:ext>
                  </a:extLst>
                </p:cNvPr>
                <p:cNvSpPr/>
                <p:nvPr/>
              </p:nvSpPr>
              <p:spPr>
                <a:xfrm>
                  <a:off x="7916018" y="4840681"/>
                  <a:ext cx="113920" cy="118872"/>
                </a:xfrm>
                <a:prstGeom prst="rect">
                  <a:avLst/>
                </a:prstGeom>
                <a:solidFill>
                  <a:srgbClr val="594564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fontAlgn="base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>
                    <a:solidFill>
                      <a:srgbClr val="FFFFFF"/>
                    </a:solidFill>
                    <a:latin typeface="Oracle Sans" panose="020B0503020204020204" pitchFamily="34" charset="0"/>
                  </a:endParaRPr>
                </a:p>
              </p:txBody>
            </p:sp>
            <p:sp>
              <p:nvSpPr>
                <p:cNvPr id="72" name="Rectangle 71">
                  <a:extLst>
                    <a:ext uri="{FF2B5EF4-FFF2-40B4-BE49-F238E27FC236}">
                      <a16:creationId xmlns:a16="http://schemas.microsoft.com/office/drawing/2014/main" id="{4939DA04-38C1-4489-8238-47DE59FC4DB3}"/>
                    </a:ext>
                  </a:extLst>
                </p:cNvPr>
                <p:cNvSpPr/>
                <p:nvPr/>
              </p:nvSpPr>
              <p:spPr>
                <a:xfrm>
                  <a:off x="7916018" y="4989805"/>
                  <a:ext cx="113920" cy="118872"/>
                </a:xfrm>
                <a:prstGeom prst="rect">
                  <a:avLst/>
                </a:prstGeom>
                <a:solidFill>
                  <a:schemeClr val="bg2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fontAlgn="base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>
                    <a:solidFill>
                      <a:srgbClr val="0070C0"/>
                    </a:solidFill>
                    <a:latin typeface="Oracle Sans" panose="020B0503020204020204" pitchFamily="34" charset="0"/>
                  </a:endParaRPr>
                </a:p>
              </p:txBody>
            </p:sp>
            <p:sp>
              <p:nvSpPr>
                <p:cNvPr id="73" name="Rectangle 72">
                  <a:extLst>
                    <a:ext uri="{FF2B5EF4-FFF2-40B4-BE49-F238E27FC236}">
                      <a16:creationId xmlns:a16="http://schemas.microsoft.com/office/drawing/2014/main" id="{501F3694-B713-4592-9A05-2DA1695A7F90}"/>
                    </a:ext>
                  </a:extLst>
                </p:cNvPr>
                <p:cNvSpPr/>
                <p:nvPr/>
              </p:nvSpPr>
              <p:spPr>
                <a:xfrm>
                  <a:off x="7916018" y="5138928"/>
                  <a:ext cx="113920" cy="118872"/>
                </a:xfrm>
                <a:prstGeom prst="rect">
                  <a:avLst/>
                </a:prstGeom>
                <a:solidFill>
                  <a:schemeClr val="bg2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fontAlgn="base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>
                    <a:solidFill>
                      <a:srgbClr val="FFFFFF"/>
                    </a:solidFill>
                    <a:latin typeface="Oracle Sans" panose="020B0503020204020204" pitchFamily="34" charset="0"/>
                  </a:endParaRPr>
                </a:p>
              </p:txBody>
            </p:sp>
          </p:grpSp>
        </p:grpSp>
      </p:grpSp>
      <p:grpSp>
        <p:nvGrpSpPr>
          <p:cNvPr id="90" name="Group 217">
            <a:extLst>
              <a:ext uri="{FF2B5EF4-FFF2-40B4-BE49-F238E27FC236}">
                <a16:creationId xmlns:a16="http://schemas.microsoft.com/office/drawing/2014/main" id="{43BC0100-0626-4C12-9419-4AE65324A628}"/>
              </a:ext>
            </a:extLst>
          </p:cNvPr>
          <p:cNvGrpSpPr/>
          <p:nvPr/>
        </p:nvGrpSpPr>
        <p:grpSpPr>
          <a:xfrm>
            <a:off x="10239007" y="4399044"/>
            <a:ext cx="838200" cy="1033140"/>
            <a:chOff x="7923212" y="4278420"/>
            <a:chExt cx="838200" cy="1033140"/>
          </a:xfrm>
        </p:grpSpPr>
        <p:sp>
          <p:nvSpPr>
            <p:cNvPr id="91" name="Can 107">
              <a:extLst>
                <a:ext uri="{FF2B5EF4-FFF2-40B4-BE49-F238E27FC236}">
                  <a16:creationId xmlns:a16="http://schemas.microsoft.com/office/drawing/2014/main" id="{01A9661D-A7AB-473C-941D-DD466DBA7EF0}"/>
                </a:ext>
              </a:extLst>
            </p:cNvPr>
            <p:cNvSpPr/>
            <p:nvPr/>
          </p:nvSpPr>
          <p:spPr>
            <a:xfrm>
              <a:off x="7923212" y="4278420"/>
              <a:ext cx="838200" cy="1033140"/>
            </a:xfrm>
            <a:prstGeom prst="can">
              <a:avLst>
                <a:gd name="adj" fmla="val 15901"/>
              </a:avLst>
            </a:prstGeom>
            <a:gradFill flip="none" rotWithShape="1">
              <a:gsLst>
                <a:gs pos="28000">
                  <a:schemeClr val="accent5"/>
                </a:gs>
                <a:gs pos="0">
                  <a:schemeClr val="accent5">
                    <a:lumMod val="40000"/>
                    <a:lumOff val="60000"/>
                  </a:schemeClr>
                </a:gs>
                <a:gs pos="100000">
                  <a:schemeClr val="accent5">
                    <a:lumMod val="60000"/>
                    <a:lumOff val="40000"/>
                  </a:schemeClr>
                </a:gs>
              </a:gsLst>
              <a:lin ang="0" scaled="1"/>
            </a:gradFill>
            <a:ln>
              <a:noFill/>
            </a:ln>
            <a:effectLst>
              <a:outerShdw blurRad="203200" dist="50800" dir="5400000" sx="88000" sy="88000" rotWithShape="0">
                <a:prstClr val="black">
                  <a:alpha val="72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>
                <a:solidFill>
                  <a:srgbClr val="FFFFFF"/>
                </a:solidFill>
                <a:latin typeface="Oracle Sans" panose="020B0503020204020204" pitchFamily="34" charset="0"/>
              </a:endParaRPr>
            </a:p>
          </p:txBody>
        </p:sp>
        <p:grpSp>
          <p:nvGrpSpPr>
            <p:cNvPr id="92" name="Group 219">
              <a:extLst>
                <a:ext uri="{FF2B5EF4-FFF2-40B4-BE49-F238E27FC236}">
                  <a16:creationId xmlns:a16="http://schemas.microsoft.com/office/drawing/2014/main" id="{74D77658-6B30-4A00-ACAF-5B582B7ED65A}"/>
                </a:ext>
              </a:extLst>
            </p:cNvPr>
            <p:cNvGrpSpPr/>
            <p:nvPr/>
          </p:nvGrpSpPr>
          <p:grpSpPr>
            <a:xfrm>
              <a:off x="7985818" y="4495800"/>
              <a:ext cx="699394" cy="715367"/>
              <a:chOff x="7916018" y="4542433"/>
              <a:chExt cx="699394" cy="715367"/>
            </a:xfrm>
          </p:grpSpPr>
          <p:sp>
            <p:nvSpPr>
              <p:cNvPr id="93" name="Rectangle 92">
                <a:extLst>
                  <a:ext uri="{FF2B5EF4-FFF2-40B4-BE49-F238E27FC236}">
                    <a16:creationId xmlns:a16="http://schemas.microsoft.com/office/drawing/2014/main" id="{125D4284-A9AC-4F2F-8E7C-BFC872189382}"/>
                  </a:ext>
                </a:extLst>
              </p:cNvPr>
              <p:cNvSpPr/>
              <p:nvPr/>
            </p:nvSpPr>
            <p:spPr>
              <a:xfrm>
                <a:off x="8501492" y="4542433"/>
                <a:ext cx="113920" cy="118872"/>
              </a:xfrm>
              <a:prstGeom prst="rect">
                <a:avLst/>
              </a:prstGeom>
              <a:solidFill>
                <a:schemeClr val="bg2"/>
              </a:solidFill>
              <a:ln w="1270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>
                  <a:solidFill>
                    <a:srgbClr val="FFFFFF"/>
                  </a:solidFill>
                  <a:latin typeface="Oracle Sans" panose="020B0503020204020204" pitchFamily="34" charset="0"/>
                </a:endParaRPr>
              </a:p>
            </p:txBody>
          </p:sp>
          <p:sp>
            <p:nvSpPr>
              <p:cNvPr id="94" name="Rectangle 93">
                <a:extLst>
                  <a:ext uri="{FF2B5EF4-FFF2-40B4-BE49-F238E27FC236}">
                    <a16:creationId xmlns:a16="http://schemas.microsoft.com/office/drawing/2014/main" id="{EC8C8F5F-7841-4E87-B34D-B1B964469793}"/>
                  </a:ext>
                </a:extLst>
              </p:cNvPr>
              <p:cNvSpPr/>
              <p:nvPr/>
            </p:nvSpPr>
            <p:spPr>
              <a:xfrm>
                <a:off x="8208754" y="4542433"/>
                <a:ext cx="113920" cy="118872"/>
              </a:xfrm>
              <a:prstGeom prst="rect">
                <a:avLst/>
              </a:prstGeom>
              <a:solidFill>
                <a:schemeClr val="bg2"/>
              </a:solidFill>
              <a:ln w="1270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>
                  <a:solidFill>
                    <a:srgbClr val="FFFFFF"/>
                  </a:solidFill>
                  <a:latin typeface="Oracle Sans" panose="020B0503020204020204" pitchFamily="34" charset="0"/>
                </a:endParaRPr>
              </a:p>
            </p:txBody>
          </p:sp>
          <p:sp>
            <p:nvSpPr>
              <p:cNvPr id="95" name="Rectangle 94">
                <a:extLst>
                  <a:ext uri="{FF2B5EF4-FFF2-40B4-BE49-F238E27FC236}">
                    <a16:creationId xmlns:a16="http://schemas.microsoft.com/office/drawing/2014/main" id="{9CE20570-0424-44C7-B0F6-A980220486D3}"/>
                  </a:ext>
                </a:extLst>
              </p:cNvPr>
              <p:cNvSpPr/>
              <p:nvPr/>
            </p:nvSpPr>
            <p:spPr>
              <a:xfrm>
                <a:off x="7916018" y="4542433"/>
                <a:ext cx="113920" cy="118872"/>
              </a:xfrm>
              <a:prstGeom prst="rect">
                <a:avLst/>
              </a:prstGeom>
              <a:solidFill>
                <a:schemeClr val="bg2"/>
              </a:solidFill>
              <a:ln w="1270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>
                  <a:solidFill>
                    <a:srgbClr val="FFFFFF"/>
                  </a:solidFill>
                  <a:latin typeface="Oracle Sans" panose="020B0503020204020204" pitchFamily="34" charset="0"/>
                </a:endParaRPr>
              </a:p>
            </p:txBody>
          </p:sp>
          <p:sp>
            <p:nvSpPr>
              <p:cNvPr id="96" name="Rectangle 95">
                <a:extLst>
                  <a:ext uri="{FF2B5EF4-FFF2-40B4-BE49-F238E27FC236}">
                    <a16:creationId xmlns:a16="http://schemas.microsoft.com/office/drawing/2014/main" id="{9D0BC583-9FB0-4C29-997D-C0ED4EECF93D}"/>
                  </a:ext>
                </a:extLst>
              </p:cNvPr>
              <p:cNvSpPr/>
              <p:nvPr/>
            </p:nvSpPr>
            <p:spPr>
              <a:xfrm>
                <a:off x="8062386" y="4542433"/>
                <a:ext cx="113920" cy="118872"/>
              </a:xfrm>
              <a:prstGeom prst="rect">
                <a:avLst/>
              </a:prstGeom>
              <a:solidFill>
                <a:schemeClr val="bg2"/>
              </a:solidFill>
              <a:ln w="1270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>
                  <a:solidFill>
                    <a:srgbClr val="FFFFFF"/>
                  </a:solidFill>
                  <a:latin typeface="Oracle Sans" panose="020B0503020204020204" pitchFamily="34" charset="0"/>
                </a:endParaRPr>
              </a:p>
            </p:txBody>
          </p:sp>
          <p:sp>
            <p:nvSpPr>
              <p:cNvPr id="97" name="Rectangle 96">
                <a:extLst>
                  <a:ext uri="{FF2B5EF4-FFF2-40B4-BE49-F238E27FC236}">
                    <a16:creationId xmlns:a16="http://schemas.microsoft.com/office/drawing/2014/main" id="{22E5726B-06C8-4CD4-95F6-2ED7AD9677E3}"/>
                  </a:ext>
                </a:extLst>
              </p:cNvPr>
              <p:cNvSpPr/>
              <p:nvPr/>
            </p:nvSpPr>
            <p:spPr>
              <a:xfrm>
                <a:off x="8355122" y="4542433"/>
                <a:ext cx="113920" cy="118872"/>
              </a:xfrm>
              <a:prstGeom prst="rect">
                <a:avLst/>
              </a:prstGeom>
              <a:solidFill>
                <a:schemeClr val="bg2"/>
              </a:solidFill>
              <a:ln w="1270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>
                  <a:solidFill>
                    <a:srgbClr val="FFFFFF"/>
                  </a:solidFill>
                  <a:latin typeface="Oracle Sans" panose="020B0503020204020204" pitchFamily="34" charset="0"/>
                </a:endParaRPr>
              </a:p>
            </p:txBody>
          </p:sp>
          <p:grpSp>
            <p:nvGrpSpPr>
              <p:cNvPr id="98" name="Group 225">
                <a:extLst>
                  <a:ext uri="{FF2B5EF4-FFF2-40B4-BE49-F238E27FC236}">
                    <a16:creationId xmlns:a16="http://schemas.microsoft.com/office/drawing/2014/main" id="{612D3E4C-3BED-46C7-AA95-943853F196A1}"/>
                  </a:ext>
                </a:extLst>
              </p:cNvPr>
              <p:cNvGrpSpPr/>
              <p:nvPr/>
            </p:nvGrpSpPr>
            <p:grpSpPr>
              <a:xfrm>
                <a:off x="7916018" y="4691557"/>
                <a:ext cx="113920" cy="566243"/>
                <a:chOff x="7916018" y="4691557"/>
                <a:chExt cx="113920" cy="566243"/>
              </a:xfrm>
            </p:grpSpPr>
            <p:sp>
              <p:nvSpPr>
                <p:cNvPr id="119" name="Rectangle 118">
                  <a:extLst>
                    <a:ext uri="{FF2B5EF4-FFF2-40B4-BE49-F238E27FC236}">
                      <a16:creationId xmlns:a16="http://schemas.microsoft.com/office/drawing/2014/main" id="{352114B6-1F93-4528-A0C7-591C905CB0A9}"/>
                    </a:ext>
                  </a:extLst>
                </p:cNvPr>
                <p:cNvSpPr/>
                <p:nvPr/>
              </p:nvSpPr>
              <p:spPr>
                <a:xfrm>
                  <a:off x="7916018" y="4691557"/>
                  <a:ext cx="113920" cy="118872"/>
                </a:xfrm>
                <a:prstGeom prst="rect">
                  <a:avLst/>
                </a:prstGeom>
                <a:solidFill>
                  <a:schemeClr val="bg2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fontAlgn="base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>
                    <a:solidFill>
                      <a:srgbClr val="FFFFFF"/>
                    </a:solidFill>
                    <a:latin typeface="Oracle Sans" panose="020B0503020204020204" pitchFamily="34" charset="0"/>
                  </a:endParaRPr>
                </a:p>
              </p:txBody>
            </p:sp>
            <p:sp>
              <p:nvSpPr>
                <p:cNvPr id="120" name="Rectangle 119">
                  <a:extLst>
                    <a:ext uri="{FF2B5EF4-FFF2-40B4-BE49-F238E27FC236}">
                      <a16:creationId xmlns:a16="http://schemas.microsoft.com/office/drawing/2014/main" id="{30C912FF-1F02-4BAE-B369-D0089D7FA305}"/>
                    </a:ext>
                  </a:extLst>
                </p:cNvPr>
                <p:cNvSpPr/>
                <p:nvPr/>
              </p:nvSpPr>
              <p:spPr>
                <a:xfrm>
                  <a:off x="7916018" y="4840681"/>
                  <a:ext cx="113920" cy="118872"/>
                </a:xfrm>
                <a:prstGeom prst="rect">
                  <a:avLst/>
                </a:prstGeom>
                <a:solidFill>
                  <a:schemeClr val="bg2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fontAlgn="base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>
                    <a:solidFill>
                      <a:srgbClr val="FFFFFF"/>
                    </a:solidFill>
                    <a:latin typeface="Oracle Sans" panose="020B0503020204020204" pitchFamily="34" charset="0"/>
                  </a:endParaRPr>
                </a:p>
              </p:txBody>
            </p:sp>
            <p:sp>
              <p:nvSpPr>
                <p:cNvPr id="121" name="Rectangle 120">
                  <a:extLst>
                    <a:ext uri="{FF2B5EF4-FFF2-40B4-BE49-F238E27FC236}">
                      <a16:creationId xmlns:a16="http://schemas.microsoft.com/office/drawing/2014/main" id="{CE667D8D-4651-4B3B-985C-20E8FDF6756C}"/>
                    </a:ext>
                  </a:extLst>
                </p:cNvPr>
                <p:cNvSpPr/>
                <p:nvPr/>
              </p:nvSpPr>
              <p:spPr>
                <a:xfrm>
                  <a:off x="7916018" y="4989805"/>
                  <a:ext cx="113920" cy="118872"/>
                </a:xfrm>
                <a:prstGeom prst="rect">
                  <a:avLst/>
                </a:prstGeom>
                <a:solidFill>
                  <a:schemeClr val="bg2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fontAlgn="base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>
                    <a:solidFill>
                      <a:srgbClr val="0070C0"/>
                    </a:solidFill>
                    <a:latin typeface="Oracle Sans" panose="020B0503020204020204" pitchFamily="34" charset="0"/>
                  </a:endParaRPr>
                </a:p>
              </p:txBody>
            </p:sp>
            <p:sp>
              <p:nvSpPr>
                <p:cNvPr id="122" name="Rectangle 121">
                  <a:extLst>
                    <a:ext uri="{FF2B5EF4-FFF2-40B4-BE49-F238E27FC236}">
                      <a16:creationId xmlns:a16="http://schemas.microsoft.com/office/drawing/2014/main" id="{58248860-EB3E-4A31-9C4D-63BEC61C2141}"/>
                    </a:ext>
                  </a:extLst>
                </p:cNvPr>
                <p:cNvSpPr/>
                <p:nvPr/>
              </p:nvSpPr>
              <p:spPr>
                <a:xfrm>
                  <a:off x="7916018" y="5138928"/>
                  <a:ext cx="113920" cy="118872"/>
                </a:xfrm>
                <a:prstGeom prst="rect">
                  <a:avLst/>
                </a:prstGeom>
                <a:solidFill>
                  <a:schemeClr val="bg2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fontAlgn="base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>
                    <a:solidFill>
                      <a:srgbClr val="FFFFFF"/>
                    </a:solidFill>
                    <a:latin typeface="Oracle Sans" panose="020B0503020204020204" pitchFamily="34" charset="0"/>
                  </a:endParaRPr>
                </a:p>
              </p:txBody>
            </p:sp>
          </p:grpSp>
          <p:grpSp>
            <p:nvGrpSpPr>
              <p:cNvPr id="99" name="Group 226">
                <a:extLst>
                  <a:ext uri="{FF2B5EF4-FFF2-40B4-BE49-F238E27FC236}">
                    <a16:creationId xmlns:a16="http://schemas.microsoft.com/office/drawing/2014/main" id="{35A6DED1-6FDE-4769-850B-21BE7732307F}"/>
                  </a:ext>
                </a:extLst>
              </p:cNvPr>
              <p:cNvGrpSpPr/>
              <p:nvPr/>
            </p:nvGrpSpPr>
            <p:grpSpPr>
              <a:xfrm>
                <a:off x="8062386" y="4691557"/>
                <a:ext cx="113920" cy="566243"/>
                <a:chOff x="7916018" y="4691557"/>
                <a:chExt cx="113920" cy="566243"/>
              </a:xfrm>
            </p:grpSpPr>
            <p:sp>
              <p:nvSpPr>
                <p:cNvPr id="115" name="Rectangle 114">
                  <a:extLst>
                    <a:ext uri="{FF2B5EF4-FFF2-40B4-BE49-F238E27FC236}">
                      <a16:creationId xmlns:a16="http://schemas.microsoft.com/office/drawing/2014/main" id="{C23CD532-CDC8-4435-8187-0BE10E3AD3B3}"/>
                    </a:ext>
                  </a:extLst>
                </p:cNvPr>
                <p:cNvSpPr/>
                <p:nvPr/>
              </p:nvSpPr>
              <p:spPr>
                <a:xfrm>
                  <a:off x="7916018" y="4691557"/>
                  <a:ext cx="113920" cy="118872"/>
                </a:xfrm>
                <a:prstGeom prst="rect">
                  <a:avLst/>
                </a:prstGeom>
                <a:solidFill>
                  <a:schemeClr val="bg2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fontAlgn="base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>
                    <a:solidFill>
                      <a:srgbClr val="FFFFFF"/>
                    </a:solidFill>
                    <a:latin typeface="Oracle Sans" panose="020B0503020204020204" pitchFamily="34" charset="0"/>
                  </a:endParaRPr>
                </a:p>
              </p:txBody>
            </p:sp>
            <p:sp>
              <p:nvSpPr>
                <p:cNvPr id="116" name="Rectangle 115">
                  <a:extLst>
                    <a:ext uri="{FF2B5EF4-FFF2-40B4-BE49-F238E27FC236}">
                      <a16:creationId xmlns:a16="http://schemas.microsoft.com/office/drawing/2014/main" id="{CAC9548C-9848-4C1A-BA9A-3234BA37370E}"/>
                    </a:ext>
                  </a:extLst>
                </p:cNvPr>
                <p:cNvSpPr/>
                <p:nvPr/>
              </p:nvSpPr>
              <p:spPr>
                <a:xfrm>
                  <a:off x="7916018" y="4840681"/>
                  <a:ext cx="113920" cy="118872"/>
                </a:xfrm>
                <a:prstGeom prst="rect">
                  <a:avLst/>
                </a:prstGeom>
                <a:solidFill>
                  <a:schemeClr val="accent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fontAlgn="base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>
                    <a:solidFill>
                      <a:srgbClr val="FFFFFF"/>
                    </a:solidFill>
                    <a:latin typeface="Oracle Sans" panose="020B0503020204020204" pitchFamily="34" charset="0"/>
                  </a:endParaRPr>
                </a:p>
              </p:txBody>
            </p:sp>
            <p:sp>
              <p:nvSpPr>
                <p:cNvPr id="117" name="Rectangle 116">
                  <a:extLst>
                    <a:ext uri="{FF2B5EF4-FFF2-40B4-BE49-F238E27FC236}">
                      <a16:creationId xmlns:a16="http://schemas.microsoft.com/office/drawing/2014/main" id="{1F130A19-7D5D-4FF9-B8E7-D2A3CE0B7702}"/>
                    </a:ext>
                  </a:extLst>
                </p:cNvPr>
                <p:cNvSpPr/>
                <p:nvPr/>
              </p:nvSpPr>
              <p:spPr>
                <a:xfrm>
                  <a:off x="7916018" y="4989805"/>
                  <a:ext cx="113920" cy="118872"/>
                </a:xfrm>
                <a:prstGeom prst="rect">
                  <a:avLst/>
                </a:prstGeom>
                <a:solidFill>
                  <a:schemeClr val="accent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fontAlgn="base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>
                    <a:solidFill>
                      <a:srgbClr val="0070C0"/>
                    </a:solidFill>
                    <a:latin typeface="Oracle Sans" panose="020B0503020204020204" pitchFamily="34" charset="0"/>
                  </a:endParaRPr>
                </a:p>
              </p:txBody>
            </p:sp>
            <p:sp>
              <p:nvSpPr>
                <p:cNvPr id="118" name="Rectangle 117">
                  <a:extLst>
                    <a:ext uri="{FF2B5EF4-FFF2-40B4-BE49-F238E27FC236}">
                      <a16:creationId xmlns:a16="http://schemas.microsoft.com/office/drawing/2014/main" id="{837336D9-83F2-4D3C-B02C-1FA784487616}"/>
                    </a:ext>
                  </a:extLst>
                </p:cNvPr>
                <p:cNvSpPr/>
                <p:nvPr/>
              </p:nvSpPr>
              <p:spPr>
                <a:xfrm>
                  <a:off x="7916018" y="5138928"/>
                  <a:ext cx="113920" cy="118872"/>
                </a:xfrm>
                <a:prstGeom prst="rect">
                  <a:avLst/>
                </a:prstGeom>
                <a:solidFill>
                  <a:schemeClr val="bg2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fontAlgn="base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>
                    <a:solidFill>
                      <a:srgbClr val="FFFFFF"/>
                    </a:solidFill>
                    <a:latin typeface="Oracle Sans" panose="020B0503020204020204" pitchFamily="34" charset="0"/>
                  </a:endParaRPr>
                </a:p>
              </p:txBody>
            </p:sp>
          </p:grpSp>
          <p:grpSp>
            <p:nvGrpSpPr>
              <p:cNvPr id="100" name="Group 227">
                <a:extLst>
                  <a:ext uri="{FF2B5EF4-FFF2-40B4-BE49-F238E27FC236}">
                    <a16:creationId xmlns:a16="http://schemas.microsoft.com/office/drawing/2014/main" id="{0ECD286F-7C5F-4237-A60D-6D63251E9F6C}"/>
                  </a:ext>
                </a:extLst>
              </p:cNvPr>
              <p:cNvGrpSpPr/>
              <p:nvPr/>
            </p:nvGrpSpPr>
            <p:grpSpPr>
              <a:xfrm>
                <a:off x="8208754" y="4691557"/>
                <a:ext cx="113920" cy="566243"/>
                <a:chOff x="7916018" y="4691557"/>
                <a:chExt cx="113920" cy="566243"/>
              </a:xfrm>
            </p:grpSpPr>
            <p:sp>
              <p:nvSpPr>
                <p:cNvPr id="111" name="Rectangle 110">
                  <a:extLst>
                    <a:ext uri="{FF2B5EF4-FFF2-40B4-BE49-F238E27FC236}">
                      <a16:creationId xmlns:a16="http://schemas.microsoft.com/office/drawing/2014/main" id="{BA2141F1-4326-46C6-B30D-950835942A38}"/>
                    </a:ext>
                  </a:extLst>
                </p:cNvPr>
                <p:cNvSpPr/>
                <p:nvPr/>
              </p:nvSpPr>
              <p:spPr>
                <a:xfrm>
                  <a:off x="7916018" y="4691557"/>
                  <a:ext cx="113920" cy="118872"/>
                </a:xfrm>
                <a:prstGeom prst="rect">
                  <a:avLst/>
                </a:prstGeom>
                <a:solidFill>
                  <a:schemeClr val="bg2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fontAlgn="base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>
                    <a:solidFill>
                      <a:srgbClr val="FFFFFF"/>
                    </a:solidFill>
                    <a:latin typeface="Oracle Sans" panose="020B0503020204020204" pitchFamily="34" charset="0"/>
                  </a:endParaRPr>
                </a:p>
              </p:txBody>
            </p:sp>
            <p:sp>
              <p:nvSpPr>
                <p:cNvPr id="112" name="Rectangle 111">
                  <a:extLst>
                    <a:ext uri="{FF2B5EF4-FFF2-40B4-BE49-F238E27FC236}">
                      <a16:creationId xmlns:a16="http://schemas.microsoft.com/office/drawing/2014/main" id="{EB1513F8-08AB-404C-BD16-04EB6B222FA4}"/>
                    </a:ext>
                  </a:extLst>
                </p:cNvPr>
                <p:cNvSpPr/>
                <p:nvPr/>
              </p:nvSpPr>
              <p:spPr>
                <a:xfrm>
                  <a:off x="7916018" y="4840681"/>
                  <a:ext cx="113920" cy="118872"/>
                </a:xfrm>
                <a:prstGeom prst="rect">
                  <a:avLst/>
                </a:prstGeom>
                <a:solidFill>
                  <a:schemeClr val="bg2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fontAlgn="base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>
                    <a:solidFill>
                      <a:srgbClr val="FFFFFF"/>
                    </a:solidFill>
                    <a:latin typeface="Oracle Sans" panose="020B0503020204020204" pitchFamily="34" charset="0"/>
                  </a:endParaRPr>
                </a:p>
              </p:txBody>
            </p:sp>
            <p:sp>
              <p:nvSpPr>
                <p:cNvPr id="113" name="Rectangle 112">
                  <a:extLst>
                    <a:ext uri="{FF2B5EF4-FFF2-40B4-BE49-F238E27FC236}">
                      <a16:creationId xmlns:a16="http://schemas.microsoft.com/office/drawing/2014/main" id="{EB6B0773-32F0-4A29-9ED2-EBB44DAEE092}"/>
                    </a:ext>
                  </a:extLst>
                </p:cNvPr>
                <p:cNvSpPr/>
                <p:nvPr/>
              </p:nvSpPr>
              <p:spPr>
                <a:xfrm>
                  <a:off x="7916018" y="4989805"/>
                  <a:ext cx="113920" cy="118872"/>
                </a:xfrm>
                <a:prstGeom prst="rect">
                  <a:avLst/>
                </a:prstGeom>
                <a:solidFill>
                  <a:schemeClr val="bg2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fontAlgn="base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>
                    <a:solidFill>
                      <a:srgbClr val="0070C0"/>
                    </a:solidFill>
                    <a:latin typeface="Oracle Sans" panose="020B0503020204020204" pitchFamily="34" charset="0"/>
                  </a:endParaRPr>
                </a:p>
              </p:txBody>
            </p:sp>
            <p:sp>
              <p:nvSpPr>
                <p:cNvPr id="114" name="Rectangle 113">
                  <a:extLst>
                    <a:ext uri="{FF2B5EF4-FFF2-40B4-BE49-F238E27FC236}">
                      <a16:creationId xmlns:a16="http://schemas.microsoft.com/office/drawing/2014/main" id="{45201BE5-AD66-48AF-9DFE-0C40472122B4}"/>
                    </a:ext>
                  </a:extLst>
                </p:cNvPr>
                <p:cNvSpPr/>
                <p:nvPr/>
              </p:nvSpPr>
              <p:spPr>
                <a:xfrm>
                  <a:off x="7916018" y="5138928"/>
                  <a:ext cx="113920" cy="118872"/>
                </a:xfrm>
                <a:prstGeom prst="rect">
                  <a:avLst/>
                </a:prstGeom>
                <a:solidFill>
                  <a:schemeClr val="bg2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fontAlgn="base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>
                    <a:solidFill>
                      <a:srgbClr val="FFFFFF"/>
                    </a:solidFill>
                    <a:latin typeface="Oracle Sans" panose="020B0503020204020204" pitchFamily="34" charset="0"/>
                  </a:endParaRPr>
                </a:p>
              </p:txBody>
            </p:sp>
          </p:grpSp>
          <p:grpSp>
            <p:nvGrpSpPr>
              <p:cNvPr id="101" name="Group 228">
                <a:extLst>
                  <a:ext uri="{FF2B5EF4-FFF2-40B4-BE49-F238E27FC236}">
                    <a16:creationId xmlns:a16="http://schemas.microsoft.com/office/drawing/2014/main" id="{06FCB9D3-BA4A-4704-900A-EC3ABF7C51DE}"/>
                  </a:ext>
                </a:extLst>
              </p:cNvPr>
              <p:cNvGrpSpPr/>
              <p:nvPr/>
            </p:nvGrpSpPr>
            <p:grpSpPr>
              <a:xfrm>
                <a:off x="8355122" y="4691557"/>
                <a:ext cx="113920" cy="566243"/>
                <a:chOff x="7916018" y="4691557"/>
                <a:chExt cx="113920" cy="566243"/>
              </a:xfrm>
            </p:grpSpPr>
            <p:sp>
              <p:nvSpPr>
                <p:cNvPr id="107" name="Rectangle 106">
                  <a:extLst>
                    <a:ext uri="{FF2B5EF4-FFF2-40B4-BE49-F238E27FC236}">
                      <a16:creationId xmlns:a16="http://schemas.microsoft.com/office/drawing/2014/main" id="{1A876523-D3EE-4401-8E34-CD4996A1561F}"/>
                    </a:ext>
                  </a:extLst>
                </p:cNvPr>
                <p:cNvSpPr/>
                <p:nvPr/>
              </p:nvSpPr>
              <p:spPr>
                <a:xfrm>
                  <a:off x="7916018" y="4691557"/>
                  <a:ext cx="113920" cy="118872"/>
                </a:xfrm>
                <a:prstGeom prst="rect">
                  <a:avLst/>
                </a:prstGeom>
                <a:solidFill>
                  <a:schemeClr val="bg2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fontAlgn="base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>
                    <a:solidFill>
                      <a:srgbClr val="FFFFFF"/>
                    </a:solidFill>
                    <a:latin typeface="Oracle Sans" panose="020B0503020204020204" pitchFamily="34" charset="0"/>
                  </a:endParaRPr>
                </a:p>
              </p:txBody>
            </p:sp>
            <p:sp>
              <p:nvSpPr>
                <p:cNvPr id="108" name="Rectangle 107">
                  <a:extLst>
                    <a:ext uri="{FF2B5EF4-FFF2-40B4-BE49-F238E27FC236}">
                      <a16:creationId xmlns:a16="http://schemas.microsoft.com/office/drawing/2014/main" id="{01DF712C-3552-43FD-8198-74CD4F24321A}"/>
                    </a:ext>
                  </a:extLst>
                </p:cNvPr>
                <p:cNvSpPr/>
                <p:nvPr/>
              </p:nvSpPr>
              <p:spPr>
                <a:xfrm>
                  <a:off x="7916018" y="4840681"/>
                  <a:ext cx="113920" cy="118872"/>
                </a:xfrm>
                <a:prstGeom prst="rect">
                  <a:avLst/>
                </a:prstGeom>
                <a:solidFill>
                  <a:schemeClr val="bg2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fontAlgn="base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>
                    <a:solidFill>
                      <a:srgbClr val="FFFFFF"/>
                    </a:solidFill>
                    <a:latin typeface="Oracle Sans" panose="020B0503020204020204" pitchFamily="34" charset="0"/>
                  </a:endParaRPr>
                </a:p>
              </p:txBody>
            </p:sp>
            <p:sp>
              <p:nvSpPr>
                <p:cNvPr id="109" name="Rectangle 108">
                  <a:extLst>
                    <a:ext uri="{FF2B5EF4-FFF2-40B4-BE49-F238E27FC236}">
                      <a16:creationId xmlns:a16="http://schemas.microsoft.com/office/drawing/2014/main" id="{FA97EA2D-A01C-4C24-A787-110C3C40616A}"/>
                    </a:ext>
                  </a:extLst>
                </p:cNvPr>
                <p:cNvSpPr/>
                <p:nvPr/>
              </p:nvSpPr>
              <p:spPr>
                <a:xfrm>
                  <a:off x="7916018" y="4989805"/>
                  <a:ext cx="113920" cy="118872"/>
                </a:xfrm>
                <a:prstGeom prst="rect">
                  <a:avLst/>
                </a:prstGeom>
                <a:solidFill>
                  <a:schemeClr val="bg2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fontAlgn="base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>
                    <a:solidFill>
                      <a:srgbClr val="0070C0"/>
                    </a:solidFill>
                    <a:latin typeface="Oracle Sans" panose="020B0503020204020204" pitchFamily="34" charset="0"/>
                  </a:endParaRPr>
                </a:p>
              </p:txBody>
            </p:sp>
            <p:sp>
              <p:nvSpPr>
                <p:cNvPr id="110" name="Rectangle 109">
                  <a:extLst>
                    <a:ext uri="{FF2B5EF4-FFF2-40B4-BE49-F238E27FC236}">
                      <a16:creationId xmlns:a16="http://schemas.microsoft.com/office/drawing/2014/main" id="{A00677C3-910D-4F9E-89AF-2CB071F89562}"/>
                    </a:ext>
                  </a:extLst>
                </p:cNvPr>
                <p:cNvSpPr/>
                <p:nvPr/>
              </p:nvSpPr>
              <p:spPr>
                <a:xfrm>
                  <a:off x="7916018" y="5138928"/>
                  <a:ext cx="113920" cy="118872"/>
                </a:xfrm>
                <a:prstGeom prst="rect">
                  <a:avLst/>
                </a:prstGeom>
                <a:solidFill>
                  <a:schemeClr val="accent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fontAlgn="base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>
                    <a:solidFill>
                      <a:srgbClr val="FFFFFF"/>
                    </a:solidFill>
                    <a:latin typeface="Oracle Sans" panose="020B0503020204020204" pitchFamily="34" charset="0"/>
                  </a:endParaRPr>
                </a:p>
              </p:txBody>
            </p:sp>
          </p:grpSp>
          <p:grpSp>
            <p:nvGrpSpPr>
              <p:cNvPr id="102" name="Group 229">
                <a:extLst>
                  <a:ext uri="{FF2B5EF4-FFF2-40B4-BE49-F238E27FC236}">
                    <a16:creationId xmlns:a16="http://schemas.microsoft.com/office/drawing/2014/main" id="{7DD0F2C9-2FB8-478A-AFD8-0473A9D61E0B}"/>
                  </a:ext>
                </a:extLst>
              </p:cNvPr>
              <p:cNvGrpSpPr/>
              <p:nvPr/>
            </p:nvGrpSpPr>
            <p:grpSpPr>
              <a:xfrm>
                <a:off x="8501492" y="4691557"/>
                <a:ext cx="113920" cy="566243"/>
                <a:chOff x="7916018" y="4691557"/>
                <a:chExt cx="113920" cy="566243"/>
              </a:xfrm>
            </p:grpSpPr>
            <p:sp>
              <p:nvSpPr>
                <p:cNvPr id="103" name="Rectangle 102">
                  <a:extLst>
                    <a:ext uri="{FF2B5EF4-FFF2-40B4-BE49-F238E27FC236}">
                      <a16:creationId xmlns:a16="http://schemas.microsoft.com/office/drawing/2014/main" id="{1FCC8C1E-70B7-4F57-8E85-40BAAAD56933}"/>
                    </a:ext>
                  </a:extLst>
                </p:cNvPr>
                <p:cNvSpPr/>
                <p:nvPr/>
              </p:nvSpPr>
              <p:spPr>
                <a:xfrm>
                  <a:off x="7916018" y="4691557"/>
                  <a:ext cx="113920" cy="118872"/>
                </a:xfrm>
                <a:prstGeom prst="rect">
                  <a:avLst/>
                </a:prstGeom>
                <a:solidFill>
                  <a:schemeClr val="bg2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fontAlgn="base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>
                    <a:solidFill>
                      <a:srgbClr val="FFFFFF"/>
                    </a:solidFill>
                    <a:latin typeface="Oracle Sans" panose="020B0503020204020204" pitchFamily="34" charset="0"/>
                  </a:endParaRPr>
                </a:p>
              </p:txBody>
            </p:sp>
            <p:sp>
              <p:nvSpPr>
                <p:cNvPr id="104" name="Rectangle 103">
                  <a:extLst>
                    <a:ext uri="{FF2B5EF4-FFF2-40B4-BE49-F238E27FC236}">
                      <a16:creationId xmlns:a16="http://schemas.microsoft.com/office/drawing/2014/main" id="{531DFFEC-C529-4115-8CA8-1C79B0CB5442}"/>
                    </a:ext>
                  </a:extLst>
                </p:cNvPr>
                <p:cNvSpPr/>
                <p:nvPr/>
              </p:nvSpPr>
              <p:spPr>
                <a:xfrm>
                  <a:off x="7916018" y="4840681"/>
                  <a:ext cx="113920" cy="118872"/>
                </a:xfrm>
                <a:prstGeom prst="rect">
                  <a:avLst/>
                </a:prstGeom>
                <a:solidFill>
                  <a:schemeClr val="bg2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fontAlgn="base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>
                    <a:solidFill>
                      <a:srgbClr val="FFFFFF"/>
                    </a:solidFill>
                    <a:latin typeface="Oracle Sans" panose="020B0503020204020204" pitchFamily="34" charset="0"/>
                  </a:endParaRPr>
                </a:p>
              </p:txBody>
            </p:sp>
            <p:sp>
              <p:nvSpPr>
                <p:cNvPr id="105" name="Rectangle 104">
                  <a:extLst>
                    <a:ext uri="{FF2B5EF4-FFF2-40B4-BE49-F238E27FC236}">
                      <a16:creationId xmlns:a16="http://schemas.microsoft.com/office/drawing/2014/main" id="{88A42D96-F82B-474A-9C20-42517B8D11DF}"/>
                    </a:ext>
                  </a:extLst>
                </p:cNvPr>
                <p:cNvSpPr/>
                <p:nvPr/>
              </p:nvSpPr>
              <p:spPr>
                <a:xfrm>
                  <a:off x="7916018" y="4989805"/>
                  <a:ext cx="113920" cy="118872"/>
                </a:xfrm>
                <a:prstGeom prst="rect">
                  <a:avLst/>
                </a:prstGeom>
                <a:solidFill>
                  <a:schemeClr val="bg2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fontAlgn="base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>
                    <a:solidFill>
                      <a:srgbClr val="0070C0"/>
                    </a:solidFill>
                    <a:latin typeface="Oracle Sans" panose="020B0503020204020204" pitchFamily="34" charset="0"/>
                  </a:endParaRPr>
                </a:p>
              </p:txBody>
            </p:sp>
            <p:sp>
              <p:nvSpPr>
                <p:cNvPr id="106" name="Rectangle 105">
                  <a:extLst>
                    <a:ext uri="{FF2B5EF4-FFF2-40B4-BE49-F238E27FC236}">
                      <a16:creationId xmlns:a16="http://schemas.microsoft.com/office/drawing/2014/main" id="{01C7C3BB-2426-4B32-A0AB-4EC64614B040}"/>
                    </a:ext>
                  </a:extLst>
                </p:cNvPr>
                <p:cNvSpPr/>
                <p:nvPr/>
              </p:nvSpPr>
              <p:spPr>
                <a:xfrm>
                  <a:off x="7916018" y="5138928"/>
                  <a:ext cx="113920" cy="118872"/>
                </a:xfrm>
                <a:prstGeom prst="rect">
                  <a:avLst/>
                </a:prstGeom>
                <a:solidFill>
                  <a:schemeClr val="accent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fontAlgn="base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>
                    <a:solidFill>
                      <a:srgbClr val="FFFFFF"/>
                    </a:solidFill>
                    <a:latin typeface="Oracle Sans" panose="020B0503020204020204" pitchFamily="34" charset="0"/>
                  </a:endParaRPr>
                </a:p>
              </p:txBody>
            </p:sp>
          </p:grpSp>
        </p:grpSp>
      </p:grpSp>
      <p:grpSp>
        <p:nvGrpSpPr>
          <p:cNvPr id="154" name="Group 186">
            <a:extLst>
              <a:ext uri="{FF2B5EF4-FFF2-40B4-BE49-F238E27FC236}">
                <a16:creationId xmlns:a16="http://schemas.microsoft.com/office/drawing/2014/main" id="{2E843F13-5DA9-4C50-B59F-4BDF9FD38B69}"/>
              </a:ext>
            </a:extLst>
          </p:cNvPr>
          <p:cNvGrpSpPr/>
          <p:nvPr/>
        </p:nvGrpSpPr>
        <p:grpSpPr>
          <a:xfrm>
            <a:off x="9195471" y="4619472"/>
            <a:ext cx="699394" cy="715367"/>
            <a:chOff x="7916018" y="4542433"/>
            <a:chExt cx="699394" cy="715367"/>
          </a:xfrm>
        </p:grpSpPr>
        <p:sp>
          <p:nvSpPr>
            <p:cNvPr id="155" name="Rectangle 154">
              <a:extLst>
                <a:ext uri="{FF2B5EF4-FFF2-40B4-BE49-F238E27FC236}">
                  <a16:creationId xmlns:a16="http://schemas.microsoft.com/office/drawing/2014/main" id="{117DF164-DD27-4930-B3BF-D1961E95BB9C}"/>
                </a:ext>
              </a:extLst>
            </p:cNvPr>
            <p:cNvSpPr/>
            <p:nvPr/>
          </p:nvSpPr>
          <p:spPr>
            <a:xfrm>
              <a:off x="8501492" y="4542433"/>
              <a:ext cx="113920" cy="118872"/>
            </a:xfrm>
            <a:prstGeom prst="rect">
              <a:avLst/>
            </a:prstGeom>
            <a:noFill/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>
                <a:solidFill>
                  <a:srgbClr val="FFFFFF"/>
                </a:solidFill>
                <a:latin typeface="Oracle Sans" panose="020B0503020204020204" pitchFamily="34" charset="0"/>
              </a:endParaRPr>
            </a:p>
          </p:txBody>
        </p:sp>
        <p:sp>
          <p:nvSpPr>
            <p:cNvPr id="156" name="Rectangle 155">
              <a:extLst>
                <a:ext uri="{FF2B5EF4-FFF2-40B4-BE49-F238E27FC236}">
                  <a16:creationId xmlns:a16="http://schemas.microsoft.com/office/drawing/2014/main" id="{28548CF7-485D-48C5-9FD6-B460E3716558}"/>
                </a:ext>
              </a:extLst>
            </p:cNvPr>
            <p:cNvSpPr/>
            <p:nvPr/>
          </p:nvSpPr>
          <p:spPr>
            <a:xfrm>
              <a:off x="8208754" y="4542433"/>
              <a:ext cx="113920" cy="118872"/>
            </a:xfrm>
            <a:prstGeom prst="rect">
              <a:avLst/>
            </a:prstGeom>
            <a:noFill/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>
                <a:solidFill>
                  <a:srgbClr val="FFFFFF"/>
                </a:solidFill>
                <a:latin typeface="Oracle Sans" panose="020B0503020204020204" pitchFamily="34" charset="0"/>
              </a:endParaRPr>
            </a:p>
          </p:txBody>
        </p:sp>
        <p:sp>
          <p:nvSpPr>
            <p:cNvPr id="157" name="Rectangle 156">
              <a:extLst>
                <a:ext uri="{FF2B5EF4-FFF2-40B4-BE49-F238E27FC236}">
                  <a16:creationId xmlns:a16="http://schemas.microsoft.com/office/drawing/2014/main" id="{B45CFE85-9B23-4DE0-9A09-D88C20E87934}"/>
                </a:ext>
              </a:extLst>
            </p:cNvPr>
            <p:cNvSpPr/>
            <p:nvPr/>
          </p:nvSpPr>
          <p:spPr>
            <a:xfrm>
              <a:off x="7916018" y="4542433"/>
              <a:ext cx="113920" cy="118872"/>
            </a:xfrm>
            <a:prstGeom prst="rect">
              <a:avLst/>
            </a:prstGeom>
            <a:noFill/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>
                <a:solidFill>
                  <a:srgbClr val="FFFFFF"/>
                </a:solidFill>
                <a:latin typeface="Oracle Sans" panose="020B0503020204020204" pitchFamily="34" charset="0"/>
              </a:endParaRPr>
            </a:p>
          </p:txBody>
        </p:sp>
        <p:sp>
          <p:nvSpPr>
            <p:cNvPr id="158" name="Rectangle 157">
              <a:extLst>
                <a:ext uri="{FF2B5EF4-FFF2-40B4-BE49-F238E27FC236}">
                  <a16:creationId xmlns:a16="http://schemas.microsoft.com/office/drawing/2014/main" id="{AE72324F-73A2-4720-8AF0-63AE32B36A8A}"/>
                </a:ext>
              </a:extLst>
            </p:cNvPr>
            <p:cNvSpPr/>
            <p:nvPr/>
          </p:nvSpPr>
          <p:spPr>
            <a:xfrm>
              <a:off x="8062386" y="4542433"/>
              <a:ext cx="113920" cy="118872"/>
            </a:xfrm>
            <a:prstGeom prst="rect">
              <a:avLst/>
            </a:prstGeom>
            <a:noFill/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>
                <a:solidFill>
                  <a:srgbClr val="FFFFFF"/>
                </a:solidFill>
                <a:latin typeface="Oracle Sans" panose="020B0503020204020204" pitchFamily="34" charset="0"/>
              </a:endParaRPr>
            </a:p>
          </p:txBody>
        </p:sp>
        <p:sp>
          <p:nvSpPr>
            <p:cNvPr id="159" name="Rectangle 158">
              <a:extLst>
                <a:ext uri="{FF2B5EF4-FFF2-40B4-BE49-F238E27FC236}">
                  <a16:creationId xmlns:a16="http://schemas.microsoft.com/office/drawing/2014/main" id="{E7ECA049-A70A-43BB-B0CE-F6FE467582C8}"/>
                </a:ext>
              </a:extLst>
            </p:cNvPr>
            <p:cNvSpPr/>
            <p:nvPr/>
          </p:nvSpPr>
          <p:spPr>
            <a:xfrm>
              <a:off x="8355122" y="4542433"/>
              <a:ext cx="113920" cy="118872"/>
            </a:xfrm>
            <a:prstGeom prst="rect">
              <a:avLst/>
            </a:prstGeom>
            <a:noFill/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>
                <a:solidFill>
                  <a:srgbClr val="FFFFFF"/>
                </a:solidFill>
                <a:latin typeface="Oracle Sans" panose="020B0503020204020204" pitchFamily="34" charset="0"/>
              </a:endParaRPr>
            </a:p>
          </p:txBody>
        </p:sp>
        <p:grpSp>
          <p:nvGrpSpPr>
            <p:cNvPr id="160" name="Group 192">
              <a:extLst>
                <a:ext uri="{FF2B5EF4-FFF2-40B4-BE49-F238E27FC236}">
                  <a16:creationId xmlns:a16="http://schemas.microsoft.com/office/drawing/2014/main" id="{DA1D2325-0242-4ED4-B12E-D5AA4BA9C78E}"/>
                </a:ext>
              </a:extLst>
            </p:cNvPr>
            <p:cNvGrpSpPr/>
            <p:nvPr/>
          </p:nvGrpSpPr>
          <p:grpSpPr>
            <a:xfrm>
              <a:off x="7916018" y="4840681"/>
              <a:ext cx="113920" cy="417119"/>
              <a:chOff x="7916018" y="4840681"/>
              <a:chExt cx="113920" cy="417119"/>
            </a:xfrm>
          </p:grpSpPr>
          <p:sp>
            <p:nvSpPr>
              <p:cNvPr id="182" name="Rectangle 181">
                <a:extLst>
                  <a:ext uri="{FF2B5EF4-FFF2-40B4-BE49-F238E27FC236}">
                    <a16:creationId xmlns:a16="http://schemas.microsoft.com/office/drawing/2014/main" id="{F3758E1D-5DC0-46DF-963F-231D96509AD0}"/>
                  </a:ext>
                </a:extLst>
              </p:cNvPr>
              <p:cNvSpPr/>
              <p:nvPr/>
            </p:nvSpPr>
            <p:spPr>
              <a:xfrm>
                <a:off x="7916018" y="4840681"/>
                <a:ext cx="113920" cy="118872"/>
              </a:xfrm>
              <a:prstGeom prst="rect">
                <a:avLst/>
              </a:prstGeom>
              <a:noFill/>
              <a:ln w="127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>
                  <a:solidFill>
                    <a:srgbClr val="FFFFFF"/>
                  </a:solidFill>
                  <a:latin typeface="Oracle Sans" panose="020B0503020204020204" pitchFamily="34" charset="0"/>
                </a:endParaRPr>
              </a:p>
            </p:txBody>
          </p:sp>
          <p:sp>
            <p:nvSpPr>
              <p:cNvPr id="183" name="Rectangle 182">
                <a:extLst>
                  <a:ext uri="{FF2B5EF4-FFF2-40B4-BE49-F238E27FC236}">
                    <a16:creationId xmlns:a16="http://schemas.microsoft.com/office/drawing/2014/main" id="{FB9F000D-60AF-4F99-A7C3-883B8471A7A5}"/>
                  </a:ext>
                </a:extLst>
              </p:cNvPr>
              <p:cNvSpPr/>
              <p:nvPr/>
            </p:nvSpPr>
            <p:spPr>
              <a:xfrm>
                <a:off x="7916018" y="4989805"/>
                <a:ext cx="113920" cy="118872"/>
              </a:xfrm>
              <a:prstGeom prst="rect">
                <a:avLst/>
              </a:prstGeom>
              <a:noFill/>
              <a:ln w="127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>
                  <a:solidFill>
                    <a:srgbClr val="0070C0"/>
                  </a:solidFill>
                  <a:latin typeface="Oracle Sans" panose="020B0503020204020204" pitchFamily="34" charset="0"/>
                </a:endParaRPr>
              </a:p>
            </p:txBody>
          </p:sp>
          <p:sp>
            <p:nvSpPr>
              <p:cNvPr id="184" name="Rectangle 183">
                <a:extLst>
                  <a:ext uri="{FF2B5EF4-FFF2-40B4-BE49-F238E27FC236}">
                    <a16:creationId xmlns:a16="http://schemas.microsoft.com/office/drawing/2014/main" id="{07E0A677-CC1C-4908-BA42-7572BBF9FAC4}"/>
                  </a:ext>
                </a:extLst>
              </p:cNvPr>
              <p:cNvSpPr/>
              <p:nvPr/>
            </p:nvSpPr>
            <p:spPr>
              <a:xfrm>
                <a:off x="7916018" y="5138928"/>
                <a:ext cx="113920" cy="118872"/>
              </a:xfrm>
              <a:prstGeom prst="rect">
                <a:avLst/>
              </a:prstGeom>
              <a:noFill/>
              <a:ln w="127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>
                  <a:solidFill>
                    <a:srgbClr val="FFFFFF"/>
                  </a:solidFill>
                  <a:latin typeface="Oracle Sans" panose="020B0503020204020204" pitchFamily="34" charset="0"/>
                </a:endParaRPr>
              </a:p>
            </p:txBody>
          </p:sp>
        </p:grpSp>
        <p:grpSp>
          <p:nvGrpSpPr>
            <p:cNvPr id="161" name="Group 193">
              <a:extLst>
                <a:ext uri="{FF2B5EF4-FFF2-40B4-BE49-F238E27FC236}">
                  <a16:creationId xmlns:a16="http://schemas.microsoft.com/office/drawing/2014/main" id="{5107E41C-0E0A-4369-A9EA-B4072C2798D3}"/>
                </a:ext>
              </a:extLst>
            </p:cNvPr>
            <p:cNvGrpSpPr/>
            <p:nvPr/>
          </p:nvGrpSpPr>
          <p:grpSpPr>
            <a:xfrm>
              <a:off x="8062386" y="4691557"/>
              <a:ext cx="113920" cy="566243"/>
              <a:chOff x="7916018" y="4691557"/>
              <a:chExt cx="113920" cy="566243"/>
            </a:xfrm>
          </p:grpSpPr>
          <p:sp>
            <p:nvSpPr>
              <p:cNvPr id="177" name="Rectangle 176">
                <a:extLst>
                  <a:ext uri="{FF2B5EF4-FFF2-40B4-BE49-F238E27FC236}">
                    <a16:creationId xmlns:a16="http://schemas.microsoft.com/office/drawing/2014/main" id="{27320766-2FFD-4AD9-9248-CDCC598F6591}"/>
                  </a:ext>
                </a:extLst>
              </p:cNvPr>
              <p:cNvSpPr/>
              <p:nvPr/>
            </p:nvSpPr>
            <p:spPr>
              <a:xfrm>
                <a:off x="7916018" y="4691557"/>
                <a:ext cx="113920" cy="118872"/>
              </a:xfrm>
              <a:prstGeom prst="rect">
                <a:avLst/>
              </a:prstGeom>
              <a:noFill/>
              <a:ln w="127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>
                  <a:solidFill>
                    <a:srgbClr val="FFFFFF"/>
                  </a:solidFill>
                  <a:latin typeface="Oracle Sans" panose="020B0503020204020204" pitchFamily="34" charset="0"/>
                </a:endParaRPr>
              </a:p>
            </p:txBody>
          </p:sp>
          <p:sp>
            <p:nvSpPr>
              <p:cNvPr id="178" name="Rectangle 177">
                <a:extLst>
                  <a:ext uri="{FF2B5EF4-FFF2-40B4-BE49-F238E27FC236}">
                    <a16:creationId xmlns:a16="http://schemas.microsoft.com/office/drawing/2014/main" id="{7BE6D91C-F1C1-4997-801C-FD2E30F9CD28}"/>
                  </a:ext>
                </a:extLst>
              </p:cNvPr>
              <p:cNvSpPr/>
              <p:nvPr/>
            </p:nvSpPr>
            <p:spPr>
              <a:xfrm>
                <a:off x="7916018" y="4840681"/>
                <a:ext cx="113920" cy="118872"/>
              </a:xfrm>
              <a:prstGeom prst="rect">
                <a:avLst/>
              </a:prstGeom>
              <a:noFill/>
              <a:ln w="127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>
                  <a:solidFill>
                    <a:srgbClr val="FFFFFF"/>
                  </a:solidFill>
                  <a:latin typeface="Oracle Sans" panose="020B0503020204020204" pitchFamily="34" charset="0"/>
                </a:endParaRPr>
              </a:p>
            </p:txBody>
          </p:sp>
          <p:sp>
            <p:nvSpPr>
              <p:cNvPr id="179" name="Rectangle 178">
                <a:extLst>
                  <a:ext uri="{FF2B5EF4-FFF2-40B4-BE49-F238E27FC236}">
                    <a16:creationId xmlns:a16="http://schemas.microsoft.com/office/drawing/2014/main" id="{6A1D64EA-CF62-4583-8D45-DDD3971ED020}"/>
                  </a:ext>
                </a:extLst>
              </p:cNvPr>
              <p:cNvSpPr/>
              <p:nvPr/>
            </p:nvSpPr>
            <p:spPr>
              <a:xfrm>
                <a:off x="7916018" y="4989805"/>
                <a:ext cx="113920" cy="118872"/>
              </a:xfrm>
              <a:prstGeom prst="rect">
                <a:avLst/>
              </a:prstGeom>
              <a:noFill/>
              <a:ln w="127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>
                  <a:solidFill>
                    <a:srgbClr val="0070C0"/>
                  </a:solidFill>
                  <a:latin typeface="Oracle Sans" panose="020B0503020204020204" pitchFamily="34" charset="0"/>
                </a:endParaRPr>
              </a:p>
            </p:txBody>
          </p:sp>
          <p:sp>
            <p:nvSpPr>
              <p:cNvPr id="180" name="Rectangle 179">
                <a:extLst>
                  <a:ext uri="{FF2B5EF4-FFF2-40B4-BE49-F238E27FC236}">
                    <a16:creationId xmlns:a16="http://schemas.microsoft.com/office/drawing/2014/main" id="{08B2448C-3CDC-47F7-BA3C-AF6B72E4A2AA}"/>
                  </a:ext>
                </a:extLst>
              </p:cNvPr>
              <p:cNvSpPr/>
              <p:nvPr/>
            </p:nvSpPr>
            <p:spPr>
              <a:xfrm>
                <a:off x="7916018" y="5138928"/>
                <a:ext cx="113920" cy="118872"/>
              </a:xfrm>
              <a:prstGeom prst="rect">
                <a:avLst/>
              </a:prstGeom>
              <a:noFill/>
              <a:ln w="127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>
                  <a:solidFill>
                    <a:srgbClr val="FFFFFF"/>
                  </a:solidFill>
                  <a:latin typeface="Oracle Sans" panose="020B0503020204020204" pitchFamily="34" charset="0"/>
                </a:endParaRPr>
              </a:p>
            </p:txBody>
          </p:sp>
        </p:grpSp>
        <p:grpSp>
          <p:nvGrpSpPr>
            <p:cNvPr id="162" name="Group 194">
              <a:extLst>
                <a:ext uri="{FF2B5EF4-FFF2-40B4-BE49-F238E27FC236}">
                  <a16:creationId xmlns:a16="http://schemas.microsoft.com/office/drawing/2014/main" id="{24382289-A910-4DC2-BC12-F82FB318DB8E}"/>
                </a:ext>
              </a:extLst>
            </p:cNvPr>
            <p:cNvGrpSpPr/>
            <p:nvPr/>
          </p:nvGrpSpPr>
          <p:grpSpPr>
            <a:xfrm>
              <a:off x="8208754" y="4691557"/>
              <a:ext cx="113920" cy="566243"/>
              <a:chOff x="7916018" y="4691557"/>
              <a:chExt cx="113920" cy="566243"/>
            </a:xfrm>
          </p:grpSpPr>
          <p:sp>
            <p:nvSpPr>
              <p:cNvPr id="173" name="Rectangle 172">
                <a:extLst>
                  <a:ext uri="{FF2B5EF4-FFF2-40B4-BE49-F238E27FC236}">
                    <a16:creationId xmlns:a16="http://schemas.microsoft.com/office/drawing/2014/main" id="{44DD2906-7F6C-4A8F-AECC-D488BB3CC3F9}"/>
                  </a:ext>
                </a:extLst>
              </p:cNvPr>
              <p:cNvSpPr/>
              <p:nvPr/>
            </p:nvSpPr>
            <p:spPr>
              <a:xfrm>
                <a:off x="7916018" y="4691557"/>
                <a:ext cx="113920" cy="118872"/>
              </a:xfrm>
              <a:prstGeom prst="rect">
                <a:avLst/>
              </a:prstGeom>
              <a:noFill/>
              <a:ln w="127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>
                  <a:solidFill>
                    <a:srgbClr val="FFFFFF"/>
                  </a:solidFill>
                  <a:latin typeface="Oracle Sans" panose="020B0503020204020204" pitchFamily="34" charset="0"/>
                </a:endParaRPr>
              </a:p>
            </p:txBody>
          </p:sp>
          <p:sp>
            <p:nvSpPr>
              <p:cNvPr id="174" name="Rectangle 173">
                <a:extLst>
                  <a:ext uri="{FF2B5EF4-FFF2-40B4-BE49-F238E27FC236}">
                    <a16:creationId xmlns:a16="http://schemas.microsoft.com/office/drawing/2014/main" id="{322AC407-16DB-44DE-862B-345AFC665E5C}"/>
                  </a:ext>
                </a:extLst>
              </p:cNvPr>
              <p:cNvSpPr/>
              <p:nvPr/>
            </p:nvSpPr>
            <p:spPr>
              <a:xfrm>
                <a:off x="7916018" y="4840681"/>
                <a:ext cx="113920" cy="118872"/>
              </a:xfrm>
              <a:prstGeom prst="rect">
                <a:avLst/>
              </a:prstGeom>
              <a:noFill/>
              <a:ln w="127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>
                  <a:solidFill>
                    <a:srgbClr val="FFFFFF"/>
                  </a:solidFill>
                  <a:latin typeface="Oracle Sans" panose="020B0503020204020204" pitchFamily="34" charset="0"/>
                </a:endParaRPr>
              </a:p>
            </p:txBody>
          </p:sp>
          <p:sp>
            <p:nvSpPr>
              <p:cNvPr id="175" name="Rectangle 174">
                <a:extLst>
                  <a:ext uri="{FF2B5EF4-FFF2-40B4-BE49-F238E27FC236}">
                    <a16:creationId xmlns:a16="http://schemas.microsoft.com/office/drawing/2014/main" id="{3AD2EE90-C703-4DC2-8440-649AE6060026}"/>
                  </a:ext>
                </a:extLst>
              </p:cNvPr>
              <p:cNvSpPr/>
              <p:nvPr/>
            </p:nvSpPr>
            <p:spPr>
              <a:xfrm>
                <a:off x="7916018" y="4989805"/>
                <a:ext cx="113920" cy="118872"/>
              </a:xfrm>
              <a:prstGeom prst="rect">
                <a:avLst/>
              </a:prstGeom>
              <a:noFill/>
              <a:ln w="127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>
                  <a:solidFill>
                    <a:srgbClr val="0070C0"/>
                  </a:solidFill>
                  <a:latin typeface="Oracle Sans" panose="020B0503020204020204" pitchFamily="34" charset="0"/>
                </a:endParaRPr>
              </a:p>
            </p:txBody>
          </p:sp>
          <p:sp>
            <p:nvSpPr>
              <p:cNvPr id="176" name="Rectangle 175">
                <a:extLst>
                  <a:ext uri="{FF2B5EF4-FFF2-40B4-BE49-F238E27FC236}">
                    <a16:creationId xmlns:a16="http://schemas.microsoft.com/office/drawing/2014/main" id="{C6D25479-B7F5-4BD5-94B3-A48DB1A5A8EE}"/>
                  </a:ext>
                </a:extLst>
              </p:cNvPr>
              <p:cNvSpPr/>
              <p:nvPr/>
            </p:nvSpPr>
            <p:spPr>
              <a:xfrm>
                <a:off x="7916018" y="5138928"/>
                <a:ext cx="113920" cy="118872"/>
              </a:xfrm>
              <a:prstGeom prst="rect">
                <a:avLst/>
              </a:prstGeom>
              <a:noFill/>
              <a:ln w="127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>
                  <a:solidFill>
                    <a:srgbClr val="FFFFFF"/>
                  </a:solidFill>
                  <a:latin typeface="Oracle Sans" panose="020B0503020204020204" pitchFamily="34" charset="0"/>
                </a:endParaRPr>
              </a:p>
            </p:txBody>
          </p:sp>
        </p:grpSp>
        <p:grpSp>
          <p:nvGrpSpPr>
            <p:cNvPr id="163" name="Group 195">
              <a:extLst>
                <a:ext uri="{FF2B5EF4-FFF2-40B4-BE49-F238E27FC236}">
                  <a16:creationId xmlns:a16="http://schemas.microsoft.com/office/drawing/2014/main" id="{41F39DC4-81F1-4CCB-8F49-DFD17C17DFD3}"/>
                </a:ext>
              </a:extLst>
            </p:cNvPr>
            <p:cNvGrpSpPr/>
            <p:nvPr/>
          </p:nvGrpSpPr>
          <p:grpSpPr>
            <a:xfrm>
              <a:off x="8355122" y="4691557"/>
              <a:ext cx="113920" cy="566243"/>
              <a:chOff x="7916018" y="4691557"/>
              <a:chExt cx="113920" cy="566243"/>
            </a:xfrm>
          </p:grpSpPr>
          <p:sp>
            <p:nvSpPr>
              <p:cNvPr id="169" name="Rectangle 168">
                <a:extLst>
                  <a:ext uri="{FF2B5EF4-FFF2-40B4-BE49-F238E27FC236}">
                    <a16:creationId xmlns:a16="http://schemas.microsoft.com/office/drawing/2014/main" id="{65EC719E-5A10-408F-806C-E10BB13B7464}"/>
                  </a:ext>
                </a:extLst>
              </p:cNvPr>
              <p:cNvSpPr/>
              <p:nvPr/>
            </p:nvSpPr>
            <p:spPr>
              <a:xfrm>
                <a:off x="7916018" y="4691557"/>
                <a:ext cx="113920" cy="118872"/>
              </a:xfrm>
              <a:prstGeom prst="rect">
                <a:avLst/>
              </a:prstGeom>
              <a:noFill/>
              <a:ln w="127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>
                  <a:solidFill>
                    <a:srgbClr val="FFFFFF"/>
                  </a:solidFill>
                  <a:latin typeface="Oracle Sans" panose="020B0503020204020204" pitchFamily="34" charset="0"/>
                </a:endParaRPr>
              </a:p>
            </p:txBody>
          </p:sp>
          <p:sp>
            <p:nvSpPr>
              <p:cNvPr id="170" name="Rectangle 169">
                <a:extLst>
                  <a:ext uri="{FF2B5EF4-FFF2-40B4-BE49-F238E27FC236}">
                    <a16:creationId xmlns:a16="http://schemas.microsoft.com/office/drawing/2014/main" id="{30774C6F-E5C0-4CB1-AAF9-D83CB1453669}"/>
                  </a:ext>
                </a:extLst>
              </p:cNvPr>
              <p:cNvSpPr/>
              <p:nvPr/>
            </p:nvSpPr>
            <p:spPr>
              <a:xfrm>
                <a:off x="7916018" y="4840681"/>
                <a:ext cx="113920" cy="118872"/>
              </a:xfrm>
              <a:prstGeom prst="rect">
                <a:avLst/>
              </a:prstGeom>
              <a:noFill/>
              <a:ln w="127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>
                  <a:solidFill>
                    <a:srgbClr val="FFFFFF"/>
                  </a:solidFill>
                  <a:latin typeface="Oracle Sans" panose="020B0503020204020204" pitchFamily="34" charset="0"/>
                </a:endParaRPr>
              </a:p>
            </p:txBody>
          </p:sp>
          <p:sp>
            <p:nvSpPr>
              <p:cNvPr id="172" name="Rectangle 171">
                <a:extLst>
                  <a:ext uri="{FF2B5EF4-FFF2-40B4-BE49-F238E27FC236}">
                    <a16:creationId xmlns:a16="http://schemas.microsoft.com/office/drawing/2014/main" id="{C725387C-09A2-40B9-A9DF-EBF7D753C71A}"/>
                  </a:ext>
                </a:extLst>
              </p:cNvPr>
              <p:cNvSpPr/>
              <p:nvPr/>
            </p:nvSpPr>
            <p:spPr>
              <a:xfrm>
                <a:off x="7916018" y="5138928"/>
                <a:ext cx="113920" cy="118872"/>
              </a:xfrm>
              <a:prstGeom prst="rect">
                <a:avLst/>
              </a:prstGeom>
              <a:noFill/>
              <a:ln w="127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>
                  <a:solidFill>
                    <a:srgbClr val="FFFFFF"/>
                  </a:solidFill>
                  <a:latin typeface="Oracle Sans" panose="020B0503020204020204" pitchFamily="34" charset="0"/>
                </a:endParaRPr>
              </a:p>
            </p:txBody>
          </p:sp>
        </p:grpSp>
        <p:grpSp>
          <p:nvGrpSpPr>
            <p:cNvPr id="164" name="Group 196">
              <a:extLst>
                <a:ext uri="{FF2B5EF4-FFF2-40B4-BE49-F238E27FC236}">
                  <a16:creationId xmlns:a16="http://schemas.microsoft.com/office/drawing/2014/main" id="{CF5A26D0-E231-4A1D-BD6F-BD370B3AF7AD}"/>
                </a:ext>
              </a:extLst>
            </p:cNvPr>
            <p:cNvGrpSpPr/>
            <p:nvPr/>
          </p:nvGrpSpPr>
          <p:grpSpPr>
            <a:xfrm>
              <a:off x="8501492" y="4691557"/>
              <a:ext cx="113920" cy="566243"/>
              <a:chOff x="7916018" y="4691557"/>
              <a:chExt cx="113920" cy="566243"/>
            </a:xfrm>
          </p:grpSpPr>
          <p:sp>
            <p:nvSpPr>
              <p:cNvPr id="165" name="Rectangle 164">
                <a:extLst>
                  <a:ext uri="{FF2B5EF4-FFF2-40B4-BE49-F238E27FC236}">
                    <a16:creationId xmlns:a16="http://schemas.microsoft.com/office/drawing/2014/main" id="{6E9C9201-7DE9-446C-A2E8-8C62094DB43F}"/>
                  </a:ext>
                </a:extLst>
              </p:cNvPr>
              <p:cNvSpPr/>
              <p:nvPr/>
            </p:nvSpPr>
            <p:spPr>
              <a:xfrm>
                <a:off x="7916018" y="4691557"/>
                <a:ext cx="113920" cy="118872"/>
              </a:xfrm>
              <a:prstGeom prst="rect">
                <a:avLst/>
              </a:prstGeom>
              <a:noFill/>
              <a:ln w="127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>
                  <a:solidFill>
                    <a:srgbClr val="FFFFFF"/>
                  </a:solidFill>
                  <a:latin typeface="Oracle Sans" panose="020B0503020204020204" pitchFamily="34" charset="0"/>
                </a:endParaRPr>
              </a:p>
            </p:txBody>
          </p:sp>
          <p:sp>
            <p:nvSpPr>
              <p:cNvPr id="167" name="Rectangle 166">
                <a:extLst>
                  <a:ext uri="{FF2B5EF4-FFF2-40B4-BE49-F238E27FC236}">
                    <a16:creationId xmlns:a16="http://schemas.microsoft.com/office/drawing/2014/main" id="{4B55C972-D53F-4337-96DC-05DB2C73E098}"/>
                  </a:ext>
                </a:extLst>
              </p:cNvPr>
              <p:cNvSpPr/>
              <p:nvPr/>
            </p:nvSpPr>
            <p:spPr>
              <a:xfrm>
                <a:off x="7916018" y="4989805"/>
                <a:ext cx="113920" cy="118872"/>
              </a:xfrm>
              <a:prstGeom prst="rect">
                <a:avLst/>
              </a:prstGeom>
              <a:noFill/>
              <a:ln w="127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>
                  <a:solidFill>
                    <a:srgbClr val="0070C0"/>
                  </a:solidFill>
                  <a:latin typeface="Oracle Sans" panose="020B0503020204020204" pitchFamily="34" charset="0"/>
                </a:endParaRPr>
              </a:p>
            </p:txBody>
          </p:sp>
          <p:sp>
            <p:nvSpPr>
              <p:cNvPr id="168" name="Rectangle 167">
                <a:extLst>
                  <a:ext uri="{FF2B5EF4-FFF2-40B4-BE49-F238E27FC236}">
                    <a16:creationId xmlns:a16="http://schemas.microsoft.com/office/drawing/2014/main" id="{6819533B-D88B-4041-9E27-3DF86EC79F6C}"/>
                  </a:ext>
                </a:extLst>
              </p:cNvPr>
              <p:cNvSpPr/>
              <p:nvPr/>
            </p:nvSpPr>
            <p:spPr>
              <a:xfrm>
                <a:off x="7916018" y="5138928"/>
                <a:ext cx="113920" cy="118872"/>
              </a:xfrm>
              <a:prstGeom prst="rect">
                <a:avLst/>
              </a:prstGeom>
              <a:noFill/>
              <a:ln w="127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>
                  <a:solidFill>
                    <a:srgbClr val="FFFFFF"/>
                  </a:solidFill>
                  <a:latin typeface="Oracle Sans" panose="020B0503020204020204" pitchFamily="34" charset="0"/>
                </a:endParaRPr>
              </a:p>
            </p:txBody>
          </p:sp>
        </p:grpSp>
      </p:grpSp>
      <p:grpSp>
        <p:nvGrpSpPr>
          <p:cNvPr id="185" name="Group 219">
            <a:extLst>
              <a:ext uri="{FF2B5EF4-FFF2-40B4-BE49-F238E27FC236}">
                <a16:creationId xmlns:a16="http://schemas.microsoft.com/office/drawing/2014/main" id="{D813B911-9325-4A30-94EA-BA0320814BDE}"/>
              </a:ext>
            </a:extLst>
          </p:cNvPr>
          <p:cNvGrpSpPr/>
          <p:nvPr/>
        </p:nvGrpSpPr>
        <p:grpSpPr>
          <a:xfrm>
            <a:off x="10318948" y="4619472"/>
            <a:ext cx="699394" cy="715367"/>
            <a:chOff x="7916018" y="4542433"/>
            <a:chExt cx="699394" cy="715367"/>
          </a:xfrm>
        </p:grpSpPr>
        <p:sp>
          <p:nvSpPr>
            <p:cNvPr id="186" name="Rectangle 185">
              <a:extLst>
                <a:ext uri="{FF2B5EF4-FFF2-40B4-BE49-F238E27FC236}">
                  <a16:creationId xmlns:a16="http://schemas.microsoft.com/office/drawing/2014/main" id="{A82BF51E-CDF5-4364-8CC0-5DE113A066E2}"/>
                </a:ext>
              </a:extLst>
            </p:cNvPr>
            <p:cNvSpPr/>
            <p:nvPr/>
          </p:nvSpPr>
          <p:spPr>
            <a:xfrm>
              <a:off x="8501492" y="4542433"/>
              <a:ext cx="113920" cy="118872"/>
            </a:xfrm>
            <a:prstGeom prst="rect">
              <a:avLst/>
            </a:prstGeom>
            <a:noFill/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>
                <a:solidFill>
                  <a:srgbClr val="FFFFFF"/>
                </a:solidFill>
                <a:latin typeface="Oracle Sans" panose="020B0503020204020204" pitchFamily="34" charset="0"/>
              </a:endParaRPr>
            </a:p>
          </p:txBody>
        </p:sp>
        <p:sp>
          <p:nvSpPr>
            <p:cNvPr id="187" name="Rectangle 186">
              <a:extLst>
                <a:ext uri="{FF2B5EF4-FFF2-40B4-BE49-F238E27FC236}">
                  <a16:creationId xmlns:a16="http://schemas.microsoft.com/office/drawing/2014/main" id="{906F5776-AD51-48C3-8C6D-2E58493C4C6E}"/>
                </a:ext>
              </a:extLst>
            </p:cNvPr>
            <p:cNvSpPr/>
            <p:nvPr/>
          </p:nvSpPr>
          <p:spPr>
            <a:xfrm>
              <a:off x="8208754" y="4542433"/>
              <a:ext cx="113920" cy="118872"/>
            </a:xfrm>
            <a:prstGeom prst="rect">
              <a:avLst/>
            </a:prstGeom>
            <a:noFill/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>
                <a:solidFill>
                  <a:srgbClr val="FFFFFF"/>
                </a:solidFill>
                <a:latin typeface="Oracle Sans" panose="020B0503020204020204" pitchFamily="34" charset="0"/>
              </a:endParaRPr>
            </a:p>
          </p:txBody>
        </p:sp>
        <p:sp>
          <p:nvSpPr>
            <p:cNvPr id="188" name="Rectangle 187">
              <a:extLst>
                <a:ext uri="{FF2B5EF4-FFF2-40B4-BE49-F238E27FC236}">
                  <a16:creationId xmlns:a16="http://schemas.microsoft.com/office/drawing/2014/main" id="{439E7F59-715F-4E7D-ACA0-8ACB86813462}"/>
                </a:ext>
              </a:extLst>
            </p:cNvPr>
            <p:cNvSpPr/>
            <p:nvPr/>
          </p:nvSpPr>
          <p:spPr>
            <a:xfrm>
              <a:off x="7916018" y="4542433"/>
              <a:ext cx="113920" cy="118872"/>
            </a:xfrm>
            <a:prstGeom prst="rect">
              <a:avLst/>
            </a:prstGeom>
            <a:noFill/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>
                <a:solidFill>
                  <a:srgbClr val="FFFFFF"/>
                </a:solidFill>
                <a:latin typeface="Oracle Sans" panose="020B0503020204020204" pitchFamily="34" charset="0"/>
              </a:endParaRPr>
            </a:p>
          </p:txBody>
        </p:sp>
        <p:sp>
          <p:nvSpPr>
            <p:cNvPr id="189" name="Rectangle 188">
              <a:extLst>
                <a:ext uri="{FF2B5EF4-FFF2-40B4-BE49-F238E27FC236}">
                  <a16:creationId xmlns:a16="http://schemas.microsoft.com/office/drawing/2014/main" id="{862EE1C4-FD83-4B22-8D36-DF3D3570228A}"/>
                </a:ext>
              </a:extLst>
            </p:cNvPr>
            <p:cNvSpPr/>
            <p:nvPr/>
          </p:nvSpPr>
          <p:spPr>
            <a:xfrm>
              <a:off x="8062386" y="4542433"/>
              <a:ext cx="113920" cy="118872"/>
            </a:xfrm>
            <a:prstGeom prst="rect">
              <a:avLst/>
            </a:prstGeom>
            <a:noFill/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>
                <a:solidFill>
                  <a:srgbClr val="FFFFFF"/>
                </a:solidFill>
                <a:latin typeface="Oracle Sans" panose="020B0503020204020204" pitchFamily="34" charset="0"/>
              </a:endParaRPr>
            </a:p>
          </p:txBody>
        </p:sp>
        <p:sp>
          <p:nvSpPr>
            <p:cNvPr id="190" name="Rectangle 189">
              <a:extLst>
                <a:ext uri="{FF2B5EF4-FFF2-40B4-BE49-F238E27FC236}">
                  <a16:creationId xmlns:a16="http://schemas.microsoft.com/office/drawing/2014/main" id="{52DAC931-F576-45CB-B434-AFF165BD9CA2}"/>
                </a:ext>
              </a:extLst>
            </p:cNvPr>
            <p:cNvSpPr/>
            <p:nvPr/>
          </p:nvSpPr>
          <p:spPr>
            <a:xfrm>
              <a:off x="8355122" y="4542433"/>
              <a:ext cx="113920" cy="118872"/>
            </a:xfrm>
            <a:prstGeom prst="rect">
              <a:avLst/>
            </a:prstGeom>
            <a:noFill/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>
                <a:solidFill>
                  <a:srgbClr val="FFFFFF"/>
                </a:solidFill>
                <a:latin typeface="Oracle Sans" panose="020B0503020204020204" pitchFamily="34" charset="0"/>
              </a:endParaRPr>
            </a:p>
          </p:txBody>
        </p:sp>
        <p:grpSp>
          <p:nvGrpSpPr>
            <p:cNvPr id="191" name="Group 225">
              <a:extLst>
                <a:ext uri="{FF2B5EF4-FFF2-40B4-BE49-F238E27FC236}">
                  <a16:creationId xmlns:a16="http://schemas.microsoft.com/office/drawing/2014/main" id="{84C32FF7-0EA0-428F-B8D3-995D35D5DD76}"/>
                </a:ext>
              </a:extLst>
            </p:cNvPr>
            <p:cNvGrpSpPr/>
            <p:nvPr/>
          </p:nvGrpSpPr>
          <p:grpSpPr>
            <a:xfrm>
              <a:off x="7916018" y="4691557"/>
              <a:ext cx="113920" cy="566243"/>
              <a:chOff x="7916018" y="4691557"/>
              <a:chExt cx="113920" cy="566243"/>
            </a:xfrm>
          </p:grpSpPr>
          <p:sp>
            <p:nvSpPr>
              <p:cNvPr id="212" name="Rectangle 211">
                <a:extLst>
                  <a:ext uri="{FF2B5EF4-FFF2-40B4-BE49-F238E27FC236}">
                    <a16:creationId xmlns:a16="http://schemas.microsoft.com/office/drawing/2014/main" id="{1E4E647C-B466-4F42-96F3-C53397071F6F}"/>
                  </a:ext>
                </a:extLst>
              </p:cNvPr>
              <p:cNvSpPr/>
              <p:nvPr/>
            </p:nvSpPr>
            <p:spPr>
              <a:xfrm>
                <a:off x="7916018" y="4691557"/>
                <a:ext cx="113920" cy="118872"/>
              </a:xfrm>
              <a:prstGeom prst="rect">
                <a:avLst/>
              </a:prstGeom>
              <a:noFill/>
              <a:ln w="127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>
                  <a:solidFill>
                    <a:srgbClr val="FFFFFF"/>
                  </a:solidFill>
                  <a:latin typeface="Oracle Sans" panose="020B0503020204020204" pitchFamily="34" charset="0"/>
                </a:endParaRPr>
              </a:p>
            </p:txBody>
          </p:sp>
          <p:sp>
            <p:nvSpPr>
              <p:cNvPr id="213" name="Rectangle 212">
                <a:extLst>
                  <a:ext uri="{FF2B5EF4-FFF2-40B4-BE49-F238E27FC236}">
                    <a16:creationId xmlns:a16="http://schemas.microsoft.com/office/drawing/2014/main" id="{511140D7-040D-45BA-9C70-951406C3FBC9}"/>
                  </a:ext>
                </a:extLst>
              </p:cNvPr>
              <p:cNvSpPr/>
              <p:nvPr/>
            </p:nvSpPr>
            <p:spPr>
              <a:xfrm>
                <a:off x="7916018" y="4840681"/>
                <a:ext cx="113920" cy="118872"/>
              </a:xfrm>
              <a:prstGeom prst="rect">
                <a:avLst/>
              </a:prstGeom>
              <a:noFill/>
              <a:ln w="127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>
                  <a:solidFill>
                    <a:srgbClr val="FFFFFF"/>
                  </a:solidFill>
                  <a:latin typeface="Oracle Sans" panose="020B0503020204020204" pitchFamily="34" charset="0"/>
                </a:endParaRPr>
              </a:p>
            </p:txBody>
          </p:sp>
          <p:sp>
            <p:nvSpPr>
              <p:cNvPr id="214" name="Rectangle 213">
                <a:extLst>
                  <a:ext uri="{FF2B5EF4-FFF2-40B4-BE49-F238E27FC236}">
                    <a16:creationId xmlns:a16="http://schemas.microsoft.com/office/drawing/2014/main" id="{73FE5DAB-997B-4397-AA7F-41C746FEC376}"/>
                  </a:ext>
                </a:extLst>
              </p:cNvPr>
              <p:cNvSpPr/>
              <p:nvPr/>
            </p:nvSpPr>
            <p:spPr>
              <a:xfrm>
                <a:off x="7916018" y="4989805"/>
                <a:ext cx="113920" cy="118872"/>
              </a:xfrm>
              <a:prstGeom prst="rect">
                <a:avLst/>
              </a:prstGeom>
              <a:noFill/>
              <a:ln w="127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>
                  <a:solidFill>
                    <a:srgbClr val="0070C0"/>
                  </a:solidFill>
                  <a:latin typeface="Oracle Sans" panose="020B0503020204020204" pitchFamily="34" charset="0"/>
                </a:endParaRPr>
              </a:p>
            </p:txBody>
          </p:sp>
          <p:sp>
            <p:nvSpPr>
              <p:cNvPr id="215" name="Rectangle 214">
                <a:extLst>
                  <a:ext uri="{FF2B5EF4-FFF2-40B4-BE49-F238E27FC236}">
                    <a16:creationId xmlns:a16="http://schemas.microsoft.com/office/drawing/2014/main" id="{6F6C462B-1978-4A91-9C60-8B9655B5886D}"/>
                  </a:ext>
                </a:extLst>
              </p:cNvPr>
              <p:cNvSpPr/>
              <p:nvPr/>
            </p:nvSpPr>
            <p:spPr>
              <a:xfrm>
                <a:off x="7916018" y="5138928"/>
                <a:ext cx="113920" cy="118872"/>
              </a:xfrm>
              <a:prstGeom prst="rect">
                <a:avLst/>
              </a:prstGeom>
              <a:noFill/>
              <a:ln w="127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>
                  <a:solidFill>
                    <a:srgbClr val="FFFFFF"/>
                  </a:solidFill>
                  <a:latin typeface="Oracle Sans" panose="020B0503020204020204" pitchFamily="34" charset="0"/>
                </a:endParaRPr>
              </a:p>
            </p:txBody>
          </p:sp>
        </p:grpSp>
        <p:grpSp>
          <p:nvGrpSpPr>
            <p:cNvPr id="192" name="Group 226">
              <a:extLst>
                <a:ext uri="{FF2B5EF4-FFF2-40B4-BE49-F238E27FC236}">
                  <a16:creationId xmlns:a16="http://schemas.microsoft.com/office/drawing/2014/main" id="{9255429F-4DF8-4F40-B653-BE2FAD041A5D}"/>
                </a:ext>
              </a:extLst>
            </p:cNvPr>
            <p:cNvGrpSpPr/>
            <p:nvPr/>
          </p:nvGrpSpPr>
          <p:grpSpPr>
            <a:xfrm>
              <a:off x="8062386" y="4691557"/>
              <a:ext cx="113920" cy="566243"/>
              <a:chOff x="7916018" y="4691557"/>
              <a:chExt cx="113920" cy="566243"/>
            </a:xfrm>
          </p:grpSpPr>
          <p:sp>
            <p:nvSpPr>
              <p:cNvPr id="208" name="Rectangle 207">
                <a:extLst>
                  <a:ext uri="{FF2B5EF4-FFF2-40B4-BE49-F238E27FC236}">
                    <a16:creationId xmlns:a16="http://schemas.microsoft.com/office/drawing/2014/main" id="{E78A8086-DF34-40D3-AB0E-DE0A6281E54D}"/>
                  </a:ext>
                </a:extLst>
              </p:cNvPr>
              <p:cNvSpPr/>
              <p:nvPr/>
            </p:nvSpPr>
            <p:spPr>
              <a:xfrm>
                <a:off x="7916018" y="4691557"/>
                <a:ext cx="113920" cy="118872"/>
              </a:xfrm>
              <a:prstGeom prst="rect">
                <a:avLst/>
              </a:prstGeom>
              <a:noFill/>
              <a:ln w="127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>
                  <a:solidFill>
                    <a:srgbClr val="FFFFFF"/>
                  </a:solidFill>
                  <a:latin typeface="Oracle Sans" panose="020B0503020204020204" pitchFamily="34" charset="0"/>
                </a:endParaRPr>
              </a:p>
            </p:txBody>
          </p:sp>
          <p:sp>
            <p:nvSpPr>
              <p:cNvPr id="211" name="Rectangle 210">
                <a:extLst>
                  <a:ext uri="{FF2B5EF4-FFF2-40B4-BE49-F238E27FC236}">
                    <a16:creationId xmlns:a16="http://schemas.microsoft.com/office/drawing/2014/main" id="{40BBA272-EE52-4A51-B966-119EB4832532}"/>
                  </a:ext>
                </a:extLst>
              </p:cNvPr>
              <p:cNvSpPr/>
              <p:nvPr/>
            </p:nvSpPr>
            <p:spPr>
              <a:xfrm>
                <a:off x="7916018" y="5138928"/>
                <a:ext cx="113920" cy="118872"/>
              </a:xfrm>
              <a:prstGeom prst="rect">
                <a:avLst/>
              </a:prstGeom>
              <a:noFill/>
              <a:ln w="127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>
                  <a:solidFill>
                    <a:srgbClr val="FFFFFF"/>
                  </a:solidFill>
                  <a:latin typeface="Oracle Sans" panose="020B0503020204020204" pitchFamily="34" charset="0"/>
                </a:endParaRPr>
              </a:p>
            </p:txBody>
          </p:sp>
        </p:grpSp>
        <p:grpSp>
          <p:nvGrpSpPr>
            <p:cNvPr id="193" name="Group 227">
              <a:extLst>
                <a:ext uri="{FF2B5EF4-FFF2-40B4-BE49-F238E27FC236}">
                  <a16:creationId xmlns:a16="http://schemas.microsoft.com/office/drawing/2014/main" id="{6ABA2C74-8A53-4D5B-99B0-F858B604D484}"/>
                </a:ext>
              </a:extLst>
            </p:cNvPr>
            <p:cNvGrpSpPr/>
            <p:nvPr/>
          </p:nvGrpSpPr>
          <p:grpSpPr>
            <a:xfrm>
              <a:off x="8208754" y="4691557"/>
              <a:ext cx="113920" cy="566243"/>
              <a:chOff x="7916018" y="4691557"/>
              <a:chExt cx="113920" cy="566243"/>
            </a:xfrm>
          </p:grpSpPr>
          <p:sp>
            <p:nvSpPr>
              <p:cNvPr id="204" name="Rectangle 203">
                <a:extLst>
                  <a:ext uri="{FF2B5EF4-FFF2-40B4-BE49-F238E27FC236}">
                    <a16:creationId xmlns:a16="http://schemas.microsoft.com/office/drawing/2014/main" id="{9883957C-35F2-4C3E-B117-6CD68F22CDD0}"/>
                  </a:ext>
                </a:extLst>
              </p:cNvPr>
              <p:cNvSpPr/>
              <p:nvPr/>
            </p:nvSpPr>
            <p:spPr>
              <a:xfrm>
                <a:off x="7916018" y="4691557"/>
                <a:ext cx="113920" cy="118872"/>
              </a:xfrm>
              <a:prstGeom prst="rect">
                <a:avLst/>
              </a:prstGeom>
              <a:noFill/>
              <a:ln w="127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>
                  <a:solidFill>
                    <a:srgbClr val="FFFFFF"/>
                  </a:solidFill>
                  <a:latin typeface="Oracle Sans" panose="020B0503020204020204" pitchFamily="34" charset="0"/>
                </a:endParaRPr>
              </a:p>
            </p:txBody>
          </p:sp>
          <p:sp>
            <p:nvSpPr>
              <p:cNvPr id="205" name="Rectangle 204">
                <a:extLst>
                  <a:ext uri="{FF2B5EF4-FFF2-40B4-BE49-F238E27FC236}">
                    <a16:creationId xmlns:a16="http://schemas.microsoft.com/office/drawing/2014/main" id="{CB18F81D-8DF9-41AF-9D14-77FBBA31755B}"/>
                  </a:ext>
                </a:extLst>
              </p:cNvPr>
              <p:cNvSpPr/>
              <p:nvPr/>
            </p:nvSpPr>
            <p:spPr>
              <a:xfrm>
                <a:off x="7916018" y="4840681"/>
                <a:ext cx="113920" cy="118872"/>
              </a:xfrm>
              <a:prstGeom prst="rect">
                <a:avLst/>
              </a:prstGeom>
              <a:noFill/>
              <a:ln w="127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>
                  <a:solidFill>
                    <a:srgbClr val="FFFFFF"/>
                  </a:solidFill>
                  <a:latin typeface="Oracle Sans" panose="020B0503020204020204" pitchFamily="34" charset="0"/>
                </a:endParaRPr>
              </a:p>
            </p:txBody>
          </p:sp>
          <p:sp>
            <p:nvSpPr>
              <p:cNvPr id="206" name="Rectangle 205">
                <a:extLst>
                  <a:ext uri="{FF2B5EF4-FFF2-40B4-BE49-F238E27FC236}">
                    <a16:creationId xmlns:a16="http://schemas.microsoft.com/office/drawing/2014/main" id="{F04BDE1D-1C43-478D-813C-E20C718B0416}"/>
                  </a:ext>
                </a:extLst>
              </p:cNvPr>
              <p:cNvSpPr/>
              <p:nvPr/>
            </p:nvSpPr>
            <p:spPr>
              <a:xfrm>
                <a:off x="7916018" y="4989805"/>
                <a:ext cx="113920" cy="118872"/>
              </a:xfrm>
              <a:prstGeom prst="rect">
                <a:avLst/>
              </a:prstGeom>
              <a:noFill/>
              <a:ln w="127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>
                  <a:solidFill>
                    <a:srgbClr val="0070C0"/>
                  </a:solidFill>
                  <a:latin typeface="Oracle Sans" panose="020B0503020204020204" pitchFamily="34" charset="0"/>
                </a:endParaRPr>
              </a:p>
            </p:txBody>
          </p:sp>
          <p:sp>
            <p:nvSpPr>
              <p:cNvPr id="207" name="Rectangle 206">
                <a:extLst>
                  <a:ext uri="{FF2B5EF4-FFF2-40B4-BE49-F238E27FC236}">
                    <a16:creationId xmlns:a16="http://schemas.microsoft.com/office/drawing/2014/main" id="{8C03DCD8-908D-458E-84D8-BE028D29744B}"/>
                  </a:ext>
                </a:extLst>
              </p:cNvPr>
              <p:cNvSpPr/>
              <p:nvPr/>
            </p:nvSpPr>
            <p:spPr>
              <a:xfrm>
                <a:off x="7916018" y="5138928"/>
                <a:ext cx="113920" cy="118872"/>
              </a:xfrm>
              <a:prstGeom prst="rect">
                <a:avLst/>
              </a:prstGeom>
              <a:noFill/>
              <a:ln w="127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>
                  <a:solidFill>
                    <a:srgbClr val="FFFFFF"/>
                  </a:solidFill>
                  <a:latin typeface="Oracle Sans" panose="020B0503020204020204" pitchFamily="34" charset="0"/>
                </a:endParaRPr>
              </a:p>
            </p:txBody>
          </p:sp>
        </p:grpSp>
        <p:grpSp>
          <p:nvGrpSpPr>
            <p:cNvPr id="194" name="Group 228">
              <a:extLst>
                <a:ext uri="{FF2B5EF4-FFF2-40B4-BE49-F238E27FC236}">
                  <a16:creationId xmlns:a16="http://schemas.microsoft.com/office/drawing/2014/main" id="{42528F62-AA7B-4C2B-A226-C8E2699F941A}"/>
                </a:ext>
              </a:extLst>
            </p:cNvPr>
            <p:cNvGrpSpPr/>
            <p:nvPr/>
          </p:nvGrpSpPr>
          <p:grpSpPr>
            <a:xfrm>
              <a:off x="8355122" y="4691557"/>
              <a:ext cx="113920" cy="417120"/>
              <a:chOff x="7916018" y="4691557"/>
              <a:chExt cx="113920" cy="417120"/>
            </a:xfrm>
          </p:grpSpPr>
          <p:sp>
            <p:nvSpPr>
              <p:cNvPr id="200" name="Rectangle 199">
                <a:extLst>
                  <a:ext uri="{FF2B5EF4-FFF2-40B4-BE49-F238E27FC236}">
                    <a16:creationId xmlns:a16="http://schemas.microsoft.com/office/drawing/2014/main" id="{338B250E-CA2F-4A49-A258-7DE45F3B1B35}"/>
                  </a:ext>
                </a:extLst>
              </p:cNvPr>
              <p:cNvSpPr/>
              <p:nvPr/>
            </p:nvSpPr>
            <p:spPr>
              <a:xfrm>
                <a:off x="7916018" y="4691557"/>
                <a:ext cx="113920" cy="118872"/>
              </a:xfrm>
              <a:prstGeom prst="rect">
                <a:avLst/>
              </a:prstGeom>
              <a:noFill/>
              <a:ln w="127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>
                  <a:solidFill>
                    <a:srgbClr val="FFFFFF"/>
                  </a:solidFill>
                  <a:latin typeface="Oracle Sans" panose="020B0503020204020204" pitchFamily="34" charset="0"/>
                </a:endParaRPr>
              </a:p>
            </p:txBody>
          </p:sp>
          <p:sp>
            <p:nvSpPr>
              <p:cNvPr id="201" name="Rectangle 200">
                <a:extLst>
                  <a:ext uri="{FF2B5EF4-FFF2-40B4-BE49-F238E27FC236}">
                    <a16:creationId xmlns:a16="http://schemas.microsoft.com/office/drawing/2014/main" id="{73C9EFCC-7429-44A5-B676-3A4128F1525C}"/>
                  </a:ext>
                </a:extLst>
              </p:cNvPr>
              <p:cNvSpPr/>
              <p:nvPr/>
            </p:nvSpPr>
            <p:spPr>
              <a:xfrm>
                <a:off x="7916018" y="4840681"/>
                <a:ext cx="113920" cy="118872"/>
              </a:xfrm>
              <a:prstGeom prst="rect">
                <a:avLst/>
              </a:prstGeom>
              <a:noFill/>
              <a:ln w="127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>
                  <a:solidFill>
                    <a:srgbClr val="FFFFFF"/>
                  </a:solidFill>
                  <a:latin typeface="Oracle Sans" panose="020B0503020204020204" pitchFamily="34" charset="0"/>
                </a:endParaRPr>
              </a:p>
            </p:txBody>
          </p:sp>
          <p:sp>
            <p:nvSpPr>
              <p:cNvPr id="202" name="Rectangle 201">
                <a:extLst>
                  <a:ext uri="{FF2B5EF4-FFF2-40B4-BE49-F238E27FC236}">
                    <a16:creationId xmlns:a16="http://schemas.microsoft.com/office/drawing/2014/main" id="{196E979A-9A43-4CD6-AE8F-2EA49074AA48}"/>
                  </a:ext>
                </a:extLst>
              </p:cNvPr>
              <p:cNvSpPr/>
              <p:nvPr/>
            </p:nvSpPr>
            <p:spPr>
              <a:xfrm>
                <a:off x="7916018" y="4989805"/>
                <a:ext cx="113920" cy="118872"/>
              </a:xfrm>
              <a:prstGeom prst="rect">
                <a:avLst/>
              </a:prstGeom>
              <a:noFill/>
              <a:ln w="127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>
                  <a:solidFill>
                    <a:srgbClr val="0070C0"/>
                  </a:solidFill>
                  <a:latin typeface="Oracle Sans" panose="020B0503020204020204" pitchFamily="34" charset="0"/>
                </a:endParaRPr>
              </a:p>
            </p:txBody>
          </p:sp>
        </p:grpSp>
        <p:grpSp>
          <p:nvGrpSpPr>
            <p:cNvPr id="195" name="Group 229">
              <a:extLst>
                <a:ext uri="{FF2B5EF4-FFF2-40B4-BE49-F238E27FC236}">
                  <a16:creationId xmlns:a16="http://schemas.microsoft.com/office/drawing/2014/main" id="{7A0FA95B-DB08-4703-8771-4F4279D5503C}"/>
                </a:ext>
              </a:extLst>
            </p:cNvPr>
            <p:cNvGrpSpPr/>
            <p:nvPr/>
          </p:nvGrpSpPr>
          <p:grpSpPr>
            <a:xfrm>
              <a:off x="8501492" y="4691557"/>
              <a:ext cx="113920" cy="417120"/>
              <a:chOff x="7916018" y="4691557"/>
              <a:chExt cx="113920" cy="417120"/>
            </a:xfrm>
          </p:grpSpPr>
          <p:sp>
            <p:nvSpPr>
              <p:cNvPr id="196" name="Rectangle 195">
                <a:extLst>
                  <a:ext uri="{FF2B5EF4-FFF2-40B4-BE49-F238E27FC236}">
                    <a16:creationId xmlns:a16="http://schemas.microsoft.com/office/drawing/2014/main" id="{2575DD3C-28D5-4E84-81C7-3C8D9FFF9508}"/>
                  </a:ext>
                </a:extLst>
              </p:cNvPr>
              <p:cNvSpPr/>
              <p:nvPr/>
            </p:nvSpPr>
            <p:spPr>
              <a:xfrm>
                <a:off x="7916018" y="4691557"/>
                <a:ext cx="113920" cy="118872"/>
              </a:xfrm>
              <a:prstGeom prst="rect">
                <a:avLst/>
              </a:prstGeom>
              <a:noFill/>
              <a:ln w="127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>
                  <a:solidFill>
                    <a:srgbClr val="FFFFFF"/>
                  </a:solidFill>
                  <a:latin typeface="Oracle Sans" panose="020B0503020204020204" pitchFamily="34" charset="0"/>
                </a:endParaRPr>
              </a:p>
            </p:txBody>
          </p:sp>
          <p:sp>
            <p:nvSpPr>
              <p:cNvPr id="197" name="Rectangle 196">
                <a:extLst>
                  <a:ext uri="{FF2B5EF4-FFF2-40B4-BE49-F238E27FC236}">
                    <a16:creationId xmlns:a16="http://schemas.microsoft.com/office/drawing/2014/main" id="{B881D77B-7FDE-4857-8E23-32F43FE64731}"/>
                  </a:ext>
                </a:extLst>
              </p:cNvPr>
              <p:cNvSpPr/>
              <p:nvPr/>
            </p:nvSpPr>
            <p:spPr>
              <a:xfrm>
                <a:off x="7916018" y="4840681"/>
                <a:ext cx="113920" cy="118872"/>
              </a:xfrm>
              <a:prstGeom prst="rect">
                <a:avLst/>
              </a:prstGeom>
              <a:noFill/>
              <a:ln w="127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>
                  <a:solidFill>
                    <a:srgbClr val="FFFFFF"/>
                  </a:solidFill>
                  <a:latin typeface="Oracle Sans" panose="020B0503020204020204" pitchFamily="34" charset="0"/>
                </a:endParaRPr>
              </a:p>
            </p:txBody>
          </p:sp>
          <p:sp>
            <p:nvSpPr>
              <p:cNvPr id="198" name="Rectangle 197">
                <a:extLst>
                  <a:ext uri="{FF2B5EF4-FFF2-40B4-BE49-F238E27FC236}">
                    <a16:creationId xmlns:a16="http://schemas.microsoft.com/office/drawing/2014/main" id="{EB0E9253-F252-48CB-BDAB-9010F25B2AEE}"/>
                  </a:ext>
                </a:extLst>
              </p:cNvPr>
              <p:cNvSpPr/>
              <p:nvPr/>
            </p:nvSpPr>
            <p:spPr>
              <a:xfrm>
                <a:off x="7916018" y="4989805"/>
                <a:ext cx="113920" cy="118872"/>
              </a:xfrm>
              <a:prstGeom prst="rect">
                <a:avLst/>
              </a:prstGeom>
              <a:noFill/>
              <a:ln w="127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>
                  <a:solidFill>
                    <a:srgbClr val="0070C0"/>
                  </a:solidFill>
                  <a:latin typeface="Oracle Sans" panose="020B0503020204020204" pitchFamily="34" charset="0"/>
                </a:endParaRPr>
              </a:p>
            </p:txBody>
          </p:sp>
        </p:grpSp>
      </p:grpSp>
      <p:sp>
        <p:nvSpPr>
          <p:cNvPr id="216" name="Rectangle 215">
            <a:extLst>
              <a:ext uri="{FF2B5EF4-FFF2-40B4-BE49-F238E27FC236}">
                <a16:creationId xmlns:a16="http://schemas.microsoft.com/office/drawing/2014/main" id="{DE6750B1-3D01-4DCA-8B5B-C77C670B1922}"/>
              </a:ext>
            </a:extLst>
          </p:cNvPr>
          <p:cNvSpPr/>
          <p:nvPr/>
        </p:nvSpPr>
        <p:spPr>
          <a:xfrm>
            <a:off x="2034849" y="5526473"/>
            <a:ext cx="4999400" cy="604174"/>
          </a:xfrm>
          <a:prstGeom prst="rect">
            <a:avLst/>
          </a:prstGeom>
          <a:solidFill>
            <a:schemeClr val="accent4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6" tIns="45719" rIns="91436" bIns="4571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>
              <a:solidFill>
                <a:srgbClr val="FFFFFF"/>
              </a:solidFill>
              <a:latin typeface="Oracle Sans" panose="020B0503020204020204" pitchFamily="34" charset="0"/>
            </a:endParaRPr>
          </a:p>
        </p:txBody>
      </p:sp>
      <p:sp>
        <p:nvSpPr>
          <p:cNvPr id="217" name="TextBox 216">
            <a:extLst>
              <a:ext uri="{FF2B5EF4-FFF2-40B4-BE49-F238E27FC236}">
                <a16:creationId xmlns:a16="http://schemas.microsoft.com/office/drawing/2014/main" id="{AFCFEA3A-F82F-41F6-97B0-18A99EF6F06B}"/>
              </a:ext>
            </a:extLst>
          </p:cNvPr>
          <p:cNvSpPr txBox="1"/>
          <p:nvPr/>
        </p:nvSpPr>
        <p:spPr>
          <a:xfrm>
            <a:off x="2576124" y="5547739"/>
            <a:ext cx="4164394" cy="553972"/>
          </a:xfrm>
          <a:prstGeom prst="rect">
            <a:avLst/>
          </a:prstGeom>
          <a:noFill/>
        </p:spPr>
        <p:txBody>
          <a:bodyPr wrap="square" lIns="121893" tIns="60947" rIns="121893" bIns="60947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00" b="1" dirty="0">
                <a:solidFill>
                  <a:srgbClr val="FFFFFF"/>
                </a:solidFill>
                <a:ea typeface="ＭＳ Ｐゴシック" pitchFamily="34" charset="-128"/>
              </a:rPr>
              <a:t>Incremental forever backups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00" b="1" dirty="0">
                <a:solidFill>
                  <a:srgbClr val="FFFFFF"/>
                </a:solidFill>
                <a:ea typeface="ＭＳ Ｐゴシック" pitchFamily="34" charset="-128"/>
              </a:rPr>
              <a:t>of protected databases</a:t>
            </a:r>
          </a:p>
        </p:txBody>
      </p:sp>
      <p:grpSp>
        <p:nvGrpSpPr>
          <p:cNvPr id="248" name="Group 247">
            <a:extLst>
              <a:ext uri="{FF2B5EF4-FFF2-40B4-BE49-F238E27FC236}">
                <a16:creationId xmlns:a16="http://schemas.microsoft.com/office/drawing/2014/main" id="{375D0B9A-FF8C-4775-9F9B-D4C7A3722DDA}"/>
              </a:ext>
            </a:extLst>
          </p:cNvPr>
          <p:cNvGrpSpPr/>
          <p:nvPr/>
        </p:nvGrpSpPr>
        <p:grpSpPr>
          <a:xfrm>
            <a:off x="2082978" y="2810361"/>
            <a:ext cx="1486212" cy="914400"/>
            <a:chOff x="1723388" y="1286351"/>
            <a:chExt cx="1486212" cy="914400"/>
          </a:xfrm>
        </p:grpSpPr>
        <p:grpSp>
          <p:nvGrpSpPr>
            <p:cNvPr id="243" name="Group 242">
              <a:extLst>
                <a:ext uri="{FF2B5EF4-FFF2-40B4-BE49-F238E27FC236}">
                  <a16:creationId xmlns:a16="http://schemas.microsoft.com/office/drawing/2014/main" id="{280CFCDC-59BB-4DE4-9E18-29589ED9C0A0}"/>
                </a:ext>
              </a:extLst>
            </p:cNvPr>
            <p:cNvGrpSpPr/>
            <p:nvPr/>
          </p:nvGrpSpPr>
          <p:grpSpPr>
            <a:xfrm>
              <a:off x="1785362" y="1312730"/>
              <a:ext cx="1424238" cy="861643"/>
              <a:chOff x="312193" y="1688362"/>
              <a:chExt cx="1424238" cy="861643"/>
            </a:xfrm>
          </p:grpSpPr>
          <p:pic>
            <p:nvPicPr>
              <p:cNvPr id="238" name="Graphic 237">
                <a:extLst>
                  <a:ext uri="{FF2B5EF4-FFF2-40B4-BE49-F238E27FC236}">
                    <a16:creationId xmlns:a16="http://schemas.microsoft.com/office/drawing/2014/main" id="{D9185267-EABC-4AB5-8B99-722AF9738C21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5" cstate="screen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="" xmlns:asvg="http://schemas.microsoft.com/office/drawing/2016/SVG/main" r:embed="rId6"/>
                  </a:ext>
                </a:extLst>
              </a:blip>
              <a:srcRect/>
              <a:stretch/>
            </p:blipFill>
            <p:spPr>
              <a:xfrm>
                <a:off x="312193" y="1688362"/>
                <a:ext cx="861643" cy="861643"/>
              </a:xfrm>
              <a:custGeom>
                <a:avLst/>
                <a:gdLst>
                  <a:gd name="connsiteX0" fmla="*/ 207008 w 2397621"/>
                  <a:gd name="connsiteY0" fmla="*/ 1253292 h 2397621"/>
                  <a:gd name="connsiteX1" fmla="*/ 207008 w 2397621"/>
                  <a:gd name="connsiteY1" fmla="*/ 2048031 h 2397621"/>
                  <a:gd name="connsiteX2" fmla="*/ 789732 w 2397621"/>
                  <a:gd name="connsiteY2" fmla="*/ 2048031 h 2397621"/>
                  <a:gd name="connsiteX3" fmla="*/ 789732 w 2397621"/>
                  <a:gd name="connsiteY3" fmla="*/ 1253292 h 2397621"/>
                  <a:gd name="connsiteX4" fmla="*/ 1497125 w 2397621"/>
                  <a:gd name="connsiteY4" fmla="*/ 1017782 h 2397621"/>
                  <a:gd name="connsiteX5" fmla="*/ 1497125 w 2397621"/>
                  <a:gd name="connsiteY5" fmla="*/ 2141732 h 2397621"/>
                  <a:gd name="connsiteX6" fmla="*/ 1965659 w 2397621"/>
                  <a:gd name="connsiteY6" fmla="*/ 2141732 h 2397621"/>
                  <a:gd name="connsiteX7" fmla="*/ 1965659 w 2397621"/>
                  <a:gd name="connsiteY7" fmla="*/ 1017782 h 2397621"/>
                  <a:gd name="connsiteX8" fmla="*/ 0 w 2397621"/>
                  <a:gd name="connsiteY8" fmla="*/ 0 h 2397621"/>
                  <a:gd name="connsiteX9" fmla="*/ 2397621 w 2397621"/>
                  <a:gd name="connsiteY9" fmla="*/ 0 h 2397621"/>
                  <a:gd name="connsiteX10" fmla="*/ 2397621 w 2397621"/>
                  <a:gd name="connsiteY10" fmla="*/ 2397621 h 2397621"/>
                  <a:gd name="connsiteX11" fmla="*/ 0 w 2397621"/>
                  <a:gd name="connsiteY11" fmla="*/ 2397621 h 23976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2397621" h="2397621">
                    <a:moveTo>
                      <a:pt x="207008" y="1253292"/>
                    </a:moveTo>
                    <a:lnTo>
                      <a:pt x="207008" y="2048031"/>
                    </a:lnTo>
                    <a:lnTo>
                      <a:pt x="789732" y="2048031"/>
                    </a:lnTo>
                    <a:lnTo>
                      <a:pt x="789732" y="1253292"/>
                    </a:lnTo>
                    <a:close/>
                    <a:moveTo>
                      <a:pt x="1497125" y="1017782"/>
                    </a:moveTo>
                    <a:lnTo>
                      <a:pt x="1497125" y="2141732"/>
                    </a:lnTo>
                    <a:lnTo>
                      <a:pt x="1965659" y="2141732"/>
                    </a:lnTo>
                    <a:lnTo>
                      <a:pt x="1965659" y="1017782"/>
                    </a:lnTo>
                    <a:close/>
                    <a:moveTo>
                      <a:pt x="0" y="0"/>
                    </a:moveTo>
                    <a:lnTo>
                      <a:pt x="2397621" y="0"/>
                    </a:lnTo>
                    <a:lnTo>
                      <a:pt x="2397621" y="2397621"/>
                    </a:lnTo>
                    <a:lnTo>
                      <a:pt x="0" y="2397621"/>
                    </a:lnTo>
                    <a:close/>
                  </a:path>
                </a:pathLst>
              </a:custGeom>
            </p:spPr>
          </p:pic>
          <p:sp>
            <p:nvSpPr>
              <p:cNvPr id="239" name="TextBox 238">
                <a:extLst>
                  <a:ext uri="{FF2B5EF4-FFF2-40B4-BE49-F238E27FC236}">
                    <a16:creationId xmlns:a16="http://schemas.microsoft.com/office/drawing/2014/main" id="{66F03CB3-0D1B-4ECF-BB4A-0FC3736D8249}"/>
                  </a:ext>
                </a:extLst>
              </p:cNvPr>
              <p:cNvSpPr txBox="1"/>
              <p:nvPr/>
            </p:nvSpPr>
            <p:spPr>
              <a:xfrm>
                <a:off x="781795" y="2016530"/>
                <a:ext cx="954636" cy="461665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800" dirty="0"/>
                  <a:t>Autonomous Database - Dedicated</a:t>
                </a:r>
              </a:p>
            </p:txBody>
          </p:sp>
        </p:grpSp>
        <p:sp>
          <p:nvSpPr>
            <p:cNvPr id="244" name="Rectangle 243">
              <a:extLst>
                <a:ext uri="{FF2B5EF4-FFF2-40B4-BE49-F238E27FC236}">
                  <a16:creationId xmlns:a16="http://schemas.microsoft.com/office/drawing/2014/main" id="{784C41E6-39D8-4F39-8B95-DFEED3E99985}"/>
                </a:ext>
              </a:extLst>
            </p:cNvPr>
            <p:cNvSpPr/>
            <p:nvPr/>
          </p:nvSpPr>
          <p:spPr>
            <a:xfrm>
              <a:off x="1723388" y="1286351"/>
              <a:ext cx="1463040" cy="9144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249" name="Group 248">
            <a:extLst>
              <a:ext uri="{FF2B5EF4-FFF2-40B4-BE49-F238E27FC236}">
                <a16:creationId xmlns:a16="http://schemas.microsoft.com/office/drawing/2014/main" id="{35D98EA2-E517-43EC-A459-593090F94909}"/>
              </a:ext>
            </a:extLst>
          </p:cNvPr>
          <p:cNvGrpSpPr/>
          <p:nvPr/>
        </p:nvGrpSpPr>
        <p:grpSpPr>
          <a:xfrm>
            <a:off x="2082978" y="3470864"/>
            <a:ext cx="1463040" cy="914400"/>
            <a:chOff x="1723388" y="2842028"/>
            <a:chExt cx="1463040" cy="914400"/>
          </a:xfrm>
        </p:grpSpPr>
        <p:grpSp>
          <p:nvGrpSpPr>
            <p:cNvPr id="242" name="Group 241">
              <a:extLst>
                <a:ext uri="{FF2B5EF4-FFF2-40B4-BE49-F238E27FC236}">
                  <a16:creationId xmlns:a16="http://schemas.microsoft.com/office/drawing/2014/main" id="{366B8B16-4E19-450C-AD66-2FE2761E1BA0}"/>
                </a:ext>
              </a:extLst>
            </p:cNvPr>
            <p:cNvGrpSpPr/>
            <p:nvPr/>
          </p:nvGrpSpPr>
          <p:grpSpPr>
            <a:xfrm>
              <a:off x="1747606" y="2846036"/>
              <a:ext cx="1422483" cy="906385"/>
              <a:chOff x="289822" y="2770933"/>
              <a:chExt cx="1422483" cy="906385"/>
            </a:xfrm>
          </p:grpSpPr>
          <p:pic>
            <p:nvPicPr>
              <p:cNvPr id="236" name="Picture Placeholder 93">
                <a:extLst>
                  <a:ext uri="{FF2B5EF4-FFF2-40B4-BE49-F238E27FC236}">
                    <a16:creationId xmlns:a16="http://schemas.microsoft.com/office/drawing/2014/main" id="{BCF3EFFC-2C70-4C74-A515-91B268F349DB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7" cstate="screen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="" xmlns:asvg="http://schemas.microsoft.com/office/drawing/2016/SVG/main" r:embed="rId8"/>
                  </a:ext>
                </a:extLst>
              </a:blip>
              <a:srcRect t="85" b="85"/>
              <a:stretch/>
            </p:blipFill>
            <p:spPr>
              <a:xfrm>
                <a:off x="289822" y="2770933"/>
                <a:ext cx="906384" cy="906385"/>
              </a:xfrm>
              <a:prstGeom prst="rect">
                <a:avLst/>
              </a:prstGeom>
            </p:spPr>
          </p:pic>
          <p:sp>
            <p:nvSpPr>
              <p:cNvPr id="237" name="TextBox 236">
                <a:extLst>
                  <a:ext uri="{FF2B5EF4-FFF2-40B4-BE49-F238E27FC236}">
                    <a16:creationId xmlns:a16="http://schemas.microsoft.com/office/drawing/2014/main" id="{88964B97-79F7-4B4F-89F5-E52F9D1FFF25}"/>
                  </a:ext>
                </a:extLst>
              </p:cNvPr>
              <p:cNvSpPr txBox="1"/>
              <p:nvPr/>
            </p:nvSpPr>
            <p:spPr>
              <a:xfrm>
                <a:off x="805921" y="3101464"/>
                <a:ext cx="906384" cy="461665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800" dirty="0"/>
                  <a:t>Exadata Database Service</a:t>
                </a:r>
              </a:p>
            </p:txBody>
          </p:sp>
        </p:grpSp>
        <p:sp>
          <p:nvSpPr>
            <p:cNvPr id="245" name="Rectangle 244">
              <a:extLst>
                <a:ext uri="{FF2B5EF4-FFF2-40B4-BE49-F238E27FC236}">
                  <a16:creationId xmlns:a16="http://schemas.microsoft.com/office/drawing/2014/main" id="{B74AFF27-AD90-4E89-B332-9A88F7CD47A0}"/>
                </a:ext>
              </a:extLst>
            </p:cNvPr>
            <p:cNvSpPr/>
            <p:nvPr/>
          </p:nvSpPr>
          <p:spPr>
            <a:xfrm>
              <a:off x="1723388" y="2842028"/>
              <a:ext cx="1463040" cy="9144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250" name="Group 249">
            <a:extLst>
              <a:ext uri="{FF2B5EF4-FFF2-40B4-BE49-F238E27FC236}">
                <a16:creationId xmlns:a16="http://schemas.microsoft.com/office/drawing/2014/main" id="{DAA49587-CD9C-44D4-A5DA-18BC5295A4C2}"/>
              </a:ext>
            </a:extLst>
          </p:cNvPr>
          <p:cNvGrpSpPr/>
          <p:nvPr/>
        </p:nvGrpSpPr>
        <p:grpSpPr>
          <a:xfrm>
            <a:off x="2082978" y="4131367"/>
            <a:ext cx="1463040" cy="914400"/>
            <a:chOff x="1723388" y="3855353"/>
            <a:chExt cx="1463040" cy="914400"/>
          </a:xfrm>
        </p:grpSpPr>
        <p:grpSp>
          <p:nvGrpSpPr>
            <p:cNvPr id="241" name="Group 240">
              <a:extLst>
                <a:ext uri="{FF2B5EF4-FFF2-40B4-BE49-F238E27FC236}">
                  <a16:creationId xmlns:a16="http://schemas.microsoft.com/office/drawing/2014/main" id="{48524AFC-BE77-4AA5-A0A1-7815C8798786}"/>
                </a:ext>
              </a:extLst>
            </p:cNvPr>
            <p:cNvGrpSpPr/>
            <p:nvPr/>
          </p:nvGrpSpPr>
          <p:grpSpPr>
            <a:xfrm>
              <a:off x="1916503" y="4056457"/>
              <a:ext cx="1198449" cy="512193"/>
              <a:chOff x="470478" y="3632205"/>
              <a:chExt cx="1198449" cy="512193"/>
            </a:xfrm>
          </p:grpSpPr>
          <p:grpSp>
            <p:nvGrpSpPr>
              <p:cNvPr id="230" name="Graphic 70">
                <a:extLst>
                  <a:ext uri="{FF2B5EF4-FFF2-40B4-BE49-F238E27FC236}">
                    <a16:creationId xmlns:a16="http://schemas.microsoft.com/office/drawing/2014/main" id="{ABA9A6DE-CDCC-416C-B046-3D487DD59496}"/>
                  </a:ext>
                </a:extLst>
              </p:cNvPr>
              <p:cNvGrpSpPr>
                <a:grpSpLocks noChangeAspect="1"/>
              </p:cNvGrpSpPr>
              <p:nvPr/>
            </p:nvGrpSpPr>
            <p:grpSpPr>
              <a:xfrm>
                <a:off x="470478" y="3632205"/>
                <a:ext cx="545072" cy="475782"/>
                <a:chOff x="7162146" y="2961107"/>
                <a:chExt cx="419100" cy="393700"/>
              </a:xfrm>
            </p:grpSpPr>
            <p:sp>
              <p:nvSpPr>
                <p:cNvPr id="232" name="Freeform 11">
                  <a:extLst>
                    <a:ext uri="{FF2B5EF4-FFF2-40B4-BE49-F238E27FC236}">
                      <a16:creationId xmlns:a16="http://schemas.microsoft.com/office/drawing/2014/main" id="{97CCA862-452F-41F2-A3DA-FDF7FB8E118D}"/>
                    </a:ext>
                  </a:extLst>
                </p:cNvPr>
                <p:cNvSpPr/>
                <p:nvPr/>
              </p:nvSpPr>
              <p:spPr>
                <a:xfrm>
                  <a:off x="7167734" y="2965386"/>
                  <a:ext cx="404533" cy="384733"/>
                </a:xfrm>
                <a:custGeom>
                  <a:avLst/>
                  <a:gdLst>
                    <a:gd name="connsiteX0" fmla="*/ 202099 w 404533"/>
                    <a:gd name="connsiteY0" fmla="*/ 384734 h 384733"/>
                    <a:gd name="connsiteX1" fmla="*/ 185335 w 404533"/>
                    <a:gd name="connsiteY1" fmla="*/ 384734 h 384733"/>
                    <a:gd name="connsiteX2" fmla="*/ 128524 w 404533"/>
                    <a:gd name="connsiteY2" fmla="*/ 378172 h 384733"/>
                    <a:gd name="connsiteX3" fmla="*/ 111760 w 404533"/>
                    <a:gd name="connsiteY3" fmla="*/ 373485 h 384733"/>
                    <a:gd name="connsiteX4" fmla="*/ 97790 w 404533"/>
                    <a:gd name="connsiteY4" fmla="*/ 366923 h 384733"/>
                    <a:gd name="connsiteX5" fmla="*/ 83820 w 404533"/>
                    <a:gd name="connsiteY5" fmla="*/ 346301 h 384733"/>
                    <a:gd name="connsiteX6" fmla="*/ 83820 w 404533"/>
                    <a:gd name="connsiteY6" fmla="*/ 208506 h 384733"/>
                    <a:gd name="connsiteX7" fmla="*/ 0 w 404533"/>
                    <a:gd name="connsiteY7" fmla="*/ 208506 h 384733"/>
                    <a:gd name="connsiteX8" fmla="*/ 931 w 404533"/>
                    <a:gd name="connsiteY8" fmla="*/ 194445 h 384733"/>
                    <a:gd name="connsiteX9" fmla="*/ 53086 w 404533"/>
                    <a:gd name="connsiteY9" fmla="*/ 114768 h 384733"/>
                    <a:gd name="connsiteX10" fmla="*/ 65193 w 404533"/>
                    <a:gd name="connsiteY10" fmla="*/ 97895 h 384733"/>
                    <a:gd name="connsiteX11" fmla="*/ 108035 w 404533"/>
                    <a:gd name="connsiteY11" fmla="*/ 43527 h 384733"/>
                    <a:gd name="connsiteX12" fmla="*/ 137837 w 404533"/>
                    <a:gd name="connsiteY12" fmla="*/ 36965 h 384733"/>
                    <a:gd name="connsiteX13" fmla="*/ 145288 w 404533"/>
                    <a:gd name="connsiteY13" fmla="*/ 36965 h 384733"/>
                    <a:gd name="connsiteX14" fmla="*/ 148082 w 404533"/>
                    <a:gd name="connsiteY14" fmla="*/ 36965 h 384733"/>
                    <a:gd name="connsiteX15" fmla="*/ 164846 w 404533"/>
                    <a:gd name="connsiteY15" fmla="*/ 29466 h 384733"/>
                    <a:gd name="connsiteX16" fmla="*/ 294301 w 404533"/>
                    <a:gd name="connsiteY16" fmla="*/ 24779 h 384733"/>
                    <a:gd name="connsiteX17" fmla="*/ 313859 w 404533"/>
                    <a:gd name="connsiteY17" fmla="*/ 51026 h 384733"/>
                    <a:gd name="connsiteX18" fmla="*/ 330623 w 404533"/>
                    <a:gd name="connsiteY18" fmla="*/ 64149 h 384733"/>
                    <a:gd name="connsiteX19" fmla="*/ 402336 w 404533"/>
                    <a:gd name="connsiteY19" fmla="*/ 176635 h 384733"/>
                    <a:gd name="connsiteX20" fmla="*/ 393023 w 404533"/>
                    <a:gd name="connsiteY20" fmla="*/ 201007 h 384733"/>
                    <a:gd name="connsiteX21" fmla="*/ 389297 w 404533"/>
                    <a:gd name="connsiteY21" fmla="*/ 207569 h 384733"/>
                    <a:gd name="connsiteX22" fmla="*/ 319447 w 404533"/>
                    <a:gd name="connsiteY22" fmla="*/ 207569 h 384733"/>
                    <a:gd name="connsiteX23" fmla="*/ 319447 w 404533"/>
                    <a:gd name="connsiteY23" fmla="*/ 346301 h 384733"/>
                    <a:gd name="connsiteX24" fmla="*/ 311065 w 404533"/>
                    <a:gd name="connsiteY24" fmla="*/ 363174 h 384733"/>
                    <a:gd name="connsiteX25" fmla="*/ 305477 w 404533"/>
                    <a:gd name="connsiteY25" fmla="*/ 366923 h 384733"/>
                    <a:gd name="connsiteX26" fmla="*/ 228177 w 404533"/>
                    <a:gd name="connsiteY26" fmla="*/ 383796 h 384733"/>
                    <a:gd name="connsiteX27" fmla="*/ 202099 w 404533"/>
                    <a:gd name="connsiteY27" fmla="*/ 384734 h 3847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</a:cxnLst>
                  <a:rect l="l" t="t" r="r" b="b"/>
                  <a:pathLst>
                    <a:path w="404533" h="384733">
                      <a:moveTo>
                        <a:pt x="202099" y="384734"/>
                      </a:moveTo>
                      <a:lnTo>
                        <a:pt x="185335" y="384734"/>
                      </a:lnTo>
                      <a:cubicBezTo>
                        <a:pt x="166709" y="383796"/>
                        <a:pt x="147151" y="381922"/>
                        <a:pt x="128524" y="378172"/>
                      </a:cubicBezTo>
                      <a:cubicBezTo>
                        <a:pt x="122936" y="377235"/>
                        <a:pt x="117348" y="375360"/>
                        <a:pt x="111760" y="373485"/>
                      </a:cubicBezTo>
                      <a:cubicBezTo>
                        <a:pt x="107103" y="371610"/>
                        <a:pt x="102447" y="369736"/>
                        <a:pt x="97790" y="366923"/>
                      </a:cubicBezTo>
                      <a:cubicBezTo>
                        <a:pt x="89408" y="363174"/>
                        <a:pt x="84751" y="355675"/>
                        <a:pt x="83820" y="346301"/>
                      </a:cubicBezTo>
                      <a:lnTo>
                        <a:pt x="83820" y="208506"/>
                      </a:lnTo>
                      <a:lnTo>
                        <a:pt x="0" y="208506"/>
                      </a:lnTo>
                      <a:lnTo>
                        <a:pt x="931" y="194445"/>
                      </a:lnTo>
                      <a:cubicBezTo>
                        <a:pt x="3725" y="160700"/>
                        <a:pt x="23283" y="129766"/>
                        <a:pt x="53086" y="114768"/>
                      </a:cubicBezTo>
                      <a:cubicBezTo>
                        <a:pt x="59605" y="111018"/>
                        <a:pt x="64262" y="105394"/>
                        <a:pt x="65193" y="97895"/>
                      </a:cubicBezTo>
                      <a:cubicBezTo>
                        <a:pt x="69850" y="73523"/>
                        <a:pt x="85683" y="53838"/>
                        <a:pt x="108035" y="43527"/>
                      </a:cubicBezTo>
                      <a:cubicBezTo>
                        <a:pt x="117348" y="39777"/>
                        <a:pt x="127593" y="36965"/>
                        <a:pt x="137837" y="36965"/>
                      </a:cubicBezTo>
                      <a:cubicBezTo>
                        <a:pt x="139700" y="36965"/>
                        <a:pt x="142494" y="36965"/>
                        <a:pt x="145288" y="36965"/>
                      </a:cubicBezTo>
                      <a:lnTo>
                        <a:pt x="148082" y="36965"/>
                      </a:lnTo>
                      <a:cubicBezTo>
                        <a:pt x="154601" y="36965"/>
                        <a:pt x="160189" y="34153"/>
                        <a:pt x="164846" y="29466"/>
                      </a:cubicBezTo>
                      <a:cubicBezTo>
                        <a:pt x="199305" y="-8029"/>
                        <a:pt x="257048" y="-9904"/>
                        <a:pt x="294301" y="24779"/>
                      </a:cubicBezTo>
                      <a:cubicBezTo>
                        <a:pt x="302683" y="32278"/>
                        <a:pt x="309203" y="40715"/>
                        <a:pt x="313859" y="51026"/>
                      </a:cubicBezTo>
                      <a:cubicBezTo>
                        <a:pt x="317585" y="57588"/>
                        <a:pt x="323173" y="62275"/>
                        <a:pt x="330623" y="64149"/>
                      </a:cubicBezTo>
                      <a:cubicBezTo>
                        <a:pt x="380915" y="75398"/>
                        <a:pt x="413512" y="126016"/>
                        <a:pt x="402336" y="176635"/>
                      </a:cubicBezTo>
                      <a:cubicBezTo>
                        <a:pt x="400473" y="185071"/>
                        <a:pt x="397679" y="193508"/>
                        <a:pt x="393023" y="201007"/>
                      </a:cubicBezTo>
                      <a:lnTo>
                        <a:pt x="389297" y="207569"/>
                      </a:lnTo>
                      <a:lnTo>
                        <a:pt x="319447" y="207569"/>
                      </a:lnTo>
                      <a:lnTo>
                        <a:pt x="319447" y="346301"/>
                      </a:lnTo>
                      <a:cubicBezTo>
                        <a:pt x="319447" y="352863"/>
                        <a:pt x="315722" y="359424"/>
                        <a:pt x="311065" y="363174"/>
                      </a:cubicBezTo>
                      <a:cubicBezTo>
                        <a:pt x="309203" y="364111"/>
                        <a:pt x="307340" y="365986"/>
                        <a:pt x="305477" y="366923"/>
                      </a:cubicBezTo>
                      <a:cubicBezTo>
                        <a:pt x="285919" y="379109"/>
                        <a:pt x="248666" y="382859"/>
                        <a:pt x="228177" y="383796"/>
                      </a:cubicBezTo>
                      <a:cubicBezTo>
                        <a:pt x="218863" y="384734"/>
                        <a:pt x="210481" y="384734"/>
                        <a:pt x="202099" y="384734"/>
                      </a:cubicBezTo>
                      <a:close/>
                    </a:path>
                  </a:pathLst>
                </a:custGeom>
                <a:noFill/>
                <a:ln w="931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sz="800" dirty="0"/>
                </a:p>
              </p:txBody>
            </p:sp>
            <p:sp>
              <p:nvSpPr>
                <p:cNvPr id="233" name="Freeform 12">
                  <a:extLst>
                    <a:ext uri="{FF2B5EF4-FFF2-40B4-BE49-F238E27FC236}">
                      <a16:creationId xmlns:a16="http://schemas.microsoft.com/office/drawing/2014/main" id="{F015DA5A-E9D6-46F4-BF9C-D6320DE84B5E}"/>
                    </a:ext>
                  </a:extLst>
                </p:cNvPr>
                <p:cNvSpPr/>
                <p:nvPr/>
              </p:nvSpPr>
              <p:spPr>
                <a:xfrm>
                  <a:off x="7162146" y="2961107"/>
                  <a:ext cx="415300" cy="393699"/>
                </a:xfrm>
                <a:custGeom>
                  <a:avLst/>
                  <a:gdLst>
                    <a:gd name="connsiteX0" fmla="*/ 237490 w 415300"/>
                    <a:gd name="connsiteY0" fmla="*/ 9374 h 393699"/>
                    <a:gd name="connsiteX1" fmla="*/ 315722 w 415300"/>
                    <a:gd name="connsiteY1" fmla="*/ 58118 h 393699"/>
                    <a:gd name="connsiteX2" fmla="*/ 335280 w 415300"/>
                    <a:gd name="connsiteY2" fmla="*/ 73116 h 393699"/>
                    <a:gd name="connsiteX3" fmla="*/ 363220 w 415300"/>
                    <a:gd name="connsiteY3" fmla="*/ 84364 h 393699"/>
                    <a:gd name="connsiteX4" fmla="*/ 394885 w 415300"/>
                    <a:gd name="connsiteY4" fmla="*/ 202474 h 393699"/>
                    <a:gd name="connsiteX5" fmla="*/ 392091 w 415300"/>
                    <a:gd name="connsiteY5" fmla="*/ 207161 h 393699"/>
                    <a:gd name="connsiteX6" fmla="*/ 320379 w 415300"/>
                    <a:gd name="connsiteY6" fmla="*/ 207161 h 393699"/>
                    <a:gd name="connsiteX7" fmla="*/ 320379 w 415300"/>
                    <a:gd name="connsiteY7" fmla="*/ 350581 h 393699"/>
                    <a:gd name="connsiteX8" fmla="*/ 313859 w 415300"/>
                    <a:gd name="connsiteY8" fmla="*/ 363704 h 393699"/>
                    <a:gd name="connsiteX9" fmla="*/ 309203 w 415300"/>
                    <a:gd name="connsiteY9" fmla="*/ 367453 h 393699"/>
                    <a:gd name="connsiteX10" fmla="*/ 233765 w 415300"/>
                    <a:gd name="connsiteY10" fmla="*/ 383389 h 393699"/>
                    <a:gd name="connsiteX11" fmla="*/ 207687 w 415300"/>
                    <a:gd name="connsiteY11" fmla="*/ 384326 h 393699"/>
                    <a:gd name="connsiteX12" fmla="*/ 190923 w 415300"/>
                    <a:gd name="connsiteY12" fmla="*/ 384326 h 393699"/>
                    <a:gd name="connsiteX13" fmla="*/ 135043 w 415300"/>
                    <a:gd name="connsiteY13" fmla="*/ 377765 h 393699"/>
                    <a:gd name="connsiteX14" fmla="*/ 119211 w 415300"/>
                    <a:gd name="connsiteY14" fmla="*/ 373078 h 393699"/>
                    <a:gd name="connsiteX15" fmla="*/ 106172 w 415300"/>
                    <a:gd name="connsiteY15" fmla="*/ 367453 h 393699"/>
                    <a:gd name="connsiteX16" fmla="*/ 94065 w 415300"/>
                    <a:gd name="connsiteY16" fmla="*/ 351518 h 393699"/>
                    <a:gd name="connsiteX17" fmla="*/ 94065 w 415300"/>
                    <a:gd name="connsiteY17" fmla="*/ 208099 h 393699"/>
                    <a:gd name="connsiteX18" fmla="*/ 9313 w 415300"/>
                    <a:gd name="connsiteY18" fmla="*/ 208099 h 393699"/>
                    <a:gd name="connsiteX19" fmla="*/ 10245 w 415300"/>
                    <a:gd name="connsiteY19" fmla="*/ 198725 h 393699"/>
                    <a:gd name="connsiteX20" fmla="*/ 59605 w 415300"/>
                    <a:gd name="connsiteY20" fmla="*/ 122797 h 393699"/>
                    <a:gd name="connsiteX21" fmla="*/ 74507 w 415300"/>
                    <a:gd name="connsiteY21" fmla="*/ 103112 h 393699"/>
                    <a:gd name="connsiteX22" fmla="*/ 143425 w 415300"/>
                    <a:gd name="connsiteY22" fmla="*/ 45932 h 393699"/>
                    <a:gd name="connsiteX23" fmla="*/ 149945 w 415300"/>
                    <a:gd name="connsiteY23" fmla="*/ 45932 h 393699"/>
                    <a:gd name="connsiteX24" fmla="*/ 152739 w 415300"/>
                    <a:gd name="connsiteY24" fmla="*/ 45932 h 393699"/>
                    <a:gd name="connsiteX25" fmla="*/ 173228 w 415300"/>
                    <a:gd name="connsiteY25" fmla="*/ 37495 h 393699"/>
                    <a:gd name="connsiteX26" fmla="*/ 237490 w 415300"/>
                    <a:gd name="connsiteY26" fmla="*/ 9374 h 393699"/>
                    <a:gd name="connsiteX27" fmla="*/ 237490 w 415300"/>
                    <a:gd name="connsiteY27" fmla="*/ 0 h 393699"/>
                    <a:gd name="connsiteX28" fmla="*/ 166709 w 415300"/>
                    <a:gd name="connsiteY28" fmla="*/ 30934 h 393699"/>
                    <a:gd name="connsiteX29" fmla="*/ 153670 w 415300"/>
                    <a:gd name="connsiteY29" fmla="*/ 36558 h 393699"/>
                    <a:gd name="connsiteX30" fmla="*/ 151807 w 415300"/>
                    <a:gd name="connsiteY30" fmla="*/ 36558 h 393699"/>
                    <a:gd name="connsiteX31" fmla="*/ 144357 w 415300"/>
                    <a:gd name="connsiteY31" fmla="*/ 36558 h 393699"/>
                    <a:gd name="connsiteX32" fmla="*/ 112691 w 415300"/>
                    <a:gd name="connsiteY32" fmla="*/ 43120 h 393699"/>
                    <a:gd name="connsiteX33" fmla="*/ 67056 w 415300"/>
                    <a:gd name="connsiteY33" fmla="*/ 101237 h 393699"/>
                    <a:gd name="connsiteX34" fmla="*/ 55880 w 415300"/>
                    <a:gd name="connsiteY34" fmla="*/ 114360 h 393699"/>
                    <a:gd name="connsiteX35" fmla="*/ 1863 w 415300"/>
                    <a:gd name="connsiteY35" fmla="*/ 197787 h 393699"/>
                    <a:gd name="connsiteX36" fmla="*/ 931 w 415300"/>
                    <a:gd name="connsiteY36" fmla="*/ 207161 h 393699"/>
                    <a:gd name="connsiteX37" fmla="*/ 0 w 415300"/>
                    <a:gd name="connsiteY37" fmla="*/ 217472 h 393699"/>
                    <a:gd name="connsiteX38" fmla="*/ 84751 w 415300"/>
                    <a:gd name="connsiteY38" fmla="*/ 217472 h 393699"/>
                    <a:gd name="connsiteX39" fmla="*/ 84751 w 415300"/>
                    <a:gd name="connsiteY39" fmla="*/ 351518 h 393699"/>
                    <a:gd name="connsiteX40" fmla="*/ 101515 w 415300"/>
                    <a:gd name="connsiteY40" fmla="*/ 375890 h 393699"/>
                    <a:gd name="connsiteX41" fmla="*/ 116417 w 415300"/>
                    <a:gd name="connsiteY41" fmla="*/ 382451 h 393699"/>
                    <a:gd name="connsiteX42" fmla="*/ 134112 w 415300"/>
                    <a:gd name="connsiteY42" fmla="*/ 387138 h 393699"/>
                    <a:gd name="connsiteX43" fmla="*/ 190923 w 415300"/>
                    <a:gd name="connsiteY43" fmla="*/ 393700 h 393699"/>
                    <a:gd name="connsiteX44" fmla="*/ 208619 w 415300"/>
                    <a:gd name="connsiteY44" fmla="*/ 393700 h 393699"/>
                    <a:gd name="connsiteX45" fmla="*/ 235627 w 415300"/>
                    <a:gd name="connsiteY45" fmla="*/ 392763 h 393699"/>
                    <a:gd name="connsiteX46" fmla="*/ 314791 w 415300"/>
                    <a:gd name="connsiteY46" fmla="*/ 374952 h 393699"/>
                    <a:gd name="connsiteX47" fmla="*/ 321310 w 415300"/>
                    <a:gd name="connsiteY47" fmla="*/ 370265 h 393699"/>
                    <a:gd name="connsiteX48" fmla="*/ 331555 w 415300"/>
                    <a:gd name="connsiteY48" fmla="*/ 350581 h 393699"/>
                    <a:gd name="connsiteX49" fmla="*/ 331555 w 415300"/>
                    <a:gd name="connsiteY49" fmla="*/ 217472 h 393699"/>
                    <a:gd name="connsiteX50" fmla="*/ 399542 w 415300"/>
                    <a:gd name="connsiteY50" fmla="*/ 217472 h 393699"/>
                    <a:gd name="connsiteX51" fmla="*/ 402336 w 415300"/>
                    <a:gd name="connsiteY51" fmla="*/ 212785 h 393699"/>
                    <a:gd name="connsiteX52" fmla="*/ 405130 w 415300"/>
                    <a:gd name="connsiteY52" fmla="*/ 208099 h 393699"/>
                    <a:gd name="connsiteX53" fmla="*/ 362289 w 415300"/>
                    <a:gd name="connsiteY53" fmla="*/ 74053 h 393699"/>
                    <a:gd name="connsiteX54" fmla="*/ 337143 w 415300"/>
                    <a:gd name="connsiteY54" fmla="*/ 64679 h 393699"/>
                    <a:gd name="connsiteX55" fmla="*/ 323173 w 415300"/>
                    <a:gd name="connsiteY55" fmla="*/ 54368 h 393699"/>
                    <a:gd name="connsiteX56" fmla="*/ 237490 w 415300"/>
                    <a:gd name="connsiteY56" fmla="*/ 0 h 39369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</a:cxnLst>
                  <a:rect l="l" t="t" r="r" b="b"/>
                  <a:pathLst>
                    <a:path w="415300" h="393699">
                      <a:moveTo>
                        <a:pt x="237490" y="9374"/>
                      </a:moveTo>
                      <a:cubicBezTo>
                        <a:pt x="270087" y="9374"/>
                        <a:pt x="300821" y="28121"/>
                        <a:pt x="315722" y="58118"/>
                      </a:cubicBezTo>
                      <a:cubicBezTo>
                        <a:pt x="319447" y="65617"/>
                        <a:pt x="326898" y="71241"/>
                        <a:pt x="335280" y="73116"/>
                      </a:cubicBezTo>
                      <a:cubicBezTo>
                        <a:pt x="345525" y="74990"/>
                        <a:pt x="354838" y="79677"/>
                        <a:pt x="363220" y="84364"/>
                      </a:cubicBezTo>
                      <a:cubicBezTo>
                        <a:pt x="403267" y="109674"/>
                        <a:pt x="416306" y="161230"/>
                        <a:pt x="394885" y="202474"/>
                      </a:cubicBezTo>
                      <a:lnTo>
                        <a:pt x="392091" y="207161"/>
                      </a:lnTo>
                      <a:lnTo>
                        <a:pt x="320379" y="207161"/>
                      </a:lnTo>
                      <a:lnTo>
                        <a:pt x="320379" y="350581"/>
                      </a:lnTo>
                      <a:cubicBezTo>
                        <a:pt x="320379" y="355267"/>
                        <a:pt x="317585" y="359954"/>
                        <a:pt x="313859" y="363704"/>
                      </a:cubicBezTo>
                      <a:cubicBezTo>
                        <a:pt x="311997" y="364641"/>
                        <a:pt x="311065" y="366516"/>
                        <a:pt x="309203" y="367453"/>
                      </a:cubicBezTo>
                      <a:cubicBezTo>
                        <a:pt x="292439" y="376827"/>
                        <a:pt x="261705" y="381514"/>
                        <a:pt x="233765" y="383389"/>
                      </a:cubicBezTo>
                      <a:cubicBezTo>
                        <a:pt x="224451" y="384326"/>
                        <a:pt x="215138" y="384326"/>
                        <a:pt x="207687" y="384326"/>
                      </a:cubicBezTo>
                      <a:lnTo>
                        <a:pt x="190923" y="384326"/>
                      </a:lnTo>
                      <a:cubicBezTo>
                        <a:pt x="172297" y="383389"/>
                        <a:pt x="153670" y="381514"/>
                        <a:pt x="135043" y="377765"/>
                      </a:cubicBezTo>
                      <a:cubicBezTo>
                        <a:pt x="129455" y="376827"/>
                        <a:pt x="123867" y="374952"/>
                        <a:pt x="119211" y="373078"/>
                      </a:cubicBezTo>
                      <a:cubicBezTo>
                        <a:pt x="114554" y="371203"/>
                        <a:pt x="109897" y="369328"/>
                        <a:pt x="106172" y="367453"/>
                      </a:cubicBezTo>
                      <a:cubicBezTo>
                        <a:pt x="99653" y="364641"/>
                        <a:pt x="94996" y="358080"/>
                        <a:pt x="94065" y="351518"/>
                      </a:cubicBezTo>
                      <a:lnTo>
                        <a:pt x="94065" y="208099"/>
                      </a:lnTo>
                      <a:lnTo>
                        <a:pt x="9313" y="208099"/>
                      </a:lnTo>
                      <a:lnTo>
                        <a:pt x="10245" y="198725"/>
                      </a:lnTo>
                      <a:cubicBezTo>
                        <a:pt x="13039" y="166854"/>
                        <a:pt x="31665" y="137795"/>
                        <a:pt x="59605" y="122797"/>
                      </a:cubicBezTo>
                      <a:cubicBezTo>
                        <a:pt x="67056" y="119047"/>
                        <a:pt x="73575" y="111548"/>
                        <a:pt x="74507" y="103112"/>
                      </a:cubicBezTo>
                      <a:cubicBezTo>
                        <a:pt x="81026" y="70304"/>
                        <a:pt x="109897" y="45932"/>
                        <a:pt x="143425" y="45932"/>
                      </a:cubicBezTo>
                      <a:cubicBezTo>
                        <a:pt x="145288" y="45932"/>
                        <a:pt x="148082" y="45932"/>
                        <a:pt x="149945" y="45932"/>
                      </a:cubicBezTo>
                      <a:lnTo>
                        <a:pt x="152739" y="45932"/>
                      </a:lnTo>
                      <a:cubicBezTo>
                        <a:pt x="160189" y="45932"/>
                        <a:pt x="167640" y="43120"/>
                        <a:pt x="173228" y="37495"/>
                      </a:cubicBezTo>
                      <a:cubicBezTo>
                        <a:pt x="189992" y="19685"/>
                        <a:pt x="213275" y="9374"/>
                        <a:pt x="237490" y="9374"/>
                      </a:cubicBezTo>
                      <a:moveTo>
                        <a:pt x="237490" y="0"/>
                      </a:moveTo>
                      <a:cubicBezTo>
                        <a:pt x="210481" y="0"/>
                        <a:pt x="185335" y="11249"/>
                        <a:pt x="166709" y="30934"/>
                      </a:cubicBezTo>
                      <a:cubicBezTo>
                        <a:pt x="162983" y="34683"/>
                        <a:pt x="158327" y="36558"/>
                        <a:pt x="153670" y="36558"/>
                      </a:cubicBezTo>
                      <a:lnTo>
                        <a:pt x="151807" y="36558"/>
                      </a:lnTo>
                      <a:cubicBezTo>
                        <a:pt x="149013" y="36558"/>
                        <a:pt x="147151" y="36558"/>
                        <a:pt x="144357" y="36558"/>
                      </a:cubicBezTo>
                      <a:cubicBezTo>
                        <a:pt x="133181" y="36558"/>
                        <a:pt x="122936" y="38433"/>
                        <a:pt x="112691" y="43120"/>
                      </a:cubicBezTo>
                      <a:cubicBezTo>
                        <a:pt x="88477" y="53431"/>
                        <a:pt x="71713" y="74990"/>
                        <a:pt x="67056" y="101237"/>
                      </a:cubicBezTo>
                      <a:cubicBezTo>
                        <a:pt x="65193" y="106861"/>
                        <a:pt x="61468" y="111548"/>
                        <a:pt x="55880" y="114360"/>
                      </a:cubicBezTo>
                      <a:cubicBezTo>
                        <a:pt x="24215" y="131233"/>
                        <a:pt x="3725" y="162167"/>
                        <a:pt x="1863" y="197787"/>
                      </a:cubicBezTo>
                      <a:lnTo>
                        <a:pt x="931" y="207161"/>
                      </a:lnTo>
                      <a:lnTo>
                        <a:pt x="0" y="217472"/>
                      </a:lnTo>
                      <a:lnTo>
                        <a:pt x="84751" y="217472"/>
                      </a:lnTo>
                      <a:lnTo>
                        <a:pt x="84751" y="351518"/>
                      </a:lnTo>
                      <a:cubicBezTo>
                        <a:pt x="85683" y="361829"/>
                        <a:pt x="91271" y="371203"/>
                        <a:pt x="101515" y="375890"/>
                      </a:cubicBezTo>
                      <a:cubicBezTo>
                        <a:pt x="106172" y="378702"/>
                        <a:pt x="110829" y="380577"/>
                        <a:pt x="116417" y="382451"/>
                      </a:cubicBezTo>
                      <a:cubicBezTo>
                        <a:pt x="122005" y="384326"/>
                        <a:pt x="127593" y="385264"/>
                        <a:pt x="134112" y="387138"/>
                      </a:cubicBezTo>
                      <a:cubicBezTo>
                        <a:pt x="152739" y="390888"/>
                        <a:pt x="172297" y="392763"/>
                        <a:pt x="190923" y="393700"/>
                      </a:cubicBezTo>
                      <a:cubicBezTo>
                        <a:pt x="196511" y="393700"/>
                        <a:pt x="203031" y="393700"/>
                        <a:pt x="208619" y="393700"/>
                      </a:cubicBezTo>
                      <a:cubicBezTo>
                        <a:pt x="217001" y="393700"/>
                        <a:pt x="226314" y="393700"/>
                        <a:pt x="235627" y="392763"/>
                      </a:cubicBezTo>
                      <a:cubicBezTo>
                        <a:pt x="260773" y="390888"/>
                        <a:pt x="296164" y="387138"/>
                        <a:pt x="314791" y="374952"/>
                      </a:cubicBezTo>
                      <a:cubicBezTo>
                        <a:pt x="316653" y="374015"/>
                        <a:pt x="319447" y="372140"/>
                        <a:pt x="321310" y="370265"/>
                      </a:cubicBezTo>
                      <a:cubicBezTo>
                        <a:pt x="327829" y="365579"/>
                        <a:pt x="331555" y="358080"/>
                        <a:pt x="331555" y="350581"/>
                      </a:cubicBezTo>
                      <a:lnTo>
                        <a:pt x="331555" y="217472"/>
                      </a:lnTo>
                      <a:lnTo>
                        <a:pt x="399542" y="217472"/>
                      </a:lnTo>
                      <a:lnTo>
                        <a:pt x="402336" y="212785"/>
                      </a:lnTo>
                      <a:lnTo>
                        <a:pt x="405130" y="208099"/>
                      </a:lnTo>
                      <a:cubicBezTo>
                        <a:pt x="428413" y="159355"/>
                        <a:pt x="410718" y="99362"/>
                        <a:pt x="362289" y="74053"/>
                      </a:cubicBezTo>
                      <a:cubicBezTo>
                        <a:pt x="354838" y="69366"/>
                        <a:pt x="345525" y="66554"/>
                        <a:pt x="337143" y="64679"/>
                      </a:cubicBezTo>
                      <a:cubicBezTo>
                        <a:pt x="331555" y="63742"/>
                        <a:pt x="325967" y="59055"/>
                        <a:pt x="323173" y="54368"/>
                      </a:cubicBezTo>
                      <a:cubicBezTo>
                        <a:pt x="307340" y="20622"/>
                        <a:pt x="273812" y="0"/>
                        <a:pt x="237490" y="0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931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sz="800"/>
                </a:p>
              </p:txBody>
            </p:sp>
            <p:sp>
              <p:nvSpPr>
                <p:cNvPr id="234" name="Freeform 13">
                  <a:extLst>
                    <a:ext uri="{FF2B5EF4-FFF2-40B4-BE49-F238E27FC236}">
                      <a16:creationId xmlns:a16="http://schemas.microsoft.com/office/drawing/2014/main" id="{04359900-87A3-4296-84D8-2E817A2C9CC3}"/>
                    </a:ext>
                  </a:extLst>
                </p:cNvPr>
                <p:cNvSpPr/>
                <p:nvPr/>
              </p:nvSpPr>
              <p:spPr>
                <a:xfrm>
                  <a:off x="7171459" y="2970480"/>
                  <a:ext cx="395230" cy="198724"/>
                </a:xfrm>
                <a:custGeom>
                  <a:avLst/>
                  <a:gdLst>
                    <a:gd name="connsiteX0" fmla="*/ 353907 w 395230"/>
                    <a:gd name="connsiteY0" fmla="*/ 75928 h 198724"/>
                    <a:gd name="connsiteX1" fmla="*/ 325967 w 395230"/>
                    <a:gd name="connsiteY1" fmla="*/ 64679 h 198724"/>
                    <a:gd name="connsiteX2" fmla="*/ 306409 w 395230"/>
                    <a:gd name="connsiteY2" fmla="*/ 48744 h 198724"/>
                    <a:gd name="connsiteX3" fmla="*/ 228177 w 395230"/>
                    <a:gd name="connsiteY3" fmla="*/ 0 h 198724"/>
                    <a:gd name="connsiteX4" fmla="*/ 163915 w 395230"/>
                    <a:gd name="connsiteY4" fmla="*/ 28121 h 198724"/>
                    <a:gd name="connsiteX5" fmla="*/ 140631 w 395230"/>
                    <a:gd name="connsiteY5" fmla="*/ 36558 h 198724"/>
                    <a:gd name="connsiteX6" fmla="*/ 65193 w 395230"/>
                    <a:gd name="connsiteY6" fmla="*/ 92801 h 198724"/>
                    <a:gd name="connsiteX7" fmla="*/ 50292 w 395230"/>
                    <a:gd name="connsiteY7" fmla="*/ 112486 h 198724"/>
                    <a:gd name="connsiteX8" fmla="*/ 931 w 395230"/>
                    <a:gd name="connsiteY8" fmla="*/ 189351 h 198724"/>
                    <a:gd name="connsiteX9" fmla="*/ 0 w 395230"/>
                    <a:gd name="connsiteY9" fmla="*/ 198725 h 198724"/>
                    <a:gd name="connsiteX10" fmla="*/ 74507 w 395230"/>
                    <a:gd name="connsiteY10" fmla="*/ 198725 h 198724"/>
                    <a:gd name="connsiteX11" fmla="*/ 74507 w 395230"/>
                    <a:gd name="connsiteY11" fmla="*/ 181852 h 198724"/>
                    <a:gd name="connsiteX12" fmla="*/ 18627 w 395230"/>
                    <a:gd name="connsiteY12" fmla="*/ 181852 h 198724"/>
                    <a:gd name="connsiteX13" fmla="*/ 57743 w 395230"/>
                    <a:gd name="connsiteY13" fmla="*/ 128421 h 198724"/>
                    <a:gd name="connsiteX14" fmla="*/ 81026 w 395230"/>
                    <a:gd name="connsiteY14" fmla="*/ 96550 h 198724"/>
                    <a:gd name="connsiteX15" fmla="*/ 137837 w 395230"/>
                    <a:gd name="connsiteY15" fmla="*/ 53431 h 198724"/>
                    <a:gd name="connsiteX16" fmla="*/ 175091 w 395230"/>
                    <a:gd name="connsiteY16" fmla="*/ 39370 h 198724"/>
                    <a:gd name="connsiteX17" fmla="*/ 273812 w 395230"/>
                    <a:gd name="connsiteY17" fmla="*/ 35620 h 198724"/>
                    <a:gd name="connsiteX18" fmla="*/ 288713 w 395230"/>
                    <a:gd name="connsiteY18" fmla="*/ 55305 h 198724"/>
                    <a:gd name="connsiteX19" fmla="*/ 320379 w 395230"/>
                    <a:gd name="connsiteY19" fmla="*/ 79677 h 198724"/>
                    <a:gd name="connsiteX20" fmla="*/ 343662 w 395230"/>
                    <a:gd name="connsiteY20" fmla="*/ 89051 h 198724"/>
                    <a:gd name="connsiteX21" fmla="*/ 370671 w 395230"/>
                    <a:gd name="connsiteY21" fmla="*/ 179977 h 198724"/>
                    <a:gd name="connsiteX22" fmla="*/ 318516 w 395230"/>
                    <a:gd name="connsiteY22" fmla="*/ 179977 h 198724"/>
                    <a:gd name="connsiteX23" fmla="*/ 318516 w 395230"/>
                    <a:gd name="connsiteY23" fmla="*/ 196850 h 198724"/>
                    <a:gd name="connsiteX24" fmla="*/ 380915 w 395230"/>
                    <a:gd name="connsiteY24" fmla="*/ 196850 h 198724"/>
                    <a:gd name="connsiteX25" fmla="*/ 383709 w 395230"/>
                    <a:gd name="connsiteY25" fmla="*/ 192163 h 198724"/>
                    <a:gd name="connsiteX26" fmla="*/ 353907 w 395230"/>
                    <a:gd name="connsiteY26" fmla="*/ 75928 h 19872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</a:cxnLst>
                  <a:rect l="l" t="t" r="r" b="b"/>
                  <a:pathLst>
                    <a:path w="395230" h="198724">
                      <a:moveTo>
                        <a:pt x="353907" y="75928"/>
                      </a:moveTo>
                      <a:cubicBezTo>
                        <a:pt x="345525" y="70304"/>
                        <a:pt x="336211" y="66554"/>
                        <a:pt x="325967" y="64679"/>
                      </a:cubicBezTo>
                      <a:cubicBezTo>
                        <a:pt x="317585" y="62805"/>
                        <a:pt x="310134" y="57180"/>
                        <a:pt x="306409" y="48744"/>
                      </a:cubicBezTo>
                      <a:cubicBezTo>
                        <a:pt x="291507" y="18748"/>
                        <a:pt x="260773" y="0"/>
                        <a:pt x="228177" y="0"/>
                      </a:cubicBezTo>
                      <a:cubicBezTo>
                        <a:pt x="203962" y="0"/>
                        <a:pt x="180679" y="10311"/>
                        <a:pt x="163915" y="28121"/>
                      </a:cubicBezTo>
                      <a:cubicBezTo>
                        <a:pt x="158327" y="34683"/>
                        <a:pt x="149013" y="37495"/>
                        <a:pt x="140631" y="36558"/>
                      </a:cubicBezTo>
                      <a:cubicBezTo>
                        <a:pt x="105241" y="32808"/>
                        <a:pt x="72644" y="57180"/>
                        <a:pt x="65193" y="92801"/>
                      </a:cubicBezTo>
                      <a:cubicBezTo>
                        <a:pt x="63331" y="101237"/>
                        <a:pt x="57743" y="108736"/>
                        <a:pt x="50292" y="112486"/>
                      </a:cubicBezTo>
                      <a:cubicBezTo>
                        <a:pt x="21421" y="127484"/>
                        <a:pt x="2794" y="156543"/>
                        <a:pt x="931" y="189351"/>
                      </a:cubicBezTo>
                      <a:lnTo>
                        <a:pt x="0" y="198725"/>
                      </a:lnTo>
                      <a:lnTo>
                        <a:pt x="74507" y="198725"/>
                      </a:lnTo>
                      <a:lnTo>
                        <a:pt x="74507" y="181852"/>
                      </a:lnTo>
                      <a:lnTo>
                        <a:pt x="18627" y="181852"/>
                      </a:lnTo>
                      <a:cubicBezTo>
                        <a:pt x="23283" y="159355"/>
                        <a:pt x="37253" y="139670"/>
                        <a:pt x="57743" y="128421"/>
                      </a:cubicBezTo>
                      <a:cubicBezTo>
                        <a:pt x="69850" y="121860"/>
                        <a:pt x="79163" y="110611"/>
                        <a:pt x="81026" y="96550"/>
                      </a:cubicBezTo>
                      <a:cubicBezTo>
                        <a:pt x="86614" y="69366"/>
                        <a:pt x="110829" y="50619"/>
                        <a:pt x="137837" y="53431"/>
                      </a:cubicBezTo>
                      <a:cubicBezTo>
                        <a:pt x="151807" y="55305"/>
                        <a:pt x="165777" y="49681"/>
                        <a:pt x="175091" y="39370"/>
                      </a:cubicBezTo>
                      <a:cubicBezTo>
                        <a:pt x="201168" y="11249"/>
                        <a:pt x="245872" y="9374"/>
                        <a:pt x="273812" y="35620"/>
                      </a:cubicBezTo>
                      <a:cubicBezTo>
                        <a:pt x="280331" y="41245"/>
                        <a:pt x="284988" y="47806"/>
                        <a:pt x="288713" y="55305"/>
                      </a:cubicBezTo>
                      <a:cubicBezTo>
                        <a:pt x="295233" y="67491"/>
                        <a:pt x="306409" y="76865"/>
                        <a:pt x="320379" y="79677"/>
                      </a:cubicBezTo>
                      <a:cubicBezTo>
                        <a:pt x="328761" y="81552"/>
                        <a:pt x="336211" y="84364"/>
                        <a:pt x="343662" y="89051"/>
                      </a:cubicBezTo>
                      <a:cubicBezTo>
                        <a:pt x="374396" y="108736"/>
                        <a:pt x="385572" y="147169"/>
                        <a:pt x="370671" y="179977"/>
                      </a:cubicBezTo>
                      <a:lnTo>
                        <a:pt x="318516" y="179977"/>
                      </a:lnTo>
                      <a:lnTo>
                        <a:pt x="318516" y="196850"/>
                      </a:lnTo>
                      <a:lnTo>
                        <a:pt x="380915" y="196850"/>
                      </a:lnTo>
                      <a:lnTo>
                        <a:pt x="383709" y="192163"/>
                      </a:lnTo>
                      <a:cubicBezTo>
                        <a:pt x="406993" y="152793"/>
                        <a:pt x="393954" y="100300"/>
                        <a:pt x="353907" y="75928"/>
                      </a:cubicBezTo>
                      <a:close/>
                    </a:path>
                  </a:pathLst>
                </a:custGeom>
                <a:solidFill>
                  <a:schemeClr val="tx1"/>
                </a:solidFill>
                <a:ln w="931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sz="800"/>
                </a:p>
              </p:txBody>
            </p:sp>
            <p:sp>
              <p:nvSpPr>
                <p:cNvPr id="235" name="Freeform 14">
                  <a:extLst>
                    <a:ext uri="{FF2B5EF4-FFF2-40B4-BE49-F238E27FC236}">
                      <a16:creationId xmlns:a16="http://schemas.microsoft.com/office/drawing/2014/main" id="{A59CFCC6-4B4F-4C27-92CC-024582C6C345}"/>
                    </a:ext>
                  </a:extLst>
                </p:cNvPr>
                <p:cNvSpPr/>
                <p:nvPr/>
              </p:nvSpPr>
              <p:spPr>
                <a:xfrm>
                  <a:off x="7256210" y="3089528"/>
                  <a:ext cx="226314" cy="254967"/>
                </a:xfrm>
                <a:custGeom>
                  <a:avLst/>
                  <a:gdLst>
                    <a:gd name="connsiteX0" fmla="*/ 226314 w 226314"/>
                    <a:gd name="connsiteY0" fmla="*/ 36558 h 254967"/>
                    <a:gd name="connsiteX1" fmla="*/ 226314 w 226314"/>
                    <a:gd name="connsiteY1" fmla="*/ 36558 h 254967"/>
                    <a:gd name="connsiteX2" fmla="*/ 226314 w 226314"/>
                    <a:gd name="connsiteY2" fmla="*/ 34683 h 254967"/>
                    <a:gd name="connsiteX3" fmla="*/ 219795 w 226314"/>
                    <a:gd name="connsiteY3" fmla="*/ 21560 h 254967"/>
                    <a:gd name="connsiteX4" fmla="*/ 215138 w 226314"/>
                    <a:gd name="connsiteY4" fmla="*/ 17810 h 254967"/>
                    <a:gd name="connsiteX5" fmla="*/ 139700 w 226314"/>
                    <a:gd name="connsiteY5" fmla="*/ 937 h 254967"/>
                    <a:gd name="connsiteX6" fmla="*/ 113623 w 226314"/>
                    <a:gd name="connsiteY6" fmla="*/ 0 h 254967"/>
                    <a:gd name="connsiteX7" fmla="*/ 96859 w 226314"/>
                    <a:gd name="connsiteY7" fmla="*/ 0 h 254967"/>
                    <a:gd name="connsiteX8" fmla="*/ 40979 w 226314"/>
                    <a:gd name="connsiteY8" fmla="*/ 6562 h 254967"/>
                    <a:gd name="connsiteX9" fmla="*/ 25146 w 226314"/>
                    <a:gd name="connsiteY9" fmla="*/ 11249 h 254967"/>
                    <a:gd name="connsiteX10" fmla="*/ 12107 w 226314"/>
                    <a:gd name="connsiteY10" fmla="*/ 16873 h 254967"/>
                    <a:gd name="connsiteX11" fmla="*/ 0 w 226314"/>
                    <a:gd name="connsiteY11" fmla="*/ 33746 h 254967"/>
                    <a:gd name="connsiteX12" fmla="*/ 0 w 226314"/>
                    <a:gd name="connsiteY12" fmla="*/ 34683 h 254967"/>
                    <a:gd name="connsiteX13" fmla="*/ 0 w 226314"/>
                    <a:gd name="connsiteY13" fmla="*/ 35620 h 254967"/>
                    <a:gd name="connsiteX14" fmla="*/ 0 w 226314"/>
                    <a:gd name="connsiteY14" fmla="*/ 222159 h 254967"/>
                    <a:gd name="connsiteX15" fmla="*/ 12107 w 226314"/>
                    <a:gd name="connsiteY15" fmla="*/ 238095 h 254967"/>
                    <a:gd name="connsiteX16" fmla="*/ 25146 w 226314"/>
                    <a:gd name="connsiteY16" fmla="*/ 243719 h 254967"/>
                    <a:gd name="connsiteX17" fmla="*/ 40979 w 226314"/>
                    <a:gd name="connsiteY17" fmla="*/ 248406 h 254967"/>
                    <a:gd name="connsiteX18" fmla="*/ 96859 w 226314"/>
                    <a:gd name="connsiteY18" fmla="*/ 254968 h 254967"/>
                    <a:gd name="connsiteX19" fmla="*/ 113623 w 226314"/>
                    <a:gd name="connsiteY19" fmla="*/ 254968 h 254967"/>
                    <a:gd name="connsiteX20" fmla="*/ 139700 w 226314"/>
                    <a:gd name="connsiteY20" fmla="*/ 254030 h 254967"/>
                    <a:gd name="connsiteX21" fmla="*/ 215138 w 226314"/>
                    <a:gd name="connsiteY21" fmla="*/ 238095 h 254967"/>
                    <a:gd name="connsiteX22" fmla="*/ 219795 w 226314"/>
                    <a:gd name="connsiteY22" fmla="*/ 234345 h 254967"/>
                    <a:gd name="connsiteX23" fmla="*/ 226314 w 226314"/>
                    <a:gd name="connsiteY23" fmla="*/ 221222 h 254967"/>
                    <a:gd name="connsiteX24" fmla="*/ 226314 w 226314"/>
                    <a:gd name="connsiteY24" fmla="*/ 36558 h 254967"/>
                    <a:gd name="connsiteX25" fmla="*/ 113623 w 226314"/>
                    <a:gd name="connsiteY25" fmla="*/ 15935 h 254967"/>
                    <a:gd name="connsiteX26" fmla="*/ 211413 w 226314"/>
                    <a:gd name="connsiteY26" fmla="*/ 34683 h 254967"/>
                    <a:gd name="connsiteX27" fmla="*/ 113623 w 226314"/>
                    <a:gd name="connsiteY27" fmla="*/ 53431 h 254967"/>
                    <a:gd name="connsiteX28" fmla="*/ 15833 w 226314"/>
                    <a:gd name="connsiteY28" fmla="*/ 34683 h 254967"/>
                    <a:gd name="connsiteX29" fmla="*/ 113623 w 226314"/>
                    <a:gd name="connsiteY29" fmla="*/ 15935 h 254967"/>
                    <a:gd name="connsiteX30" fmla="*/ 14901 w 226314"/>
                    <a:gd name="connsiteY30" fmla="*/ 53431 h 254967"/>
                    <a:gd name="connsiteX31" fmla="*/ 113623 w 226314"/>
                    <a:gd name="connsiteY31" fmla="*/ 68429 h 254967"/>
                    <a:gd name="connsiteX32" fmla="*/ 211413 w 226314"/>
                    <a:gd name="connsiteY32" fmla="*/ 53431 h 254967"/>
                    <a:gd name="connsiteX33" fmla="*/ 211413 w 226314"/>
                    <a:gd name="connsiteY33" fmla="*/ 98425 h 254967"/>
                    <a:gd name="connsiteX34" fmla="*/ 113623 w 226314"/>
                    <a:gd name="connsiteY34" fmla="*/ 116235 h 254967"/>
                    <a:gd name="connsiteX35" fmla="*/ 14901 w 226314"/>
                    <a:gd name="connsiteY35" fmla="*/ 98425 h 254967"/>
                    <a:gd name="connsiteX36" fmla="*/ 14901 w 226314"/>
                    <a:gd name="connsiteY36" fmla="*/ 53431 h 254967"/>
                    <a:gd name="connsiteX37" fmla="*/ 211413 w 226314"/>
                    <a:gd name="connsiteY37" fmla="*/ 117173 h 254967"/>
                    <a:gd name="connsiteX38" fmla="*/ 211413 w 226314"/>
                    <a:gd name="connsiteY38" fmla="*/ 160292 h 254967"/>
                    <a:gd name="connsiteX39" fmla="*/ 113623 w 226314"/>
                    <a:gd name="connsiteY39" fmla="*/ 178102 h 254967"/>
                    <a:gd name="connsiteX40" fmla="*/ 15833 w 226314"/>
                    <a:gd name="connsiteY40" fmla="*/ 159355 h 254967"/>
                    <a:gd name="connsiteX41" fmla="*/ 15833 w 226314"/>
                    <a:gd name="connsiteY41" fmla="*/ 116235 h 254967"/>
                    <a:gd name="connsiteX42" fmla="*/ 113623 w 226314"/>
                    <a:gd name="connsiteY42" fmla="*/ 131233 h 254967"/>
                    <a:gd name="connsiteX43" fmla="*/ 211413 w 226314"/>
                    <a:gd name="connsiteY43" fmla="*/ 117173 h 254967"/>
                    <a:gd name="connsiteX44" fmla="*/ 211413 w 226314"/>
                    <a:gd name="connsiteY44" fmla="*/ 117173 h 254967"/>
                    <a:gd name="connsiteX45" fmla="*/ 113623 w 226314"/>
                    <a:gd name="connsiteY45" fmla="*/ 240907 h 254967"/>
                    <a:gd name="connsiteX46" fmla="*/ 15833 w 226314"/>
                    <a:gd name="connsiteY46" fmla="*/ 223097 h 254967"/>
                    <a:gd name="connsiteX47" fmla="*/ 15833 w 226314"/>
                    <a:gd name="connsiteY47" fmla="*/ 179040 h 254967"/>
                    <a:gd name="connsiteX48" fmla="*/ 113623 w 226314"/>
                    <a:gd name="connsiteY48" fmla="*/ 194038 h 254967"/>
                    <a:gd name="connsiteX49" fmla="*/ 211413 w 226314"/>
                    <a:gd name="connsiteY49" fmla="*/ 179040 h 254967"/>
                    <a:gd name="connsiteX50" fmla="*/ 211413 w 226314"/>
                    <a:gd name="connsiteY50" fmla="*/ 223097 h 254967"/>
                    <a:gd name="connsiteX51" fmla="*/ 113623 w 226314"/>
                    <a:gd name="connsiteY51" fmla="*/ 240907 h 25496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</a:cxnLst>
                  <a:rect l="l" t="t" r="r" b="b"/>
                  <a:pathLst>
                    <a:path w="226314" h="254967">
                      <a:moveTo>
                        <a:pt x="226314" y="36558"/>
                      </a:moveTo>
                      <a:cubicBezTo>
                        <a:pt x="226314" y="36558"/>
                        <a:pt x="226314" y="35620"/>
                        <a:pt x="226314" y="36558"/>
                      </a:cubicBezTo>
                      <a:cubicBezTo>
                        <a:pt x="226314" y="35620"/>
                        <a:pt x="226314" y="34683"/>
                        <a:pt x="226314" y="34683"/>
                      </a:cubicBezTo>
                      <a:cubicBezTo>
                        <a:pt x="226314" y="29059"/>
                        <a:pt x="223520" y="24372"/>
                        <a:pt x="219795" y="21560"/>
                      </a:cubicBezTo>
                      <a:cubicBezTo>
                        <a:pt x="217932" y="20622"/>
                        <a:pt x="217001" y="18748"/>
                        <a:pt x="215138" y="17810"/>
                      </a:cubicBezTo>
                      <a:cubicBezTo>
                        <a:pt x="198374" y="7499"/>
                        <a:pt x="167640" y="2812"/>
                        <a:pt x="139700" y="937"/>
                      </a:cubicBezTo>
                      <a:cubicBezTo>
                        <a:pt x="130387" y="0"/>
                        <a:pt x="121073" y="0"/>
                        <a:pt x="113623" y="0"/>
                      </a:cubicBezTo>
                      <a:cubicBezTo>
                        <a:pt x="108035" y="0"/>
                        <a:pt x="102447" y="0"/>
                        <a:pt x="96859" y="0"/>
                      </a:cubicBezTo>
                      <a:cubicBezTo>
                        <a:pt x="78232" y="937"/>
                        <a:pt x="59605" y="2812"/>
                        <a:pt x="40979" y="6562"/>
                      </a:cubicBezTo>
                      <a:cubicBezTo>
                        <a:pt x="35391" y="7499"/>
                        <a:pt x="29803" y="9374"/>
                        <a:pt x="25146" y="11249"/>
                      </a:cubicBezTo>
                      <a:cubicBezTo>
                        <a:pt x="20489" y="13123"/>
                        <a:pt x="15833" y="14998"/>
                        <a:pt x="12107" y="16873"/>
                      </a:cubicBezTo>
                      <a:cubicBezTo>
                        <a:pt x="5588" y="19685"/>
                        <a:pt x="931" y="26247"/>
                        <a:pt x="0" y="33746"/>
                      </a:cubicBezTo>
                      <a:cubicBezTo>
                        <a:pt x="0" y="33746"/>
                        <a:pt x="0" y="34683"/>
                        <a:pt x="0" y="34683"/>
                      </a:cubicBezTo>
                      <a:cubicBezTo>
                        <a:pt x="0" y="34683"/>
                        <a:pt x="0" y="35620"/>
                        <a:pt x="0" y="35620"/>
                      </a:cubicBezTo>
                      <a:lnTo>
                        <a:pt x="0" y="222159"/>
                      </a:lnTo>
                      <a:cubicBezTo>
                        <a:pt x="931" y="229658"/>
                        <a:pt x="5588" y="235283"/>
                        <a:pt x="12107" y="238095"/>
                      </a:cubicBezTo>
                      <a:cubicBezTo>
                        <a:pt x="15833" y="240907"/>
                        <a:pt x="20489" y="242782"/>
                        <a:pt x="25146" y="243719"/>
                      </a:cubicBezTo>
                      <a:cubicBezTo>
                        <a:pt x="30734" y="245594"/>
                        <a:pt x="35391" y="246531"/>
                        <a:pt x="40979" y="248406"/>
                      </a:cubicBezTo>
                      <a:cubicBezTo>
                        <a:pt x="59605" y="252155"/>
                        <a:pt x="78232" y="254030"/>
                        <a:pt x="96859" y="254968"/>
                      </a:cubicBezTo>
                      <a:lnTo>
                        <a:pt x="113623" y="254968"/>
                      </a:lnTo>
                      <a:cubicBezTo>
                        <a:pt x="122005" y="254968"/>
                        <a:pt x="130387" y="254968"/>
                        <a:pt x="139700" y="254030"/>
                      </a:cubicBezTo>
                      <a:cubicBezTo>
                        <a:pt x="167640" y="252155"/>
                        <a:pt x="198374" y="247469"/>
                        <a:pt x="215138" y="238095"/>
                      </a:cubicBezTo>
                      <a:cubicBezTo>
                        <a:pt x="217001" y="237157"/>
                        <a:pt x="218863" y="236220"/>
                        <a:pt x="219795" y="234345"/>
                      </a:cubicBezTo>
                      <a:cubicBezTo>
                        <a:pt x="223520" y="231533"/>
                        <a:pt x="226314" y="226846"/>
                        <a:pt x="226314" y="221222"/>
                      </a:cubicBezTo>
                      <a:lnTo>
                        <a:pt x="226314" y="36558"/>
                      </a:lnTo>
                      <a:close/>
                      <a:moveTo>
                        <a:pt x="113623" y="15935"/>
                      </a:moveTo>
                      <a:cubicBezTo>
                        <a:pt x="173228" y="15935"/>
                        <a:pt x="208619" y="28121"/>
                        <a:pt x="211413" y="34683"/>
                      </a:cubicBezTo>
                      <a:cubicBezTo>
                        <a:pt x="208619" y="41245"/>
                        <a:pt x="173228" y="53431"/>
                        <a:pt x="113623" y="53431"/>
                      </a:cubicBezTo>
                      <a:cubicBezTo>
                        <a:pt x="54017" y="53431"/>
                        <a:pt x="18627" y="41245"/>
                        <a:pt x="15833" y="34683"/>
                      </a:cubicBezTo>
                      <a:cubicBezTo>
                        <a:pt x="18627" y="28121"/>
                        <a:pt x="54017" y="15935"/>
                        <a:pt x="113623" y="15935"/>
                      </a:cubicBezTo>
                      <a:close/>
                      <a:moveTo>
                        <a:pt x="14901" y="53431"/>
                      </a:moveTo>
                      <a:cubicBezTo>
                        <a:pt x="38185" y="64679"/>
                        <a:pt x="82889" y="68429"/>
                        <a:pt x="113623" y="68429"/>
                      </a:cubicBezTo>
                      <a:cubicBezTo>
                        <a:pt x="144357" y="68429"/>
                        <a:pt x="188129" y="64679"/>
                        <a:pt x="211413" y="53431"/>
                      </a:cubicBezTo>
                      <a:lnTo>
                        <a:pt x="211413" y="98425"/>
                      </a:lnTo>
                      <a:cubicBezTo>
                        <a:pt x="209550" y="102175"/>
                        <a:pt x="181610" y="116235"/>
                        <a:pt x="113623" y="116235"/>
                      </a:cubicBezTo>
                      <a:cubicBezTo>
                        <a:pt x="45635" y="116235"/>
                        <a:pt x="17695" y="103112"/>
                        <a:pt x="14901" y="98425"/>
                      </a:cubicBezTo>
                      <a:lnTo>
                        <a:pt x="14901" y="53431"/>
                      </a:lnTo>
                      <a:close/>
                      <a:moveTo>
                        <a:pt x="211413" y="117173"/>
                      </a:moveTo>
                      <a:lnTo>
                        <a:pt x="211413" y="160292"/>
                      </a:lnTo>
                      <a:cubicBezTo>
                        <a:pt x="209550" y="164979"/>
                        <a:pt x="181610" y="178102"/>
                        <a:pt x="113623" y="178102"/>
                      </a:cubicBezTo>
                      <a:cubicBezTo>
                        <a:pt x="45635" y="178102"/>
                        <a:pt x="17695" y="164042"/>
                        <a:pt x="15833" y="159355"/>
                      </a:cubicBezTo>
                      <a:lnTo>
                        <a:pt x="15833" y="116235"/>
                      </a:lnTo>
                      <a:cubicBezTo>
                        <a:pt x="39116" y="127484"/>
                        <a:pt x="83820" y="131233"/>
                        <a:pt x="113623" y="131233"/>
                      </a:cubicBezTo>
                      <a:cubicBezTo>
                        <a:pt x="143425" y="131233"/>
                        <a:pt x="188129" y="128421"/>
                        <a:pt x="211413" y="117173"/>
                      </a:cubicBezTo>
                      <a:lnTo>
                        <a:pt x="211413" y="117173"/>
                      </a:lnTo>
                      <a:close/>
                      <a:moveTo>
                        <a:pt x="113623" y="240907"/>
                      </a:moveTo>
                      <a:cubicBezTo>
                        <a:pt x="45635" y="240907"/>
                        <a:pt x="17695" y="226846"/>
                        <a:pt x="15833" y="223097"/>
                      </a:cubicBezTo>
                      <a:lnTo>
                        <a:pt x="15833" y="179040"/>
                      </a:lnTo>
                      <a:cubicBezTo>
                        <a:pt x="39116" y="190288"/>
                        <a:pt x="83820" y="194038"/>
                        <a:pt x="113623" y="194038"/>
                      </a:cubicBezTo>
                      <a:cubicBezTo>
                        <a:pt x="143425" y="194038"/>
                        <a:pt x="188129" y="190288"/>
                        <a:pt x="211413" y="179040"/>
                      </a:cubicBezTo>
                      <a:lnTo>
                        <a:pt x="211413" y="223097"/>
                      </a:lnTo>
                      <a:cubicBezTo>
                        <a:pt x="208619" y="226846"/>
                        <a:pt x="181610" y="240907"/>
                        <a:pt x="113623" y="240907"/>
                      </a:cubicBezTo>
                      <a:close/>
                    </a:path>
                  </a:pathLst>
                </a:custGeom>
                <a:solidFill>
                  <a:schemeClr val="tx1"/>
                </a:solidFill>
                <a:ln w="931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sz="800"/>
                </a:p>
              </p:txBody>
            </p:sp>
          </p:grpSp>
          <p:sp>
            <p:nvSpPr>
              <p:cNvPr id="231" name="TextBox 230">
                <a:extLst>
                  <a:ext uri="{FF2B5EF4-FFF2-40B4-BE49-F238E27FC236}">
                    <a16:creationId xmlns:a16="http://schemas.microsoft.com/office/drawing/2014/main" id="{AE792119-4727-443B-A74B-1C85C469C6D1}"/>
                  </a:ext>
                </a:extLst>
              </p:cNvPr>
              <p:cNvSpPr txBox="1"/>
              <p:nvPr/>
            </p:nvSpPr>
            <p:spPr>
              <a:xfrm>
                <a:off x="849300" y="3682734"/>
                <a:ext cx="819627" cy="461664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800" dirty="0"/>
                  <a:t>Enterprise Database Service</a:t>
                </a:r>
              </a:p>
            </p:txBody>
          </p:sp>
        </p:grpSp>
        <p:sp>
          <p:nvSpPr>
            <p:cNvPr id="246" name="Rectangle 245">
              <a:extLst>
                <a:ext uri="{FF2B5EF4-FFF2-40B4-BE49-F238E27FC236}">
                  <a16:creationId xmlns:a16="http://schemas.microsoft.com/office/drawing/2014/main" id="{7907A519-3E69-4469-82D7-07EFB8FEE167}"/>
                </a:ext>
              </a:extLst>
            </p:cNvPr>
            <p:cNvSpPr/>
            <p:nvPr/>
          </p:nvSpPr>
          <p:spPr>
            <a:xfrm>
              <a:off x="1723388" y="3855353"/>
              <a:ext cx="1463040" cy="9144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251" name="Group 250">
            <a:extLst>
              <a:ext uri="{FF2B5EF4-FFF2-40B4-BE49-F238E27FC236}">
                <a16:creationId xmlns:a16="http://schemas.microsoft.com/office/drawing/2014/main" id="{672D70A6-8109-484F-996B-9F748A0719EB}"/>
              </a:ext>
            </a:extLst>
          </p:cNvPr>
          <p:cNvGrpSpPr/>
          <p:nvPr/>
        </p:nvGrpSpPr>
        <p:grpSpPr>
          <a:xfrm>
            <a:off x="2082978" y="4791869"/>
            <a:ext cx="1463040" cy="914400"/>
            <a:chOff x="1723388" y="4774451"/>
            <a:chExt cx="1463040" cy="914400"/>
          </a:xfrm>
        </p:grpSpPr>
        <p:grpSp>
          <p:nvGrpSpPr>
            <p:cNvPr id="240" name="Group 239">
              <a:extLst>
                <a:ext uri="{FF2B5EF4-FFF2-40B4-BE49-F238E27FC236}">
                  <a16:creationId xmlns:a16="http://schemas.microsoft.com/office/drawing/2014/main" id="{7260D559-F1AF-43C6-A30C-F78045B0EAB3}"/>
                </a:ext>
              </a:extLst>
            </p:cNvPr>
            <p:cNvGrpSpPr/>
            <p:nvPr/>
          </p:nvGrpSpPr>
          <p:grpSpPr>
            <a:xfrm>
              <a:off x="1894885" y="4975456"/>
              <a:ext cx="1182586" cy="512391"/>
              <a:chOff x="476814" y="4675860"/>
              <a:chExt cx="1182586" cy="512391"/>
            </a:xfrm>
          </p:grpSpPr>
          <p:grpSp>
            <p:nvGrpSpPr>
              <p:cNvPr id="224" name="Graphic 70">
                <a:extLst>
                  <a:ext uri="{FF2B5EF4-FFF2-40B4-BE49-F238E27FC236}">
                    <a16:creationId xmlns:a16="http://schemas.microsoft.com/office/drawing/2014/main" id="{E520F4D6-15E8-4F30-9629-AFA71CF98109}"/>
                  </a:ext>
                </a:extLst>
              </p:cNvPr>
              <p:cNvGrpSpPr>
                <a:grpSpLocks noChangeAspect="1"/>
              </p:cNvGrpSpPr>
              <p:nvPr/>
            </p:nvGrpSpPr>
            <p:grpSpPr>
              <a:xfrm>
                <a:off x="476814" y="4675860"/>
                <a:ext cx="532401" cy="464723"/>
                <a:chOff x="7162146" y="2961107"/>
                <a:chExt cx="419100" cy="393700"/>
              </a:xfrm>
            </p:grpSpPr>
            <p:sp>
              <p:nvSpPr>
                <p:cNvPr id="226" name="Freeform 18">
                  <a:extLst>
                    <a:ext uri="{FF2B5EF4-FFF2-40B4-BE49-F238E27FC236}">
                      <a16:creationId xmlns:a16="http://schemas.microsoft.com/office/drawing/2014/main" id="{E0010E4F-56FB-46E0-AF61-B460889612CA}"/>
                    </a:ext>
                  </a:extLst>
                </p:cNvPr>
                <p:cNvSpPr/>
                <p:nvPr/>
              </p:nvSpPr>
              <p:spPr>
                <a:xfrm>
                  <a:off x="7167734" y="2965386"/>
                  <a:ext cx="404533" cy="384733"/>
                </a:xfrm>
                <a:custGeom>
                  <a:avLst/>
                  <a:gdLst>
                    <a:gd name="connsiteX0" fmla="*/ 202099 w 404533"/>
                    <a:gd name="connsiteY0" fmla="*/ 384734 h 384733"/>
                    <a:gd name="connsiteX1" fmla="*/ 185335 w 404533"/>
                    <a:gd name="connsiteY1" fmla="*/ 384734 h 384733"/>
                    <a:gd name="connsiteX2" fmla="*/ 128524 w 404533"/>
                    <a:gd name="connsiteY2" fmla="*/ 378172 h 384733"/>
                    <a:gd name="connsiteX3" fmla="*/ 111760 w 404533"/>
                    <a:gd name="connsiteY3" fmla="*/ 373485 h 384733"/>
                    <a:gd name="connsiteX4" fmla="*/ 97790 w 404533"/>
                    <a:gd name="connsiteY4" fmla="*/ 366923 h 384733"/>
                    <a:gd name="connsiteX5" fmla="*/ 83820 w 404533"/>
                    <a:gd name="connsiteY5" fmla="*/ 346301 h 384733"/>
                    <a:gd name="connsiteX6" fmla="*/ 83820 w 404533"/>
                    <a:gd name="connsiteY6" fmla="*/ 208506 h 384733"/>
                    <a:gd name="connsiteX7" fmla="*/ 0 w 404533"/>
                    <a:gd name="connsiteY7" fmla="*/ 208506 h 384733"/>
                    <a:gd name="connsiteX8" fmla="*/ 931 w 404533"/>
                    <a:gd name="connsiteY8" fmla="*/ 194445 h 384733"/>
                    <a:gd name="connsiteX9" fmla="*/ 53086 w 404533"/>
                    <a:gd name="connsiteY9" fmla="*/ 114768 h 384733"/>
                    <a:gd name="connsiteX10" fmla="*/ 65193 w 404533"/>
                    <a:gd name="connsiteY10" fmla="*/ 97895 h 384733"/>
                    <a:gd name="connsiteX11" fmla="*/ 108035 w 404533"/>
                    <a:gd name="connsiteY11" fmla="*/ 43527 h 384733"/>
                    <a:gd name="connsiteX12" fmla="*/ 137837 w 404533"/>
                    <a:gd name="connsiteY12" fmla="*/ 36965 h 384733"/>
                    <a:gd name="connsiteX13" fmla="*/ 145288 w 404533"/>
                    <a:gd name="connsiteY13" fmla="*/ 36965 h 384733"/>
                    <a:gd name="connsiteX14" fmla="*/ 148082 w 404533"/>
                    <a:gd name="connsiteY14" fmla="*/ 36965 h 384733"/>
                    <a:gd name="connsiteX15" fmla="*/ 164846 w 404533"/>
                    <a:gd name="connsiteY15" fmla="*/ 29466 h 384733"/>
                    <a:gd name="connsiteX16" fmla="*/ 294301 w 404533"/>
                    <a:gd name="connsiteY16" fmla="*/ 24779 h 384733"/>
                    <a:gd name="connsiteX17" fmla="*/ 313859 w 404533"/>
                    <a:gd name="connsiteY17" fmla="*/ 51026 h 384733"/>
                    <a:gd name="connsiteX18" fmla="*/ 330623 w 404533"/>
                    <a:gd name="connsiteY18" fmla="*/ 64149 h 384733"/>
                    <a:gd name="connsiteX19" fmla="*/ 402336 w 404533"/>
                    <a:gd name="connsiteY19" fmla="*/ 176635 h 384733"/>
                    <a:gd name="connsiteX20" fmla="*/ 393023 w 404533"/>
                    <a:gd name="connsiteY20" fmla="*/ 201007 h 384733"/>
                    <a:gd name="connsiteX21" fmla="*/ 389297 w 404533"/>
                    <a:gd name="connsiteY21" fmla="*/ 207569 h 384733"/>
                    <a:gd name="connsiteX22" fmla="*/ 319447 w 404533"/>
                    <a:gd name="connsiteY22" fmla="*/ 207569 h 384733"/>
                    <a:gd name="connsiteX23" fmla="*/ 319447 w 404533"/>
                    <a:gd name="connsiteY23" fmla="*/ 346301 h 384733"/>
                    <a:gd name="connsiteX24" fmla="*/ 311065 w 404533"/>
                    <a:gd name="connsiteY24" fmla="*/ 363174 h 384733"/>
                    <a:gd name="connsiteX25" fmla="*/ 305477 w 404533"/>
                    <a:gd name="connsiteY25" fmla="*/ 366923 h 384733"/>
                    <a:gd name="connsiteX26" fmla="*/ 228177 w 404533"/>
                    <a:gd name="connsiteY26" fmla="*/ 383796 h 384733"/>
                    <a:gd name="connsiteX27" fmla="*/ 202099 w 404533"/>
                    <a:gd name="connsiteY27" fmla="*/ 384734 h 3847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</a:cxnLst>
                  <a:rect l="l" t="t" r="r" b="b"/>
                  <a:pathLst>
                    <a:path w="404533" h="384733">
                      <a:moveTo>
                        <a:pt x="202099" y="384734"/>
                      </a:moveTo>
                      <a:lnTo>
                        <a:pt x="185335" y="384734"/>
                      </a:lnTo>
                      <a:cubicBezTo>
                        <a:pt x="166709" y="383796"/>
                        <a:pt x="147151" y="381922"/>
                        <a:pt x="128524" y="378172"/>
                      </a:cubicBezTo>
                      <a:cubicBezTo>
                        <a:pt x="122936" y="377235"/>
                        <a:pt x="117348" y="375360"/>
                        <a:pt x="111760" y="373485"/>
                      </a:cubicBezTo>
                      <a:cubicBezTo>
                        <a:pt x="107103" y="371610"/>
                        <a:pt x="102447" y="369736"/>
                        <a:pt x="97790" y="366923"/>
                      </a:cubicBezTo>
                      <a:cubicBezTo>
                        <a:pt x="89408" y="363174"/>
                        <a:pt x="84751" y="355675"/>
                        <a:pt x="83820" y="346301"/>
                      </a:cubicBezTo>
                      <a:lnTo>
                        <a:pt x="83820" y="208506"/>
                      </a:lnTo>
                      <a:lnTo>
                        <a:pt x="0" y="208506"/>
                      </a:lnTo>
                      <a:lnTo>
                        <a:pt x="931" y="194445"/>
                      </a:lnTo>
                      <a:cubicBezTo>
                        <a:pt x="3725" y="160700"/>
                        <a:pt x="23283" y="129766"/>
                        <a:pt x="53086" y="114768"/>
                      </a:cubicBezTo>
                      <a:cubicBezTo>
                        <a:pt x="59605" y="111018"/>
                        <a:pt x="64262" y="105394"/>
                        <a:pt x="65193" y="97895"/>
                      </a:cubicBezTo>
                      <a:cubicBezTo>
                        <a:pt x="69850" y="73523"/>
                        <a:pt x="85683" y="53838"/>
                        <a:pt x="108035" y="43527"/>
                      </a:cubicBezTo>
                      <a:cubicBezTo>
                        <a:pt x="117348" y="39777"/>
                        <a:pt x="127593" y="36965"/>
                        <a:pt x="137837" y="36965"/>
                      </a:cubicBezTo>
                      <a:cubicBezTo>
                        <a:pt x="139700" y="36965"/>
                        <a:pt x="142494" y="36965"/>
                        <a:pt x="145288" y="36965"/>
                      </a:cubicBezTo>
                      <a:lnTo>
                        <a:pt x="148082" y="36965"/>
                      </a:lnTo>
                      <a:cubicBezTo>
                        <a:pt x="154601" y="36965"/>
                        <a:pt x="160189" y="34153"/>
                        <a:pt x="164846" y="29466"/>
                      </a:cubicBezTo>
                      <a:cubicBezTo>
                        <a:pt x="199305" y="-8029"/>
                        <a:pt x="257048" y="-9904"/>
                        <a:pt x="294301" y="24779"/>
                      </a:cubicBezTo>
                      <a:cubicBezTo>
                        <a:pt x="302683" y="32278"/>
                        <a:pt x="309203" y="40715"/>
                        <a:pt x="313859" y="51026"/>
                      </a:cubicBezTo>
                      <a:cubicBezTo>
                        <a:pt x="317585" y="57588"/>
                        <a:pt x="323173" y="62275"/>
                        <a:pt x="330623" y="64149"/>
                      </a:cubicBezTo>
                      <a:cubicBezTo>
                        <a:pt x="380915" y="75398"/>
                        <a:pt x="413512" y="126016"/>
                        <a:pt x="402336" y="176635"/>
                      </a:cubicBezTo>
                      <a:cubicBezTo>
                        <a:pt x="400473" y="185071"/>
                        <a:pt x="397679" y="193508"/>
                        <a:pt x="393023" y="201007"/>
                      </a:cubicBezTo>
                      <a:lnTo>
                        <a:pt x="389297" y="207569"/>
                      </a:lnTo>
                      <a:lnTo>
                        <a:pt x="319447" y="207569"/>
                      </a:lnTo>
                      <a:lnTo>
                        <a:pt x="319447" y="346301"/>
                      </a:lnTo>
                      <a:cubicBezTo>
                        <a:pt x="319447" y="352863"/>
                        <a:pt x="315722" y="359424"/>
                        <a:pt x="311065" y="363174"/>
                      </a:cubicBezTo>
                      <a:cubicBezTo>
                        <a:pt x="309203" y="364111"/>
                        <a:pt x="307340" y="365986"/>
                        <a:pt x="305477" y="366923"/>
                      </a:cubicBezTo>
                      <a:cubicBezTo>
                        <a:pt x="285919" y="379109"/>
                        <a:pt x="248666" y="382859"/>
                        <a:pt x="228177" y="383796"/>
                      </a:cubicBezTo>
                      <a:cubicBezTo>
                        <a:pt x="218863" y="384734"/>
                        <a:pt x="210481" y="384734"/>
                        <a:pt x="202099" y="384734"/>
                      </a:cubicBezTo>
                      <a:close/>
                    </a:path>
                  </a:pathLst>
                </a:custGeom>
                <a:noFill/>
                <a:ln w="931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sz="800" dirty="0"/>
                </a:p>
              </p:txBody>
            </p:sp>
            <p:sp>
              <p:nvSpPr>
                <p:cNvPr id="227" name="Freeform 19">
                  <a:extLst>
                    <a:ext uri="{FF2B5EF4-FFF2-40B4-BE49-F238E27FC236}">
                      <a16:creationId xmlns:a16="http://schemas.microsoft.com/office/drawing/2014/main" id="{05D4AC7A-D9EB-4D2B-A8A5-A57E96C39E64}"/>
                    </a:ext>
                  </a:extLst>
                </p:cNvPr>
                <p:cNvSpPr/>
                <p:nvPr/>
              </p:nvSpPr>
              <p:spPr>
                <a:xfrm>
                  <a:off x="7162146" y="2961107"/>
                  <a:ext cx="415300" cy="393699"/>
                </a:xfrm>
                <a:custGeom>
                  <a:avLst/>
                  <a:gdLst>
                    <a:gd name="connsiteX0" fmla="*/ 237490 w 415300"/>
                    <a:gd name="connsiteY0" fmla="*/ 9374 h 393699"/>
                    <a:gd name="connsiteX1" fmla="*/ 315722 w 415300"/>
                    <a:gd name="connsiteY1" fmla="*/ 58118 h 393699"/>
                    <a:gd name="connsiteX2" fmla="*/ 335280 w 415300"/>
                    <a:gd name="connsiteY2" fmla="*/ 73116 h 393699"/>
                    <a:gd name="connsiteX3" fmla="*/ 363220 w 415300"/>
                    <a:gd name="connsiteY3" fmla="*/ 84364 h 393699"/>
                    <a:gd name="connsiteX4" fmla="*/ 394885 w 415300"/>
                    <a:gd name="connsiteY4" fmla="*/ 202474 h 393699"/>
                    <a:gd name="connsiteX5" fmla="*/ 392091 w 415300"/>
                    <a:gd name="connsiteY5" fmla="*/ 207161 h 393699"/>
                    <a:gd name="connsiteX6" fmla="*/ 320379 w 415300"/>
                    <a:gd name="connsiteY6" fmla="*/ 207161 h 393699"/>
                    <a:gd name="connsiteX7" fmla="*/ 320379 w 415300"/>
                    <a:gd name="connsiteY7" fmla="*/ 350581 h 393699"/>
                    <a:gd name="connsiteX8" fmla="*/ 313859 w 415300"/>
                    <a:gd name="connsiteY8" fmla="*/ 363704 h 393699"/>
                    <a:gd name="connsiteX9" fmla="*/ 309203 w 415300"/>
                    <a:gd name="connsiteY9" fmla="*/ 367453 h 393699"/>
                    <a:gd name="connsiteX10" fmla="*/ 233765 w 415300"/>
                    <a:gd name="connsiteY10" fmla="*/ 383389 h 393699"/>
                    <a:gd name="connsiteX11" fmla="*/ 207687 w 415300"/>
                    <a:gd name="connsiteY11" fmla="*/ 384326 h 393699"/>
                    <a:gd name="connsiteX12" fmla="*/ 190923 w 415300"/>
                    <a:gd name="connsiteY12" fmla="*/ 384326 h 393699"/>
                    <a:gd name="connsiteX13" fmla="*/ 135043 w 415300"/>
                    <a:gd name="connsiteY13" fmla="*/ 377765 h 393699"/>
                    <a:gd name="connsiteX14" fmla="*/ 119211 w 415300"/>
                    <a:gd name="connsiteY14" fmla="*/ 373078 h 393699"/>
                    <a:gd name="connsiteX15" fmla="*/ 106172 w 415300"/>
                    <a:gd name="connsiteY15" fmla="*/ 367453 h 393699"/>
                    <a:gd name="connsiteX16" fmla="*/ 94065 w 415300"/>
                    <a:gd name="connsiteY16" fmla="*/ 351518 h 393699"/>
                    <a:gd name="connsiteX17" fmla="*/ 94065 w 415300"/>
                    <a:gd name="connsiteY17" fmla="*/ 208099 h 393699"/>
                    <a:gd name="connsiteX18" fmla="*/ 9313 w 415300"/>
                    <a:gd name="connsiteY18" fmla="*/ 208099 h 393699"/>
                    <a:gd name="connsiteX19" fmla="*/ 10245 w 415300"/>
                    <a:gd name="connsiteY19" fmla="*/ 198725 h 393699"/>
                    <a:gd name="connsiteX20" fmla="*/ 59605 w 415300"/>
                    <a:gd name="connsiteY20" fmla="*/ 122797 h 393699"/>
                    <a:gd name="connsiteX21" fmla="*/ 74507 w 415300"/>
                    <a:gd name="connsiteY21" fmla="*/ 103112 h 393699"/>
                    <a:gd name="connsiteX22" fmla="*/ 143425 w 415300"/>
                    <a:gd name="connsiteY22" fmla="*/ 45932 h 393699"/>
                    <a:gd name="connsiteX23" fmla="*/ 149945 w 415300"/>
                    <a:gd name="connsiteY23" fmla="*/ 45932 h 393699"/>
                    <a:gd name="connsiteX24" fmla="*/ 152739 w 415300"/>
                    <a:gd name="connsiteY24" fmla="*/ 45932 h 393699"/>
                    <a:gd name="connsiteX25" fmla="*/ 173228 w 415300"/>
                    <a:gd name="connsiteY25" fmla="*/ 37495 h 393699"/>
                    <a:gd name="connsiteX26" fmla="*/ 237490 w 415300"/>
                    <a:gd name="connsiteY26" fmla="*/ 9374 h 393699"/>
                    <a:gd name="connsiteX27" fmla="*/ 237490 w 415300"/>
                    <a:gd name="connsiteY27" fmla="*/ 0 h 393699"/>
                    <a:gd name="connsiteX28" fmla="*/ 166709 w 415300"/>
                    <a:gd name="connsiteY28" fmla="*/ 30934 h 393699"/>
                    <a:gd name="connsiteX29" fmla="*/ 153670 w 415300"/>
                    <a:gd name="connsiteY29" fmla="*/ 36558 h 393699"/>
                    <a:gd name="connsiteX30" fmla="*/ 151807 w 415300"/>
                    <a:gd name="connsiteY30" fmla="*/ 36558 h 393699"/>
                    <a:gd name="connsiteX31" fmla="*/ 144357 w 415300"/>
                    <a:gd name="connsiteY31" fmla="*/ 36558 h 393699"/>
                    <a:gd name="connsiteX32" fmla="*/ 112691 w 415300"/>
                    <a:gd name="connsiteY32" fmla="*/ 43120 h 393699"/>
                    <a:gd name="connsiteX33" fmla="*/ 67056 w 415300"/>
                    <a:gd name="connsiteY33" fmla="*/ 101237 h 393699"/>
                    <a:gd name="connsiteX34" fmla="*/ 55880 w 415300"/>
                    <a:gd name="connsiteY34" fmla="*/ 114360 h 393699"/>
                    <a:gd name="connsiteX35" fmla="*/ 1863 w 415300"/>
                    <a:gd name="connsiteY35" fmla="*/ 197787 h 393699"/>
                    <a:gd name="connsiteX36" fmla="*/ 931 w 415300"/>
                    <a:gd name="connsiteY36" fmla="*/ 207161 h 393699"/>
                    <a:gd name="connsiteX37" fmla="*/ 0 w 415300"/>
                    <a:gd name="connsiteY37" fmla="*/ 217472 h 393699"/>
                    <a:gd name="connsiteX38" fmla="*/ 84751 w 415300"/>
                    <a:gd name="connsiteY38" fmla="*/ 217472 h 393699"/>
                    <a:gd name="connsiteX39" fmla="*/ 84751 w 415300"/>
                    <a:gd name="connsiteY39" fmla="*/ 351518 h 393699"/>
                    <a:gd name="connsiteX40" fmla="*/ 101515 w 415300"/>
                    <a:gd name="connsiteY40" fmla="*/ 375890 h 393699"/>
                    <a:gd name="connsiteX41" fmla="*/ 116417 w 415300"/>
                    <a:gd name="connsiteY41" fmla="*/ 382451 h 393699"/>
                    <a:gd name="connsiteX42" fmla="*/ 134112 w 415300"/>
                    <a:gd name="connsiteY42" fmla="*/ 387138 h 393699"/>
                    <a:gd name="connsiteX43" fmla="*/ 190923 w 415300"/>
                    <a:gd name="connsiteY43" fmla="*/ 393700 h 393699"/>
                    <a:gd name="connsiteX44" fmla="*/ 208619 w 415300"/>
                    <a:gd name="connsiteY44" fmla="*/ 393700 h 393699"/>
                    <a:gd name="connsiteX45" fmla="*/ 235627 w 415300"/>
                    <a:gd name="connsiteY45" fmla="*/ 392763 h 393699"/>
                    <a:gd name="connsiteX46" fmla="*/ 314791 w 415300"/>
                    <a:gd name="connsiteY46" fmla="*/ 374952 h 393699"/>
                    <a:gd name="connsiteX47" fmla="*/ 321310 w 415300"/>
                    <a:gd name="connsiteY47" fmla="*/ 370265 h 393699"/>
                    <a:gd name="connsiteX48" fmla="*/ 331555 w 415300"/>
                    <a:gd name="connsiteY48" fmla="*/ 350581 h 393699"/>
                    <a:gd name="connsiteX49" fmla="*/ 331555 w 415300"/>
                    <a:gd name="connsiteY49" fmla="*/ 217472 h 393699"/>
                    <a:gd name="connsiteX50" fmla="*/ 399542 w 415300"/>
                    <a:gd name="connsiteY50" fmla="*/ 217472 h 393699"/>
                    <a:gd name="connsiteX51" fmla="*/ 402336 w 415300"/>
                    <a:gd name="connsiteY51" fmla="*/ 212785 h 393699"/>
                    <a:gd name="connsiteX52" fmla="*/ 405130 w 415300"/>
                    <a:gd name="connsiteY52" fmla="*/ 208099 h 393699"/>
                    <a:gd name="connsiteX53" fmla="*/ 362289 w 415300"/>
                    <a:gd name="connsiteY53" fmla="*/ 74053 h 393699"/>
                    <a:gd name="connsiteX54" fmla="*/ 337143 w 415300"/>
                    <a:gd name="connsiteY54" fmla="*/ 64679 h 393699"/>
                    <a:gd name="connsiteX55" fmla="*/ 323173 w 415300"/>
                    <a:gd name="connsiteY55" fmla="*/ 54368 h 393699"/>
                    <a:gd name="connsiteX56" fmla="*/ 237490 w 415300"/>
                    <a:gd name="connsiteY56" fmla="*/ 0 h 39369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</a:cxnLst>
                  <a:rect l="l" t="t" r="r" b="b"/>
                  <a:pathLst>
                    <a:path w="415300" h="393699">
                      <a:moveTo>
                        <a:pt x="237490" y="9374"/>
                      </a:moveTo>
                      <a:cubicBezTo>
                        <a:pt x="270087" y="9374"/>
                        <a:pt x="300821" y="28121"/>
                        <a:pt x="315722" y="58118"/>
                      </a:cubicBezTo>
                      <a:cubicBezTo>
                        <a:pt x="319447" y="65617"/>
                        <a:pt x="326898" y="71241"/>
                        <a:pt x="335280" y="73116"/>
                      </a:cubicBezTo>
                      <a:cubicBezTo>
                        <a:pt x="345525" y="74990"/>
                        <a:pt x="354838" y="79677"/>
                        <a:pt x="363220" y="84364"/>
                      </a:cubicBezTo>
                      <a:cubicBezTo>
                        <a:pt x="403267" y="109674"/>
                        <a:pt x="416306" y="161230"/>
                        <a:pt x="394885" y="202474"/>
                      </a:cubicBezTo>
                      <a:lnTo>
                        <a:pt x="392091" y="207161"/>
                      </a:lnTo>
                      <a:lnTo>
                        <a:pt x="320379" y="207161"/>
                      </a:lnTo>
                      <a:lnTo>
                        <a:pt x="320379" y="350581"/>
                      </a:lnTo>
                      <a:cubicBezTo>
                        <a:pt x="320379" y="355267"/>
                        <a:pt x="317585" y="359954"/>
                        <a:pt x="313859" y="363704"/>
                      </a:cubicBezTo>
                      <a:cubicBezTo>
                        <a:pt x="311997" y="364641"/>
                        <a:pt x="311065" y="366516"/>
                        <a:pt x="309203" y="367453"/>
                      </a:cubicBezTo>
                      <a:cubicBezTo>
                        <a:pt x="292439" y="376827"/>
                        <a:pt x="261705" y="381514"/>
                        <a:pt x="233765" y="383389"/>
                      </a:cubicBezTo>
                      <a:cubicBezTo>
                        <a:pt x="224451" y="384326"/>
                        <a:pt x="215138" y="384326"/>
                        <a:pt x="207687" y="384326"/>
                      </a:cubicBezTo>
                      <a:lnTo>
                        <a:pt x="190923" y="384326"/>
                      </a:lnTo>
                      <a:cubicBezTo>
                        <a:pt x="172297" y="383389"/>
                        <a:pt x="153670" y="381514"/>
                        <a:pt x="135043" y="377765"/>
                      </a:cubicBezTo>
                      <a:cubicBezTo>
                        <a:pt x="129455" y="376827"/>
                        <a:pt x="123867" y="374952"/>
                        <a:pt x="119211" y="373078"/>
                      </a:cubicBezTo>
                      <a:cubicBezTo>
                        <a:pt x="114554" y="371203"/>
                        <a:pt x="109897" y="369328"/>
                        <a:pt x="106172" y="367453"/>
                      </a:cubicBezTo>
                      <a:cubicBezTo>
                        <a:pt x="99653" y="364641"/>
                        <a:pt x="94996" y="358080"/>
                        <a:pt x="94065" y="351518"/>
                      </a:cubicBezTo>
                      <a:lnTo>
                        <a:pt x="94065" y="208099"/>
                      </a:lnTo>
                      <a:lnTo>
                        <a:pt x="9313" y="208099"/>
                      </a:lnTo>
                      <a:lnTo>
                        <a:pt x="10245" y="198725"/>
                      </a:lnTo>
                      <a:cubicBezTo>
                        <a:pt x="13039" y="166854"/>
                        <a:pt x="31665" y="137795"/>
                        <a:pt x="59605" y="122797"/>
                      </a:cubicBezTo>
                      <a:cubicBezTo>
                        <a:pt x="67056" y="119047"/>
                        <a:pt x="73575" y="111548"/>
                        <a:pt x="74507" y="103112"/>
                      </a:cubicBezTo>
                      <a:cubicBezTo>
                        <a:pt x="81026" y="70304"/>
                        <a:pt x="109897" y="45932"/>
                        <a:pt x="143425" y="45932"/>
                      </a:cubicBezTo>
                      <a:cubicBezTo>
                        <a:pt x="145288" y="45932"/>
                        <a:pt x="148082" y="45932"/>
                        <a:pt x="149945" y="45932"/>
                      </a:cubicBezTo>
                      <a:lnTo>
                        <a:pt x="152739" y="45932"/>
                      </a:lnTo>
                      <a:cubicBezTo>
                        <a:pt x="160189" y="45932"/>
                        <a:pt x="167640" y="43120"/>
                        <a:pt x="173228" y="37495"/>
                      </a:cubicBezTo>
                      <a:cubicBezTo>
                        <a:pt x="189992" y="19685"/>
                        <a:pt x="213275" y="9374"/>
                        <a:pt x="237490" y="9374"/>
                      </a:cubicBezTo>
                      <a:moveTo>
                        <a:pt x="237490" y="0"/>
                      </a:moveTo>
                      <a:cubicBezTo>
                        <a:pt x="210481" y="0"/>
                        <a:pt x="185335" y="11249"/>
                        <a:pt x="166709" y="30934"/>
                      </a:cubicBezTo>
                      <a:cubicBezTo>
                        <a:pt x="162983" y="34683"/>
                        <a:pt x="158327" y="36558"/>
                        <a:pt x="153670" y="36558"/>
                      </a:cubicBezTo>
                      <a:lnTo>
                        <a:pt x="151807" y="36558"/>
                      </a:lnTo>
                      <a:cubicBezTo>
                        <a:pt x="149013" y="36558"/>
                        <a:pt x="147151" y="36558"/>
                        <a:pt x="144357" y="36558"/>
                      </a:cubicBezTo>
                      <a:cubicBezTo>
                        <a:pt x="133181" y="36558"/>
                        <a:pt x="122936" y="38433"/>
                        <a:pt x="112691" y="43120"/>
                      </a:cubicBezTo>
                      <a:cubicBezTo>
                        <a:pt x="88477" y="53431"/>
                        <a:pt x="71713" y="74990"/>
                        <a:pt x="67056" y="101237"/>
                      </a:cubicBezTo>
                      <a:cubicBezTo>
                        <a:pt x="65193" y="106861"/>
                        <a:pt x="61468" y="111548"/>
                        <a:pt x="55880" y="114360"/>
                      </a:cubicBezTo>
                      <a:cubicBezTo>
                        <a:pt x="24215" y="131233"/>
                        <a:pt x="3725" y="162167"/>
                        <a:pt x="1863" y="197787"/>
                      </a:cubicBezTo>
                      <a:lnTo>
                        <a:pt x="931" y="207161"/>
                      </a:lnTo>
                      <a:lnTo>
                        <a:pt x="0" y="217472"/>
                      </a:lnTo>
                      <a:lnTo>
                        <a:pt x="84751" y="217472"/>
                      </a:lnTo>
                      <a:lnTo>
                        <a:pt x="84751" y="351518"/>
                      </a:lnTo>
                      <a:cubicBezTo>
                        <a:pt x="85683" y="361829"/>
                        <a:pt x="91271" y="371203"/>
                        <a:pt x="101515" y="375890"/>
                      </a:cubicBezTo>
                      <a:cubicBezTo>
                        <a:pt x="106172" y="378702"/>
                        <a:pt x="110829" y="380577"/>
                        <a:pt x="116417" y="382451"/>
                      </a:cubicBezTo>
                      <a:cubicBezTo>
                        <a:pt x="122005" y="384326"/>
                        <a:pt x="127593" y="385264"/>
                        <a:pt x="134112" y="387138"/>
                      </a:cubicBezTo>
                      <a:cubicBezTo>
                        <a:pt x="152739" y="390888"/>
                        <a:pt x="172297" y="392763"/>
                        <a:pt x="190923" y="393700"/>
                      </a:cubicBezTo>
                      <a:cubicBezTo>
                        <a:pt x="196511" y="393700"/>
                        <a:pt x="203031" y="393700"/>
                        <a:pt x="208619" y="393700"/>
                      </a:cubicBezTo>
                      <a:cubicBezTo>
                        <a:pt x="217001" y="393700"/>
                        <a:pt x="226314" y="393700"/>
                        <a:pt x="235627" y="392763"/>
                      </a:cubicBezTo>
                      <a:cubicBezTo>
                        <a:pt x="260773" y="390888"/>
                        <a:pt x="296164" y="387138"/>
                        <a:pt x="314791" y="374952"/>
                      </a:cubicBezTo>
                      <a:cubicBezTo>
                        <a:pt x="316653" y="374015"/>
                        <a:pt x="319447" y="372140"/>
                        <a:pt x="321310" y="370265"/>
                      </a:cubicBezTo>
                      <a:cubicBezTo>
                        <a:pt x="327829" y="365579"/>
                        <a:pt x="331555" y="358080"/>
                        <a:pt x="331555" y="350581"/>
                      </a:cubicBezTo>
                      <a:lnTo>
                        <a:pt x="331555" y="217472"/>
                      </a:lnTo>
                      <a:lnTo>
                        <a:pt x="399542" y="217472"/>
                      </a:lnTo>
                      <a:lnTo>
                        <a:pt x="402336" y="212785"/>
                      </a:lnTo>
                      <a:lnTo>
                        <a:pt x="405130" y="208099"/>
                      </a:lnTo>
                      <a:cubicBezTo>
                        <a:pt x="428413" y="159355"/>
                        <a:pt x="410718" y="99362"/>
                        <a:pt x="362289" y="74053"/>
                      </a:cubicBezTo>
                      <a:cubicBezTo>
                        <a:pt x="354838" y="69366"/>
                        <a:pt x="345525" y="66554"/>
                        <a:pt x="337143" y="64679"/>
                      </a:cubicBezTo>
                      <a:cubicBezTo>
                        <a:pt x="331555" y="63742"/>
                        <a:pt x="325967" y="59055"/>
                        <a:pt x="323173" y="54368"/>
                      </a:cubicBezTo>
                      <a:cubicBezTo>
                        <a:pt x="307340" y="20622"/>
                        <a:pt x="273812" y="0"/>
                        <a:pt x="237490" y="0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931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sz="800"/>
                </a:p>
              </p:txBody>
            </p:sp>
            <p:sp>
              <p:nvSpPr>
                <p:cNvPr id="228" name="Freeform 20">
                  <a:extLst>
                    <a:ext uri="{FF2B5EF4-FFF2-40B4-BE49-F238E27FC236}">
                      <a16:creationId xmlns:a16="http://schemas.microsoft.com/office/drawing/2014/main" id="{0DB9D6A4-2C78-441A-8DD5-8557893419E8}"/>
                    </a:ext>
                  </a:extLst>
                </p:cNvPr>
                <p:cNvSpPr/>
                <p:nvPr/>
              </p:nvSpPr>
              <p:spPr>
                <a:xfrm>
                  <a:off x="7171459" y="2970480"/>
                  <a:ext cx="395230" cy="198724"/>
                </a:xfrm>
                <a:custGeom>
                  <a:avLst/>
                  <a:gdLst>
                    <a:gd name="connsiteX0" fmla="*/ 353907 w 395230"/>
                    <a:gd name="connsiteY0" fmla="*/ 75928 h 198724"/>
                    <a:gd name="connsiteX1" fmla="*/ 325967 w 395230"/>
                    <a:gd name="connsiteY1" fmla="*/ 64679 h 198724"/>
                    <a:gd name="connsiteX2" fmla="*/ 306409 w 395230"/>
                    <a:gd name="connsiteY2" fmla="*/ 48744 h 198724"/>
                    <a:gd name="connsiteX3" fmla="*/ 228177 w 395230"/>
                    <a:gd name="connsiteY3" fmla="*/ 0 h 198724"/>
                    <a:gd name="connsiteX4" fmla="*/ 163915 w 395230"/>
                    <a:gd name="connsiteY4" fmla="*/ 28121 h 198724"/>
                    <a:gd name="connsiteX5" fmla="*/ 140631 w 395230"/>
                    <a:gd name="connsiteY5" fmla="*/ 36558 h 198724"/>
                    <a:gd name="connsiteX6" fmla="*/ 65193 w 395230"/>
                    <a:gd name="connsiteY6" fmla="*/ 92801 h 198724"/>
                    <a:gd name="connsiteX7" fmla="*/ 50292 w 395230"/>
                    <a:gd name="connsiteY7" fmla="*/ 112486 h 198724"/>
                    <a:gd name="connsiteX8" fmla="*/ 931 w 395230"/>
                    <a:gd name="connsiteY8" fmla="*/ 189351 h 198724"/>
                    <a:gd name="connsiteX9" fmla="*/ 0 w 395230"/>
                    <a:gd name="connsiteY9" fmla="*/ 198725 h 198724"/>
                    <a:gd name="connsiteX10" fmla="*/ 74507 w 395230"/>
                    <a:gd name="connsiteY10" fmla="*/ 198725 h 198724"/>
                    <a:gd name="connsiteX11" fmla="*/ 74507 w 395230"/>
                    <a:gd name="connsiteY11" fmla="*/ 181852 h 198724"/>
                    <a:gd name="connsiteX12" fmla="*/ 18627 w 395230"/>
                    <a:gd name="connsiteY12" fmla="*/ 181852 h 198724"/>
                    <a:gd name="connsiteX13" fmla="*/ 57743 w 395230"/>
                    <a:gd name="connsiteY13" fmla="*/ 128421 h 198724"/>
                    <a:gd name="connsiteX14" fmla="*/ 81026 w 395230"/>
                    <a:gd name="connsiteY14" fmla="*/ 96550 h 198724"/>
                    <a:gd name="connsiteX15" fmla="*/ 137837 w 395230"/>
                    <a:gd name="connsiteY15" fmla="*/ 53431 h 198724"/>
                    <a:gd name="connsiteX16" fmla="*/ 175091 w 395230"/>
                    <a:gd name="connsiteY16" fmla="*/ 39370 h 198724"/>
                    <a:gd name="connsiteX17" fmla="*/ 273812 w 395230"/>
                    <a:gd name="connsiteY17" fmla="*/ 35620 h 198724"/>
                    <a:gd name="connsiteX18" fmla="*/ 288713 w 395230"/>
                    <a:gd name="connsiteY18" fmla="*/ 55305 h 198724"/>
                    <a:gd name="connsiteX19" fmla="*/ 320379 w 395230"/>
                    <a:gd name="connsiteY19" fmla="*/ 79677 h 198724"/>
                    <a:gd name="connsiteX20" fmla="*/ 343662 w 395230"/>
                    <a:gd name="connsiteY20" fmla="*/ 89051 h 198724"/>
                    <a:gd name="connsiteX21" fmla="*/ 370671 w 395230"/>
                    <a:gd name="connsiteY21" fmla="*/ 179977 h 198724"/>
                    <a:gd name="connsiteX22" fmla="*/ 318516 w 395230"/>
                    <a:gd name="connsiteY22" fmla="*/ 179977 h 198724"/>
                    <a:gd name="connsiteX23" fmla="*/ 318516 w 395230"/>
                    <a:gd name="connsiteY23" fmla="*/ 196850 h 198724"/>
                    <a:gd name="connsiteX24" fmla="*/ 380915 w 395230"/>
                    <a:gd name="connsiteY24" fmla="*/ 196850 h 198724"/>
                    <a:gd name="connsiteX25" fmla="*/ 383709 w 395230"/>
                    <a:gd name="connsiteY25" fmla="*/ 192163 h 198724"/>
                    <a:gd name="connsiteX26" fmla="*/ 353907 w 395230"/>
                    <a:gd name="connsiteY26" fmla="*/ 75928 h 19872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</a:cxnLst>
                  <a:rect l="l" t="t" r="r" b="b"/>
                  <a:pathLst>
                    <a:path w="395230" h="198724">
                      <a:moveTo>
                        <a:pt x="353907" y="75928"/>
                      </a:moveTo>
                      <a:cubicBezTo>
                        <a:pt x="345525" y="70304"/>
                        <a:pt x="336211" y="66554"/>
                        <a:pt x="325967" y="64679"/>
                      </a:cubicBezTo>
                      <a:cubicBezTo>
                        <a:pt x="317585" y="62805"/>
                        <a:pt x="310134" y="57180"/>
                        <a:pt x="306409" y="48744"/>
                      </a:cubicBezTo>
                      <a:cubicBezTo>
                        <a:pt x="291507" y="18748"/>
                        <a:pt x="260773" y="0"/>
                        <a:pt x="228177" y="0"/>
                      </a:cubicBezTo>
                      <a:cubicBezTo>
                        <a:pt x="203962" y="0"/>
                        <a:pt x="180679" y="10311"/>
                        <a:pt x="163915" y="28121"/>
                      </a:cubicBezTo>
                      <a:cubicBezTo>
                        <a:pt x="158327" y="34683"/>
                        <a:pt x="149013" y="37495"/>
                        <a:pt x="140631" y="36558"/>
                      </a:cubicBezTo>
                      <a:cubicBezTo>
                        <a:pt x="105241" y="32808"/>
                        <a:pt x="72644" y="57180"/>
                        <a:pt x="65193" y="92801"/>
                      </a:cubicBezTo>
                      <a:cubicBezTo>
                        <a:pt x="63331" y="101237"/>
                        <a:pt x="57743" y="108736"/>
                        <a:pt x="50292" y="112486"/>
                      </a:cubicBezTo>
                      <a:cubicBezTo>
                        <a:pt x="21421" y="127484"/>
                        <a:pt x="2794" y="156543"/>
                        <a:pt x="931" y="189351"/>
                      </a:cubicBezTo>
                      <a:lnTo>
                        <a:pt x="0" y="198725"/>
                      </a:lnTo>
                      <a:lnTo>
                        <a:pt x="74507" y="198725"/>
                      </a:lnTo>
                      <a:lnTo>
                        <a:pt x="74507" y="181852"/>
                      </a:lnTo>
                      <a:lnTo>
                        <a:pt x="18627" y="181852"/>
                      </a:lnTo>
                      <a:cubicBezTo>
                        <a:pt x="23283" y="159355"/>
                        <a:pt x="37253" y="139670"/>
                        <a:pt x="57743" y="128421"/>
                      </a:cubicBezTo>
                      <a:cubicBezTo>
                        <a:pt x="69850" y="121860"/>
                        <a:pt x="79163" y="110611"/>
                        <a:pt x="81026" y="96550"/>
                      </a:cubicBezTo>
                      <a:cubicBezTo>
                        <a:pt x="86614" y="69366"/>
                        <a:pt x="110829" y="50619"/>
                        <a:pt x="137837" y="53431"/>
                      </a:cubicBezTo>
                      <a:cubicBezTo>
                        <a:pt x="151807" y="55305"/>
                        <a:pt x="165777" y="49681"/>
                        <a:pt x="175091" y="39370"/>
                      </a:cubicBezTo>
                      <a:cubicBezTo>
                        <a:pt x="201168" y="11249"/>
                        <a:pt x="245872" y="9374"/>
                        <a:pt x="273812" y="35620"/>
                      </a:cubicBezTo>
                      <a:cubicBezTo>
                        <a:pt x="280331" y="41245"/>
                        <a:pt x="284988" y="47806"/>
                        <a:pt x="288713" y="55305"/>
                      </a:cubicBezTo>
                      <a:cubicBezTo>
                        <a:pt x="295233" y="67491"/>
                        <a:pt x="306409" y="76865"/>
                        <a:pt x="320379" y="79677"/>
                      </a:cubicBezTo>
                      <a:cubicBezTo>
                        <a:pt x="328761" y="81552"/>
                        <a:pt x="336211" y="84364"/>
                        <a:pt x="343662" y="89051"/>
                      </a:cubicBezTo>
                      <a:cubicBezTo>
                        <a:pt x="374396" y="108736"/>
                        <a:pt x="385572" y="147169"/>
                        <a:pt x="370671" y="179977"/>
                      </a:cubicBezTo>
                      <a:lnTo>
                        <a:pt x="318516" y="179977"/>
                      </a:lnTo>
                      <a:lnTo>
                        <a:pt x="318516" y="196850"/>
                      </a:lnTo>
                      <a:lnTo>
                        <a:pt x="380915" y="196850"/>
                      </a:lnTo>
                      <a:lnTo>
                        <a:pt x="383709" y="192163"/>
                      </a:lnTo>
                      <a:cubicBezTo>
                        <a:pt x="406993" y="152793"/>
                        <a:pt x="393954" y="100300"/>
                        <a:pt x="353907" y="75928"/>
                      </a:cubicBezTo>
                      <a:close/>
                    </a:path>
                  </a:pathLst>
                </a:custGeom>
                <a:solidFill>
                  <a:schemeClr val="tx1"/>
                </a:solidFill>
                <a:ln w="931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sz="800"/>
                </a:p>
              </p:txBody>
            </p:sp>
            <p:sp>
              <p:nvSpPr>
                <p:cNvPr id="229" name="Freeform 21">
                  <a:extLst>
                    <a:ext uri="{FF2B5EF4-FFF2-40B4-BE49-F238E27FC236}">
                      <a16:creationId xmlns:a16="http://schemas.microsoft.com/office/drawing/2014/main" id="{F876DD5E-614E-4C44-AC7A-E7276BBBDB8D}"/>
                    </a:ext>
                  </a:extLst>
                </p:cNvPr>
                <p:cNvSpPr/>
                <p:nvPr/>
              </p:nvSpPr>
              <p:spPr>
                <a:xfrm>
                  <a:off x="7256210" y="3089528"/>
                  <a:ext cx="226314" cy="254967"/>
                </a:xfrm>
                <a:custGeom>
                  <a:avLst/>
                  <a:gdLst>
                    <a:gd name="connsiteX0" fmla="*/ 226314 w 226314"/>
                    <a:gd name="connsiteY0" fmla="*/ 36558 h 254967"/>
                    <a:gd name="connsiteX1" fmla="*/ 226314 w 226314"/>
                    <a:gd name="connsiteY1" fmla="*/ 36558 h 254967"/>
                    <a:gd name="connsiteX2" fmla="*/ 226314 w 226314"/>
                    <a:gd name="connsiteY2" fmla="*/ 34683 h 254967"/>
                    <a:gd name="connsiteX3" fmla="*/ 219795 w 226314"/>
                    <a:gd name="connsiteY3" fmla="*/ 21560 h 254967"/>
                    <a:gd name="connsiteX4" fmla="*/ 215138 w 226314"/>
                    <a:gd name="connsiteY4" fmla="*/ 17810 h 254967"/>
                    <a:gd name="connsiteX5" fmla="*/ 139700 w 226314"/>
                    <a:gd name="connsiteY5" fmla="*/ 937 h 254967"/>
                    <a:gd name="connsiteX6" fmla="*/ 113623 w 226314"/>
                    <a:gd name="connsiteY6" fmla="*/ 0 h 254967"/>
                    <a:gd name="connsiteX7" fmla="*/ 96859 w 226314"/>
                    <a:gd name="connsiteY7" fmla="*/ 0 h 254967"/>
                    <a:gd name="connsiteX8" fmla="*/ 40979 w 226314"/>
                    <a:gd name="connsiteY8" fmla="*/ 6562 h 254967"/>
                    <a:gd name="connsiteX9" fmla="*/ 25146 w 226314"/>
                    <a:gd name="connsiteY9" fmla="*/ 11249 h 254967"/>
                    <a:gd name="connsiteX10" fmla="*/ 12107 w 226314"/>
                    <a:gd name="connsiteY10" fmla="*/ 16873 h 254967"/>
                    <a:gd name="connsiteX11" fmla="*/ 0 w 226314"/>
                    <a:gd name="connsiteY11" fmla="*/ 33746 h 254967"/>
                    <a:gd name="connsiteX12" fmla="*/ 0 w 226314"/>
                    <a:gd name="connsiteY12" fmla="*/ 34683 h 254967"/>
                    <a:gd name="connsiteX13" fmla="*/ 0 w 226314"/>
                    <a:gd name="connsiteY13" fmla="*/ 35620 h 254967"/>
                    <a:gd name="connsiteX14" fmla="*/ 0 w 226314"/>
                    <a:gd name="connsiteY14" fmla="*/ 222159 h 254967"/>
                    <a:gd name="connsiteX15" fmla="*/ 12107 w 226314"/>
                    <a:gd name="connsiteY15" fmla="*/ 238095 h 254967"/>
                    <a:gd name="connsiteX16" fmla="*/ 25146 w 226314"/>
                    <a:gd name="connsiteY16" fmla="*/ 243719 h 254967"/>
                    <a:gd name="connsiteX17" fmla="*/ 40979 w 226314"/>
                    <a:gd name="connsiteY17" fmla="*/ 248406 h 254967"/>
                    <a:gd name="connsiteX18" fmla="*/ 96859 w 226314"/>
                    <a:gd name="connsiteY18" fmla="*/ 254968 h 254967"/>
                    <a:gd name="connsiteX19" fmla="*/ 113623 w 226314"/>
                    <a:gd name="connsiteY19" fmla="*/ 254968 h 254967"/>
                    <a:gd name="connsiteX20" fmla="*/ 139700 w 226314"/>
                    <a:gd name="connsiteY20" fmla="*/ 254030 h 254967"/>
                    <a:gd name="connsiteX21" fmla="*/ 215138 w 226314"/>
                    <a:gd name="connsiteY21" fmla="*/ 238095 h 254967"/>
                    <a:gd name="connsiteX22" fmla="*/ 219795 w 226314"/>
                    <a:gd name="connsiteY22" fmla="*/ 234345 h 254967"/>
                    <a:gd name="connsiteX23" fmla="*/ 226314 w 226314"/>
                    <a:gd name="connsiteY23" fmla="*/ 221222 h 254967"/>
                    <a:gd name="connsiteX24" fmla="*/ 226314 w 226314"/>
                    <a:gd name="connsiteY24" fmla="*/ 36558 h 254967"/>
                    <a:gd name="connsiteX25" fmla="*/ 113623 w 226314"/>
                    <a:gd name="connsiteY25" fmla="*/ 15935 h 254967"/>
                    <a:gd name="connsiteX26" fmla="*/ 211413 w 226314"/>
                    <a:gd name="connsiteY26" fmla="*/ 34683 h 254967"/>
                    <a:gd name="connsiteX27" fmla="*/ 113623 w 226314"/>
                    <a:gd name="connsiteY27" fmla="*/ 53431 h 254967"/>
                    <a:gd name="connsiteX28" fmla="*/ 15833 w 226314"/>
                    <a:gd name="connsiteY28" fmla="*/ 34683 h 254967"/>
                    <a:gd name="connsiteX29" fmla="*/ 113623 w 226314"/>
                    <a:gd name="connsiteY29" fmla="*/ 15935 h 254967"/>
                    <a:gd name="connsiteX30" fmla="*/ 14901 w 226314"/>
                    <a:gd name="connsiteY30" fmla="*/ 53431 h 254967"/>
                    <a:gd name="connsiteX31" fmla="*/ 113623 w 226314"/>
                    <a:gd name="connsiteY31" fmla="*/ 68429 h 254967"/>
                    <a:gd name="connsiteX32" fmla="*/ 211413 w 226314"/>
                    <a:gd name="connsiteY32" fmla="*/ 53431 h 254967"/>
                    <a:gd name="connsiteX33" fmla="*/ 211413 w 226314"/>
                    <a:gd name="connsiteY33" fmla="*/ 98425 h 254967"/>
                    <a:gd name="connsiteX34" fmla="*/ 113623 w 226314"/>
                    <a:gd name="connsiteY34" fmla="*/ 116235 h 254967"/>
                    <a:gd name="connsiteX35" fmla="*/ 14901 w 226314"/>
                    <a:gd name="connsiteY35" fmla="*/ 98425 h 254967"/>
                    <a:gd name="connsiteX36" fmla="*/ 14901 w 226314"/>
                    <a:gd name="connsiteY36" fmla="*/ 53431 h 254967"/>
                    <a:gd name="connsiteX37" fmla="*/ 211413 w 226314"/>
                    <a:gd name="connsiteY37" fmla="*/ 117173 h 254967"/>
                    <a:gd name="connsiteX38" fmla="*/ 211413 w 226314"/>
                    <a:gd name="connsiteY38" fmla="*/ 160292 h 254967"/>
                    <a:gd name="connsiteX39" fmla="*/ 113623 w 226314"/>
                    <a:gd name="connsiteY39" fmla="*/ 178102 h 254967"/>
                    <a:gd name="connsiteX40" fmla="*/ 15833 w 226314"/>
                    <a:gd name="connsiteY40" fmla="*/ 159355 h 254967"/>
                    <a:gd name="connsiteX41" fmla="*/ 15833 w 226314"/>
                    <a:gd name="connsiteY41" fmla="*/ 116235 h 254967"/>
                    <a:gd name="connsiteX42" fmla="*/ 113623 w 226314"/>
                    <a:gd name="connsiteY42" fmla="*/ 131233 h 254967"/>
                    <a:gd name="connsiteX43" fmla="*/ 211413 w 226314"/>
                    <a:gd name="connsiteY43" fmla="*/ 117173 h 254967"/>
                    <a:gd name="connsiteX44" fmla="*/ 211413 w 226314"/>
                    <a:gd name="connsiteY44" fmla="*/ 117173 h 254967"/>
                    <a:gd name="connsiteX45" fmla="*/ 113623 w 226314"/>
                    <a:gd name="connsiteY45" fmla="*/ 240907 h 254967"/>
                    <a:gd name="connsiteX46" fmla="*/ 15833 w 226314"/>
                    <a:gd name="connsiteY46" fmla="*/ 223097 h 254967"/>
                    <a:gd name="connsiteX47" fmla="*/ 15833 w 226314"/>
                    <a:gd name="connsiteY47" fmla="*/ 179040 h 254967"/>
                    <a:gd name="connsiteX48" fmla="*/ 113623 w 226314"/>
                    <a:gd name="connsiteY48" fmla="*/ 194038 h 254967"/>
                    <a:gd name="connsiteX49" fmla="*/ 211413 w 226314"/>
                    <a:gd name="connsiteY49" fmla="*/ 179040 h 254967"/>
                    <a:gd name="connsiteX50" fmla="*/ 211413 w 226314"/>
                    <a:gd name="connsiteY50" fmla="*/ 223097 h 254967"/>
                    <a:gd name="connsiteX51" fmla="*/ 113623 w 226314"/>
                    <a:gd name="connsiteY51" fmla="*/ 240907 h 25496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</a:cxnLst>
                  <a:rect l="l" t="t" r="r" b="b"/>
                  <a:pathLst>
                    <a:path w="226314" h="254967">
                      <a:moveTo>
                        <a:pt x="226314" y="36558"/>
                      </a:moveTo>
                      <a:cubicBezTo>
                        <a:pt x="226314" y="36558"/>
                        <a:pt x="226314" y="35620"/>
                        <a:pt x="226314" y="36558"/>
                      </a:cubicBezTo>
                      <a:cubicBezTo>
                        <a:pt x="226314" y="35620"/>
                        <a:pt x="226314" y="34683"/>
                        <a:pt x="226314" y="34683"/>
                      </a:cubicBezTo>
                      <a:cubicBezTo>
                        <a:pt x="226314" y="29059"/>
                        <a:pt x="223520" y="24372"/>
                        <a:pt x="219795" y="21560"/>
                      </a:cubicBezTo>
                      <a:cubicBezTo>
                        <a:pt x="217932" y="20622"/>
                        <a:pt x="217001" y="18748"/>
                        <a:pt x="215138" y="17810"/>
                      </a:cubicBezTo>
                      <a:cubicBezTo>
                        <a:pt x="198374" y="7499"/>
                        <a:pt x="167640" y="2812"/>
                        <a:pt x="139700" y="937"/>
                      </a:cubicBezTo>
                      <a:cubicBezTo>
                        <a:pt x="130387" y="0"/>
                        <a:pt x="121073" y="0"/>
                        <a:pt x="113623" y="0"/>
                      </a:cubicBezTo>
                      <a:cubicBezTo>
                        <a:pt x="108035" y="0"/>
                        <a:pt x="102447" y="0"/>
                        <a:pt x="96859" y="0"/>
                      </a:cubicBezTo>
                      <a:cubicBezTo>
                        <a:pt x="78232" y="937"/>
                        <a:pt x="59605" y="2812"/>
                        <a:pt x="40979" y="6562"/>
                      </a:cubicBezTo>
                      <a:cubicBezTo>
                        <a:pt x="35391" y="7499"/>
                        <a:pt x="29803" y="9374"/>
                        <a:pt x="25146" y="11249"/>
                      </a:cubicBezTo>
                      <a:cubicBezTo>
                        <a:pt x="20489" y="13123"/>
                        <a:pt x="15833" y="14998"/>
                        <a:pt x="12107" y="16873"/>
                      </a:cubicBezTo>
                      <a:cubicBezTo>
                        <a:pt x="5588" y="19685"/>
                        <a:pt x="931" y="26247"/>
                        <a:pt x="0" y="33746"/>
                      </a:cubicBezTo>
                      <a:cubicBezTo>
                        <a:pt x="0" y="33746"/>
                        <a:pt x="0" y="34683"/>
                        <a:pt x="0" y="34683"/>
                      </a:cubicBezTo>
                      <a:cubicBezTo>
                        <a:pt x="0" y="34683"/>
                        <a:pt x="0" y="35620"/>
                        <a:pt x="0" y="35620"/>
                      </a:cubicBezTo>
                      <a:lnTo>
                        <a:pt x="0" y="222159"/>
                      </a:lnTo>
                      <a:cubicBezTo>
                        <a:pt x="931" y="229658"/>
                        <a:pt x="5588" y="235283"/>
                        <a:pt x="12107" y="238095"/>
                      </a:cubicBezTo>
                      <a:cubicBezTo>
                        <a:pt x="15833" y="240907"/>
                        <a:pt x="20489" y="242782"/>
                        <a:pt x="25146" y="243719"/>
                      </a:cubicBezTo>
                      <a:cubicBezTo>
                        <a:pt x="30734" y="245594"/>
                        <a:pt x="35391" y="246531"/>
                        <a:pt x="40979" y="248406"/>
                      </a:cubicBezTo>
                      <a:cubicBezTo>
                        <a:pt x="59605" y="252155"/>
                        <a:pt x="78232" y="254030"/>
                        <a:pt x="96859" y="254968"/>
                      </a:cubicBezTo>
                      <a:lnTo>
                        <a:pt x="113623" y="254968"/>
                      </a:lnTo>
                      <a:cubicBezTo>
                        <a:pt x="122005" y="254968"/>
                        <a:pt x="130387" y="254968"/>
                        <a:pt x="139700" y="254030"/>
                      </a:cubicBezTo>
                      <a:cubicBezTo>
                        <a:pt x="167640" y="252155"/>
                        <a:pt x="198374" y="247469"/>
                        <a:pt x="215138" y="238095"/>
                      </a:cubicBezTo>
                      <a:cubicBezTo>
                        <a:pt x="217001" y="237157"/>
                        <a:pt x="218863" y="236220"/>
                        <a:pt x="219795" y="234345"/>
                      </a:cubicBezTo>
                      <a:cubicBezTo>
                        <a:pt x="223520" y="231533"/>
                        <a:pt x="226314" y="226846"/>
                        <a:pt x="226314" y="221222"/>
                      </a:cubicBezTo>
                      <a:lnTo>
                        <a:pt x="226314" y="36558"/>
                      </a:lnTo>
                      <a:close/>
                      <a:moveTo>
                        <a:pt x="113623" y="15935"/>
                      </a:moveTo>
                      <a:cubicBezTo>
                        <a:pt x="173228" y="15935"/>
                        <a:pt x="208619" y="28121"/>
                        <a:pt x="211413" y="34683"/>
                      </a:cubicBezTo>
                      <a:cubicBezTo>
                        <a:pt x="208619" y="41245"/>
                        <a:pt x="173228" y="53431"/>
                        <a:pt x="113623" y="53431"/>
                      </a:cubicBezTo>
                      <a:cubicBezTo>
                        <a:pt x="54017" y="53431"/>
                        <a:pt x="18627" y="41245"/>
                        <a:pt x="15833" y="34683"/>
                      </a:cubicBezTo>
                      <a:cubicBezTo>
                        <a:pt x="18627" y="28121"/>
                        <a:pt x="54017" y="15935"/>
                        <a:pt x="113623" y="15935"/>
                      </a:cubicBezTo>
                      <a:close/>
                      <a:moveTo>
                        <a:pt x="14901" y="53431"/>
                      </a:moveTo>
                      <a:cubicBezTo>
                        <a:pt x="38185" y="64679"/>
                        <a:pt x="82889" y="68429"/>
                        <a:pt x="113623" y="68429"/>
                      </a:cubicBezTo>
                      <a:cubicBezTo>
                        <a:pt x="144357" y="68429"/>
                        <a:pt x="188129" y="64679"/>
                        <a:pt x="211413" y="53431"/>
                      </a:cubicBezTo>
                      <a:lnTo>
                        <a:pt x="211413" y="98425"/>
                      </a:lnTo>
                      <a:cubicBezTo>
                        <a:pt x="209550" y="102175"/>
                        <a:pt x="181610" y="116235"/>
                        <a:pt x="113623" y="116235"/>
                      </a:cubicBezTo>
                      <a:cubicBezTo>
                        <a:pt x="45635" y="116235"/>
                        <a:pt x="17695" y="103112"/>
                        <a:pt x="14901" y="98425"/>
                      </a:cubicBezTo>
                      <a:lnTo>
                        <a:pt x="14901" y="53431"/>
                      </a:lnTo>
                      <a:close/>
                      <a:moveTo>
                        <a:pt x="211413" y="117173"/>
                      </a:moveTo>
                      <a:lnTo>
                        <a:pt x="211413" y="160292"/>
                      </a:lnTo>
                      <a:cubicBezTo>
                        <a:pt x="209550" y="164979"/>
                        <a:pt x="181610" y="178102"/>
                        <a:pt x="113623" y="178102"/>
                      </a:cubicBezTo>
                      <a:cubicBezTo>
                        <a:pt x="45635" y="178102"/>
                        <a:pt x="17695" y="164042"/>
                        <a:pt x="15833" y="159355"/>
                      </a:cubicBezTo>
                      <a:lnTo>
                        <a:pt x="15833" y="116235"/>
                      </a:lnTo>
                      <a:cubicBezTo>
                        <a:pt x="39116" y="127484"/>
                        <a:pt x="83820" y="131233"/>
                        <a:pt x="113623" y="131233"/>
                      </a:cubicBezTo>
                      <a:cubicBezTo>
                        <a:pt x="143425" y="131233"/>
                        <a:pt x="188129" y="128421"/>
                        <a:pt x="211413" y="117173"/>
                      </a:cubicBezTo>
                      <a:lnTo>
                        <a:pt x="211413" y="117173"/>
                      </a:lnTo>
                      <a:close/>
                      <a:moveTo>
                        <a:pt x="113623" y="240907"/>
                      </a:moveTo>
                      <a:cubicBezTo>
                        <a:pt x="45635" y="240907"/>
                        <a:pt x="17695" y="226846"/>
                        <a:pt x="15833" y="223097"/>
                      </a:cubicBezTo>
                      <a:lnTo>
                        <a:pt x="15833" y="179040"/>
                      </a:lnTo>
                      <a:cubicBezTo>
                        <a:pt x="39116" y="190288"/>
                        <a:pt x="83820" y="194038"/>
                        <a:pt x="113623" y="194038"/>
                      </a:cubicBezTo>
                      <a:cubicBezTo>
                        <a:pt x="143425" y="194038"/>
                        <a:pt x="188129" y="190288"/>
                        <a:pt x="211413" y="179040"/>
                      </a:cubicBezTo>
                      <a:lnTo>
                        <a:pt x="211413" y="223097"/>
                      </a:lnTo>
                      <a:cubicBezTo>
                        <a:pt x="208619" y="226846"/>
                        <a:pt x="181610" y="240907"/>
                        <a:pt x="113623" y="240907"/>
                      </a:cubicBezTo>
                      <a:close/>
                    </a:path>
                  </a:pathLst>
                </a:custGeom>
                <a:solidFill>
                  <a:schemeClr val="tx1"/>
                </a:solidFill>
                <a:ln w="931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sz="800"/>
                </a:p>
              </p:txBody>
            </p:sp>
          </p:grpSp>
          <p:sp>
            <p:nvSpPr>
              <p:cNvPr id="225" name="TextBox 224">
                <a:extLst>
                  <a:ext uri="{FF2B5EF4-FFF2-40B4-BE49-F238E27FC236}">
                    <a16:creationId xmlns:a16="http://schemas.microsoft.com/office/drawing/2014/main" id="{EA24CDA4-2E7C-49C7-A871-4ED565FA83B6}"/>
                  </a:ext>
                </a:extLst>
              </p:cNvPr>
              <p:cNvSpPr txBox="1"/>
              <p:nvPr/>
            </p:nvSpPr>
            <p:spPr>
              <a:xfrm>
                <a:off x="858826" y="4726587"/>
                <a:ext cx="800574" cy="461664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800" dirty="0"/>
                  <a:t>Standard Database Service</a:t>
                </a:r>
              </a:p>
            </p:txBody>
          </p:sp>
        </p:grpSp>
        <p:sp>
          <p:nvSpPr>
            <p:cNvPr id="247" name="Rectangle 246">
              <a:extLst>
                <a:ext uri="{FF2B5EF4-FFF2-40B4-BE49-F238E27FC236}">
                  <a16:creationId xmlns:a16="http://schemas.microsoft.com/office/drawing/2014/main" id="{C0D777DE-C02B-4B51-901E-F33C7C6FF88A}"/>
                </a:ext>
              </a:extLst>
            </p:cNvPr>
            <p:cNvSpPr/>
            <p:nvPr/>
          </p:nvSpPr>
          <p:spPr>
            <a:xfrm>
              <a:off x="1723388" y="4774451"/>
              <a:ext cx="1463040" cy="9144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252" name="TextBox 251">
            <a:extLst>
              <a:ext uri="{FF2B5EF4-FFF2-40B4-BE49-F238E27FC236}">
                <a16:creationId xmlns:a16="http://schemas.microsoft.com/office/drawing/2014/main" id="{4B6700AC-802B-430B-9616-3B58F660DA23}"/>
              </a:ext>
            </a:extLst>
          </p:cNvPr>
          <p:cNvSpPr txBox="1"/>
          <p:nvPr/>
        </p:nvSpPr>
        <p:spPr>
          <a:xfrm>
            <a:off x="3526716" y="4397889"/>
            <a:ext cx="1524000" cy="252666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dirty="0">
                <a:solidFill>
                  <a:srgbClr val="594564"/>
                </a:solidFill>
                <a:latin typeface="Oracle Sans" panose="020B0503020204020204" pitchFamily="34" charset="0"/>
              </a:rPr>
              <a:t>01001010110</a:t>
            </a:r>
            <a:br>
              <a:rPr lang="en-US" dirty="0">
                <a:solidFill>
                  <a:srgbClr val="594564"/>
                </a:solidFill>
                <a:latin typeface="Oracle Sans" panose="020B0503020204020204" pitchFamily="34" charset="0"/>
              </a:rPr>
            </a:br>
            <a:endParaRPr lang="en-US" dirty="0">
              <a:solidFill>
                <a:srgbClr val="594564"/>
              </a:solidFill>
              <a:latin typeface="Oracle Sans" panose="020B0503020204020204" pitchFamily="34" charset="0"/>
            </a:endParaRPr>
          </a:p>
        </p:txBody>
      </p:sp>
      <p:sp>
        <p:nvSpPr>
          <p:cNvPr id="253" name="TextBox 252">
            <a:extLst>
              <a:ext uri="{FF2B5EF4-FFF2-40B4-BE49-F238E27FC236}">
                <a16:creationId xmlns:a16="http://schemas.microsoft.com/office/drawing/2014/main" id="{3679F47A-35D8-4A1B-BC5F-E864987A2521}"/>
              </a:ext>
            </a:extLst>
          </p:cNvPr>
          <p:cNvSpPr txBox="1"/>
          <p:nvPr/>
        </p:nvSpPr>
        <p:spPr>
          <a:xfrm>
            <a:off x="3526716" y="4396109"/>
            <a:ext cx="1524000" cy="252666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dirty="0">
                <a:solidFill>
                  <a:srgbClr val="759C6C"/>
                </a:solidFill>
                <a:latin typeface="Oracle Sans" panose="020B0503020204020204" pitchFamily="34" charset="0"/>
              </a:rPr>
              <a:t>01001010110</a:t>
            </a:r>
          </a:p>
        </p:txBody>
      </p:sp>
      <p:sp>
        <p:nvSpPr>
          <p:cNvPr id="254" name="Trapezoid 253">
            <a:extLst>
              <a:ext uri="{FF2B5EF4-FFF2-40B4-BE49-F238E27FC236}">
                <a16:creationId xmlns:a16="http://schemas.microsoft.com/office/drawing/2014/main" id="{BB3C33D7-AA3B-401B-8856-B01293BCC82F}"/>
              </a:ext>
            </a:extLst>
          </p:cNvPr>
          <p:cNvSpPr/>
          <p:nvPr/>
        </p:nvSpPr>
        <p:spPr>
          <a:xfrm rot="16200000">
            <a:off x="-549656" y="2955493"/>
            <a:ext cx="4007663" cy="1143000"/>
          </a:xfrm>
          <a:prstGeom prst="trapezoid">
            <a:avLst>
              <a:gd name="adj" fmla="val 130945"/>
            </a:avLst>
          </a:prstGeom>
          <a:gradFill flip="none" rotWithShape="1">
            <a:gsLst>
              <a:gs pos="0">
                <a:schemeClr val="accent6"/>
              </a:gs>
              <a:gs pos="100000">
                <a:schemeClr val="accent4"/>
              </a:gs>
            </a:gsLst>
            <a:lin ang="5400000" scaled="0"/>
          </a:gra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6" tIns="45719" rIns="91436" bIns="4571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>
              <a:solidFill>
                <a:srgbClr val="FFFFFF"/>
              </a:solidFill>
              <a:latin typeface="Oracle Sans" panose="020B0503020204020204" pitchFamily="34" charset="0"/>
            </a:endParaRPr>
          </a:p>
        </p:txBody>
      </p:sp>
      <p:sp>
        <p:nvSpPr>
          <p:cNvPr id="255" name="Oval 254">
            <a:extLst>
              <a:ext uri="{FF2B5EF4-FFF2-40B4-BE49-F238E27FC236}">
                <a16:creationId xmlns:a16="http://schemas.microsoft.com/office/drawing/2014/main" id="{FA60A15A-DC14-407E-AF2D-065DC6AE0B3D}"/>
              </a:ext>
            </a:extLst>
          </p:cNvPr>
          <p:cNvSpPr/>
          <p:nvPr/>
        </p:nvSpPr>
        <p:spPr>
          <a:xfrm>
            <a:off x="223457" y="2940023"/>
            <a:ext cx="1447800" cy="1447800"/>
          </a:xfrm>
          <a:prstGeom prst="ellipse">
            <a:avLst/>
          </a:prstGeom>
          <a:blipFill dpi="0" rotWithShape="1">
            <a:blip r:embed="rId9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 w="19050">
            <a:noFill/>
            <a:miter lim="800000"/>
          </a:ln>
          <a:effectLst>
            <a:outerShdw blurRad="2413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6" tIns="45719" rIns="91436" bIns="4571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>
              <a:solidFill>
                <a:srgbClr val="FFFFFF"/>
              </a:solidFill>
              <a:latin typeface="Oracle Sans" panose="020B0503020204020204" pitchFamily="34" charset="0"/>
            </a:endParaRPr>
          </a:p>
        </p:txBody>
      </p:sp>
      <p:sp>
        <p:nvSpPr>
          <p:cNvPr id="256" name="TextBox 255">
            <a:extLst>
              <a:ext uri="{FF2B5EF4-FFF2-40B4-BE49-F238E27FC236}">
                <a16:creationId xmlns:a16="http://schemas.microsoft.com/office/drawing/2014/main" id="{39BD48C3-D7D8-46D4-AE9C-DA4188E23326}"/>
              </a:ext>
            </a:extLst>
          </p:cNvPr>
          <p:cNvSpPr txBox="1"/>
          <p:nvPr/>
        </p:nvSpPr>
        <p:spPr>
          <a:xfrm>
            <a:off x="147258" y="4616423"/>
            <a:ext cx="1600201" cy="5334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b="1">
                <a:solidFill>
                  <a:srgbClr val="5F5F5F"/>
                </a:solidFill>
              </a:rPr>
              <a:t>Time</a:t>
            </a:r>
            <a:br>
              <a:rPr lang="en-US" sz="1600" b="1">
                <a:solidFill>
                  <a:srgbClr val="5F5F5F"/>
                </a:solidFill>
              </a:rPr>
            </a:br>
            <a:r>
              <a:rPr lang="en-US" sz="1600" b="1">
                <a:solidFill>
                  <a:srgbClr val="5F5F5F"/>
                </a:solidFill>
              </a:rPr>
              <a:t>Machine</a:t>
            </a:r>
          </a:p>
        </p:txBody>
      </p:sp>
      <p:sp>
        <p:nvSpPr>
          <p:cNvPr id="257" name="Oval 256">
            <a:extLst>
              <a:ext uri="{FF2B5EF4-FFF2-40B4-BE49-F238E27FC236}">
                <a16:creationId xmlns:a16="http://schemas.microsoft.com/office/drawing/2014/main" id="{F7DE44D5-B1D9-494A-AD96-AF4ABDAC68E2}"/>
              </a:ext>
            </a:extLst>
          </p:cNvPr>
          <p:cNvSpPr/>
          <p:nvPr/>
        </p:nvSpPr>
        <p:spPr>
          <a:xfrm>
            <a:off x="363455" y="3081790"/>
            <a:ext cx="1143000" cy="1143000"/>
          </a:xfrm>
          <a:prstGeom prst="ellipse">
            <a:avLst/>
          </a:prstGeom>
          <a:solidFill>
            <a:schemeClr val="tx2"/>
          </a:solidFill>
          <a:ln w="19050">
            <a:noFill/>
            <a:miter lim="800000"/>
          </a:ln>
          <a:scene3d>
            <a:camera prst="orthographicFront"/>
            <a:lightRig rig="threePt" dir="t"/>
          </a:scene3d>
          <a:sp3d>
            <a:bevelT w="527050" h="28575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6" tIns="45719" rIns="91436" bIns="4571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>
              <a:solidFill>
                <a:srgbClr val="FFFFFF"/>
              </a:solidFill>
              <a:latin typeface="Oracle Sans" panose="020B0503020204020204" pitchFamily="34" charset="0"/>
            </a:endParaRPr>
          </a:p>
        </p:txBody>
      </p:sp>
      <p:sp>
        <p:nvSpPr>
          <p:cNvPr id="258" name="Oval 257">
            <a:extLst>
              <a:ext uri="{FF2B5EF4-FFF2-40B4-BE49-F238E27FC236}">
                <a16:creationId xmlns:a16="http://schemas.microsoft.com/office/drawing/2014/main" id="{CACE86D4-711E-4723-ABB7-3C41724DEA02}"/>
              </a:ext>
            </a:extLst>
          </p:cNvPr>
          <p:cNvSpPr/>
          <p:nvPr/>
        </p:nvSpPr>
        <p:spPr>
          <a:xfrm>
            <a:off x="363455" y="3081790"/>
            <a:ext cx="1143000" cy="1143000"/>
          </a:xfrm>
          <a:prstGeom prst="ellipse">
            <a:avLst/>
          </a:prstGeom>
          <a:solidFill>
            <a:schemeClr val="tx2"/>
          </a:solidFill>
          <a:ln w="19050">
            <a:noFill/>
            <a:miter lim="800000"/>
          </a:ln>
          <a:effectLst>
            <a:glow rad="241300">
              <a:schemeClr val="bg1">
                <a:alpha val="60000"/>
              </a:schemeClr>
            </a:glow>
          </a:effectLst>
          <a:scene3d>
            <a:camera prst="orthographicFront"/>
            <a:lightRig rig="threePt" dir="t"/>
          </a:scene3d>
          <a:sp3d>
            <a:bevelT w="527050" h="28575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6" tIns="45719" rIns="91436" bIns="4571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>
              <a:solidFill>
                <a:srgbClr val="FFFFFF"/>
              </a:solidFill>
              <a:latin typeface="Oracle Sans" panose="020B0503020204020204" pitchFamily="34" charset="0"/>
            </a:endParaRPr>
          </a:p>
        </p:txBody>
      </p:sp>
      <p:sp>
        <p:nvSpPr>
          <p:cNvPr id="259" name="Arc 258">
            <a:extLst>
              <a:ext uri="{FF2B5EF4-FFF2-40B4-BE49-F238E27FC236}">
                <a16:creationId xmlns:a16="http://schemas.microsoft.com/office/drawing/2014/main" id="{517316E2-D960-4DF0-9273-68CD0A1C074F}"/>
              </a:ext>
            </a:extLst>
          </p:cNvPr>
          <p:cNvSpPr/>
          <p:nvPr/>
        </p:nvSpPr>
        <p:spPr>
          <a:xfrm>
            <a:off x="593823" y="3310390"/>
            <a:ext cx="685800" cy="685800"/>
          </a:xfrm>
          <a:prstGeom prst="arc">
            <a:avLst>
              <a:gd name="adj1" fmla="val 15006169"/>
              <a:gd name="adj2" fmla="val 12876854"/>
            </a:avLst>
          </a:prstGeom>
          <a:ln w="76200">
            <a:solidFill>
              <a:schemeClr val="bg1"/>
            </a:solidFill>
            <a:miter lim="800000"/>
            <a:headEnd type="none" w="med" len="med"/>
            <a:tailEnd type="triangle" w="med" len="med"/>
          </a:ln>
          <a:effectLst>
            <a:glow rad="101600">
              <a:schemeClr val="accent4">
                <a:satMod val="175000"/>
                <a:alpha val="7000"/>
              </a:schemeClr>
            </a:glo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91436" tIns="45719" rIns="91436" bIns="45719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  <a:defRPr/>
            </a:pPr>
            <a:endParaRPr lang="en-US">
              <a:solidFill>
                <a:srgbClr val="5F5F5F"/>
              </a:solidFill>
              <a:latin typeface="Oracle Sans" panose="020B0503020204020204" pitchFamily="34" charset="0"/>
            </a:endParaRPr>
          </a:p>
        </p:txBody>
      </p:sp>
      <p:pic>
        <p:nvPicPr>
          <p:cNvPr id="260" name="Picture 259">
            <a:extLst>
              <a:ext uri="{FF2B5EF4-FFF2-40B4-BE49-F238E27FC236}">
                <a16:creationId xmlns:a16="http://schemas.microsoft.com/office/drawing/2014/main" id="{C730456B-A821-48E4-A73B-8C5977293177}"/>
              </a:ext>
            </a:extLst>
          </p:cNvPr>
          <p:cNvPicPr>
            <a:picLocks noChangeAspect="1"/>
          </p:cNvPicPr>
          <p:nvPr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8386" y="3266090"/>
            <a:ext cx="808070" cy="808071"/>
          </a:xfrm>
          <a:prstGeom prst="rect">
            <a:avLst/>
          </a:prstGeom>
        </p:spPr>
      </p:pic>
      <p:sp>
        <p:nvSpPr>
          <p:cNvPr id="5" name="Slide Number Placeholder 4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345D60D9-5372-5F40-9443-0F9AE5BDC3C8}" type="slidenum">
              <a:rPr lang="en-US" smtClean="0"/>
              <a:t>4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27736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1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7" dur="750"/>
                                        <p:tgtEl>
                                          <p:spTgt spid="25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750"/>
                                        <p:tgtEl>
                                          <p:spTgt spid="2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49" presetClass="entr" presetSubtype="0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" dur="750" fill="hold"/>
                                        <p:tgtEl>
                                          <p:spTgt spid="26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750" fill="hold"/>
                                        <p:tgtEl>
                                          <p:spTgt spid="26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750" fill="hold"/>
                                        <p:tgtEl>
                                          <p:spTgt spid="260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6" dur="750"/>
                                        <p:tgtEl>
                                          <p:spTgt spid="2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750"/>
                            </p:stCondLst>
                            <p:childTnLst>
                              <p:par>
                                <p:cTn id="18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0" dur="500"/>
                                        <p:tgtEl>
                                          <p:spTgt spid="2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grpId="2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42" presetClass="path" presetSubtype="0" accel="50000" decel="5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3.75E-6 2.96296E-6 L 0.15 2.96296E-6 " pathEditMode="relative" rAng="0" ptsTypes="AA">
                                      <p:cBhvr>
                                        <p:cTn id="27" dur="75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7500" y="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750"/>
                            </p:stCondLst>
                            <p:childTnLst>
                              <p:par>
                                <p:cTn id="29" presetID="10" presetClass="exit" presetSubtype="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0" dur="25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249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1000"/>
                            </p:stCondLst>
                            <p:childTnLst>
                              <p:par>
                                <p:cTn id="3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25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ntr" presetSubtype="0" fill="hold" grpId="2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3" fill="hold">
                            <p:stCondLst>
                              <p:cond delay="0"/>
                            </p:stCondLst>
                            <p:childTnLst>
                              <p:par>
                                <p:cTn id="44" presetID="42" presetClass="path" presetSubtype="0" accel="50000" decel="5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91667E-6 -7.40741E-7 L 0.15 -7.40741E-7 " pathEditMode="relative" rAng="0" ptsTypes="AA">
                                      <p:cBhvr>
                                        <p:cTn id="45" dur="750" fill="hold"/>
                                        <p:tgtEl>
                                          <p:spTgt spid="25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7500" y="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6" fill="hold">
                            <p:stCondLst>
                              <p:cond delay="750"/>
                            </p:stCondLst>
                            <p:childTnLst>
                              <p:par>
                                <p:cTn id="47" presetID="10" presetClass="exit" presetSubtype="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8" dur="250"/>
                                        <p:tgtEl>
                                          <p:spTgt spid="25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249"/>
                                          </p:stCondLst>
                                        </p:cTn>
                                        <p:tgtEl>
                                          <p:spTgt spid="2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0" fill="hold">
                            <p:stCondLst>
                              <p:cond delay="1000"/>
                            </p:stCondLst>
                            <p:childTnLst>
                              <p:par>
                                <p:cTn id="5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3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500"/>
                                        <p:tgtEl>
                                          <p:spTgt spid="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7" fill="hold">
                            <p:stCondLst>
                              <p:cond delay="1500"/>
                            </p:stCondLst>
                            <p:childTnLst>
                              <p:par>
                                <p:cTn id="58" presetID="1" presetClass="entr" presetSubtype="0" fill="hold" grpId="2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0" fill="hold">
                            <p:stCondLst>
                              <p:cond delay="2500"/>
                            </p:stCondLst>
                            <p:childTnLst>
                              <p:par>
                                <p:cTn id="61" presetID="42" presetClass="path" presetSubtype="0" accel="50000" decel="5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91667E-6 7.40741E-7 L 0.15 7.40741E-7 " pathEditMode="relative" rAng="0" ptsTypes="AA">
                                      <p:cBhvr>
                                        <p:cTn id="62" dur="750" fill="hold"/>
                                        <p:tgtEl>
                                          <p:spTgt spid="25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7500" y="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3" fill="hold">
                            <p:stCondLst>
                              <p:cond delay="3250"/>
                            </p:stCondLst>
                            <p:childTnLst>
                              <p:par>
                                <p:cTn id="64" presetID="10" presetClass="exit" presetSubtype="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5" dur="250"/>
                                        <p:tgtEl>
                                          <p:spTgt spid="25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249"/>
                                          </p:stCondLst>
                                        </p:cTn>
                                        <p:tgtEl>
                                          <p:spTgt spid="2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7" fill="hold">
                            <p:stCondLst>
                              <p:cond delay="3500"/>
                            </p:stCondLst>
                            <p:childTnLst>
                              <p:par>
                                <p:cTn id="68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0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3" dur="500"/>
                                        <p:tgtEl>
                                          <p:spTgt spid="9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4" fill="hold">
                            <p:stCondLst>
                              <p:cond delay="4000"/>
                            </p:stCondLst>
                            <p:childTnLst>
                              <p:par>
                                <p:cTn id="75" presetID="1" presetClass="entr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9" fill="hold">
                            <p:stCondLst>
                              <p:cond delay="4500"/>
                            </p:stCondLst>
                            <p:childTnLst>
                              <p:par>
                                <p:cTn id="80" presetID="64" presetClass="path" presetSubtype="0" accel="50000" decel="5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5E-6 -4.44444E-6 L 0.00065 -0.28842 " pathEditMode="relative" rAng="0" ptsTypes="AA">
                                      <p:cBhvr>
                                        <p:cTn id="81" dur="2000" fill="hold"/>
                                        <p:tgtEl>
                                          <p:spTgt spid="15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6" y="-14421"/>
                                    </p:animMotion>
                                  </p:childTnLst>
                                </p:cTn>
                              </p:par>
                              <p:par>
                                <p:cTn id="82" presetID="64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11022E-16 -4.44444E-6 L -0.08997 -0.28842 " pathEditMode="relative" rAng="0" ptsTypes="AA">
                                      <p:cBhvr>
                                        <p:cTn id="83" dur="2000" fill="hold"/>
                                        <p:tgtEl>
                                          <p:spTgt spid="18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4505" y="-14421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4" fill="hold">
                            <p:stCondLst>
                              <p:cond delay="6500"/>
                            </p:stCondLst>
                            <p:childTnLst>
                              <p:par>
                                <p:cTn id="85" presetID="1" presetClass="exit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7" fill="hold">
                            <p:stCondLst>
                              <p:cond delay="6500"/>
                            </p:stCondLst>
                            <p:childTnLst>
                              <p:par>
                                <p:cTn id="88" presetID="1" presetClass="exit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  <p:bldP spid="9" grpId="1"/>
      <p:bldP spid="9" grpId="2"/>
      <p:bldP spid="21" grpId="0"/>
      <p:bldP spid="22" grpId="0"/>
      <p:bldP spid="23" grpId="0"/>
      <p:bldP spid="252" grpId="0"/>
      <p:bldP spid="252" grpId="1"/>
      <p:bldP spid="252" grpId="2"/>
      <p:bldP spid="253" grpId="0"/>
      <p:bldP spid="253" grpId="1"/>
      <p:bldP spid="253" grpId="2"/>
      <p:bldP spid="254" grpId="0" animBg="1"/>
      <p:bldP spid="258" grpId="0" animBg="1"/>
      <p:bldP spid="259" grpId="0" animBg="1"/>
    </p:bld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9" name="Rectangle 338">
            <a:extLst>
              <a:ext uri="{FF2B5EF4-FFF2-40B4-BE49-F238E27FC236}">
                <a16:creationId xmlns:a16="http://schemas.microsoft.com/office/drawing/2014/main" id="{13B0CE96-42E2-4098-9132-C1ADC93C261B}"/>
              </a:ext>
            </a:extLst>
          </p:cNvPr>
          <p:cNvSpPr/>
          <p:nvPr/>
        </p:nvSpPr>
        <p:spPr>
          <a:xfrm>
            <a:off x="2039208" y="1523161"/>
            <a:ext cx="4999400" cy="4007662"/>
          </a:xfrm>
          <a:prstGeom prst="rect">
            <a:avLst/>
          </a:prstGeom>
          <a:solidFill>
            <a:schemeClr val="accent2">
              <a:alpha val="26000"/>
            </a:schemeClr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6" tIns="45719" rIns="91436" bIns="4571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b="1" dirty="0">
              <a:solidFill>
                <a:srgbClr val="41817E"/>
              </a:solidFill>
            </a:endParaRPr>
          </a:p>
        </p:txBody>
      </p:sp>
      <p:sp>
        <p:nvSpPr>
          <p:cNvPr id="340" name="Rectangle 339">
            <a:extLst>
              <a:ext uri="{FF2B5EF4-FFF2-40B4-BE49-F238E27FC236}">
                <a16:creationId xmlns:a16="http://schemas.microsoft.com/office/drawing/2014/main" id="{74B6D8B8-2BCC-4E2C-8ACA-F65AE3D0C555}"/>
              </a:ext>
            </a:extLst>
          </p:cNvPr>
          <p:cNvSpPr/>
          <p:nvPr/>
        </p:nvSpPr>
        <p:spPr>
          <a:xfrm>
            <a:off x="7092774" y="1523161"/>
            <a:ext cx="4724400" cy="4007662"/>
          </a:xfrm>
          <a:prstGeom prst="rect">
            <a:avLst/>
          </a:prstGeom>
          <a:solidFill>
            <a:schemeClr val="accent2">
              <a:alpha val="26000"/>
            </a:schemeClr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6" tIns="45719" rIns="91436" bIns="4571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026A9AB4-22A6-444D-8137-BE719F16AD7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Creation of virtual full backups eliminates multiple incremental restore &amp; apply cycles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3634E940-ED8C-47BF-A6A3-6831EB44C13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covery Service simplifies database restores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23C090C-8EDA-4141-9356-9EA9C40DBF3C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1199325" y="6421736"/>
            <a:ext cx="5745379" cy="365125"/>
          </a:xfrm>
        </p:spPr>
        <p:txBody>
          <a:bodyPr/>
          <a:lstStyle/>
          <a:p>
            <a:r>
              <a:rPr lang="en-US" smtClean="0"/>
              <a:t>Copyright © 2024, Oracle and/or its affiliates. All rights reserved   </a:t>
            </a:r>
            <a:endParaRPr lang="en-US" dirty="0"/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17713BB2-6373-443E-94E1-65A8DAAEF1D1}"/>
              </a:ext>
            </a:extLst>
          </p:cNvPr>
          <p:cNvGrpSpPr>
            <a:grpSpLocks noChangeAspect="1"/>
          </p:cNvGrpSpPr>
          <p:nvPr/>
        </p:nvGrpSpPr>
        <p:grpSpPr>
          <a:xfrm>
            <a:off x="5114764" y="3413753"/>
            <a:ext cx="1995143" cy="1995143"/>
            <a:chOff x="8428348" y="3608272"/>
            <a:chExt cx="2437447" cy="2437447"/>
          </a:xfrm>
          <a:solidFill>
            <a:schemeClr val="tx1"/>
          </a:solidFill>
        </p:grpSpPr>
        <p:pic>
          <p:nvPicPr>
            <p:cNvPr id="16" name="Picture Placeholder 48">
              <a:extLst>
                <a:ext uri="{FF2B5EF4-FFF2-40B4-BE49-F238E27FC236}">
                  <a16:creationId xmlns:a16="http://schemas.microsoft.com/office/drawing/2014/main" id="{84EBA798-4EC0-407D-B297-C05483EB14A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4"/>
                </a:ext>
              </a:extLst>
            </a:blip>
            <a:srcRect/>
            <a:stretch/>
          </p:blipFill>
          <p:spPr>
            <a:xfrm>
              <a:off x="8428348" y="3608272"/>
              <a:ext cx="2437447" cy="2437447"/>
            </a:xfrm>
            <a:prstGeom prst="rect">
              <a:avLst/>
            </a:prstGeom>
            <a:noFill/>
          </p:spPr>
        </p:pic>
        <p:sp>
          <p:nvSpPr>
            <p:cNvPr id="17" name="Picture Placeholder 39">
              <a:extLst>
                <a:ext uri="{FF2B5EF4-FFF2-40B4-BE49-F238E27FC236}">
                  <a16:creationId xmlns:a16="http://schemas.microsoft.com/office/drawing/2014/main" id="{F0B9AEE2-928B-479D-B269-163AA59495F9}"/>
                </a:ext>
              </a:extLst>
            </p:cNvPr>
            <p:cNvSpPr/>
            <p:nvPr/>
          </p:nvSpPr>
          <p:spPr>
            <a:xfrm>
              <a:off x="8766799" y="3782717"/>
              <a:ext cx="1897169" cy="833684"/>
            </a:xfrm>
            <a:custGeom>
              <a:avLst/>
              <a:gdLst>
                <a:gd name="connsiteX0" fmla="*/ 2018699 w 2074600"/>
                <a:gd name="connsiteY0" fmla="*/ 1012775 h 1036171"/>
                <a:gd name="connsiteX1" fmla="*/ 2005998 w 2074600"/>
                <a:gd name="connsiteY1" fmla="*/ 1036172 h 1036171"/>
                <a:gd name="connsiteX2" fmla="*/ 1071686 w 2074600"/>
                <a:gd name="connsiteY2" fmla="*/ 1036172 h 1036171"/>
                <a:gd name="connsiteX3" fmla="*/ 773655 w 2074600"/>
                <a:gd name="connsiteY3" fmla="*/ 735356 h 1036171"/>
                <a:gd name="connsiteX4" fmla="*/ 862785 w 2074600"/>
                <a:gd name="connsiteY4" fmla="*/ 735356 h 1036171"/>
                <a:gd name="connsiteX5" fmla="*/ 1071686 w 2074600"/>
                <a:gd name="connsiteY5" fmla="*/ 947041 h 1036171"/>
                <a:gd name="connsiteX6" fmla="*/ 1951851 w 2074600"/>
                <a:gd name="connsiteY6" fmla="*/ 947041 h 1036171"/>
                <a:gd name="connsiteX7" fmla="*/ 1808574 w 2074600"/>
                <a:gd name="connsiteY7" fmla="*/ 470526 h 1036171"/>
                <a:gd name="connsiteX8" fmla="*/ 1688693 w 2074600"/>
                <a:gd name="connsiteY8" fmla="*/ 421170 h 1036171"/>
                <a:gd name="connsiteX9" fmla="*/ 1523467 w 2074600"/>
                <a:gd name="connsiteY9" fmla="*/ 292710 h 1036171"/>
                <a:gd name="connsiteX10" fmla="*/ 1030329 w 2074600"/>
                <a:gd name="connsiteY10" fmla="*/ 127885 h 1036171"/>
                <a:gd name="connsiteX11" fmla="*/ 924954 w 2074600"/>
                <a:gd name="connsiteY11" fmla="*/ 206810 h 1036171"/>
                <a:gd name="connsiteX12" fmla="*/ 730203 w 2074600"/>
                <a:gd name="connsiteY12" fmla="*/ 279786 h 1036171"/>
                <a:gd name="connsiteX13" fmla="*/ 430613 w 2074600"/>
                <a:gd name="connsiteY13" fmla="*/ 503616 h 1036171"/>
                <a:gd name="connsiteX14" fmla="*/ 306053 w 2074600"/>
                <a:gd name="connsiteY14" fmla="*/ 669733 h 1036171"/>
                <a:gd name="connsiteX15" fmla="*/ 98824 w 2074600"/>
                <a:gd name="connsiteY15" fmla="*/ 947041 h 1036171"/>
                <a:gd name="connsiteX16" fmla="*/ 773655 w 2074600"/>
                <a:gd name="connsiteY16" fmla="*/ 947041 h 1036171"/>
                <a:gd name="connsiteX17" fmla="*/ 862228 w 2074600"/>
                <a:gd name="connsiteY17" fmla="*/ 1036172 h 1036171"/>
                <a:gd name="connsiteX18" fmla="*/ 0 w 2074600"/>
                <a:gd name="connsiteY18" fmla="*/ 1036172 h 1036171"/>
                <a:gd name="connsiteX19" fmla="*/ 3565 w 2074600"/>
                <a:gd name="connsiteY19" fmla="*/ 988264 h 1036171"/>
                <a:gd name="connsiteX20" fmla="*/ 264607 w 2074600"/>
                <a:gd name="connsiteY20" fmla="*/ 590518 h 1036171"/>
                <a:gd name="connsiteX21" fmla="*/ 342596 w 2074600"/>
                <a:gd name="connsiteY21" fmla="*/ 486124 h 1036171"/>
                <a:gd name="connsiteX22" fmla="*/ 737891 w 2074600"/>
                <a:gd name="connsiteY22" fmla="*/ 190655 h 1036171"/>
                <a:gd name="connsiteX23" fmla="*/ 858886 w 2074600"/>
                <a:gd name="connsiteY23" fmla="*/ 146090 h 1036171"/>
                <a:gd name="connsiteX24" fmla="*/ 1504437 w 2074600"/>
                <a:gd name="connsiteY24" fmla="*/ 121947 h 1036171"/>
                <a:gd name="connsiteX25" fmla="*/ 1602459 w 2074600"/>
                <a:gd name="connsiteY25" fmla="*/ 252824 h 1036171"/>
                <a:gd name="connsiteX26" fmla="*/ 1707076 w 2074600"/>
                <a:gd name="connsiteY26" fmla="*/ 334156 h 1036171"/>
                <a:gd name="connsiteX27" fmla="*/ 2063577 w 2074600"/>
                <a:gd name="connsiteY27" fmla="*/ 891680 h 1036171"/>
                <a:gd name="connsiteX28" fmla="*/ 2018699 w 2074600"/>
                <a:gd name="connsiteY28" fmla="*/ 1012775 h 1036171"/>
                <a:gd name="connsiteX0" fmla="*/ 2018699 w 2074600"/>
                <a:gd name="connsiteY0" fmla="*/ 1012775 h 1036172"/>
                <a:gd name="connsiteX1" fmla="*/ 2005998 w 2074600"/>
                <a:gd name="connsiteY1" fmla="*/ 1036172 h 1036172"/>
                <a:gd name="connsiteX2" fmla="*/ 1071686 w 2074600"/>
                <a:gd name="connsiteY2" fmla="*/ 1036172 h 1036172"/>
                <a:gd name="connsiteX3" fmla="*/ 773655 w 2074600"/>
                <a:gd name="connsiteY3" fmla="*/ 735356 h 1036172"/>
                <a:gd name="connsiteX4" fmla="*/ 862785 w 2074600"/>
                <a:gd name="connsiteY4" fmla="*/ 735356 h 1036172"/>
                <a:gd name="connsiteX5" fmla="*/ 1071686 w 2074600"/>
                <a:gd name="connsiteY5" fmla="*/ 947041 h 1036172"/>
                <a:gd name="connsiteX6" fmla="*/ 1951851 w 2074600"/>
                <a:gd name="connsiteY6" fmla="*/ 947041 h 1036172"/>
                <a:gd name="connsiteX7" fmla="*/ 1808574 w 2074600"/>
                <a:gd name="connsiteY7" fmla="*/ 470526 h 1036172"/>
                <a:gd name="connsiteX8" fmla="*/ 1688693 w 2074600"/>
                <a:gd name="connsiteY8" fmla="*/ 421170 h 1036172"/>
                <a:gd name="connsiteX9" fmla="*/ 1523467 w 2074600"/>
                <a:gd name="connsiteY9" fmla="*/ 292710 h 1036172"/>
                <a:gd name="connsiteX10" fmla="*/ 1030329 w 2074600"/>
                <a:gd name="connsiteY10" fmla="*/ 127885 h 1036172"/>
                <a:gd name="connsiteX11" fmla="*/ 924954 w 2074600"/>
                <a:gd name="connsiteY11" fmla="*/ 206810 h 1036172"/>
                <a:gd name="connsiteX12" fmla="*/ 730203 w 2074600"/>
                <a:gd name="connsiteY12" fmla="*/ 279786 h 1036172"/>
                <a:gd name="connsiteX13" fmla="*/ 430613 w 2074600"/>
                <a:gd name="connsiteY13" fmla="*/ 503616 h 1036172"/>
                <a:gd name="connsiteX14" fmla="*/ 306053 w 2074600"/>
                <a:gd name="connsiteY14" fmla="*/ 669733 h 1036172"/>
                <a:gd name="connsiteX15" fmla="*/ 98824 w 2074600"/>
                <a:gd name="connsiteY15" fmla="*/ 947041 h 1036172"/>
                <a:gd name="connsiteX16" fmla="*/ 570455 w 2074600"/>
                <a:gd name="connsiteY16" fmla="*/ 947041 h 1036172"/>
                <a:gd name="connsiteX17" fmla="*/ 862228 w 2074600"/>
                <a:gd name="connsiteY17" fmla="*/ 1036172 h 1036172"/>
                <a:gd name="connsiteX18" fmla="*/ 0 w 2074600"/>
                <a:gd name="connsiteY18" fmla="*/ 1036172 h 1036172"/>
                <a:gd name="connsiteX19" fmla="*/ 3565 w 2074600"/>
                <a:gd name="connsiteY19" fmla="*/ 988264 h 1036172"/>
                <a:gd name="connsiteX20" fmla="*/ 264607 w 2074600"/>
                <a:gd name="connsiteY20" fmla="*/ 590518 h 1036172"/>
                <a:gd name="connsiteX21" fmla="*/ 342596 w 2074600"/>
                <a:gd name="connsiteY21" fmla="*/ 486124 h 1036172"/>
                <a:gd name="connsiteX22" fmla="*/ 737891 w 2074600"/>
                <a:gd name="connsiteY22" fmla="*/ 190655 h 1036172"/>
                <a:gd name="connsiteX23" fmla="*/ 858886 w 2074600"/>
                <a:gd name="connsiteY23" fmla="*/ 146090 h 1036172"/>
                <a:gd name="connsiteX24" fmla="*/ 1504437 w 2074600"/>
                <a:gd name="connsiteY24" fmla="*/ 121947 h 1036172"/>
                <a:gd name="connsiteX25" fmla="*/ 1602459 w 2074600"/>
                <a:gd name="connsiteY25" fmla="*/ 252824 h 1036172"/>
                <a:gd name="connsiteX26" fmla="*/ 1707076 w 2074600"/>
                <a:gd name="connsiteY26" fmla="*/ 334156 h 1036172"/>
                <a:gd name="connsiteX27" fmla="*/ 2063577 w 2074600"/>
                <a:gd name="connsiteY27" fmla="*/ 891680 h 1036172"/>
                <a:gd name="connsiteX28" fmla="*/ 2018699 w 2074600"/>
                <a:gd name="connsiteY28" fmla="*/ 1012775 h 1036172"/>
                <a:gd name="connsiteX0" fmla="*/ 2018699 w 2074600"/>
                <a:gd name="connsiteY0" fmla="*/ 1012775 h 1039251"/>
                <a:gd name="connsiteX1" fmla="*/ 2005998 w 2074600"/>
                <a:gd name="connsiteY1" fmla="*/ 1036172 h 1039251"/>
                <a:gd name="connsiteX2" fmla="*/ 1071686 w 2074600"/>
                <a:gd name="connsiteY2" fmla="*/ 1036172 h 1039251"/>
                <a:gd name="connsiteX3" fmla="*/ 773655 w 2074600"/>
                <a:gd name="connsiteY3" fmla="*/ 735356 h 1039251"/>
                <a:gd name="connsiteX4" fmla="*/ 862785 w 2074600"/>
                <a:gd name="connsiteY4" fmla="*/ 735356 h 1039251"/>
                <a:gd name="connsiteX5" fmla="*/ 1071686 w 2074600"/>
                <a:gd name="connsiteY5" fmla="*/ 947041 h 1039251"/>
                <a:gd name="connsiteX6" fmla="*/ 1951851 w 2074600"/>
                <a:gd name="connsiteY6" fmla="*/ 947041 h 1039251"/>
                <a:gd name="connsiteX7" fmla="*/ 1808574 w 2074600"/>
                <a:gd name="connsiteY7" fmla="*/ 470526 h 1039251"/>
                <a:gd name="connsiteX8" fmla="*/ 1688693 w 2074600"/>
                <a:gd name="connsiteY8" fmla="*/ 421170 h 1039251"/>
                <a:gd name="connsiteX9" fmla="*/ 1523467 w 2074600"/>
                <a:gd name="connsiteY9" fmla="*/ 292710 h 1039251"/>
                <a:gd name="connsiteX10" fmla="*/ 1030329 w 2074600"/>
                <a:gd name="connsiteY10" fmla="*/ 127885 h 1039251"/>
                <a:gd name="connsiteX11" fmla="*/ 924954 w 2074600"/>
                <a:gd name="connsiteY11" fmla="*/ 206810 h 1039251"/>
                <a:gd name="connsiteX12" fmla="*/ 730203 w 2074600"/>
                <a:gd name="connsiteY12" fmla="*/ 279786 h 1039251"/>
                <a:gd name="connsiteX13" fmla="*/ 430613 w 2074600"/>
                <a:gd name="connsiteY13" fmla="*/ 503616 h 1039251"/>
                <a:gd name="connsiteX14" fmla="*/ 306053 w 2074600"/>
                <a:gd name="connsiteY14" fmla="*/ 669733 h 1039251"/>
                <a:gd name="connsiteX15" fmla="*/ 98824 w 2074600"/>
                <a:gd name="connsiteY15" fmla="*/ 947041 h 1039251"/>
                <a:gd name="connsiteX16" fmla="*/ 570455 w 2074600"/>
                <a:gd name="connsiteY16" fmla="*/ 947041 h 1039251"/>
                <a:gd name="connsiteX17" fmla="*/ 588216 w 2074600"/>
                <a:gd name="connsiteY17" fmla="*/ 1039251 h 1039251"/>
                <a:gd name="connsiteX18" fmla="*/ 0 w 2074600"/>
                <a:gd name="connsiteY18" fmla="*/ 1036172 h 1039251"/>
                <a:gd name="connsiteX19" fmla="*/ 3565 w 2074600"/>
                <a:gd name="connsiteY19" fmla="*/ 988264 h 1039251"/>
                <a:gd name="connsiteX20" fmla="*/ 264607 w 2074600"/>
                <a:gd name="connsiteY20" fmla="*/ 590518 h 1039251"/>
                <a:gd name="connsiteX21" fmla="*/ 342596 w 2074600"/>
                <a:gd name="connsiteY21" fmla="*/ 486124 h 1039251"/>
                <a:gd name="connsiteX22" fmla="*/ 737891 w 2074600"/>
                <a:gd name="connsiteY22" fmla="*/ 190655 h 1039251"/>
                <a:gd name="connsiteX23" fmla="*/ 858886 w 2074600"/>
                <a:gd name="connsiteY23" fmla="*/ 146090 h 1039251"/>
                <a:gd name="connsiteX24" fmla="*/ 1504437 w 2074600"/>
                <a:gd name="connsiteY24" fmla="*/ 121947 h 1039251"/>
                <a:gd name="connsiteX25" fmla="*/ 1602459 w 2074600"/>
                <a:gd name="connsiteY25" fmla="*/ 252824 h 1039251"/>
                <a:gd name="connsiteX26" fmla="*/ 1707076 w 2074600"/>
                <a:gd name="connsiteY26" fmla="*/ 334156 h 1039251"/>
                <a:gd name="connsiteX27" fmla="*/ 2063577 w 2074600"/>
                <a:gd name="connsiteY27" fmla="*/ 891680 h 1039251"/>
                <a:gd name="connsiteX28" fmla="*/ 2018699 w 2074600"/>
                <a:gd name="connsiteY28" fmla="*/ 1012775 h 1039251"/>
                <a:gd name="connsiteX0" fmla="*/ 2018699 w 2074600"/>
                <a:gd name="connsiteY0" fmla="*/ 1012775 h 1036172"/>
                <a:gd name="connsiteX1" fmla="*/ 2005998 w 2074600"/>
                <a:gd name="connsiteY1" fmla="*/ 1036172 h 1036172"/>
                <a:gd name="connsiteX2" fmla="*/ 1071686 w 2074600"/>
                <a:gd name="connsiteY2" fmla="*/ 1036172 h 1036172"/>
                <a:gd name="connsiteX3" fmla="*/ 773655 w 2074600"/>
                <a:gd name="connsiteY3" fmla="*/ 735356 h 1036172"/>
                <a:gd name="connsiteX4" fmla="*/ 862785 w 2074600"/>
                <a:gd name="connsiteY4" fmla="*/ 735356 h 1036172"/>
                <a:gd name="connsiteX5" fmla="*/ 1071686 w 2074600"/>
                <a:gd name="connsiteY5" fmla="*/ 947041 h 1036172"/>
                <a:gd name="connsiteX6" fmla="*/ 1951851 w 2074600"/>
                <a:gd name="connsiteY6" fmla="*/ 947041 h 1036172"/>
                <a:gd name="connsiteX7" fmla="*/ 1808574 w 2074600"/>
                <a:gd name="connsiteY7" fmla="*/ 470526 h 1036172"/>
                <a:gd name="connsiteX8" fmla="*/ 1688693 w 2074600"/>
                <a:gd name="connsiteY8" fmla="*/ 421170 h 1036172"/>
                <a:gd name="connsiteX9" fmla="*/ 1523467 w 2074600"/>
                <a:gd name="connsiteY9" fmla="*/ 292710 h 1036172"/>
                <a:gd name="connsiteX10" fmla="*/ 1030329 w 2074600"/>
                <a:gd name="connsiteY10" fmla="*/ 127885 h 1036172"/>
                <a:gd name="connsiteX11" fmla="*/ 924954 w 2074600"/>
                <a:gd name="connsiteY11" fmla="*/ 206810 h 1036172"/>
                <a:gd name="connsiteX12" fmla="*/ 730203 w 2074600"/>
                <a:gd name="connsiteY12" fmla="*/ 279786 h 1036172"/>
                <a:gd name="connsiteX13" fmla="*/ 430613 w 2074600"/>
                <a:gd name="connsiteY13" fmla="*/ 503616 h 1036172"/>
                <a:gd name="connsiteX14" fmla="*/ 306053 w 2074600"/>
                <a:gd name="connsiteY14" fmla="*/ 669733 h 1036172"/>
                <a:gd name="connsiteX15" fmla="*/ 98824 w 2074600"/>
                <a:gd name="connsiteY15" fmla="*/ 947041 h 1036172"/>
                <a:gd name="connsiteX16" fmla="*/ 570455 w 2074600"/>
                <a:gd name="connsiteY16" fmla="*/ 947041 h 1036172"/>
                <a:gd name="connsiteX17" fmla="*/ 582058 w 2074600"/>
                <a:gd name="connsiteY17" fmla="*/ 1033094 h 1036172"/>
                <a:gd name="connsiteX18" fmla="*/ 0 w 2074600"/>
                <a:gd name="connsiteY18" fmla="*/ 1036172 h 1036172"/>
                <a:gd name="connsiteX19" fmla="*/ 3565 w 2074600"/>
                <a:gd name="connsiteY19" fmla="*/ 988264 h 1036172"/>
                <a:gd name="connsiteX20" fmla="*/ 264607 w 2074600"/>
                <a:gd name="connsiteY20" fmla="*/ 590518 h 1036172"/>
                <a:gd name="connsiteX21" fmla="*/ 342596 w 2074600"/>
                <a:gd name="connsiteY21" fmla="*/ 486124 h 1036172"/>
                <a:gd name="connsiteX22" fmla="*/ 737891 w 2074600"/>
                <a:gd name="connsiteY22" fmla="*/ 190655 h 1036172"/>
                <a:gd name="connsiteX23" fmla="*/ 858886 w 2074600"/>
                <a:gd name="connsiteY23" fmla="*/ 146090 h 1036172"/>
                <a:gd name="connsiteX24" fmla="*/ 1504437 w 2074600"/>
                <a:gd name="connsiteY24" fmla="*/ 121947 h 1036172"/>
                <a:gd name="connsiteX25" fmla="*/ 1602459 w 2074600"/>
                <a:gd name="connsiteY25" fmla="*/ 252824 h 1036172"/>
                <a:gd name="connsiteX26" fmla="*/ 1707076 w 2074600"/>
                <a:gd name="connsiteY26" fmla="*/ 334156 h 1036172"/>
                <a:gd name="connsiteX27" fmla="*/ 2063577 w 2074600"/>
                <a:gd name="connsiteY27" fmla="*/ 891680 h 1036172"/>
                <a:gd name="connsiteX28" fmla="*/ 2018699 w 2074600"/>
                <a:gd name="connsiteY28" fmla="*/ 1012775 h 1036172"/>
                <a:gd name="connsiteX0" fmla="*/ 2018699 w 2074600"/>
                <a:gd name="connsiteY0" fmla="*/ 1012775 h 1036172"/>
                <a:gd name="connsiteX1" fmla="*/ 2005998 w 2074600"/>
                <a:gd name="connsiteY1" fmla="*/ 1036172 h 1036172"/>
                <a:gd name="connsiteX2" fmla="*/ 1071686 w 2074600"/>
                <a:gd name="connsiteY2" fmla="*/ 1036172 h 1036172"/>
                <a:gd name="connsiteX3" fmla="*/ 773655 w 2074600"/>
                <a:gd name="connsiteY3" fmla="*/ 735356 h 1036172"/>
                <a:gd name="connsiteX4" fmla="*/ 862785 w 2074600"/>
                <a:gd name="connsiteY4" fmla="*/ 735356 h 1036172"/>
                <a:gd name="connsiteX5" fmla="*/ 1071686 w 2074600"/>
                <a:gd name="connsiteY5" fmla="*/ 947041 h 1036172"/>
                <a:gd name="connsiteX6" fmla="*/ 1951851 w 2074600"/>
                <a:gd name="connsiteY6" fmla="*/ 947041 h 1036172"/>
                <a:gd name="connsiteX7" fmla="*/ 1808574 w 2074600"/>
                <a:gd name="connsiteY7" fmla="*/ 470526 h 1036172"/>
                <a:gd name="connsiteX8" fmla="*/ 1688693 w 2074600"/>
                <a:gd name="connsiteY8" fmla="*/ 421170 h 1036172"/>
                <a:gd name="connsiteX9" fmla="*/ 1523467 w 2074600"/>
                <a:gd name="connsiteY9" fmla="*/ 292710 h 1036172"/>
                <a:gd name="connsiteX10" fmla="*/ 1030329 w 2074600"/>
                <a:gd name="connsiteY10" fmla="*/ 127885 h 1036172"/>
                <a:gd name="connsiteX11" fmla="*/ 924954 w 2074600"/>
                <a:gd name="connsiteY11" fmla="*/ 206810 h 1036172"/>
                <a:gd name="connsiteX12" fmla="*/ 730203 w 2074600"/>
                <a:gd name="connsiteY12" fmla="*/ 279786 h 1036172"/>
                <a:gd name="connsiteX13" fmla="*/ 430613 w 2074600"/>
                <a:gd name="connsiteY13" fmla="*/ 503616 h 1036172"/>
                <a:gd name="connsiteX14" fmla="*/ 306053 w 2074600"/>
                <a:gd name="connsiteY14" fmla="*/ 669733 h 1036172"/>
                <a:gd name="connsiteX15" fmla="*/ 98824 w 2074600"/>
                <a:gd name="connsiteY15" fmla="*/ 947041 h 1036172"/>
                <a:gd name="connsiteX16" fmla="*/ 570455 w 2074600"/>
                <a:gd name="connsiteY16" fmla="*/ 947041 h 1036172"/>
                <a:gd name="connsiteX17" fmla="*/ 582058 w 2074600"/>
                <a:gd name="connsiteY17" fmla="*/ 1033094 h 1036172"/>
                <a:gd name="connsiteX18" fmla="*/ 0 w 2074600"/>
                <a:gd name="connsiteY18" fmla="*/ 1036172 h 1036172"/>
                <a:gd name="connsiteX19" fmla="*/ 3565 w 2074600"/>
                <a:gd name="connsiteY19" fmla="*/ 988264 h 1036172"/>
                <a:gd name="connsiteX20" fmla="*/ 264607 w 2074600"/>
                <a:gd name="connsiteY20" fmla="*/ 590518 h 1036172"/>
                <a:gd name="connsiteX21" fmla="*/ 342596 w 2074600"/>
                <a:gd name="connsiteY21" fmla="*/ 486124 h 1036172"/>
                <a:gd name="connsiteX22" fmla="*/ 737891 w 2074600"/>
                <a:gd name="connsiteY22" fmla="*/ 190655 h 1036172"/>
                <a:gd name="connsiteX23" fmla="*/ 858886 w 2074600"/>
                <a:gd name="connsiteY23" fmla="*/ 146090 h 1036172"/>
                <a:gd name="connsiteX24" fmla="*/ 1504437 w 2074600"/>
                <a:gd name="connsiteY24" fmla="*/ 121947 h 1036172"/>
                <a:gd name="connsiteX25" fmla="*/ 1602459 w 2074600"/>
                <a:gd name="connsiteY25" fmla="*/ 252824 h 1036172"/>
                <a:gd name="connsiteX26" fmla="*/ 1707076 w 2074600"/>
                <a:gd name="connsiteY26" fmla="*/ 334156 h 1036172"/>
                <a:gd name="connsiteX27" fmla="*/ 2063577 w 2074600"/>
                <a:gd name="connsiteY27" fmla="*/ 891680 h 1036172"/>
                <a:gd name="connsiteX28" fmla="*/ 2018699 w 2074600"/>
                <a:gd name="connsiteY28" fmla="*/ 1012775 h 1036172"/>
                <a:gd name="connsiteX0" fmla="*/ 2018699 w 2074600"/>
                <a:gd name="connsiteY0" fmla="*/ 1012775 h 1036172"/>
                <a:gd name="connsiteX1" fmla="*/ 2005998 w 2074600"/>
                <a:gd name="connsiteY1" fmla="*/ 1036172 h 1036172"/>
                <a:gd name="connsiteX2" fmla="*/ 1071686 w 2074600"/>
                <a:gd name="connsiteY2" fmla="*/ 1036172 h 1036172"/>
                <a:gd name="connsiteX3" fmla="*/ 773655 w 2074600"/>
                <a:gd name="connsiteY3" fmla="*/ 735356 h 1036172"/>
                <a:gd name="connsiteX4" fmla="*/ 862785 w 2074600"/>
                <a:gd name="connsiteY4" fmla="*/ 735356 h 1036172"/>
                <a:gd name="connsiteX5" fmla="*/ 1071686 w 2074600"/>
                <a:gd name="connsiteY5" fmla="*/ 947041 h 1036172"/>
                <a:gd name="connsiteX6" fmla="*/ 1951851 w 2074600"/>
                <a:gd name="connsiteY6" fmla="*/ 947041 h 1036172"/>
                <a:gd name="connsiteX7" fmla="*/ 1808574 w 2074600"/>
                <a:gd name="connsiteY7" fmla="*/ 470526 h 1036172"/>
                <a:gd name="connsiteX8" fmla="*/ 1688693 w 2074600"/>
                <a:gd name="connsiteY8" fmla="*/ 421170 h 1036172"/>
                <a:gd name="connsiteX9" fmla="*/ 1523467 w 2074600"/>
                <a:gd name="connsiteY9" fmla="*/ 292710 h 1036172"/>
                <a:gd name="connsiteX10" fmla="*/ 1030329 w 2074600"/>
                <a:gd name="connsiteY10" fmla="*/ 127885 h 1036172"/>
                <a:gd name="connsiteX11" fmla="*/ 924954 w 2074600"/>
                <a:gd name="connsiteY11" fmla="*/ 206810 h 1036172"/>
                <a:gd name="connsiteX12" fmla="*/ 730203 w 2074600"/>
                <a:gd name="connsiteY12" fmla="*/ 279786 h 1036172"/>
                <a:gd name="connsiteX13" fmla="*/ 430613 w 2074600"/>
                <a:gd name="connsiteY13" fmla="*/ 503616 h 1036172"/>
                <a:gd name="connsiteX14" fmla="*/ 306053 w 2074600"/>
                <a:gd name="connsiteY14" fmla="*/ 669733 h 1036172"/>
                <a:gd name="connsiteX15" fmla="*/ 98824 w 2074600"/>
                <a:gd name="connsiteY15" fmla="*/ 947041 h 1036172"/>
                <a:gd name="connsiteX16" fmla="*/ 570455 w 2074600"/>
                <a:gd name="connsiteY16" fmla="*/ 947041 h 1036172"/>
                <a:gd name="connsiteX17" fmla="*/ 557428 w 2074600"/>
                <a:gd name="connsiteY17" fmla="*/ 1033094 h 1036172"/>
                <a:gd name="connsiteX18" fmla="*/ 0 w 2074600"/>
                <a:gd name="connsiteY18" fmla="*/ 1036172 h 1036172"/>
                <a:gd name="connsiteX19" fmla="*/ 3565 w 2074600"/>
                <a:gd name="connsiteY19" fmla="*/ 988264 h 1036172"/>
                <a:gd name="connsiteX20" fmla="*/ 264607 w 2074600"/>
                <a:gd name="connsiteY20" fmla="*/ 590518 h 1036172"/>
                <a:gd name="connsiteX21" fmla="*/ 342596 w 2074600"/>
                <a:gd name="connsiteY21" fmla="*/ 486124 h 1036172"/>
                <a:gd name="connsiteX22" fmla="*/ 737891 w 2074600"/>
                <a:gd name="connsiteY22" fmla="*/ 190655 h 1036172"/>
                <a:gd name="connsiteX23" fmla="*/ 858886 w 2074600"/>
                <a:gd name="connsiteY23" fmla="*/ 146090 h 1036172"/>
                <a:gd name="connsiteX24" fmla="*/ 1504437 w 2074600"/>
                <a:gd name="connsiteY24" fmla="*/ 121947 h 1036172"/>
                <a:gd name="connsiteX25" fmla="*/ 1602459 w 2074600"/>
                <a:gd name="connsiteY25" fmla="*/ 252824 h 1036172"/>
                <a:gd name="connsiteX26" fmla="*/ 1707076 w 2074600"/>
                <a:gd name="connsiteY26" fmla="*/ 334156 h 1036172"/>
                <a:gd name="connsiteX27" fmla="*/ 2063577 w 2074600"/>
                <a:gd name="connsiteY27" fmla="*/ 891680 h 1036172"/>
                <a:gd name="connsiteX28" fmla="*/ 2018699 w 2074600"/>
                <a:gd name="connsiteY28" fmla="*/ 1012775 h 1036172"/>
                <a:gd name="connsiteX0" fmla="*/ 2018699 w 2074600"/>
                <a:gd name="connsiteY0" fmla="*/ 1012775 h 1036172"/>
                <a:gd name="connsiteX1" fmla="*/ 2005998 w 2074600"/>
                <a:gd name="connsiteY1" fmla="*/ 1036172 h 1036172"/>
                <a:gd name="connsiteX2" fmla="*/ 1071686 w 2074600"/>
                <a:gd name="connsiteY2" fmla="*/ 1036172 h 1036172"/>
                <a:gd name="connsiteX3" fmla="*/ 773655 w 2074600"/>
                <a:gd name="connsiteY3" fmla="*/ 735356 h 1036172"/>
                <a:gd name="connsiteX4" fmla="*/ 862785 w 2074600"/>
                <a:gd name="connsiteY4" fmla="*/ 735356 h 1036172"/>
                <a:gd name="connsiteX5" fmla="*/ 1071686 w 2074600"/>
                <a:gd name="connsiteY5" fmla="*/ 947041 h 1036172"/>
                <a:gd name="connsiteX6" fmla="*/ 1951851 w 2074600"/>
                <a:gd name="connsiteY6" fmla="*/ 947041 h 1036172"/>
                <a:gd name="connsiteX7" fmla="*/ 1808574 w 2074600"/>
                <a:gd name="connsiteY7" fmla="*/ 470526 h 1036172"/>
                <a:gd name="connsiteX8" fmla="*/ 1688693 w 2074600"/>
                <a:gd name="connsiteY8" fmla="*/ 421170 h 1036172"/>
                <a:gd name="connsiteX9" fmla="*/ 1523467 w 2074600"/>
                <a:gd name="connsiteY9" fmla="*/ 292710 h 1036172"/>
                <a:gd name="connsiteX10" fmla="*/ 1030329 w 2074600"/>
                <a:gd name="connsiteY10" fmla="*/ 127885 h 1036172"/>
                <a:gd name="connsiteX11" fmla="*/ 924954 w 2074600"/>
                <a:gd name="connsiteY11" fmla="*/ 206810 h 1036172"/>
                <a:gd name="connsiteX12" fmla="*/ 730203 w 2074600"/>
                <a:gd name="connsiteY12" fmla="*/ 279786 h 1036172"/>
                <a:gd name="connsiteX13" fmla="*/ 430613 w 2074600"/>
                <a:gd name="connsiteY13" fmla="*/ 503616 h 1036172"/>
                <a:gd name="connsiteX14" fmla="*/ 306053 w 2074600"/>
                <a:gd name="connsiteY14" fmla="*/ 669733 h 1036172"/>
                <a:gd name="connsiteX15" fmla="*/ 98824 w 2074600"/>
                <a:gd name="connsiteY15" fmla="*/ 947041 h 1036172"/>
                <a:gd name="connsiteX16" fmla="*/ 570455 w 2074600"/>
                <a:gd name="connsiteY16" fmla="*/ 947041 h 1036172"/>
                <a:gd name="connsiteX17" fmla="*/ 566665 w 2074600"/>
                <a:gd name="connsiteY17" fmla="*/ 1033094 h 1036172"/>
                <a:gd name="connsiteX18" fmla="*/ 0 w 2074600"/>
                <a:gd name="connsiteY18" fmla="*/ 1036172 h 1036172"/>
                <a:gd name="connsiteX19" fmla="*/ 3565 w 2074600"/>
                <a:gd name="connsiteY19" fmla="*/ 988264 h 1036172"/>
                <a:gd name="connsiteX20" fmla="*/ 264607 w 2074600"/>
                <a:gd name="connsiteY20" fmla="*/ 590518 h 1036172"/>
                <a:gd name="connsiteX21" fmla="*/ 342596 w 2074600"/>
                <a:gd name="connsiteY21" fmla="*/ 486124 h 1036172"/>
                <a:gd name="connsiteX22" fmla="*/ 737891 w 2074600"/>
                <a:gd name="connsiteY22" fmla="*/ 190655 h 1036172"/>
                <a:gd name="connsiteX23" fmla="*/ 858886 w 2074600"/>
                <a:gd name="connsiteY23" fmla="*/ 146090 h 1036172"/>
                <a:gd name="connsiteX24" fmla="*/ 1504437 w 2074600"/>
                <a:gd name="connsiteY24" fmla="*/ 121947 h 1036172"/>
                <a:gd name="connsiteX25" fmla="*/ 1602459 w 2074600"/>
                <a:gd name="connsiteY25" fmla="*/ 252824 h 1036172"/>
                <a:gd name="connsiteX26" fmla="*/ 1707076 w 2074600"/>
                <a:gd name="connsiteY26" fmla="*/ 334156 h 1036172"/>
                <a:gd name="connsiteX27" fmla="*/ 2063577 w 2074600"/>
                <a:gd name="connsiteY27" fmla="*/ 891680 h 1036172"/>
                <a:gd name="connsiteX28" fmla="*/ 2018699 w 2074600"/>
                <a:gd name="connsiteY28" fmla="*/ 1012775 h 1036172"/>
                <a:gd name="connsiteX0" fmla="*/ 2018699 w 2074600"/>
                <a:gd name="connsiteY0" fmla="*/ 1012775 h 1036172"/>
                <a:gd name="connsiteX1" fmla="*/ 2005998 w 2074600"/>
                <a:gd name="connsiteY1" fmla="*/ 1036172 h 1036172"/>
                <a:gd name="connsiteX2" fmla="*/ 1071686 w 2074600"/>
                <a:gd name="connsiteY2" fmla="*/ 1036172 h 1036172"/>
                <a:gd name="connsiteX3" fmla="*/ 773655 w 2074600"/>
                <a:gd name="connsiteY3" fmla="*/ 735356 h 1036172"/>
                <a:gd name="connsiteX4" fmla="*/ 862785 w 2074600"/>
                <a:gd name="connsiteY4" fmla="*/ 735356 h 1036172"/>
                <a:gd name="connsiteX5" fmla="*/ 1071686 w 2074600"/>
                <a:gd name="connsiteY5" fmla="*/ 947041 h 1036172"/>
                <a:gd name="connsiteX6" fmla="*/ 1951851 w 2074600"/>
                <a:gd name="connsiteY6" fmla="*/ 947041 h 1036172"/>
                <a:gd name="connsiteX7" fmla="*/ 1808574 w 2074600"/>
                <a:gd name="connsiteY7" fmla="*/ 470526 h 1036172"/>
                <a:gd name="connsiteX8" fmla="*/ 1688693 w 2074600"/>
                <a:gd name="connsiteY8" fmla="*/ 421170 h 1036172"/>
                <a:gd name="connsiteX9" fmla="*/ 1523467 w 2074600"/>
                <a:gd name="connsiteY9" fmla="*/ 292710 h 1036172"/>
                <a:gd name="connsiteX10" fmla="*/ 1030329 w 2074600"/>
                <a:gd name="connsiteY10" fmla="*/ 127885 h 1036172"/>
                <a:gd name="connsiteX11" fmla="*/ 924954 w 2074600"/>
                <a:gd name="connsiteY11" fmla="*/ 206810 h 1036172"/>
                <a:gd name="connsiteX12" fmla="*/ 730203 w 2074600"/>
                <a:gd name="connsiteY12" fmla="*/ 279786 h 1036172"/>
                <a:gd name="connsiteX13" fmla="*/ 430613 w 2074600"/>
                <a:gd name="connsiteY13" fmla="*/ 503616 h 1036172"/>
                <a:gd name="connsiteX14" fmla="*/ 306053 w 2074600"/>
                <a:gd name="connsiteY14" fmla="*/ 669733 h 1036172"/>
                <a:gd name="connsiteX15" fmla="*/ 98824 w 2074600"/>
                <a:gd name="connsiteY15" fmla="*/ 947041 h 1036172"/>
                <a:gd name="connsiteX16" fmla="*/ 570455 w 2074600"/>
                <a:gd name="connsiteY16" fmla="*/ 947041 h 1036172"/>
                <a:gd name="connsiteX17" fmla="*/ 572822 w 2074600"/>
                <a:gd name="connsiteY17" fmla="*/ 1033094 h 1036172"/>
                <a:gd name="connsiteX18" fmla="*/ 0 w 2074600"/>
                <a:gd name="connsiteY18" fmla="*/ 1036172 h 1036172"/>
                <a:gd name="connsiteX19" fmla="*/ 3565 w 2074600"/>
                <a:gd name="connsiteY19" fmla="*/ 988264 h 1036172"/>
                <a:gd name="connsiteX20" fmla="*/ 264607 w 2074600"/>
                <a:gd name="connsiteY20" fmla="*/ 590518 h 1036172"/>
                <a:gd name="connsiteX21" fmla="*/ 342596 w 2074600"/>
                <a:gd name="connsiteY21" fmla="*/ 486124 h 1036172"/>
                <a:gd name="connsiteX22" fmla="*/ 737891 w 2074600"/>
                <a:gd name="connsiteY22" fmla="*/ 190655 h 1036172"/>
                <a:gd name="connsiteX23" fmla="*/ 858886 w 2074600"/>
                <a:gd name="connsiteY23" fmla="*/ 146090 h 1036172"/>
                <a:gd name="connsiteX24" fmla="*/ 1504437 w 2074600"/>
                <a:gd name="connsiteY24" fmla="*/ 121947 h 1036172"/>
                <a:gd name="connsiteX25" fmla="*/ 1602459 w 2074600"/>
                <a:gd name="connsiteY25" fmla="*/ 252824 h 1036172"/>
                <a:gd name="connsiteX26" fmla="*/ 1707076 w 2074600"/>
                <a:gd name="connsiteY26" fmla="*/ 334156 h 1036172"/>
                <a:gd name="connsiteX27" fmla="*/ 2063577 w 2074600"/>
                <a:gd name="connsiteY27" fmla="*/ 891680 h 1036172"/>
                <a:gd name="connsiteX28" fmla="*/ 2018699 w 2074600"/>
                <a:gd name="connsiteY28" fmla="*/ 1012775 h 1036172"/>
                <a:gd name="connsiteX0" fmla="*/ 2018699 w 2074600"/>
                <a:gd name="connsiteY0" fmla="*/ 1012775 h 1036172"/>
                <a:gd name="connsiteX1" fmla="*/ 2005998 w 2074600"/>
                <a:gd name="connsiteY1" fmla="*/ 1036172 h 1036172"/>
                <a:gd name="connsiteX2" fmla="*/ 1071686 w 2074600"/>
                <a:gd name="connsiteY2" fmla="*/ 1036172 h 1036172"/>
                <a:gd name="connsiteX3" fmla="*/ 773655 w 2074600"/>
                <a:gd name="connsiteY3" fmla="*/ 735356 h 1036172"/>
                <a:gd name="connsiteX4" fmla="*/ 862785 w 2074600"/>
                <a:gd name="connsiteY4" fmla="*/ 735356 h 1036172"/>
                <a:gd name="connsiteX5" fmla="*/ 1071686 w 2074600"/>
                <a:gd name="connsiteY5" fmla="*/ 947041 h 1036172"/>
                <a:gd name="connsiteX6" fmla="*/ 1951851 w 2074600"/>
                <a:gd name="connsiteY6" fmla="*/ 947041 h 1036172"/>
                <a:gd name="connsiteX7" fmla="*/ 1808574 w 2074600"/>
                <a:gd name="connsiteY7" fmla="*/ 470526 h 1036172"/>
                <a:gd name="connsiteX8" fmla="*/ 1688693 w 2074600"/>
                <a:gd name="connsiteY8" fmla="*/ 421170 h 1036172"/>
                <a:gd name="connsiteX9" fmla="*/ 1523467 w 2074600"/>
                <a:gd name="connsiteY9" fmla="*/ 292710 h 1036172"/>
                <a:gd name="connsiteX10" fmla="*/ 1030329 w 2074600"/>
                <a:gd name="connsiteY10" fmla="*/ 127885 h 1036172"/>
                <a:gd name="connsiteX11" fmla="*/ 924954 w 2074600"/>
                <a:gd name="connsiteY11" fmla="*/ 206810 h 1036172"/>
                <a:gd name="connsiteX12" fmla="*/ 730203 w 2074600"/>
                <a:gd name="connsiteY12" fmla="*/ 279786 h 1036172"/>
                <a:gd name="connsiteX13" fmla="*/ 430613 w 2074600"/>
                <a:gd name="connsiteY13" fmla="*/ 503616 h 1036172"/>
                <a:gd name="connsiteX14" fmla="*/ 306053 w 2074600"/>
                <a:gd name="connsiteY14" fmla="*/ 669733 h 1036172"/>
                <a:gd name="connsiteX15" fmla="*/ 98824 w 2074600"/>
                <a:gd name="connsiteY15" fmla="*/ 947041 h 1036172"/>
                <a:gd name="connsiteX16" fmla="*/ 570455 w 2074600"/>
                <a:gd name="connsiteY16" fmla="*/ 947041 h 1036172"/>
                <a:gd name="connsiteX17" fmla="*/ 572822 w 2074600"/>
                <a:gd name="connsiteY17" fmla="*/ 1033094 h 1036172"/>
                <a:gd name="connsiteX18" fmla="*/ 0 w 2074600"/>
                <a:gd name="connsiteY18" fmla="*/ 1036172 h 1036172"/>
                <a:gd name="connsiteX19" fmla="*/ 3565 w 2074600"/>
                <a:gd name="connsiteY19" fmla="*/ 988264 h 1036172"/>
                <a:gd name="connsiteX20" fmla="*/ 264607 w 2074600"/>
                <a:gd name="connsiteY20" fmla="*/ 590518 h 1036172"/>
                <a:gd name="connsiteX21" fmla="*/ 342596 w 2074600"/>
                <a:gd name="connsiteY21" fmla="*/ 486124 h 1036172"/>
                <a:gd name="connsiteX22" fmla="*/ 737891 w 2074600"/>
                <a:gd name="connsiteY22" fmla="*/ 190655 h 1036172"/>
                <a:gd name="connsiteX23" fmla="*/ 858886 w 2074600"/>
                <a:gd name="connsiteY23" fmla="*/ 146090 h 1036172"/>
                <a:gd name="connsiteX24" fmla="*/ 1504437 w 2074600"/>
                <a:gd name="connsiteY24" fmla="*/ 121947 h 1036172"/>
                <a:gd name="connsiteX25" fmla="*/ 1602459 w 2074600"/>
                <a:gd name="connsiteY25" fmla="*/ 252824 h 1036172"/>
                <a:gd name="connsiteX26" fmla="*/ 1707076 w 2074600"/>
                <a:gd name="connsiteY26" fmla="*/ 334156 h 1036172"/>
                <a:gd name="connsiteX27" fmla="*/ 2063577 w 2074600"/>
                <a:gd name="connsiteY27" fmla="*/ 891680 h 1036172"/>
                <a:gd name="connsiteX28" fmla="*/ 2018699 w 2074600"/>
                <a:gd name="connsiteY28" fmla="*/ 1012775 h 1036172"/>
                <a:gd name="connsiteX0" fmla="*/ 2018699 w 2074600"/>
                <a:gd name="connsiteY0" fmla="*/ 1012775 h 1036172"/>
                <a:gd name="connsiteX1" fmla="*/ 2005998 w 2074600"/>
                <a:gd name="connsiteY1" fmla="*/ 1036172 h 1036172"/>
                <a:gd name="connsiteX2" fmla="*/ 1071686 w 2074600"/>
                <a:gd name="connsiteY2" fmla="*/ 1036172 h 1036172"/>
                <a:gd name="connsiteX3" fmla="*/ 773655 w 2074600"/>
                <a:gd name="connsiteY3" fmla="*/ 735356 h 1036172"/>
                <a:gd name="connsiteX4" fmla="*/ 862785 w 2074600"/>
                <a:gd name="connsiteY4" fmla="*/ 735356 h 1036172"/>
                <a:gd name="connsiteX5" fmla="*/ 1071686 w 2074600"/>
                <a:gd name="connsiteY5" fmla="*/ 947041 h 1036172"/>
                <a:gd name="connsiteX6" fmla="*/ 1951851 w 2074600"/>
                <a:gd name="connsiteY6" fmla="*/ 947041 h 1036172"/>
                <a:gd name="connsiteX7" fmla="*/ 1808574 w 2074600"/>
                <a:gd name="connsiteY7" fmla="*/ 470526 h 1036172"/>
                <a:gd name="connsiteX8" fmla="*/ 1688693 w 2074600"/>
                <a:gd name="connsiteY8" fmla="*/ 421170 h 1036172"/>
                <a:gd name="connsiteX9" fmla="*/ 1523467 w 2074600"/>
                <a:gd name="connsiteY9" fmla="*/ 292710 h 1036172"/>
                <a:gd name="connsiteX10" fmla="*/ 1030329 w 2074600"/>
                <a:gd name="connsiteY10" fmla="*/ 127885 h 1036172"/>
                <a:gd name="connsiteX11" fmla="*/ 924954 w 2074600"/>
                <a:gd name="connsiteY11" fmla="*/ 206810 h 1036172"/>
                <a:gd name="connsiteX12" fmla="*/ 730203 w 2074600"/>
                <a:gd name="connsiteY12" fmla="*/ 279786 h 1036172"/>
                <a:gd name="connsiteX13" fmla="*/ 430613 w 2074600"/>
                <a:gd name="connsiteY13" fmla="*/ 503616 h 1036172"/>
                <a:gd name="connsiteX14" fmla="*/ 306053 w 2074600"/>
                <a:gd name="connsiteY14" fmla="*/ 669733 h 1036172"/>
                <a:gd name="connsiteX15" fmla="*/ 98824 w 2074600"/>
                <a:gd name="connsiteY15" fmla="*/ 947041 h 1036172"/>
                <a:gd name="connsiteX16" fmla="*/ 570455 w 2074600"/>
                <a:gd name="connsiteY16" fmla="*/ 947041 h 1036172"/>
                <a:gd name="connsiteX17" fmla="*/ 572822 w 2074600"/>
                <a:gd name="connsiteY17" fmla="*/ 1035476 h 1036172"/>
                <a:gd name="connsiteX18" fmla="*/ 0 w 2074600"/>
                <a:gd name="connsiteY18" fmla="*/ 1036172 h 1036172"/>
                <a:gd name="connsiteX19" fmla="*/ 3565 w 2074600"/>
                <a:gd name="connsiteY19" fmla="*/ 988264 h 1036172"/>
                <a:gd name="connsiteX20" fmla="*/ 264607 w 2074600"/>
                <a:gd name="connsiteY20" fmla="*/ 590518 h 1036172"/>
                <a:gd name="connsiteX21" fmla="*/ 342596 w 2074600"/>
                <a:gd name="connsiteY21" fmla="*/ 486124 h 1036172"/>
                <a:gd name="connsiteX22" fmla="*/ 737891 w 2074600"/>
                <a:gd name="connsiteY22" fmla="*/ 190655 h 1036172"/>
                <a:gd name="connsiteX23" fmla="*/ 858886 w 2074600"/>
                <a:gd name="connsiteY23" fmla="*/ 146090 h 1036172"/>
                <a:gd name="connsiteX24" fmla="*/ 1504437 w 2074600"/>
                <a:gd name="connsiteY24" fmla="*/ 121947 h 1036172"/>
                <a:gd name="connsiteX25" fmla="*/ 1602459 w 2074600"/>
                <a:gd name="connsiteY25" fmla="*/ 252824 h 1036172"/>
                <a:gd name="connsiteX26" fmla="*/ 1707076 w 2074600"/>
                <a:gd name="connsiteY26" fmla="*/ 334156 h 1036172"/>
                <a:gd name="connsiteX27" fmla="*/ 2063577 w 2074600"/>
                <a:gd name="connsiteY27" fmla="*/ 891680 h 1036172"/>
                <a:gd name="connsiteX28" fmla="*/ 2018699 w 2074600"/>
                <a:gd name="connsiteY28" fmla="*/ 1012775 h 1036172"/>
                <a:gd name="connsiteX0" fmla="*/ 2018699 w 2074600"/>
                <a:gd name="connsiteY0" fmla="*/ 1012775 h 1036172"/>
                <a:gd name="connsiteX1" fmla="*/ 2005998 w 2074600"/>
                <a:gd name="connsiteY1" fmla="*/ 1036172 h 1036172"/>
                <a:gd name="connsiteX2" fmla="*/ 1071686 w 2074600"/>
                <a:gd name="connsiteY2" fmla="*/ 1036172 h 1036172"/>
                <a:gd name="connsiteX3" fmla="*/ 773655 w 2074600"/>
                <a:gd name="connsiteY3" fmla="*/ 735356 h 1036172"/>
                <a:gd name="connsiteX4" fmla="*/ 862785 w 2074600"/>
                <a:gd name="connsiteY4" fmla="*/ 735356 h 1036172"/>
                <a:gd name="connsiteX5" fmla="*/ 1071686 w 2074600"/>
                <a:gd name="connsiteY5" fmla="*/ 947041 h 1036172"/>
                <a:gd name="connsiteX6" fmla="*/ 1951851 w 2074600"/>
                <a:gd name="connsiteY6" fmla="*/ 947041 h 1036172"/>
                <a:gd name="connsiteX7" fmla="*/ 1808574 w 2074600"/>
                <a:gd name="connsiteY7" fmla="*/ 470526 h 1036172"/>
                <a:gd name="connsiteX8" fmla="*/ 1688693 w 2074600"/>
                <a:gd name="connsiteY8" fmla="*/ 421170 h 1036172"/>
                <a:gd name="connsiteX9" fmla="*/ 1523467 w 2074600"/>
                <a:gd name="connsiteY9" fmla="*/ 292710 h 1036172"/>
                <a:gd name="connsiteX10" fmla="*/ 1030329 w 2074600"/>
                <a:gd name="connsiteY10" fmla="*/ 127885 h 1036172"/>
                <a:gd name="connsiteX11" fmla="*/ 924954 w 2074600"/>
                <a:gd name="connsiteY11" fmla="*/ 206810 h 1036172"/>
                <a:gd name="connsiteX12" fmla="*/ 730203 w 2074600"/>
                <a:gd name="connsiteY12" fmla="*/ 279786 h 1036172"/>
                <a:gd name="connsiteX13" fmla="*/ 430613 w 2074600"/>
                <a:gd name="connsiteY13" fmla="*/ 503616 h 1036172"/>
                <a:gd name="connsiteX14" fmla="*/ 306053 w 2074600"/>
                <a:gd name="connsiteY14" fmla="*/ 669733 h 1036172"/>
                <a:gd name="connsiteX15" fmla="*/ 98824 w 2074600"/>
                <a:gd name="connsiteY15" fmla="*/ 947041 h 1036172"/>
                <a:gd name="connsiteX16" fmla="*/ 570455 w 2074600"/>
                <a:gd name="connsiteY16" fmla="*/ 947041 h 1036172"/>
                <a:gd name="connsiteX17" fmla="*/ 572822 w 2074600"/>
                <a:gd name="connsiteY17" fmla="*/ 1035476 h 1036172"/>
                <a:gd name="connsiteX18" fmla="*/ 0 w 2074600"/>
                <a:gd name="connsiteY18" fmla="*/ 1036172 h 1036172"/>
                <a:gd name="connsiteX19" fmla="*/ 3565 w 2074600"/>
                <a:gd name="connsiteY19" fmla="*/ 988264 h 1036172"/>
                <a:gd name="connsiteX20" fmla="*/ 264607 w 2074600"/>
                <a:gd name="connsiteY20" fmla="*/ 590518 h 1036172"/>
                <a:gd name="connsiteX21" fmla="*/ 342596 w 2074600"/>
                <a:gd name="connsiteY21" fmla="*/ 486124 h 1036172"/>
                <a:gd name="connsiteX22" fmla="*/ 737891 w 2074600"/>
                <a:gd name="connsiteY22" fmla="*/ 190655 h 1036172"/>
                <a:gd name="connsiteX23" fmla="*/ 858886 w 2074600"/>
                <a:gd name="connsiteY23" fmla="*/ 146090 h 1036172"/>
                <a:gd name="connsiteX24" fmla="*/ 1504437 w 2074600"/>
                <a:gd name="connsiteY24" fmla="*/ 121947 h 1036172"/>
                <a:gd name="connsiteX25" fmla="*/ 1602459 w 2074600"/>
                <a:gd name="connsiteY25" fmla="*/ 252824 h 1036172"/>
                <a:gd name="connsiteX26" fmla="*/ 1707076 w 2074600"/>
                <a:gd name="connsiteY26" fmla="*/ 334156 h 1036172"/>
                <a:gd name="connsiteX27" fmla="*/ 2063577 w 2074600"/>
                <a:gd name="connsiteY27" fmla="*/ 891680 h 1036172"/>
                <a:gd name="connsiteX28" fmla="*/ 2018699 w 2074600"/>
                <a:gd name="connsiteY28" fmla="*/ 1012775 h 1036172"/>
                <a:gd name="connsiteX0" fmla="*/ 2018699 w 2074600"/>
                <a:gd name="connsiteY0" fmla="*/ 1012775 h 1036172"/>
                <a:gd name="connsiteX1" fmla="*/ 2005998 w 2074600"/>
                <a:gd name="connsiteY1" fmla="*/ 1036172 h 1036172"/>
                <a:gd name="connsiteX2" fmla="*/ 1071686 w 2074600"/>
                <a:gd name="connsiteY2" fmla="*/ 1036172 h 1036172"/>
                <a:gd name="connsiteX3" fmla="*/ 773655 w 2074600"/>
                <a:gd name="connsiteY3" fmla="*/ 735356 h 1036172"/>
                <a:gd name="connsiteX4" fmla="*/ 1071686 w 2074600"/>
                <a:gd name="connsiteY4" fmla="*/ 947041 h 1036172"/>
                <a:gd name="connsiteX5" fmla="*/ 1951851 w 2074600"/>
                <a:gd name="connsiteY5" fmla="*/ 947041 h 1036172"/>
                <a:gd name="connsiteX6" fmla="*/ 1808574 w 2074600"/>
                <a:gd name="connsiteY6" fmla="*/ 470526 h 1036172"/>
                <a:gd name="connsiteX7" fmla="*/ 1688693 w 2074600"/>
                <a:gd name="connsiteY7" fmla="*/ 421170 h 1036172"/>
                <a:gd name="connsiteX8" fmla="*/ 1523467 w 2074600"/>
                <a:gd name="connsiteY8" fmla="*/ 292710 h 1036172"/>
                <a:gd name="connsiteX9" fmla="*/ 1030329 w 2074600"/>
                <a:gd name="connsiteY9" fmla="*/ 127885 h 1036172"/>
                <a:gd name="connsiteX10" fmla="*/ 924954 w 2074600"/>
                <a:gd name="connsiteY10" fmla="*/ 206810 h 1036172"/>
                <a:gd name="connsiteX11" fmla="*/ 730203 w 2074600"/>
                <a:gd name="connsiteY11" fmla="*/ 279786 h 1036172"/>
                <a:gd name="connsiteX12" fmla="*/ 430613 w 2074600"/>
                <a:gd name="connsiteY12" fmla="*/ 503616 h 1036172"/>
                <a:gd name="connsiteX13" fmla="*/ 306053 w 2074600"/>
                <a:gd name="connsiteY13" fmla="*/ 669733 h 1036172"/>
                <a:gd name="connsiteX14" fmla="*/ 98824 w 2074600"/>
                <a:gd name="connsiteY14" fmla="*/ 947041 h 1036172"/>
                <a:gd name="connsiteX15" fmla="*/ 570455 w 2074600"/>
                <a:gd name="connsiteY15" fmla="*/ 947041 h 1036172"/>
                <a:gd name="connsiteX16" fmla="*/ 572822 w 2074600"/>
                <a:gd name="connsiteY16" fmla="*/ 1035476 h 1036172"/>
                <a:gd name="connsiteX17" fmla="*/ 0 w 2074600"/>
                <a:gd name="connsiteY17" fmla="*/ 1036172 h 1036172"/>
                <a:gd name="connsiteX18" fmla="*/ 3565 w 2074600"/>
                <a:gd name="connsiteY18" fmla="*/ 988264 h 1036172"/>
                <a:gd name="connsiteX19" fmla="*/ 264607 w 2074600"/>
                <a:gd name="connsiteY19" fmla="*/ 590518 h 1036172"/>
                <a:gd name="connsiteX20" fmla="*/ 342596 w 2074600"/>
                <a:gd name="connsiteY20" fmla="*/ 486124 h 1036172"/>
                <a:gd name="connsiteX21" fmla="*/ 737891 w 2074600"/>
                <a:gd name="connsiteY21" fmla="*/ 190655 h 1036172"/>
                <a:gd name="connsiteX22" fmla="*/ 858886 w 2074600"/>
                <a:gd name="connsiteY22" fmla="*/ 146090 h 1036172"/>
                <a:gd name="connsiteX23" fmla="*/ 1504437 w 2074600"/>
                <a:gd name="connsiteY23" fmla="*/ 121947 h 1036172"/>
                <a:gd name="connsiteX24" fmla="*/ 1602459 w 2074600"/>
                <a:gd name="connsiteY24" fmla="*/ 252824 h 1036172"/>
                <a:gd name="connsiteX25" fmla="*/ 1707076 w 2074600"/>
                <a:gd name="connsiteY25" fmla="*/ 334156 h 1036172"/>
                <a:gd name="connsiteX26" fmla="*/ 2063577 w 2074600"/>
                <a:gd name="connsiteY26" fmla="*/ 891680 h 1036172"/>
                <a:gd name="connsiteX27" fmla="*/ 2018699 w 2074600"/>
                <a:gd name="connsiteY27" fmla="*/ 1012775 h 1036172"/>
                <a:gd name="connsiteX0" fmla="*/ 2018699 w 2074600"/>
                <a:gd name="connsiteY0" fmla="*/ 1012775 h 1036172"/>
                <a:gd name="connsiteX1" fmla="*/ 2005998 w 2074600"/>
                <a:gd name="connsiteY1" fmla="*/ 1036172 h 1036172"/>
                <a:gd name="connsiteX2" fmla="*/ 1071686 w 2074600"/>
                <a:gd name="connsiteY2" fmla="*/ 1036172 h 1036172"/>
                <a:gd name="connsiteX3" fmla="*/ 1071686 w 2074600"/>
                <a:gd name="connsiteY3" fmla="*/ 947041 h 1036172"/>
                <a:gd name="connsiteX4" fmla="*/ 1951851 w 2074600"/>
                <a:gd name="connsiteY4" fmla="*/ 947041 h 1036172"/>
                <a:gd name="connsiteX5" fmla="*/ 1808574 w 2074600"/>
                <a:gd name="connsiteY5" fmla="*/ 470526 h 1036172"/>
                <a:gd name="connsiteX6" fmla="*/ 1688693 w 2074600"/>
                <a:gd name="connsiteY6" fmla="*/ 421170 h 1036172"/>
                <a:gd name="connsiteX7" fmla="*/ 1523467 w 2074600"/>
                <a:gd name="connsiteY7" fmla="*/ 292710 h 1036172"/>
                <a:gd name="connsiteX8" fmla="*/ 1030329 w 2074600"/>
                <a:gd name="connsiteY8" fmla="*/ 127885 h 1036172"/>
                <a:gd name="connsiteX9" fmla="*/ 924954 w 2074600"/>
                <a:gd name="connsiteY9" fmla="*/ 206810 h 1036172"/>
                <a:gd name="connsiteX10" fmla="*/ 730203 w 2074600"/>
                <a:gd name="connsiteY10" fmla="*/ 279786 h 1036172"/>
                <a:gd name="connsiteX11" fmla="*/ 430613 w 2074600"/>
                <a:gd name="connsiteY11" fmla="*/ 503616 h 1036172"/>
                <a:gd name="connsiteX12" fmla="*/ 306053 w 2074600"/>
                <a:gd name="connsiteY12" fmla="*/ 669733 h 1036172"/>
                <a:gd name="connsiteX13" fmla="*/ 98824 w 2074600"/>
                <a:gd name="connsiteY13" fmla="*/ 947041 h 1036172"/>
                <a:gd name="connsiteX14" fmla="*/ 570455 w 2074600"/>
                <a:gd name="connsiteY14" fmla="*/ 947041 h 1036172"/>
                <a:gd name="connsiteX15" fmla="*/ 572822 w 2074600"/>
                <a:gd name="connsiteY15" fmla="*/ 1035476 h 1036172"/>
                <a:gd name="connsiteX16" fmla="*/ 0 w 2074600"/>
                <a:gd name="connsiteY16" fmla="*/ 1036172 h 1036172"/>
                <a:gd name="connsiteX17" fmla="*/ 3565 w 2074600"/>
                <a:gd name="connsiteY17" fmla="*/ 988264 h 1036172"/>
                <a:gd name="connsiteX18" fmla="*/ 264607 w 2074600"/>
                <a:gd name="connsiteY18" fmla="*/ 590518 h 1036172"/>
                <a:gd name="connsiteX19" fmla="*/ 342596 w 2074600"/>
                <a:gd name="connsiteY19" fmla="*/ 486124 h 1036172"/>
                <a:gd name="connsiteX20" fmla="*/ 737891 w 2074600"/>
                <a:gd name="connsiteY20" fmla="*/ 190655 h 1036172"/>
                <a:gd name="connsiteX21" fmla="*/ 858886 w 2074600"/>
                <a:gd name="connsiteY21" fmla="*/ 146090 h 1036172"/>
                <a:gd name="connsiteX22" fmla="*/ 1504437 w 2074600"/>
                <a:gd name="connsiteY22" fmla="*/ 121947 h 1036172"/>
                <a:gd name="connsiteX23" fmla="*/ 1602459 w 2074600"/>
                <a:gd name="connsiteY23" fmla="*/ 252824 h 1036172"/>
                <a:gd name="connsiteX24" fmla="*/ 1707076 w 2074600"/>
                <a:gd name="connsiteY24" fmla="*/ 334156 h 1036172"/>
                <a:gd name="connsiteX25" fmla="*/ 2063577 w 2074600"/>
                <a:gd name="connsiteY25" fmla="*/ 891680 h 1036172"/>
                <a:gd name="connsiteX26" fmla="*/ 2018699 w 2074600"/>
                <a:gd name="connsiteY26" fmla="*/ 1012775 h 1036172"/>
                <a:gd name="connsiteX0" fmla="*/ 2018699 w 2074600"/>
                <a:gd name="connsiteY0" fmla="*/ 1012775 h 1036172"/>
                <a:gd name="connsiteX1" fmla="*/ 2005998 w 2074600"/>
                <a:gd name="connsiteY1" fmla="*/ 1036172 h 1036172"/>
                <a:gd name="connsiteX2" fmla="*/ 1071686 w 2074600"/>
                <a:gd name="connsiteY2" fmla="*/ 1036172 h 1036172"/>
                <a:gd name="connsiteX3" fmla="*/ 1355055 w 2074600"/>
                <a:gd name="connsiteY3" fmla="*/ 944659 h 1036172"/>
                <a:gd name="connsiteX4" fmla="*/ 1951851 w 2074600"/>
                <a:gd name="connsiteY4" fmla="*/ 947041 h 1036172"/>
                <a:gd name="connsiteX5" fmla="*/ 1808574 w 2074600"/>
                <a:gd name="connsiteY5" fmla="*/ 470526 h 1036172"/>
                <a:gd name="connsiteX6" fmla="*/ 1688693 w 2074600"/>
                <a:gd name="connsiteY6" fmla="*/ 421170 h 1036172"/>
                <a:gd name="connsiteX7" fmla="*/ 1523467 w 2074600"/>
                <a:gd name="connsiteY7" fmla="*/ 292710 h 1036172"/>
                <a:gd name="connsiteX8" fmla="*/ 1030329 w 2074600"/>
                <a:gd name="connsiteY8" fmla="*/ 127885 h 1036172"/>
                <a:gd name="connsiteX9" fmla="*/ 924954 w 2074600"/>
                <a:gd name="connsiteY9" fmla="*/ 206810 h 1036172"/>
                <a:gd name="connsiteX10" fmla="*/ 730203 w 2074600"/>
                <a:gd name="connsiteY10" fmla="*/ 279786 h 1036172"/>
                <a:gd name="connsiteX11" fmla="*/ 430613 w 2074600"/>
                <a:gd name="connsiteY11" fmla="*/ 503616 h 1036172"/>
                <a:gd name="connsiteX12" fmla="*/ 306053 w 2074600"/>
                <a:gd name="connsiteY12" fmla="*/ 669733 h 1036172"/>
                <a:gd name="connsiteX13" fmla="*/ 98824 w 2074600"/>
                <a:gd name="connsiteY13" fmla="*/ 947041 h 1036172"/>
                <a:gd name="connsiteX14" fmla="*/ 570455 w 2074600"/>
                <a:gd name="connsiteY14" fmla="*/ 947041 h 1036172"/>
                <a:gd name="connsiteX15" fmla="*/ 572822 w 2074600"/>
                <a:gd name="connsiteY15" fmla="*/ 1035476 h 1036172"/>
                <a:gd name="connsiteX16" fmla="*/ 0 w 2074600"/>
                <a:gd name="connsiteY16" fmla="*/ 1036172 h 1036172"/>
                <a:gd name="connsiteX17" fmla="*/ 3565 w 2074600"/>
                <a:gd name="connsiteY17" fmla="*/ 988264 h 1036172"/>
                <a:gd name="connsiteX18" fmla="*/ 264607 w 2074600"/>
                <a:gd name="connsiteY18" fmla="*/ 590518 h 1036172"/>
                <a:gd name="connsiteX19" fmla="*/ 342596 w 2074600"/>
                <a:gd name="connsiteY19" fmla="*/ 486124 h 1036172"/>
                <a:gd name="connsiteX20" fmla="*/ 737891 w 2074600"/>
                <a:gd name="connsiteY20" fmla="*/ 190655 h 1036172"/>
                <a:gd name="connsiteX21" fmla="*/ 858886 w 2074600"/>
                <a:gd name="connsiteY21" fmla="*/ 146090 h 1036172"/>
                <a:gd name="connsiteX22" fmla="*/ 1504437 w 2074600"/>
                <a:gd name="connsiteY22" fmla="*/ 121947 h 1036172"/>
                <a:gd name="connsiteX23" fmla="*/ 1602459 w 2074600"/>
                <a:gd name="connsiteY23" fmla="*/ 252824 h 1036172"/>
                <a:gd name="connsiteX24" fmla="*/ 1707076 w 2074600"/>
                <a:gd name="connsiteY24" fmla="*/ 334156 h 1036172"/>
                <a:gd name="connsiteX25" fmla="*/ 2063577 w 2074600"/>
                <a:gd name="connsiteY25" fmla="*/ 891680 h 1036172"/>
                <a:gd name="connsiteX26" fmla="*/ 2018699 w 2074600"/>
                <a:gd name="connsiteY26" fmla="*/ 1012775 h 1036172"/>
                <a:gd name="connsiteX0" fmla="*/ 2018699 w 2074600"/>
                <a:gd name="connsiteY0" fmla="*/ 1012775 h 1040934"/>
                <a:gd name="connsiteX1" fmla="*/ 2005998 w 2074600"/>
                <a:gd name="connsiteY1" fmla="*/ 1036172 h 1040934"/>
                <a:gd name="connsiteX2" fmla="*/ 1355055 w 2074600"/>
                <a:gd name="connsiteY2" fmla="*/ 1040934 h 1040934"/>
                <a:gd name="connsiteX3" fmla="*/ 1355055 w 2074600"/>
                <a:gd name="connsiteY3" fmla="*/ 944659 h 1040934"/>
                <a:gd name="connsiteX4" fmla="*/ 1951851 w 2074600"/>
                <a:gd name="connsiteY4" fmla="*/ 947041 h 1040934"/>
                <a:gd name="connsiteX5" fmla="*/ 1808574 w 2074600"/>
                <a:gd name="connsiteY5" fmla="*/ 470526 h 1040934"/>
                <a:gd name="connsiteX6" fmla="*/ 1688693 w 2074600"/>
                <a:gd name="connsiteY6" fmla="*/ 421170 h 1040934"/>
                <a:gd name="connsiteX7" fmla="*/ 1523467 w 2074600"/>
                <a:gd name="connsiteY7" fmla="*/ 292710 h 1040934"/>
                <a:gd name="connsiteX8" fmla="*/ 1030329 w 2074600"/>
                <a:gd name="connsiteY8" fmla="*/ 127885 h 1040934"/>
                <a:gd name="connsiteX9" fmla="*/ 924954 w 2074600"/>
                <a:gd name="connsiteY9" fmla="*/ 206810 h 1040934"/>
                <a:gd name="connsiteX10" fmla="*/ 730203 w 2074600"/>
                <a:gd name="connsiteY10" fmla="*/ 279786 h 1040934"/>
                <a:gd name="connsiteX11" fmla="*/ 430613 w 2074600"/>
                <a:gd name="connsiteY11" fmla="*/ 503616 h 1040934"/>
                <a:gd name="connsiteX12" fmla="*/ 306053 w 2074600"/>
                <a:gd name="connsiteY12" fmla="*/ 669733 h 1040934"/>
                <a:gd name="connsiteX13" fmla="*/ 98824 w 2074600"/>
                <a:gd name="connsiteY13" fmla="*/ 947041 h 1040934"/>
                <a:gd name="connsiteX14" fmla="*/ 570455 w 2074600"/>
                <a:gd name="connsiteY14" fmla="*/ 947041 h 1040934"/>
                <a:gd name="connsiteX15" fmla="*/ 572822 w 2074600"/>
                <a:gd name="connsiteY15" fmla="*/ 1035476 h 1040934"/>
                <a:gd name="connsiteX16" fmla="*/ 0 w 2074600"/>
                <a:gd name="connsiteY16" fmla="*/ 1036172 h 1040934"/>
                <a:gd name="connsiteX17" fmla="*/ 3565 w 2074600"/>
                <a:gd name="connsiteY17" fmla="*/ 988264 h 1040934"/>
                <a:gd name="connsiteX18" fmla="*/ 264607 w 2074600"/>
                <a:gd name="connsiteY18" fmla="*/ 590518 h 1040934"/>
                <a:gd name="connsiteX19" fmla="*/ 342596 w 2074600"/>
                <a:gd name="connsiteY19" fmla="*/ 486124 h 1040934"/>
                <a:gd name="connsiteX20" fmla="*/ 737891 w 2074600"/>
                <a:gd name="connsiteY20" fmla="*/ 190655 h 1040934"/>
                <a:gd name="connsiteX21" fmla="*/ 858886 w 2074600"/>
                <a:gd name="connsiteY21" fmla="*/ 146090 h 1040934"/>
                <a:gd name="connsiteX22" fmla="*/ 1504437 w 2074600"/>
                <a:gd name="connsiteY22" fmla="*/ 121947 h 1040934"/>
                <a:gd name="connsiteX23" fmla="*/ 1602459 w 2074600"/>
                <a:gd name="connsiteY23" fmla="*/ 252824 h 1040934"/>
                <a:gd name="connsiteX24" fmla="*/ 1707076 w 2074600"/>
                <a:gd name="connsiteY24" fmla="*/ 334156 h 1040934"/>
                <a:gd name="connsiteX25" fmla="*/ 2063577 w 2074600"/>
                <a:gd name="connsiteY25" fmla="*/ 891680 h 1040934"/>
                <a:gd name="connsiteX26" fmla="*/ 2018699 w 2074600"/>
                <a:gd name="connsiteY26" fmla="*/ 1012775 h 1040934"/>
                <a:gd name="connsiteX0" fmla="*/ 2018699 w 2074600"/>
                <a:gd name="connsiteY0" fmla="*/ 1012775 h 1038553"/>
                <a:gd name="connsiteX1" fmla="*/ 2005998 w 2074600"/>
                <a:gd name="connsiteY1" fmla="*/ 1036172 h 1038553"/>
                <a:gd name="connsiteX2" fmla="*/ 1355055 w 2074600"/>
                <a:gd name="connsiteY2" fmla="*/ 1038553 h 1038553"/>
                <a:gd name="connsiteX3" fmla="*/ 1355055 w 2074600"/>
                <a:gd name="connsiteY3" fmla="*/ 944659 h 1038553"/>
                <a:gd name="connsiteX4" fmla="*/ 1951851 w 2074600"/>
                <a:gd name="connsiteY4" fmla="*/ 947041 h 1038553"/>
                <a:gd name="connsiteX5" fmla="*/ 1808574 w 2074600"/>
                <a:gd name="connsiteY5" fmla="*/ 470526 h 1038553"/>
                <a:gd name="connsiteX6" fmla="*/ 1688693 w 2074600"/>
                <a:gd name="connsiteY6" fmla="*/ 421170 h 1038553"/>
                <a:gd name="connsiteX7" fmla="*/ 1523467 w 2074600"/>
                <a:gd name="connsiteY7" fmla="*/ 292710 h 1038553"/>
                <a:gd name="connsiteX8" fmla="*/ 1030329 w 2074600"/>
                <a:gd name="connsiteY8" fmla="*/ 127885 h 1038553"/>
                <a:gd name="connsiteX9" fmla="*/ 924954 w 2074600"/>
                <a:gd name="connsiteY9" fmla="*/ 206810 h 1038553"/>
                <a:gd name="connsiteX10" fmla="*/ 730203 w 2074600"/>
                <a:gd name="connsiteY10" fmla="*/ 279786 h 1038553"/>
                <a:gd name="connsiteX11" fmla="*/ 430613 w 2074600"/>
                <a:gd name="connsiteY11" fmla="*/ 503616 h 1038553"/>
                <a:gd name="connsiteX12" fmla="*/ 306053 w 2074600"/>
                <a:gd name="connsiteY12" fmla="*/ 669733 h 1038553"/>
                <a:gd name="connsiteX13" fmla="*/ 98824 w 2074600"/>
                <a:gd name="connsiteY13" fmla="*/ 947041 h 1038553"/>
                <a:gd name="connsiteX14" fmla="*/ 570455 w 2074600"/>
                <a:gd name="connsiteY14" fmla="*/ 947041 h 1038553"/>
                <a:gd name="connsiteX15" fmla="*/ 572822 w 2074600"/>
                <a:gd name="connsiteY15" fmla="*/ 1035476 h 1038553"/>
                <a:gd name="connsiteX16" fmla="*/ 0 w 2074600"/>
                <a:gd name="connsiteY16" fmla="*/ 1036172 h 1038553"/>
                <a:gd name="connsiteX17" fmla="*/ 3565 w 2074600"/>
                <a:gd name="connsiteY17" fmla="*/ 988264 h 1038553"/>
                <a:gd name="connsiteX18" fmla="*/ 264607 w 2074600"/>
                <a:gd name="connsiteY18" fmla="*/ 590518 h 1038553"/>
                <a:gd name="connsiteX19" fmla="*/ 342596 w 2074600"/>
                <a:gd name="connsiteY19" fmla="*/ 486124 h 1038553"/>
                <a:gd name="connsiteX20" fmla="*/ 737891 w 2074600"/>
                <a:gd name="connsiteY20" fmla="*/ 190655 h 1038553"/>
                <a:gd name="connsiteX21" fmla="*/ 858886 w 2074600"/>
                <a:gd name="connsiteY21" fmla="*/ 146090 h 1038553"/>
                <a:gd name="connsiteX22" fmla="*/ 1504437 w 2074600"/>
                <a:gd name="connsiteY22" fmla="*/ 121947 h 1038553"/>
                <a:gd name="connsiteX23" fmla="*/ 1602459 w 2074600"/>
                <a:gd name="connsiteY23" fmla="*/ 252824 h 1038553"/>
                <a:gd name="connsiteX24" fmla="*/ 1707076 w 2074600"/>
                <a:gd name="connsiteY24" fmla="*/ 334156 h 1038553"/>
                <a:gd name="connsiteX25" fmla="*/ 2063577 w 2074600"/>
                <a:gd name="connsiteY25" fmla="*/ 891680 h 1038553"/>
                <a:gd name="connsiteX26" fmla="*/ 2018699 w 2074600"/>
                <a:gd name="connsiteY26" fmla="*/ 1012775 h 1038553"/>
                <a:gd name="connsiteX0" fmla="*/ 2018699 w 2074600"/>
                <a:gd name="connsiteY0" fmla="*/ 1012775 h 1038553"/>
                <a:gd name="connsiteX1" fmla="*/ 2005998 w 2074600"/>
                <a:gd name="connsiteY1" fmla="*/ 1036172 h 1038553"/>
                <a:gd name="connsiteX2" fmla="*/ 1355055 w 2074600"/>
                <a:gd name="connsiteY2" fmla="*/ 1038553 h 1038553"/>
                <a:gd name="connsiteX3" fmla="*/ 1355055 w 2074600"/>
                <a:gd name="connsiteY3" fmla="*/ 944659 h 1038553"/>
                <a:gd name="connsiteX4" fmla="*/ 1951851 w 2074600"/>
                <a:gd name="connsiteY4" fmla="*/ 947041 h 1038553"/>
                <a:gd name="connsiteX5" fmla="*/ 1808574 w 2074600"/>
                <a:gd name="connsiteY5" fmla="*/ 470526 h 1038553"/>
                <a:gd name="connsiteX6" fmla="*/ 1688693 w 2074600"/>
                <a:gd name="connsiteY6" fmla="*/ 421170 h 1038553"/>
                <a:gd name="connsiteX7" fmla="*/ 1523467 w 2074600"/>
                <a:gd name="connsiteY7" fmla="*/ 292710 h 1038553"/>
                <a:gd name="connsiteX8" fmla="*/ 1030329 w 2074600"/>
                <a:gd name="connsiteY8" fmla="*/ 127885 h 1038553"/>
                <a:gd name="connsiteX9" fmla="*/ 924954 w 2074600"/>
                <a:gd name="connsiteY9" fmla="*/ 206810 h 1038553"/>
                <a:gd name="connsiteX10" fmla="*/ 730203 w 2074600"/>
                <a:gd name="connsiteY10" fmla="*/ 279786 h 1038553"/>
                <a:gd name="connsiteX11" fmla="*/ 430613 w 2074600"/>
                <a:gd name="connsiteY11" fmla="*/ 503616 h 1038553"/>
                <a:gd name="connsiteX12" fmla="*/ 306053 w 2074600"/>
                <a:gd name="connsiteY12" fmla="*/ 669733 h 1038553"/>
                <a:gd name="connsiteX13" fmla="*/ 98824 w 2074600"/>
                <a:gd name="connsiteY13" fmla="*/ 947041 h 1038553"/>
                <a:gd name="connsiteX14" fmla="*/ 570455 w 2074600"/>
                <a:gd name="connsiteY14" fmla="*/ 947041 h 1038553"/>
                <a:gd name="connsiteX15" fmla="*/ 572822 w 2074600"/>
                <a:gd name="connsiteY15" fmla="*/ 1035476 h 1038553"/>
                <a:gd name="connsiteX16" fmla="*/ 0 w 2074600"/>
                <a:gd name="connsiteY16" fmla="*/ 1036172 h 1038553"/>
                <a:gd name="connsiteX17" fmla="*/ 3565 w 2074600"/>
                <a:gd name="connsiteY17" fmla="*/ 988264 h 1038553"/>
                <a:gd name="connsiteX18" fmla="*/ 264607 w 2074600"/>
                <a:gd name="connsiteY18" fmla="*/ 590518 h 1038553"/>
                <a:gd name="connsiteX19" fmla="*/ 342596 w 2074600"/>
                <a:gd name="connsiteY19" fmla="*/ 486124 h 1038553"/>
                <a:gd name="connsiteX20" fmla="*/ 737891 w 2074600"/>
                <a:gd name="connsiteY20" fmla="*/ 190655 h 1038553"/>
                <a:gd name="connsiteX21" fmla="*/ 858886 w 2074600"/>
                <a:gd name="connsiteY21" fmla="*/ 146090 h 1038553"/>
                <a:gd name="connsiteX22" fmla="*/ 1504437 w 2074600"/>
                <a:gd name="connsiteY22" fmla="*/ 121947 h 1038553"/>
                <a:gd name="connsiteX23" fmla="*/ 1602459 w 2074600"/>
                <a:gd name="connsiteY23" fmla="*/ 252824 h 1038553"/>
                <a:gd name="connsiteX24" fmla="*/ 1707076 w 2074600"/>
                <a:gd name="connsiteY24" fmla="*/ 334156 h 1038553"/>
                <a:gd name="connsiteX25" fmla="*/ 2063577 w 2074600"/>
                <a:gd name="connsiteY25" fmla="*/ 891680 h 1038553"/>
                <a:gd name="connsiteX26" fmla="*/ 2018699 w 2074600"/>
                <a:gd name="connsiteY26" fmla="*/ 1012775 h 1038553"/>
                <a:gd name="connsiteX0" fmla="*/ 2018699 w 2074600"/>
                <a:gd name="connsiteY0" fmla="*/ 1012775 h 1038553"/>
                <a:gd name="connsiteX1" fmla="*/ 2005998 w 2074600"/>
                <a:gd name="connsiteY1" fmla="*/ 1036172 h 1038553"/>
                <a:gd name="connsiteX2" fmla="*/ 1355055 w 2074600"/>
                <a:gd name="connsiteY2" fmla="*/ 1038553 h 1038553"/>
                <a:gd name="connsiteX3" fmla="*/ 1355055 w 2074600"/>
                <a:gd name="connsiteY3" fmla="*/ 944659 h 1038553"/>
                <a:gd name="connsiteX4" fmla="*/ 1951851 w 2074600"/>
                <a:gd name="connsiteY4" fmla="*/ 947041 h 1038553"/>
                <a:gd name="connsiteX5" fmla="*/ 1808574 w 2074600"/>
                <a:gd name="connsiteY5" fmla="*/ 470526 h 1038553"/>
                <a:gd name="connsiteX6" fmla="*/ 1688693 w 2074600"/>
                <a:gd name="connsiteY6" fmla="*/ 421170 h 1038553"/>
                <a:gd name="connsiteX7" fmla="*/ 1523467 w 2074600"/>
                <a:gd name="connsiteY7" fmla="*/ 292710 h 1038553"/>
                <a:gd name="connsiteX8" fmla="*/ 1030329 w 2074600"/>
                <a:gd name="connsiteY8" fmla="*/ 127885 h 1038553"/>
                <a:gd name="connsiteX9" fmla="*/ 924954 w 2074600"/>
                <a:gd name="connsiteY9" fmla="*/ 206810 h 1038553"/>
                <a:gd name="connsiteX10" fmla="*/ 730203 w 2074600"/>
                <a:gd name="connsiteY10" fmla="*/ 279786 h 1038553"/>
                <a:gd name="connsiteX11" fmla="*/ 430613 w 2074600"/>
                <a:gd name="connsiteY11" fmla="*/ 503616 h 1038553"/>
                <a:gd name="connsiteX12" fmla="*/ 306053 w 2074600"/>
                <a:gd name="connsiteY12" fmla="*/ 669733 h 1038553"/>
                <a:gd name="connsiteX13" fmla="*/ 98824 w 2074600"/>
                <a:gd name="connsiteY13" fmla="*/ 947041 h 1038553"/>
                <a:gd name="connsiteX14" fmla="*/ 570455 w 2074600"/>
                <a:gd name="connsiteY14" fmla="*/ 947041 h 1038553"/>
                <a:gd name="connsiteX15" fmla="*/ 572822 w 2074600"/>
                <a:gd name="connsiteY15" fmla="*/ 1035476 h 1038553"/>
                <a:gd name="connsiteX16" fmla="*/ 0 w 2074600"/>
                <a:gd name="connsiteY16" fmla="*/ 1036172 h 1038553"/>
                <a:gd name="connsiteX17" fmla="*/ 3565 w 2074600"/>
                <a:gd name="connsiteY17" fmla="*/ 988264 h 1038553"/>
                <a:gd name="connsiteX18" fmla="*/ 264607 w 2074600"/>
                <a:gd name="connsiteY18" fmla="*/ 590518 h 1038553"/>
                <a:gd name="connsiteX19" fmla="*/ 342596 w 2074600"/>
                <a:gd name="connsiteY19" fmla="*/ 486124 h 1038553"/>
                <a:gd name="connsiteX20" fmla="*/ 737891 w 2074600"/>
                <a:gd name="connsiteY20" fmla="*/ 190655 h 1038553"/>
                <a:gd name="connsiteX21" fmla="*/ 858886 w 2074600"/>
                <a:gd name="connsiteY21" fmla="*/ 146090 h 1038553"/>
                <a:gd name="connsiteX22" fmla="*/ 1504437 w 2074600"/>
                <a:gd name="connsiteY22" fmla="*/ 121947 h 1038553"/>
                <a:gd name="connsiteX23" fmla="*/ 1602459 w 2074600"/>
                <a:gd name="connsiteY23" fmla="*/ 252824 h 1038553"/>
                <a:gd name="connsiteX24" fmla="*/ 1707076 w 2074600"/>
                <a:gd name="connsiteY24" fmla="*/ 334156 h 1038553"/>
                <a:gd name="connsiteX25" fmla="*/ 2063577 w 2074600"/>
                <a:gd name="connsiteY25" fmla="*/ 891680 h 1038553"/>
                <a:gd name="connsiteX26" fmla="*/ 2018699 w 2074600"/>
                <a:gd name="connsiteY26" fmla="*/ 1012775 h 1038553"/>
                <a:gd name="connsiteX0" fmla="*/ 2018699 w 2074600"/>
                <a:gd name="connsiteY0" fmla="*/ 1012775 h 1038553"/>
                <a:gd name="connsiteX1" fmla="*/ 2005998 w 2074600"/>
                <a:gd name="connsiteY1" fmla="*/ 1036172 h 1038553"/>
                <a:gd name="connsiteX2" fmla="*/ 1355055 w 2074600"/>
                <a:gd name="connsiteY2" fmla="*/ 1038553 h 1038553"/>
                <a:gd name="connsiteX3" fmla="*/ 1479623 w 2074600"/>
                <a:gd name="connsiteY3" fmla="*/ 946658 h 1038553"/>
                <a:gd name="connsiteX4" fmla="*/ 1951851 w 2074600"/>
                <a:gd name="connsiteY4" fmla="*/ 947041 h 1038553"/>
                <a:gd name="connsiteX5" fmla="*/ 1808574 w 2074600"/>
                <a:gd name="connsiteY5" fmla="*/ 470526 h 1038553"/>
                <a:gd name="connsiteX6" fmla="*/ 1688693 w 2074600"/>
                <a:gd name="connsiteY6" fmla="*/ 421170 h 1038553"/>
                <a:gd name="connsiteX7" fmla="*/ 1523467 w 2074600"/>
                <a:gd name="connsiteY7" fmla="*/ 292710 h 1038553"/>
                <a:gd name="connsiteX8" fmla="*/ 1030329 w 2074600"/>
                <a:gd name="connsiteY8" fmla="*/ 127885 h 1038553"/>
                <a:gd name="connsiteX9" fmla="*/ 924954 w 2074600"/>
                <a:gd name="connsiteY9" fmla="*/ 206810 h 1038553"/>
                <a:gd name="connsiteX10" fmla="*/ 730203 w 2074600"/>
                <a:gd name="connsiteY10" fmla="*/ 279786 h 1038553"/>
                <a:gd name="connsiteX11" fmla="*/ 430613 w 2074600"/>
                <a:gd name="connsiteY11" fmla="*/ 503616 h 1038553"/>
                <a:gd name="connsiteX12" fmla="*/ 306053 w 2074600"/>
                <a:gd name="connsiteY12" fmla="*/ 669733 h 1038553"/>
                <a:gd name="connsiteX13" fmla="*/ 98824 w 2074600"/>
                <a:gd name="connsiteY13" fmla="*/ 947041 h 1038553"/>
                <a:gd name="connsiteX14" fmla="*/ 570455 w 2074600"/>
                <a:gd name="connsiteY14" fmla="*/ 947041 h 1038553"/>
                <a:gd name="connsiteX15" fmla="*/ 572822 w 2074600"/>
                <a:gd name="connsiteY15" fmla="*/ 1035476 h 1038553"/>
                <a:gd name="connsiteX16" fmla="*/ 0 w 2074600"/>
                <a:gd name="connsiteY16" fmla="*/ 1036172 h 1038553"/>
                <a:gd name="connsiteX17" fmla="*/ 3565 w 2074600"/>
                <a:gd name="connsiteY17" fmla="*/ 988264 h 1038553"/>
                <a:gd name="connsiteX18" fmla="*/ 264607 w 2074600"/>
                <a:gd name="connsiteY18" fmla="*/ 590518 h 1038553"/>
                <a:gd name="connsiteX19" fmla="*/ 342596 w 2074600"/>
                <a:gd name="connsiteY19" fmla="*/ 486124 h 1038553"/>
                <a:gd name="connsiteX20" fmla="*/ 737891 w 2074600"/>
                <a:gd name="connsiteY20" fmla="*/ 190655 h 1038553"/>
                <a:gd name="connsiteX21" fmla="*/ 858886 w 2074600"/>
                <a:gd name="connsiteY21" fmla="*/ 146090 h 1038553"/>
                <a:gd name="connsiteX22" fmla="*/ 1504437 w 2074600"/>
                <a:gd name="connsiteY22" fmla="*/ 121947 h 1038553"/>
                <a:gd name="connsiteX23" fmla="*/ 1602459 w 2074600"/>
                <a:gd name="connsiteY23" fmla="*/ 252824 h 1038553"/>
                <a:gd name="connsiteX24" fmla="*/ 1707076 w 2074600"/>
                <a:gd name="connsiteY24" fmla="*/ 334156 h 1038553"/>
                <a:gd name="connsiteX25" fmla="*/ 2063577 w 2074600"/>
                <a:gd name="connsiteY25" fmla="*/ 891680 h 1038553"/>
                <a:gd name="connsiteX26" fmla="*/ 2018699 w 2074600"/>
                <a:gd name="connsiteY26" fmla="*/ 1012775 h 1038553"/>
                <a:gd name="connsiteX0" fmla="*/ 2018699 w 2074600"/>
                <a:gd name="connsiteY0" fmla="*/ 1012775 h 1038553"/>
                <a:gd name="connsiteX1" fmla="*/ 2005998 w 2074600"/>
                <a:gd name="connsiteY1" fmla="*/ 1036172 h 1038553"/>
                <a:gd name="connsiteX2" fmla="*/ 1355055 w 2074600"/>
                <a:gd name="connsiteY2" fmla="*/ 1038553 h 1038553"/>
                <a:gd name="connsiteX3" fmla="*/ 1479623 w 2074600"/>
                <a:gd name="connsiteY3" fmla="*/ 946658 h 1038553"/>
                <a:gd name="connsiteX4" fmla="*/ 1951851 w 2074600"/>
                <a:gd name="connsiteY4" fmla="*/ 947041 h 1038553"/>
                <a:gd name="connsiteX5" fmla="*/ 1808574 w 2074600"/>
                <a:gd name="connsiteY5" fmla="*/ 470526 h 1038553"/>
                <a:gd name="connsiteX6" fmla="*/ 1688693 w 2074600"/>
                <a:gd name="connsiteY6" fmla="*/ 421170 h 1038553"/>
                <a:gd name="connsiteX7" fmla="*/ 1523467 w 2074600"/>
                <a:gd name="connsiteY7" fmla="*/ 292710 h 1038553"/>
                <a:gd name="connsiteX8" fmla="*/ 1030329 w 2074600"/>
                <a:gd name="connsiteY8" fmla="*/ 127885 h 1038553"/>
                <a:gd name="connsiteX9" fmla="*/ 924954 w 2074600"/>
                <a:gd name="connsiteY9" fmla="*/ 206810 h 1038553"/>
                <a:gd name="connsiteX10" fmla="*/ 730203 w 2074600"/>
                <a:gd name="connsiteY10" fmla="*/ 279786 h 1038553"/>
                <a:gd name="connsiteX11" fmla="*/ 430613 w 2074600"/>
                <a:gd name="connsiteY11" fmla="*/ 503616 h 1038553"/>
                <a:gd name="connsiteX12" fmla="*/ 306053 w 2074600"/>
                <a:gd name="connsiteY12" fmla="*/ 669733 h 1038553"/>
                <a:gd name="connsiteX13" fmla="*/ 98824 w 2074600"/>
                <a:gd name="connsiteY13" fmla="*/ 947041 h 1038553"/>
                <a:gd name="connsiteX14" fmla="*/ 570455 w 2074600"/>
                <a:gd name="connsiteY14" fmla="*/ 947041 h 1038553"/>
                <a:gd name="connsiteX15" fmla="*/ 572822 w 2074600"/>
                <a:gd name="connsiteY15" fmla="*/ 1035476 h 1038553"/>
                <a:gd name="connsiteX16" fmla="*/ 0 w 2074600"/>
                <a:gd name="connsiteY16" fmla="*/ 1036172 h 1038553"/>
                <a:gd name="connsiteX17" fmla="*/ 3565 w 2074600"/>
                <a:gd name="connsiteY17" fmla="*/ 988264 h 1038553"/>
                <a:gd name="connsiteX18" fmla="*/ 264607 w 2074600"/>
                <a:gd name="connsiteY18" fmla="*/ 590518 h 1038553"/>
                <a:gd name="connsiteX19" fmla="*/ 342596 w 2074600"/>
                <a:gd name="connsiteY19" fmla="*/ 486124 h 1038553"/>
                <a:gd name="connsiteX20" fmla="*/ 737891 w 2074600"/>
                <a:gd name="connsiteY20" fmla="*/ 190655 h 1038553"/>
                <a:gd name="connsiteX21" fmla="*/ 858886 w 2074600"/>
                <a:gd name="connsiteY21" fmla="*/ 146090 h 1038553"/>
                <a:gd name="connsiteX22" fmla="*/ 1504437 w 2074600"/>
                <a:gd name="connsiteY22" fmla="*/ 121947 h 1038553"/>
                <a:gd name="connsiteX23" fmla="*/ 1602459 w 2074600"/>
                <a:gd name="connsiteY23" fmla="*/ 252824 h 1038553"/>
                <a:gd name="connsiteX24" fmla="*/ 1707076 w 2074600"/>
                <a:gd name="connsiteY24" fmla="*/ 334156 h 1038553"/>
                <a:gd name="connsiteX25" fmla="*/ 2063577 w 2074600"/>
                <a:gd name="connsiteY25" fmla="*/ 891680 h 1038553"/>
                <a:gd name="connsiteX26" fmla="*/ 2018699 w 2074600"/>
                <a:gd name="connsiteY26" fmla="*/ 1012775 h 1038553"/>
                <a:gd name="connsiteX0" fmla="*/ 2018699 w 2074600"/>
                <a:gd name="connsiteY0" fmla="*/ 1012775 h 1038553"/>
                <a:gd name="connsiteX1" fmla="*/ 2005998 w 2074600"/>
                <a:gd name="connsiteY1" fmla="*/ 1036172 h 1038553"/>
                <a:gd name="connsiteX2" fmla="*/ 1355055 w 2074600"/>
                <a:gd name="connsiteY2" fmla="*/ 1038553 h 1038553"/>
                <a:gd name="connsiteX3" fmla="*/ 1479623 w 2074600"/>
                <a:gd name="connsiteY3" fmla="*/ 946658 h 1038553"/>
                <a:gd name="connsiteX4" fmla="*/ 1951851 w 2074600"/>
                <a:gd name="connsiteY4" fmla="*/ 947041 h 1038553"/>
                <a:gd name="connsiteX5" fmla="*/ 1808574 w 2074600"/>
                <a:gd name="connsiteY5" fmla="*/ 470526 h 1038553"/>
                <a:gd name="connsiteX6" fmla="*/ 1688693 w 2074600"/>
                <a:gd name="connsiteY6" fmla="*/ 421170 h 1038553"/>
                <a:gd name="connsiteX7" fmla="*/ 1523467 w 2074600"/>
                <a:gd name="connsiteY7" fmla="*/ 292710 h 1038553"/>
                <a:gd name="connsiteX8" fmla="*/ 1030329 w 2074600"/>
                <a:gd name="connsiteY8" fmla="*/ 127885 h 1038553"/>
                <a:gd name="connsiteX9" fmla="*/ 924954 w 2074600"/>
                <a:gd name="connsiteY9" fmla="*/ 206810 h 1038553"/>
                <a:gd name="connsiteX10" fmla="*/ 730203 w 2074600"/>
                <a:gd name="connsiteY10" fmla="*/ 279786 h 1038553"/>
                <a:gd name="connsiteX11" fmla="*/ 430613 w 2074600"/>
                <a:gd name="connsiteY11" fmla="*/ 503616 h 1038553"/>
                <a:gd name="connsiteX12" fmla="*/ 306053 w 2074600"/>
                <a:gd name="connsiteY12" fmla="*/ 669733 h 1038553"/>
                <a:gd name="connsiteX13" fmla="*/ 98824 w 2074600"/>
                <a:gd name="connsiteY13" fmla="*/ 947041 h 1038553"/>
                <a:gd name="connsiteX14" fmla="*/ 570455 w 2074600"/>
                <a:gd name="connsiteY14" fmla="*/ 947041 h 1038553"/>
                <a:gd name="connsiteX15" fmla="*/ 572822 w 2074600"/>
                <a:gd name="connsiteY15" fmla="*/ 1035476 h 1038553"/>
                <a:gd name="connsiteX16" fmla="*/ 0 w 2074600"/>
                <a:gd name="connsiteY16" fmla="*/ 1036172 h 1038553"/>
                <a:gd name="connsiteX17" fmla="*/ 3565 w 2074600"/>
                <a:gd name="connsiteY17" fmla="*/ 988264 h 1038553"/>
                <a:gd name="connsiteX18" fmla="*/ 264607 w 2074600"/>
                <a:gd name="connsiteY18" fmla="*/ 590518 h 1038553"/>
                <a:gd name="connsiteX19" fmla="*/ 342596 w 2074600"/>
                <a:gd name="connsiteY19" fmla="*/ 486124 h 1038553"/>
                <a:gd name="connsiteX20" fmla="*/ 737891 w 2074600"/>
                <a:gd name="connsiteY20" fmla="*/ 190655 h 1038553"/>
                <a:gd name="connsiteX21" fmla="*/ 858886 w 2074600"/>
                <a:gd name="connsiteY21" fmla="*/ 146090 h 1038553"/>
                <a:gd name="connsiteX22" fmla="*/ 1504437 w 2074600"/>
                <a:gd name="connsiteY22" fmla="*/ 121947 h 1038553"/>
                <a:gd name="connsiteX23" fmla="*/ 1602459 w 2074600"/>
                <a:gd name="connsiteY23" fmla="*/ 252824 h 1038553"/>
                <a:gd name="connsiteX24" fmla="*/ 1707076 w 2074600"/>
                <a:gd name="connsiteY24" fmla="*/ 334156 h 1038553"/>
                <a:gd name="connsiteX25" fmla="*/ 2063577 w 2074600"/>
                <a:gd name="connsiteY25" fmla="*/ 891680 h 1038553"/>
                <a:gd name="connsiteX26" fmla="*/ 2018699 w 2074600"/>
                <a:gd name="connsiteY26" fmla="*/ 1012775 h 1038553"/>
                <a:gd name="connsiteX0" fmla="*/ 2018699 w 2074600"/>
                <a:gd name="connsiteY0" fmla="*/ 1012775 h 1038553"/>
                <a:gd name="connsiteX1" fmla="*/ 2005998 w 2074600"/>
                <a:gd name="connsiteY1" fmla="*/ 1036172 h 1038553"/>
                <a:gd name="connsiteX2" fmla="*/ 1355055 w 2074600"/>
                <a:gd name="connsiteY2" fmla="*/ 1038553 h 1038553"/>
                <a:gd name="connsiteX3" fmla="*/ 1479623 w 2074600"/>
                <a:gd name="connsiteY3" fmla="*/ 946658 h 1038553"/>
                <a:gd name="connsiteX4" fmla="*/ 1951851 w 2074600"/>
                <a:gd name="connsiteY4" fmla="*/ 947041 h 1038553"/>
                <a:gd name="connsiteX5" fmla="*/ 1808574 w 2074600"/>
                <a:gd name="connsiteY5" fmla="*/ 470526 h 1038553"/>
                <a:gd name="connsiteX6" fmla="*/ 1688693 w 2074600"/>
                <a:gd name="connsiteY6" fmla="*/ 421170 h 1038553"/>
                <a:gd name="connsiteX7" fmla="*/ 1523467 w 2074600"/>
                <a:gd name="connsiteY7" fmla="*/ 292710 h 1038553"/>
                <a:gd name="connsiteX8" fmla="*/ 1030329 w 2074600"/>
                <a:gd name="connsiteY8" fmla="*/ 127885 h 1038553"/>
                <a:gd name="connsiteX9" fmla="*/ 924954 w 2074600"/>
                <a:gd name="connsiteY9" fmla="*/ 206810 h 1038553"/>
                <a:gd name="connsiteX10" fmla="*/ 730203 w 2074600"/>
                <a:gd name="connsiteY10" fmla="*/ 279786 h 1038553"/>
                <a:gd name="connsiteX11" fmla="*/ 430613 w 2074600"/>
                <a:gd name="connsiteY11" fmla="*/ 503616 h 1038553"/>
                <a:gd name="connsiteX12" fmla="*/ 306053 w 2074600"/>
                <a:gd name="connsiteY12" fmla="*/ 669733 h 1038553"/>
                <a:gd name="connsiteX13" fmla="*/ 98824 w 2074600"/>
                <a:gd name="connsiteY13" fmla="*/ 947041 h 1038553"/>
                <a:gd name="connsiteX14" fmla="*/ 570455 w 2074600"/>
                <a:gd name="connsiteY14" fmla="*/ 947041 h 1038553"/>
                <a:gd name="connsiteX15" fmla="*/ 572822 w 2074600"/>
                <a:gd name="connsiteY15" fmla="*/ 1035476 h 1038553"/>
                <a:gd name="connsiteX16" fmla="*/ 0 w 2074600"/>
                <a:gd name="connsiteY16" fmla="*/ 1036172 h 1038553"/>
                <a:gd name="connsiteX17" fmla="*/ 3565 w 2074600"/>
                <a:gd name="connsiteY17" fmla="*/ 988264 h 1038553"/>
                <a:gd name="connsiteX18" fmla="*/ 264607 w 2074600"/>
                <a:gd name="connsiteY18" fmla="*/ 590518 h 1038553"/>
                <a:gd name="connsiteX19" fmla="*/ 342596 w 2074600"/>
                <a:gd name="connsiteY19" fmla="*/ 486124 h 1038553"/>
                <a:gd name="connsiteX20" fmla="*/ 737891 w 2074600"/>
                <a:gd name="connsiteY20" fmla="*/ 190655 h 1038553"/>
                <a:gd name="connsiteX21" fmla="*/ 858886 w 2074600"/>
                <a:gd name="connsiteY21" fmla="*/ 146090 h 1038553"/>
                <a:gd name="connsiteX22" fmla="*/ 1504437 w 2074600"/>
                <a:gd name="connsiteY22" fmla="*/ 121947 h 1038553"/>
                <a:gd name="connsiteX23" fmla="*/ 1602459 w 2074600"/>
                <a:gd name="connsiteY23" fmla="*/ 252824 h 1038553"/>
                <a:gd name="connsiteX24" fmla="*/ 1707076 w 2074600"/>
                <a:gd name="connsiteY24" fmla="*/ 334156 h 1038553"/>
                <a:gd name="connsiteX25" fmla="*/ 2063577 w 2074600"/>
                <a:gd name="connsiteY25" fmla="*/ 891680 h 1038553"/>
                <a:gd name="connsiteX26" fmla="*/ 2018699 w 2074600"/>
                <a:gd name="connsiteY26" fmla="*/ 1012775 h 1038553"/>
                <a:gd name="connsiteX0" fmla="*/ 2018699 w 2074600"/>
                <a:gd name="connsiteY0" fmla="*/ 1012775 h 1038553"/>
                <a:gd name="connsiteX1" fmla="*/ 2005998 w 2074600"/>
                <a:gd name="connsiteY1" fmla="*/ 1036172 h 1038553"/>
                <a:gd name="connsiteX2" fmla="*/ 1355055 w 2074600"/>
                <a:gd name="connsiteY2" fmla="*/ 1038553 h 1038553"/>
                <a:gd name="connsiteX3" fmla="*/ 1479623 w 2074600"/>
                <a:gd name="connsiteY3" fmla="*/ 946658 h 1038553"/>
                <a:gd name="connsiteX4" fmla="*/ 1951851 w 2074600"/>
                <a:gd name="connsiteY4" fmla="*/ 947041 h 1038553"/>
                <a:gd name="connsiteX5" fmla="*/ 1808574 w 2074600"/>
                <a:gd name="connsiteY5" fmla="*/ 470526 h 1038553"/>
                <a:gd name="connsiteX6" fmla="*/ 1688693 w 2074600"/>
                <a:gd name="connsiteY6" fmla="*/ 421170 h 1038553"/>
                <a:gd name="connsiteX7" fmla="*/ 1523467 w 2074600"/>
                <a:gd name="connsiteY7" fmla="*/ 292710 h 1038553"/>
                <a:gd name="connsiteX8" fmla="*/ 1030329 w 2074600"/>
                <a:gd name="connsiteY8" fmla="*/ 127885 h 1038553"/>
                <a:gd name="connsiteX9" fmla="*/ 924954 w 2074600"/>
                <a:gd name="connsiteY9" fmla="*/ 206810 h 1038553"/>
                <a:gd name="connsiteX10" fmla="*/ 730203 w 2074600"/>
                <a:gd name="connsiteY10" fmla="*/ 279786 h 1038553"/>
                <a:gd name="connsiteX11" fmla="*/ 430613 w 2074600"/>
                <a:gd name="connsiteY11" fmla="*/ 503616 h 1038553"/>
                <a:gd name="connsiteX12" fmla="*/ 306053 w 2074600"/>
                <a:gd name="connsiteY12" fmla="*/ 669733 h 1038553"/>
                <a:gd name="connsiteX13" fmla="*/ 98824 w 2074600"/>
                <a:gd name="connsiteY13" fmla="*/ 947041 h 1038553"/>
                <a:gd name="connsiteX14" fmla="*/ 570455 w 2074600"/>
                <a:gd name="connsiteY14" fmla="*/ 947041 h 1038553"/>
                <a:gd name="connsiteX15" fmla="*/ 572822 w 2074600"/>
                <a:gd name="connsiteY15" fmla="*/ 1035476 h 1038553"/>
                <a:gd name="connsiteX16" fmla="*/ 0 w 2074600"/>
                <a:gd name="connsiteY16" fmla="*/ 1036172 h 1038553"/>
                <a:gd name="connsiteX17" fmla="*/ 3565 w 2074600"/>
                <a:gd name="connsiteY17" fmla="*/ 988264 h 1038553"/>
                <a:gd name="connsiteX18" fmla="*/ 264607 w 2074600"/>
                <a:gd name="connsiteY18" fmla="*/ 590518 h 1038553"/>
                <a:gd name="connsiteX19" fmla="*/ 342596 w 2074600"/>
                <a:gd name="connsiteY19" fmla="*/ 486124 h 1038553"/>
                <a:gd name="connsiteX20" fmla="*/ 737891 w 2074600"/>
                <a:gd name="connsiteY20" fmla="*/ 190655 h 1038553"/>
                <a:gd name="connsiteX21" fmla="*/ 858886 w 2074600"/>
                <a:gd name="connsiteY21" fmla="*/ 146090 h 1038553"/>
                <a:gd name="connsiteX22" fmla="*/ 1504437 w 2074600"/>
                <a:gd name="connsiteY22" fmla="*/ 121947 h 1038553"/>
                <a:gd name="connsiteX23" fmla="*/ 1602459 w 2074600"/>
                <a:gd name="connsiteY23" fmla="*/ 252824 h 1038553"/>
                <a:gd name="connsiteX24" fmla="*/ 1707076 w 2074600"/>
                <a:gd name="connsiteY24" fmla="*/ 334156 h 1038553"/>
                <a:gd name="connsiteX25" fmla="*/ 2063577 w 2074600"/>
                <a:gd name="connsiteY25" fmla="*/ 891680 h 1038553"/>
                <a:gd name="connsiteX26" fmla="*/ 2018699 w 2074600"/>
                <a:gd name="connsiteY26" fmla="*/ 1012775 h 1038553"/>
                <a:gd name="connsiteX0" fmla="*/ 2018699 w 2074600"/>
                <a:gd name="connsiteY0" fmla="*/ 1012775 h 1038553"/>
                <a:gd name="connsiteX1" fmla="*/ 2005998 w 2074600"/>
                <a:gd name="connsiteY1" fmla="*/ 1036172 h 1038553"/>
                <a:gd name="connsiteX2" fmla="*/ 1364224 w 2074600"/>
                <a:gd name="connsiteY2" fmla="*/ 1034890 h 1038553"/>
                <a:gd name="connsiteX3" fmla="*/ 1355055 w 2074600"/>
                <a:gd name="connsiteY3" fmla="*/ 1038553 h 1038553"/>
                <a:gd name="connsiteX4" fmla="*/ 1479623 w 2074600"/>
                <a:gd name="connsiteY4" fmla="*/ 946658 h 1038553"/>
                <a:gd name="connsiteX5" fmla="*/ 1951851 w 2074600"/>
                <a:gd name="connsiteY5" fmla="*/ 947041 h 1038553"/>
                <a:gd name="connsiteX6" fmla="*/ 1808574 w 2074600"/>
                <a:gd name="connsiteY6" fmla="*/ 470526 h 1038553"/>
                <a:gd name="connsiteX7" fmla="*/ 1688693 w 2074600"/>
                <a:gd name="connsiteY7" fmla="*/ 421170 h 1038553"/>
                <a:gd name="connsiteX8" fmla="*/ 1523467 w 2074600"/>
                <a:gd name="connsiteY8" fmla="*/ 292710 h 1038553"/>
                <a:gd name="connsiteX9" fmla="*/ 1030329 w 2074600"/>
                <a:gd name="connsiteY9" fmla="*/ 127885 h 1038553"/>
                <a:gd name="connsiteX10" fmla="*/ 924954 w 2074600"/>
                <a:gd name="connsiteY10" fmla="*/ 206810 h 1038553"/>
                <a:gd name="connsiteX11" fmla="*/ 730203 w 2074600"/>
                <a:gd name="connsiteY11" fmla="*/ 279786 h 1038553"/>
                <a:gd name="connsiteX12" fmla="*/ 430613 w 2074600"/>
                <a:gd name="connsiteY12" fmla="*/ 503616 h 1038553"/>
                <a:gd name="connsiteX13" fmla="*/ 306053 w 2074600"/>
                <a:gd name="connsiteY13" fmla="*/ 669733 h 1038553"/>
                <a:gd name="connsiteX14" fmla="*/ 98824 w 2074600"/>
                <a:gd name="connsiteY14" fmla="*/ 947041 h 1038553"/>
                <a:gd name="connsiteX15" fmla="*/ 570455 w 2074600"/>
                <a:gd name="connsiteY15" fmla="*/ 947041 h 1038553"/>
                <a:gd name="connsiteX16" fmla="*/ 572822 w 2074600"/>
                <a:gd name="connsiteY16" fmla="*/ 1035476 h 1038553"/>
                <a:gd name="connsiteX17" fmla="*/ 0 w 2074600"/>
                <a:gd name="connsiteY17" fmla="*/ 1036172 h 1038553"/>
                <a:gd name="connsiteX18" fmla="*/ 3565 w 2074600"/>
                <a:gd name="connsiteY18" fmla="*/ 988264 h 1038553"/>
                <a:gd name="connsiteX19" fmla="*/ 264607 w 2074600"/>
                <a:gd name="connsiteY19" fmla="*/ 590518 h 1038553"/>
                <a:gd name="connsiteX20" fmla="*/ 342596 w 2074600"/>
                <a:gd name="connsiteY20" fmla="*/ 486124 h 1038553"/>
                <a:gd name="connsiteX21" fmla="*/ 737891 w 2074600"/>
                <a:gd name="connsiteY21" fmla="*/ 190655 h 1038553"/>
                <a:gd name="connsiteX22" fmla="*/ 858886 w 2074600"/>
                <a:gd name="connsiteY22" fmla="*/ 146090 h 1038553"/>
                <a:gd name="connsiteX23" fmla="*/ 1504437 w 2074600"/>
                <a:gd name="connsiteY23" fmla="*/ 121947 h 1038553"/>
                <a:gd name="connsiteX24" fmla="*/ 1602459 w 2074600"/>
                <a:gd name="connsiteY24" fmla="*/ 252824 h 1038553"/>
                <a:gd name="connsiteX25" fmla="*/ 1707076 w 2074600"/>
                <a:gd name="connsiteY25" fmla="*/ 334156 h 1038553"/>
                <a:gd name="connsiteX26" fmla="*/ 2063577 w 2074600"/>
                <a:gd name="connsiteY26" fmla="*/ 891680 h 1038553"/>
                <a:gd name="connsiteX27" fmla="*/ 2018699 w 2074600"/>
                <a:gd name="connsiteY27" fmla="*/ 1012775 h 1038553"/>
                <a:gd name="connsiteX0" fmla="*/ 2018699 w 2074600"/>
                <a:gd name="connsiteY0" fmla="*/ 1012775 h 1038553"/>
                <a:gd name="connsiteX1" fmla="*/ 2005998 w 2074600"/>
                <a:gd name="connsiteY1" fmla="*/ 1036172 h 1038553"/>
                <a:gd name="connsiteX2" fmla="*/ 1364224 w 2074600"/>
                <a:gd name="connsiteY2" fmla="*/ 1034890 h 1038553"/>
                <a:gd name="connsiteX3" fmla="*/ 1355055 w 2074600"/>
                <a:gd name="connsiteY3" fmla="*/ 1038553 h 1038553"/>
                <a:gd name="connsiteX4" fmla="*/ 1484887 w 2074600"/>
                <a:gd name="connsiteY4" fmla="*/ 950656 h 1038553"/>
                <a:gd name="connsiteX5" fmla="*/ 1951851 w 2074600"/>
                <a:gd name="connsiteY5" fmla="*/ 947041 h 1038553"/>
                <a:gd name="connsiteX6" fmla="*/ 1808574 w 2074600"/>
                <a:gd name="connsiteY6" fmla="*/ 470526 h 1038553"/>
                <a:gd name="connsiteX7" fmla="*/ 1688693 w 2074600"/>
                <a:gd name="connsiteY7" fmla="*/ 421170 h 1038553"/>
                <a:gd name="connsiteX8" fmla="*/ 1523467 w 2074600"/>
                <a:gd name="connsiteY8" fmla="*/ 292710 h 1038553"/>
                <a:gd name="connsiteX9" fmla="*/ 1030329 w 2074600"/>
                <a:gd name="connsiteY9" fmla="*/ 127885 h 1038553"/>
                <a:gd name="connsiteX10" fmla="*/ 924954 w 2074600"/>
                <a:gd name="connsiteY10" fmla="*/ 206810 h 1038553"/>
                <a:gd name="connsiteX11" fmla="*/ 730203 w 2074600"/>
                <a:gd name="connsiteY11" fmla="*/ 279786 h 1038553"/>
                <a:gd name="connsiteX12" fmla="*/ 430613 w 2074600"/>
                <a:gd name="connsiteY12" fmla="*/ 503616 h 1038553"/>
                <a:gd name="connsiteX13" fmla="*/ 306053 w 2074600"/>
                <a:gd name="connsiteY13" fmla="*/ 669733 h 1038553"/>
                <a:gd name="connsiteX14" fmla="*/ 98824 w 2074600"/>
                <a:gd name="connsiteY14" fmla="*/ 947041 h 1038553"/>
                <a:gd name="connsiteX15" fmla="*/ 570455 w 2074600"/>
                <a:gd name="connsiteY15" fmla="*/ 947041 h 1038553"/>
                <a:gd name="connsiteX16" fmla="*/ 572822 w 2074600"/>
                <a:gd name="connsiteY16" fmla="*/ 1035476 h 1038553"/>
                <a:gd name="connsiteX17" fmla="*/ 0 w 2074600"/>
                <a:gd name="connsiteY17" fmla="*/ 1036172 h 1038553"/>
                <a:gd name="connsiteX18" fmla="*/ 3565 w 2074600"/>
                <a:gd name="connsiteY18" fmla="*/ 988264 h 1038553"/>
                <a:gd name="connsiteX19" fmla="*/ 264607 w 2074600"/>
                <a:gd name="connsiteY19" fmla="*/ 590518 h 1038553"/>
                <a:gd name="connsiteX20" fmla="*/ 342596 w 2074600"/>
                <a:gd name="connsiteY20" fmla="*/ 486124 h 1038553"/>
                <a:gd name="connsiteX21" fmla="*/ 737891 w 2074600"/>
                <a:gd name="connsiteY21" fmla="*/ 190655 h 1038553"/>
                <a:gd name="connsiteX22" fmla="*/ 858886 w 2074600"/>
                <a:gd name="connsiteY22" fmla="*/ 146090 h 1038553"/>
                <a:gd name="connsiteX23" fmla="*/ 1504437 w 2074600"/>
                <a:gd name="connsiteY23" fmla="*/ 121947 h 1038553"/>
                <a:gd name="connsiteX24" fmla="*/ 1602459 w 2074600"/>
                <a:gd name="connsiteY24" fmla="*/ 252824 h 1038553"/>
                <a:gd name="connsiteX25" fmla="*/ 1707076 w 2074600"/>
                <a:gd name="connsiteY25" fmla="*/ 334156 h 1038553"/>
                <a:gd name="connsiteX26" fmla="*/ 2063577 w 2074600"/>
                <a:gd name="connsiteY26" fmla="*/ 891680 h 1038553"/>
                <a:gd name="connsiteX27" fmla="*/ 2018699 w 2074600"/>
                <a:gd name="connsiteY27" fmla="*/ 1012775 h 1038553"/>
                <a:gd name="connsiteX0" fmla="*/ 2018699 w 2074600"/>
                <a:gd name="connsiteY0" fmla="*/ 1012775 h 1038553"/>
                <a:gd name="connsiteX1" fmla="*/ 2005998 w 2074600"/>
                <a:gd name="connsiteY1" fmla="*/ 1036172 h 1038553"/>
                <a:gd name="connsiteX2" fmla="*/ 1364224 w 2074600"/>
                <a:gd name="connsiteY2" fmla="*/ 1034890 h 1038553"/>
                <a:gd name="connsiteX3" fmla="*/ 1355055 w 2074600"/>
                <a:gd name="connsiteY3" fmla="*/ 1038553 h 1038553"/>
                <a:gd name="connsiteX4" fmla="*/ 1528748 w 2074600"/>
                <a:gd name="connsiteY4" fmla="*/ 946658 h 1038553"/>
                <a:gd name="connsiteX5" fmla="*/ 1951851 w 2074600"/>
                <a:gd name="connsiteY5" fmla="*/ 947041 h 1038553"/>
                <a:gd name="connsiteX6" fmla="*/ 1808574 w 2074600"/>
                <a:gd name="connsiteY6" fmla="*/ 470526 h 1038553"/>
                <a:gd name="connsiteX7" fmla="*/ 1688693 w 2074600"/>
                <a:gd name="connsiteY7" fmla="*/ 421170 h 1038553"/>
                <a:gd name="connsiteX8" fmla="*/ 1523467 w 2074600"/>
                <a:gd name="connsiteY8" fmla="*/ 292710 h 1038553"/>
                <a:gd name="connsiteX9" fmla="*/ 1030329 w 2074600"/>
                <a:gd name="connsiteY9" fmla="*/ 127885 h 1038553"/>
                <a:gd name="connsiteX10" fmla="*/ 924954 w 2074600"/>
                <a:gd name="connsiteY10" fmla="*/ 206810 h 1038553"/>
                <a:gd name="connsiteX11" fmla="*/ 730203 w 2074600"/>
                <a:gd name="connsiteY11" fmla="*/ 279786 h 1038553"/>
                <a:gd name="connsiteX12" fmla="*/ 430613 w 2074600"/>
                <a:gd name="connsiteY12" fmla="*/ 503616 h 1038553"/>
                <a:gd name="connsiteX13" fmla="*/ 306053 w 2074600"/>
                <a:gd name="connsiteY13" fmla="*/ 669733 h 1038553"/>
                <a:gd name="connsiteX14" fmla="*/ 98824 w 2074600"/>
                <a:gd name="connsiteY14" fmla="*/ 947041 h 1038553"/>
                <a:gd name="connsiteX15" fmla="*/ 570455 w 2074600"/>
                <a:gd name="connsiteY15" fmla="*/ 947041 h 1038553"/>
                <a:gd name="connsiteX16" fmla="*/ 572822 w 2074600"/>
                <a:gd name="connsiteY16" fmla="*/ 1035476 h 1038553"/>
                <a:gd name="connsiteX17" fmla="*/ 0 w 2074600"/>
                <a:gd name="connsiteY17" fmla="*/ 1036172 h 1038553"/>
                <a:gd name="connsiteX18" fmla="*/ 3565 w 2074600"/>
                <a:gd name="connsiteY18" fmla="*/ 988264 h 1038553"/>
                <a:gd name="connsiteX19" fmla="*/ 264607 w 2074600"/>
                <a:gd name="connsiteY19" fmla="*/ 590518 h 1038553"/>
                <a:gd name="connsiteX20" fmla="*/ 342596 w 2074600"/>
                <a:gd name="connsiteY20" fmla="*/ 486124 h 1038553"/>
                <a:gd name="connsiteX21" fmla="*/ 737891 w 2074600"/>
                <a:gd name="connsiteY21" fmla="*/ 190655 h 1038553"/>
                <a:gd name="connsiteX22" fmla="*/ 858886 w 2074600"/>
                <a:gd name="connsiteY22" fmla="*/ 146090 h 1038553"/>
                <a:gd name="connsiteX23" fmla="*/ 1504437 w 2074600"/>
                <a:gd name="connsiteY23" fmla="*/ 121947 h 1038553"/>
                <a:gd name="connsiteX24" fmla="*/ 1602459 w 2074600"/>
                <a:gd name="connsiteY24" fmla="*/ 252824 h 1038553"/>
                <a:gd name="connsiteX25" fmla="*/ 1707076 w 2074600"/>
                <a:gd name="connsiteY25" fmla="*/ 334156 h 1038553"/>
                <a:gd name="connsiteX26" fmla="*/ 2063577 w 2074600"/>
                <a:gd name="connsiteY26" fmla="*/ 891680 h 1038553"/>
                <a:gd name="connsiteX27" fmla="*/ 2018699 w 2074600"/>
                <a:gd name="connsiteY27" fmla="*/ 1012775 h 10385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2074600" h="1038553">
                  <a:moveTo>
                    <a:pt x="2018699" y="1012775"/>
                  </a:moveTo>
                  <a:lnTo>
                    <a:pt x="2005998" y="1036172"/>
                  </a:lnTo>
                  <a:lnTo>
                    <a:pt x="1364224" y="1034890"/>
                  </a:lnTo>
                  <a:lnTo>
                    <a:pt x="1355055" y="1038553"/>
                  </a:lnTo>
                  <a:cubicBezTo>
                    <a:pt x="1429561" y="1005077"/>
                    <a:pt x="1464776" y="1011903"/>
                    <a:pt x="1528748" y="946658"/>
                  </a:cubicBezTo>
                  <a:lnTo>
                    <a:pt x="1951851" y="947041"/>
                  </a:lnTo>
                  <a:cubicBezTo>
                    <a:pt x="2029328" y="774685"/>
                    <a:pt x="1968263" y="571578"/>
                    <a:pt x="1808574" y="470526"/>
                  </a:cubicBezTo>
                  <a:cubicBezTo>
                    <a:pt x="1771774" y="447252"/>
                    <a:pt x="1731208" y="430551"/>
                    <a:pt x="1688693" y="421170"/>
                  </a:cubicBezTo>
                  <a:cubicBezTo>
                    <a:pt x="1616999" y="405594"/>
                    <a:pt x="1556234" y="358355"/>
                    <a:pt x="1523467" y="292710"/>
                  </a:cubicBezTo>
                  <a:cubicBezTo>
                    <a:pt x="1432799" y="111017"/>
                    <a:pt x="1212022" y="37226"/>
                    <a:pt x="1030329" y="127885"/>
                  </a:cubicBezTo>
                  <a:cubicBezTo>
                    <a:pt x="990744" y="147639"/>
                    <a:pt x="955047" y="174378"/>
                    <a:pt x="924954" y="206810"/>
                  </a:cubicBezTo>
                  <a:cubicBezTo>
                    <a:pt x="875007" y="260233"/>
                    <a:pt x="802956" y="287240"/>
                    <a:pt x="730203" y="279786"/>
                  </a:cubicBezTo>
                  <a:cubicBezTo>
                    <a:pt x="587650" y="266294"/>
                    <a:pt x="458099" y="363090"/>
                    <a:pt x="430613" y="503616"/>
                  </a:cubicBezTo>
                  <a:cubicBezTo>
                    <a:pt x="416526" y="575054"/>
                    <a:pt x="370682" y="636198"/>
                    <a:pt x="306053" y="669733"/>
                  </a:cubicBezTo>
                  <a:cubicBezTo>
                    <a:pt x="198372" y="725808"/>
                    <a:pt x="122095" y="827884"/>
                    <a:pt x="98824" y="947041"/>
                  </a:cubicBezTo>
                  <a:lnTo>
                    <a:pt x="570455" y="947041"/>
                  </a:lnTo>
                  <a:cubicBezTo>
                    <a:pt x="570078" y="1003108"/>
                    <a:pt x="570923" y="955831"/>
                    <a:pt x="572822" y="1035476"/>
                  </a:cubicBezTo>
                  <a:lnTo>
                    <a:pt x="0" y="1036172"/>
                  </a:lnTo>
                  <a:lnTo>
                    <a:pt x="3565" y="988264"/>
                  </a:lnTo>
                  <a:cubicBezTo>
                    <a:pt x="15596" y="819339"/>
                    <a:pt x="114420" y="668764"/>
                    <a:pt x="264607" y="590518"/>
                  </a:cubicBezTo>
                  <a:cubicBezTo>
                    <a:pt x="305068" y="569316"/>
                    <a:pt x="333744" y="530934"/>
                    <a:pt x="342596" y="486124"/>
                  </a:cubicBezTo>
                  <a:cubicBezTo>
                    <a:pt x="378866" y="300698"/>
                    <a:pt x="549781" y="172941"/>
                    <a:pt x="737891" y="190655"/>
                  </a:cubicBezTo>
                  <a:cubicBezTo>
                    <a:pt x="782980" y="195558"/>
                    <a:pt x="827757" y="179068"/>
                    <a:pt x="858886" y="146090"/>
                  </a:cubicBezTo>
                  <a:cubicBezTo>
                    <a:pt x="1030485" y="-38841"/>
                    <a:pt x="1319514" y="-49649"/>
                    <a:pt x="1504437" y="121947"/>
                  </a:cubicBezTo>
                  <a:cubicBezTo>
                    <a:pt x="1544713" y="159326"/>
                    <a:pt x="1577926" y="203657"/>
                    <a:pt x="1602459" y="252824"/>
                  </a:cubicBezTo>
                  <a:cubicBezTo>
                    <a:pt x="1623193" y="294392"/>
                    <a:pt x="1661675" y="324307"/>
                    <a:pt x="1707076" y="334156"/>
                  </a:cubicBezTo>
                  <a:cubicBezTo>
                    <a:pt x="1959483" y="389662"/>
                    <a:pt x="2119094" y="639284"/>
                    <a:pt x="2063577" y="891680"/>
                  </a:cubicBezTo>
                  <a:cubicBezTo>
                    <a:pt x="2054285" y="933928"/>
                    <a:pt x="2039188" y="974683"/>
                    <a:pt x="2018699" y="1012775"/>
                  </a:cubicBezTo>
                  <a:close/>
                </a:path>
              </a:pathLst>
            </a:custGeom>
            <a:grpFill/>
            <a:ln w="1111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21" name="TextBox 20">
            <a:extLst>
              <a:ext uri="{FF2B5EF4-FFF2-40B4-BE49-F238E27FC236}">
                <a16:creationId xmlns:a16="http://schemas.microsoft.com/office/drawing/2014/main" id="{67E37660-284E-4E60-ACFE-F8B541B028B5}"/>
              </a:ext>
            </a:extLst>
          </p:cNvPr>
          <p:cNvSpPr txBox="1"/>
          <p:nvPr/>
        </p:nvSpPr>
        <p:spPr>
          <a:xfrm>
            <a:off x="8019261" y="3696297"/>
            <a:ext cx="871531" cy="677082"/>
          </a:xfrm>
          <a:prstGeom prst="rect">
            <a:avLst/>
          </a:prstGeom>
          <a:noFill/>
        </p:spPr>
        <p:txBody>
          <a:bodyPr wrap="none" lIns="121893" tIns="60947" rIns="121893" bIns="60947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b="1" dirty="0">
                <a:solidFill>
                  <a:srgbClr val="41817E"/>
                </a:solidFill>
                <a:ea typeface="ＭＳ Ｐゴシック" pitchFamily="34" charset="-128"/>
              </a:rPr>
              <a:t>Day 0</a:t>
            </a:r>
            <a:br>
              <a:rPr lang="en-US" b="1" dirty="0">
                <a:solidFill>
                  <a:srgbClr val="41817E"/>
                </a:solidFill>
                <a:ea typeface="ＭＳ Ｐゴシック" pitchFamily="34" charset="-128"/>
              </a:rPr>
            </a:br>
            <a:r>
              <a:rPr lang="en-US" b="1" dirty="0">
                <a:solidFill>
                  <a:srgbClr val="41817E"/>
                </a:solidFill>
                <a:ea typeface="ＭＳ Ｐゴシック" pitchFamily="34" charset="-128"/>
              </a:rPr>
              <a:t>Full</a:t>
            </a:r>
            <a:endParaRPr lang="en-US" sz="1600" b="1" dirty="0">
              <a:solidFill>
                <a:srgbClr val="41817E"/>
              </a:solidFill>
              <a:ea typeface="ＭＳ Ｐゴシック" pitchFamily="34" charset="-128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666A3B09-BAC7-417A-9633-AB0CDA7A4891}"/>
              </a:ext>
            </a:extLst>
          </p:cNvPr>
          <p:cNvSpPr txBox="1"/>
          <p:nvPr/>
        </p:nvSpPr>
        <p:spPr>
          <a:xfrm>
            <a:off x="9119169" y="3696297"/>
            <a:ext cx="860309" cy="677082"/>
          </a:xfrm>
          <a:prstGeom prst="rect">
            <a:avLst/>
          </a:prstGeom>
          <a:noFill/>
        </p:spPr>
        <p:txBody>
          <a:bodyPr wrap="none" lIns="121893" tIns="60947" rIns="121893" bIns="60947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b="1" dirty="0">
                <a:solidFill>
                  <a:srgbClr val="594564"/>
                </a:solidFill>
                <a:ea typeface="ＭＳ Ｐゴシック" pitchFamily="34" charset="-128"/>
              </a:rPr>
              <a:t>Day 1</a:t>
            </a:r>
            <a:br>
              <a:rPr lang="en-US" b="1" dirty="0">
                <a:solidFill>
                  <a:srgbClr val="594564"/>
                </a:solidFill>
                <a:ea typeface="ＭＳ Ｐゴシック" pitchFamily="34" charset="-128"/>
              </a:rPr>
            </a:br>
            <a:r>
              <a:rPr lang="en-US" b="1" dirty="0">
                <a:solidFill>
                  <a:srgbClr val="594564"/>
                </a:solidFill>
                <a:ea typeface="ＭＳ Ｐゴシック" pitchFamily="34" charset="-128"/>
              </a:rPr>
              <a:t>Incr</a:t>
            </a:r>
            <a:endParaRPr lang="en-US" sz="1600" b="1" dirty="0">
              <a:solidFill>
                <a:srgbClr val="594564"/>
              </a:solidFill>
              <a:ea typeface="ＭＳ Ｐゴシック" pitchFamily="34" charset="-128"/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51DE0B86-F092-42C2-813A-459E387E9BFD}"/>
              </a:ext>
            </a:extLst>
          </p:cNvPr>
          <p:cNvSpPr txBox="1"/>
          <p:nvPr/>
        </p:nvSpPr>
        <p:spPr>
          <a:xfrm>
            <a:off x="10213465" y="3696297"/>
            <a:ext cx="897179" cy="677082"/>
          </a:xfrm>
          <a:prstGeom prst="rect">
            <a:avLst/>
          </a:prstGeom>
          <a:noFill/>
        </p:spPr>
        <p:txBody>
          <a:bodyPr wrap="none" lIns="121893" tIns="60947" rIns="121893" bIns="60947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b="1" dirty="0">
                <a:solidFill>
                  <a:srgbClr val="759C6C"/>
                </a:solidFill>
                <a:ea typeface="ＭＳ Ｐゴシック" pitchFamily="34" charset="-128"/>
              </a:rPr>
              <a:t>Day N</a:t>
            </a:r>
            <a:br>
              <a:rPr lang="en-US" b="1" dirty="0">
                <a:solidFill>
                  <a:srgbClr val="759C6C"/>
                </a:solidFill>
                <a:ea typeface="ＭＳ Ｐゴシック" pitchFamily="34" charset="-128"/>
              </a:rPr>
            </a:br>
            <a:r>
              <a:rPr lang="en-US" b="1" dirty="0">
                <a:solidFill>
                  <a:srgbClr val="759C6C"/>
                </a:solidFill>
                <a:ea typeface="ＭＳ Ｐゴシック" pitchFamily="34" charset="-128"/>
              </a:rPr>
              <a:t>Incr</a:t>
            </a:r>
          </a:p>
        </p:txBody>
      </p:sp>
      <p:grpSp>
        <p:nvGrpSpPr>
          <p:cNvPr id="24" name="Group 183">
            <a:extLst>
              <a:ext uri="{FF2B5EF4-FFF2-40B4-BE49-F238E27FC236}">
                <a16:creationId xmlns:a16="http://schemas.microsoft.com/office/drawing/2014/main" id="{98797B23-086B-401C-B354-076E393BAEBE}"/>
              </a:ext>
            </a:extLst>
          </p:cNvPr>
          <p:cNvGrpSpPr/>
          <p:nvPr/>
        </p:nvGrpSpPr>
        <p:grpSpPr>
          <a:xfrm>
            <a:off x="8029208" y="4399044"/>
            <a:ext cx="838200" cy="1033140"/>
            <a:chOff x="7923212" y="4278420"/>
            <a:chExt cx="838200" cy="1033140"/>
          </a:xfrm>
        </p:grpSpPr>
        <p:sp>
          <p:nvSpPr>
            <p:cNvPr id="25" name="Can 41">
              <a:extLst>
                <a:ext uri="{FF2B5EF4-FFF2-40B4-BE49-F238E27FC236}">
                  <a16:creationId xmlns:a16="http://schemas.microsoft.com/office/drawing/2014/main" id="{744B19D4-7FCA-4ED0-AFDB-CF394145939E}"/>
                </a:ext>
              </a:extLst>
            </p:cNvPr>
            <p:cNvSpPr/>
            <p:nvPr/>
          </p:nvSpPr>
          <p:spPr>
            <a:xfrm>
              <a:off x="7923212" y="4278420"/>
              <a:ext cx="838200" cy="1033140"/>
            </a:xfrm>
            <a:prstGeom prst="can">
              <a:avLst>
                <a:gd name="adj" fmla="val 15901"/>
              </a:avLst>
            </a:prstGeom>
            <a:gradFill flip="none" rotWithShape="1">
              <a:gsLst>
                <a:gs pos="28000">
                  <a:schemeClr val="accent5"/>
                </a:gs>
                <a:gs pos="0">
                  <a:schemeClr val="accent5">
                    <a:lumMod val="40000"/>
                    <a:lumOff val="60000"/>
                  </a:schemeClr>
                </a:gs>
                <a:gs pos="100000">
                  <a:schemeClr val="accent5">
                    <a:lumMod val="60000"/>
                    <a:lumOff val="40000"/>
                  </a:schemeClr>
                </a:gs>
              </a:gsLst>
              <a:lin ang="0" scaled="1"/>
            </a:gradFill>
            <a:ln>
              <a:noFill/>
            </a:ln>
            <a:effectLst>
              <a:outerShdw blurRad="203200" dist="50800" dir="5400000" sx="88000" sy="88000" rotWithShape="0">
                <a:prstClr val="black">
                  <a:alpha val="72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>
                <a:solidFill>
                  <a:srgbClr val="FFFFFF"/>
                </a:solidFill>
                <a:latin typeface="Oracle Sans" panose="020B0503020204020204" pitchFamily="34" charset="0"/>
              </a:endParaRPr>
            </a:p>
          </p:txBody>
        </p:sp>
        <p:grpSp>
          <p:nvGrpSpPr>
            <p:cNvPr id="26" name="Group 181">
              <a:extLst>
                <a:ext uri="{FF2B5EF4-FFF2-40B4-BE49-F238E27FC236}">
                  <a16:creationId xmlns:a16="http://schemas.microsoft.com/office/drawing/2014/main" id="{3E81D266-8747-4462-A7BE-CF87D45A0C71}"/>
                </a:ext>
              </a:extLst>
            </p:cNvPr>
            <p:cNvGrpSpPr/>
            <p:nvPr/>
          </p:nvGrpSpPr>
          <p:grpSpPr>
            <a:xfrm>
              <a:off x="7985818" y="4495800"/>
              <a:ext cx="699394" cy="715367"/>
              <a:chOff x="7916018" y="4542433"/>
              <a:chExt cx="699394" cy="715367"/>
            </a:xfrm>
          </p:grpSpPr>
          <p:sp>
            <p:nvSpPr>
              <p:cNvPr id="27" name="Rectangle 26">
                <a:extLst>
                  <a:ext uri="{FF2B5EF4-FFF2-40B4-BE49-F238E27FC236}">
                    <a16:creationId xmlns:a16="http://schemas.microsoft.com/office/drawing/2014/main" id="{9DCC43D4-FEA2-447B-AF0D-EDBA966FFF5B}"/>
                  </a:ext>
                </a:extLst>
              </p:cNvPr>
              <p:cNvSpPr/>
              <p:nvPr/>
            </p:nvSpPr>
            <p:spPr>
              <a:xfrm>
                <a:off x="8501492" y="4542433"/>
                <a:ext cx="113920" cy="118872"/>
              </a:xfrm>
              <a:prstGeom prst="rect">
                <a:avLst/>
              </a:prstGeom>
              <a:solidFill>
                <a:srgbClr val="41817E"/>
              </a:solidFill>
              <a:ln w="1270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>
                  <a:solidFill>
                    <a:srgbClr val="FFFFFF"/>
                  </a:solidFill>
                  <a:latin typeface="Oracle Sans" panose="020B0503020204020204" pitchFamily="34" charset="0"/>
                </a:endParaRPr>
              </a:p>
            </p:txBody>
          </p:sp>
          <p:sp>
            <p:nvSpPr>
              <p:cNvPr id="28" name="Rectangle 27">
                <a:extLst>
                  <a:ext uri="{FF2B5EF4-FFF2-40B4-BE49-F238E27FC236}">
                    <a16:creationId xmlns:a16="http://schemas.microsoft.com/office/drawing/2014/main" id="{03DBA60C-FA69-4943-949F-F8531C80721C}"/>
                  </a:ext>
                </a:extLst>
              </p:cNvPr>
              <p:cNvSpPr/>
              <p:nvPr/>
            </p:nvSpPr>
            <p:spPr>
              <a:xfrm>
                <a:off x="8208754" y="4542433"/>
                <a:ext cx="113920" cy="118872"/>
              </a:xfrm>
              <a:prstGeom prst="rect">
                <a:avLst/>
              </a:prstGeom>
              <a:solidFill>
                <a:srgbClr val="41817E"/>
              </a:solidFill>
              <a:ln w="1270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>
                  <a:solidFill>
                    <a:srgbClr val="FFFFFF"/>
                  </a:solidFill>
                  <a:latin typeface="Oracle Sans" panose="020B0503020204020204" pitchFamily="34" charset="0"/>
                </a:endParaRPr>
              </a:p>
            </p:txBody>
          </p:sp>
          <p:sp>
            <p:nvSpPr>
              <p:cNvPr id="29" name="Rectangle 28">
                <a:extLst>
                  <a:ext uri="{FF2B5EF4-FFF2-40B4-BE49-F238E27FC236}">
                    <a16:creationId xmlns:a16="http://schemas.microsoft.com/office/drawing/2014/main" id="{FAC92EA4-3D12-411E-9D73-10F46E053174}"/>
                  </a:ext>
                </a:extLst>
              </p:cNvPr>
              <p:cNvSpPr/>
              <p:nvPr/>
            </p:nvSpPr>
            <p:spPr>
              <a:xfrm>
                <a:off x="7916018" y="4542433"/>
                <a:ext cx="113920" cy="118872"/>
              </a:xfrm>
              <a:prstGeom prst="rect">
                <a:avLst/>
              </a:prstGeom>
              <a:solidFill>
                <a:srgbClr val="41817E"/>
              </a:solidFill>
              <a:ln w="1270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>
                  <a:solidFill>
                    <a:srgbClr val="FFFFFF"/>
                  </a:solidFill>
                  <a:latin typeface="Oracle Sans" panose="020B0503020204020204" pitchFamily="34" charset="0"/>
                </a:endParaRPr>
              </a:p>
            </p:txBody>
          </p:sp>
          <p:sp>
            <p:nvSpPr>
              <p:cNvPr id="30" name="Rectangle 29">
                <a:extLst>
                  <a:ext uri="{FF2B5EF4-FFF2-40B4-BE49-F238E27FC236}">
                    <a16:creationId xmlns:a16="http://schemas.microsoft.com/office/drawing/2014/main" id="{E526CEE9-E64C-4F5B-9749-21FF44F569FB}"/>
                  </a:ext>
                </a:extLst>
              </p:cNvPr>
              <p:cNvSpPr/>
              <p:nvPr/>
            </p:nvSpPr>
            <p:spPr>
              <a:xfrm>
                <a:off x="8062386" y="4542433"/>
                <a:ext cx="113920" cy="118872"/>
              </a:xfrm>
              <a:prstGeom prst="rect">
                <a:avLst/>
              </a:prstGeom>
              <a:solidFill>
                <a:srgbClr val="41817E"/>
              </a:solidFill>
              <a:ln w="1270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>
                  <a:solidFill>
                    <a:srgbClr val="FFFFFF"/>
                  </a:solidFill>
                  <a:latin typeface="Oracle Sans" panose="020B0503020204020204" pitchFamily="34" charset="0"/>
                </a:endParaRPr>
              </a:p>
            </p:txBody>
          </p:sp>
          <p:sp>
            <p:nvSpPr>
              <p:cNvPr id="31" name="Rectangle 30">
                <a:extLst>
                  <a:ext uri="{FF2B5EF4-FFF2-40B4-BE49-F238E27FC236}">
                    <a16:creationId xmlns:a16="http://schemas.microsoft.com/office/drawing/2014/main" id="{2F9C64F7-112F-4317-8F0F-34E94424D289}"/>
                  </a:ext>
                </a:extLst>
              </p:cNvPr>
              <p:cNvSpPr/>
              <p:nvPr/>
            </p:nvSpPr>
            <p:spPr>
              <a:xfrm>
                <a:off x="8355122" y="4542433"/>
                <a:ext cx="113920" cy="118872"/>
              </a:xfrm>
              <a:prstGeom prst="rect">
                <a:avLst/>
              </a:prstGeom>
              <a:solidFill>
                <a:srgbClr val="41817E"/>
              </a:solidFill>
              <a:ln w="1270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>
                  <a:solidFill>
                    <a:srgbClr val="FFFFFF"/>
                  </a:solidFill>
                  <a:latin typeface="Oracle Sans" panose="020B0503020204020204" pitchFamily="34" charset="0"/>
                </a:endParaRPr>
              </a:p>
            </p:txBody>
          </p:sp>
          <p:grpSp>
            <p:nvGrpSpPr>
              <p:cNvPr id="32" name="Group 160">
                <a:extLst>
                  <a:ext uri="{FF2B5EF4-FFF2-40B4-BE49-F238E27FC236}">
                    <a16:creationId xmlns:a16="http://schemas.microsoft.com/office/drawing/2014/main" id="{874A58E0-9150-4F10-870C-B00DE9490AFB}"/>
                  </a:ext>
                </a:extLst>
              </p:cNvPr>
              <p:cNvGrpSpPr/>
              <p:nvPr/>
            </p:nvGrpSpPr>
            <p:grpSpPr>
              <a:xfrm>
                <a:off x="7916018" y="4691557"/>
                <a:ext cx="113920" cy="566243"/>
                <a:chOff x="7916018" y="4691557"/>
                <a:chExt cx="113920" cy="566243"/>
              </a:xfrm>
            </p:grpSpPr>
            <p:sp>
              <p:nvSpPr>
                <p:cNvPr id="53" name="Rectangle 52">
                  <a:extLst>
                    <a:ext uri="{FF2B5EF4-FFF2-40B4-BE49-F238E27FC236}">
                      <a16:creationId xmlns:a16="http://schemas.microsoft.com/office/drawing/2014/main" id="{850E2BD2-E995-458E-9B5F-C02AB70F3CB8}"/>
                    </a:ext>
                  </a:extLst>
                </p:cNvPr>
                <p:cNvSpPr/>
                <p:nvPr/>
              </p:nvSpPr>
              <p:spPr>
                <a:xfrm>
                  <a:off x="7916018" y="4691557"/>
                  <a:ext cx="113920" cy="118872"/>
                </a:xfrm>
                <a:prstGeom prst="rect">
                  <a:avLst/>
                </a:prstGeom>
                <a:solidFill>
                  <a:srgbClr val="41817E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fontAlgn="base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>
                    <a:solidFill>
                      <a:srgbClr val="FFFFFF"/>
                    </a:solidFill>
                    <a:latin typeface="Oracle Sans" panose="020B0503020204020204" pitchFamily="34" charset="0"/>
                  </a:endParaRPr>
                </a:p>
              </p:txBody>
            </p:sp>
            <p:sp>
              <p:nvSpPr>
                <p:cNvPr id="54" name="Rectangle 53">
                  <a:extLst>
                    <a:ext uri="{FF2B5EF4-FFF2-40B4-BE49-F238E27FC236}">
                      <a16:creationId xmlns:a16="http://schemas.microsoft.com/office/drawing/2014/main" id="{EB677BED-C971-4B08-BF3C-9704E382C30A}"/>
                    </a:ext>
                  </a:extLst>
                </p:cNvPr>
                <p:cNvSpPr/>
                <p:nvPr/>
              </p:nvSpPr>
              <p:spPr>
                <a:xfrm>
                  <a:off x="7916018" y="4840681"/>
                  <a:ext cx="113920" cy="118872"/>
                </a:xfrm>
                <a:prstGeom prst="rect">
                  <a:avLst/>
                </a:prstGeom>
                <a:solidFill>
                  <a:srgbClr val="41817E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fontAlgn="base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>
                    <a:solidFill>
                      <a:srgbClr val="FFFFFF"/>
                    </a:solidFill>
                    <a:latin typeface="Oracle Sans" panose="020B0503020204020204" pitchFamily="34" charset="0"/>
                  </a:endParaRPr>
                </a:p>
              </p:txBody>
            </p:sp>
            <p:sp>
              <p:nvSpPr>
                <p:cNvPr id="55" name="Rectangle 54">
                  <a:extLst>
                    <a:ext uri="{FF2B5EF4-FFF2-40B4-BE49-F238E27FC236}">
                      <a16:creationId xmlns:a16="http://schemas.microsoft.com/office/drawing/2014/main" id="{6829B158-7B78-4ABA-9C0D-E508C8BEB5BE}"/>
                    </a:ext>
                  </a:extLst>
                </p:cNvPr>
                <p:cNvSpPr/>
                <p:nvPr/>
              </p:nvSpPr>
              <p:spPr>
                <a:xfrm>
                  <a:off x="7916018" y="4989805"/>
                  <a:ext cx="113920" cy="118872"/>
                </a:xfrm>
                <a:prstGeom prst="rect">
                  <a:avLst/>
                </a:prstGeom>
                <a:solidFill>
                  <a:srgbClr val="41817E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fontAlgn="base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>
                    <a:solidFill>
                      <a:srgbClr val="0070C0"/>
                    </a:solidFill>
                    <a:latin typeface="Oracle Sans" panose="020B0503020204020204" pitchFamily="34" charset="0"/>
                  </a:endParaRPr>
                </a:p>
              </p:txBody>
            </p:sp>
            <p:sp>
              <p:nvSpPr>
                <p:cNvPr id="56" name="Rectangle 55">
                  <a:extLst>
                    <a:ext uri="{FF2B5EF4-FFF2-40B4-BE49-F238E27FC236}">
                      <a16:creationId xmlns:a16="http://schemas.microsoft.com/office/drawing/2014/main" id="{4B15C44E-D198-4EDA-86FE-E9B571005B5F}"/>
                    </a:ext>
                  </a:extLst>
                </p:cNvPr>
                <p:cNvSpPr/>
                <p:nvPr/>
              </p:nvSpPr>
              <p:spPr>
                <a:xfrm>
                  <a:off x="7916018" y="5138928"/>
                  <a:ext cx="113920" cy="118872"/>
                </a:xfrm>
                <a:prstGeom prst="rect">
                  <a:avLst/>
                </a:prstGeom>
                <a:solidFill>
                  <a:srgbClr val="41817E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fontAlgn="base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>
                    <a:solidFill>
                      <a:srgbClr val="FFFFFF"/>
                    </a:solidFill>
                    <a:latin typeface="Oracle Sans" panose="020B0503020204020204" pitchFamily="34" charset="0"/>
                  </a:endParaRPr>
                </a:p>
              </p:txBody>
            </p:sp>
          </p:grpSp>
          <p:grpSp>
            <p:nvGrpSpPr>
              <p:cNvPr id="33" name="Group 161">
                <a:extLst>
                  <a:ext uri="{FF2B5EF4-FFF2-40B4-BE49-F238E27FC236}">
                    <a16:creationId xmlns:a16="http://schemas.microsoft.com/office/drawing/2014/main" id="{030118EE-D058-4627-95A9-DF0DB3F3AE2D}"/>
                  </a:ext>
                </a:extLst>
              </p:cNvPr>
              <p:cNvGrpSpPr/>
              <p:nvPr/>
            </p:nvGrpSpPr>
            <p:grpSpPr>
              <a:xfrm>
                <a:off x="8062386" y="4691557"/>
                <a:ext cx="113920" cy="566243"/>
                <a:chOff x="7916018" y="4691557"/>
                <a:chExt cx="113920" cy="566243"/>
              </a:xfrm>
            </p:grpSpPr>
            <p:sp>
              <p:nvSpPr>
                <p:cNvPr id="49" name="Rectangle 48">
                  <a:extLst>
                    <a:ext uri="{FF2B5EF4-FFF2-40B4-BE49-F238E27FC236}">
                      <a16:creationId xmlns:a16="http://schemas.microsoft.com/office/drawing/2014/main" id="{496C700B-9975-45B3-ACEC-F6C4A862551D}"/>
                    </a:ext>
                  </a:extLst>
                </p:cNvPr>
                <p:cNvSpPr/>
                <p:nvPr/>
              </p:nvSpPr>
              <p:spPr>
                <a:xfrm>
                  <a:off x="7916018" y="4691557"/>
                  <a:ext cx="113920" cy="118872"/>
                </a:xfrm>
                <a:prstGeom prst="rect">
                  <a:avLst/>
                </a:prstGeom>
                <a:solidFill>
                  <a:srgbClr val="41817E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fontAlgn="base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>
                    <a:solidFill>
                      <a:srgbClr val="FFFFFF"/>
                    </a:solidFill>
                    <a:latin typeface="Oracle Sans" panose="020B0503020204020204" pitchFamily="34" charset="0"/>
                  </a:endParaRPr>
                </a:p>
              </p:txBody>
            </p:sp>
            <p:sp>
              <p:nvSpPr>
                <p:cNvPr id="50" name="Rectangle 49">
                  <a:extLst>
                    <a:ext uri="{FF2B5EF4-FFF2-40B4-BE49-F238E27FC236}">
                      <a16:creationId xmlns:a16="http://schemas.microsoft.com/office/drawing/2014/main" id="{37CB7E16-D47D-4A6A-9368-5CECA1AAA6C1}"/>
                    </a:ext>
                  </a:extLst>
                </p:cNvPr>
                <p:cNvSpPr/>
                <p:nvPr/>
              </p:nvSpPr>
              <p:spPr>
                <a:xfrm>
                  <a:off x="7916018" y="4840681"/>
                  <a:ext cx="113920" cy="118872"/>
                </a:xfrm>
                <a:prstGeom prst="rect">
                  <a:avLst/>
                </a:prstGeom>
                <a:solidFill>
                  <a:srgbClr val="41817E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fontAlgn="base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>
                    <a:solidFill>
                      <a:srgbClr val="FFFFFF"/>
                    </a:solidFill>
                    <a:latin typeface="Oracle Sans" panose="020B0503020204020204" pitchFamily="34" charset="0"/>
                  </a:endParaRPr>
                </a:p>
              </p:txBody>
            </p:sp>
            <p:sp>
              <p:nvSpPr>
                <p:cNvPr id="51" name="Rectangle 50">
                  <a:extLst>
                    <a:ext uri="{FF2B5EF4-FFF2-40B4-BE49-F238E27FC236}">
                      <a16:creationId xmlns:a16="http://schemas.microsoft.com/office/drawing/2014/main" id="{E3D2FDFD-D61A-4BE1-98A8-760E32A1A510}"/>
                    </a:ext>
                  </a:extLst>
                </p:cNvPr>
                <p:cNvSpPr/>
                <p:nvPr/>
              </p:nvSpPr>
              <p:spPr>
                <a:xfrm>
                  <a:off x="7916018" y="4989805"/>
                  <a:ext cx="113920" cy="118872"/>
                </a:xfrm>
                <a:prstGeom prst="rect">
                  <a:avLst/>
                </a:prstGeom>
                <a:solidFill>
                  <a:srgbClr val="41817E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fontAlgn="base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>
                    <a:solidFill>
                      <a:srgbClr val="0070C0"/>
                    </a:solidFill>
                    <a:latin typeface="Oracle Sans" panose="020B0503020204020204" pitchFamily="34" charset="0"/>
                  </a:endParaRPr>
                </a:p>
              </p:txBody>
            </p:sp>
            <p:sp>
              <p:nvSpPr>
                <p:cNvPr id="52" name="Rectangle 51">
                  <a:extLst>
                    <a:ext uri="{FF2B5EF4-FFF2-40B4-BE49-F238E27FC236}">
                      <a16:creationId xmlns:a16="http://schemas.microsoft.com/office/drawing/2014/main" id="{3CA0948C-65C0-41F9-A4A2-38E9B0AFE477}"/>
                    </a:ext>
                  </a:extLst>
                </p:cNvPr>
                <p:cNvSpPr/>
                <p:nvPr/>
              </p:nvSpPr>
              <p:spPr>
                <a:xfrm>
                  <a:off x="7916018" y="5138928"/>
                  <a:ext cx="113920" cy="118872"/>
                </a:xfrm>
                <a:prstGeom prst="rect">
                  <a:avLst/>
                </a:prstGeom>
                <a:solidFill>
                  <a:srgbClr val="41817E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fontAlgn="base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>
                    <a:solidFill>
                      <a:srgbClr val="FFFFFF"/>
                    </a:solidFill>
                    <a:latin typeface="Oracle Sans" panose="020B0503020204020204" pitchFamily="34" charset="0"/>
                  </a:endParaRPr>
                </a:p>
              </p:txBody>
            </p:sp>
          </p:grpSp>
          <p:grpSp>
            <p:nvGrpSpPr>
              <p:cNvPr id="34" name="Group 166">
                <a:extLst>
                  <a:ext uri="{FF2B5EF4-FFF2-40B4-BE49-F238E27FC236}">
                    <a16:creationId xmlns:a16="http://schemas.microsoft.com/office/drawing/2014/main" id="{A4074E90-09F5-4195-B370-C997376AFDEC}"/>
                  </a:ext>
                </a:extLst>
              </p:cNvPr>
              <p:cNvGrpSpPr/>
              <p:nvPr/>
            </p:nvGrpSpPr>
            <p:grpSpPr>
              <a:xfrm>
                <a:off x="8208754" y="4691557"/>
                <a:ext cx="113920" cy="566243"/>
                <a:chOff x="7916018" y="4691557"/>
                <a:chExt cx="113920" cy="566243"/>
              </a:xfrm>
            </p:grpSpPr>
            <p:sp>
              <p:nvSpPr>
                <p:cNvPr id="45" name="Rectangle 44">
                  <a:extLst>
                    <a:ext uri="{FF2B5EF4-FFF2-40B4-BE49-F238E27FC236}">
                      <a16:creationId xmlns:a16="http://schemas.microsoft.com/office/drawing/2014/main" id="{6B66E346-67D5-409A-A98B-31189B956BA1}"/>
                    </a:ext>
                  </a:extLst>
                </p:cNvPr>
                <p:cNvSpPr/>
                <p:nvPr/>
              </p:nvSpPr>
              <p:spPr>
                <a:xfrm>
                  <a:off x="7916018" y="4691557"/>
                  <a:ext cx="113920" cy="118872"/>
                </a:xfrm>
                <a:prstGeom prst="rect">
                  <a:avLst/>
                </a:prstGeom>
                <a:solidFill>
                  <a:srgbClr val="41817E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fontAlgn="base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>
                    <a:solidFill>
                      <a:srgbClr val="FFFFFF"/>
                    </a:solidFill>
                    <a:latin typeface="Oracle Sans" panose="020B0503020204020204" pitchFamily="34" charset="0"/>
                  </a:endParaRPr>
                </a:p>
              </p:txBody>
            </p:sp>
            <p:sp>
              <p:nvSpPr>
                <p:cNvPr id="46" name="Rectangle 45">
                  <a:extLst>
                    <a:ext uri="{FF2B5EF4-FFF2-40B4-BE49-F238E27FC236}">
                      <a16:creationId xmlns:a16="http://schemas.microsoft.com/office/drawing/2014/main" id="{3F5D58C8-E646-4EF9-B83F-71CBB3A03C0E}"/>
                    </a:ext>
                  </a:extLst>
                </p:cNvPr>
                <p:cNvSpPr/>
                <p:nvPr/>
              </p:nvSpPr>
              <p:spPr>
                <a:xfrm>
                  <a:off x="7916018" y="4840681"/>
                  <a:ext cx="113920" cy="118872"/>
                </a:xfrm>
                <a:prstGeom prst="rect">
                  <a:avLst/>
                </a:prstGeom>
                <a:solidFill>
                  <a:srgbClr val="41817E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fontAlgn="base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>
                    <a:solidFill>
                      <a:srgbClr val="FFFFFF"/>
                    </a:solidFill>
                    <a:latin typeface="Oracle Sans" panose="020B0503020204020204" pitchFamily="34" charset="0"/>
                  </a:endParaRPr>
                </a:p>
              </p:txBody>
            </p:sp>
            <p:sp>
              <p:nvSpPr>
                <p:cNvPr id="47" name="Rectangle 46">
                  <a:extLst>
                    <a:ext uri="{FF2B5EF4-FFF2-40B4-BE49-F238E27FC236}">
                      <a16:creationId xmlns:a16="http://schemas.microsoft.com/office/drawing/2014/main" id="{FC61314C-2B3C-4136-9981-458DB52B233E}"/>
                    </a:ext>
                  </a:extLst>
                </p:cNvPr>
                <p:cNvSpPr/>
                <p:nvPr/>
              </p:nvSpPr>
              <p:spPr>
                <a:xfrm>
                  <a:off x="7916018" y="4989805"/>
                  <a:ext cx="113920" cy="118872"/>
                </a:xfrm>
                <a:prstGeom prst="rect">
                  <a:avLst/>
                </a:prstGeom>
                <a:solidFill>
                  <a:srgbClr val="41817E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fontAlgn="base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>
                    <a:solidFill>
                      <a:srgbClr val="0070C0"/>
                    </a:solidFill>
                    <a:latin typeface="Oracle Sans" panose="020B0503020204020204" pitchFamily="34" charset="0"/>
                  </a:endParaRPr>
                </a:p>
              </p:txBody>
            </p:sp>
            <p:sp>
              <p:nvSpPr>
                <p:cNvPr id="48" name="Rectangle 47">
                  <a:extLst>
                    <a:ext uri="{FF2B5EF4-FFF2-40B4-BE49-F238E27FC236}">
                      <a16:creationId xmlns:a16="http://schemas.microsoft.com/office/drawing/2014/main" id="{73D21D66-7BAB-4E37-970D-2623DDA9D27C}"/>
                    </a:ext>
                  </a:extLst>
                </p:cNvPr>
                <p:cNvSpPr/>
                <p:nvPr/>
              </p:nvSpPr>
              <p:spPr>
                <a:xfrm>
                  <a:off x="7916018" y="5138928"/>
                  <a:ext cx="113920" cy="118872"/>
                </a:xfrm>
                <a:prstGeom prst="rect">
                  <a:avLst/>
                </a:prstGeom>
                <a:solidFill>
                  <a:srgbClr val="41817E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fontAlgn="base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>
                    <a:solidFill>
                      <a:srgbClr val="FFFFFF"/>
                    </a:solidFill>
                    <a:latin typeface="Oracle Sans" panose="020B0503020204020204" pitchFamily="34" charset="0"/>
                  </a:endParaRPr>
                </a:p>
              </p:txBody>
            </p:sp>
          </p:grpSp>
          <p:grpSp>
            <p:nvGrpSpPr>
              <p:cNvPr id="35" name="Group 171">
                <a:extLst>
                  <a:ext uri="{FF2B5EF4-FFF2-40B4-BE49-F238E27FC236}">
                    <a16:creationId xmlns:a16="http://schemas.microsoft.com/office/drawing/2014/main" id="{67332B60-5147-416E-AE7F-B8947BA5EBE0}"/>
                  </a:ext>
                </a:extLst>
              </p:cNvPr>
              <p:cNvGrpSpPr/>
              <p:nvPr/>
            </p:nvGrpSpPr>
            <p:grpSpPr>
              <a:xfrm>
                <a:off x="8355122" y="4691557"/>
                <a:ext cx="113920" cy="566243"/>
                <a:chOff x="7916018" y="4691557"/>
                <a:chExt cx="113920" cy="566243"/>
              </a:xfrm>
            </p:grpSpPr>
            <p:sp>
              <p:nvSpPr>
                <p:cNvPr id="41" name="Rectangle 40">
                  <a:extLst>
                    <a:ext uri="{FF2B5EF4-FFF2-40B4-BE49-F238E27FC236}">
                      <a16:creationId xmlns:a16="http://schemas.microsoft.com/office/drawing/2014/main" id="{2FCED1D3-5208-4A2C-B083-799FDB0C20D2}"/>
                    </a:ext>
                  </a:extLst>
                </p:cNvPr>
                <p:cNvSpPr/>
                <p:nvPr/>
              </p:nvSpPr>
              <p:spPr>
                <a:xfrm>
                  <a:off x="7916018" y="4691557"/>
                  <a:ext cx="113920" cy="118872"/>
                </a:xfrm>
                <a:prstGeom prst="rect">
                  <a:avLst/>
                </a:prstGeom>
                <a:solidFill>
                  <a:srgbClr val="41817E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fontAlgn="base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>
                    <a:solidFill>
                      <a:srgbClr val="FFFFFF"/>
                    </a:solidFill>
                    <a:latin typeface="Oracle Sans" panose="020B0503020204020204" pitchFamily="34" charset="0"/>
                  </a:endParaRPr>
                </a:p>
              </p:txBody>
            </p:sp>
            <p:sp>
              <p:nvSpPr>
                <p:cNvPr id="42" name="Rectangle 41">
                  <a:extLst>
                    <a:ext uri="{FF2B5EF4-FFF2-40B4-BE49-F238E27FC236}">
                      <a16:creationId xmlns:a16="http://schemas.microsoft.com/office/drawing/2014/main" id="{020C169C-0AAB-41DD-93A0-7E28FDEA19AB}"/>
                    </a:ext>
                  </a:extLst>
                </p:cNvPr>
                <p:cNvSpPr/>
                <p:nvPr/>
              </p:nvSpPr>
              <p:spPr>
                <a:xfrm>
                  <a:off x="7916018" y="4840681"/>
                  <a:ext cx="113920" cy="118872"/>
                </a:xfrm>
                <a:prstGeom prst="rect">
                  <a:avLst/>
                </a:prstGeom>
                <a:solidFill>
                  <a:srgbClr val="41817E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fontAlgn="base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>
                    <a:solidFill>
                      <a:srgbClr val="FFFFFF"/>
                    </a:solidFill>
                    <a:latin typeface="Oracle Sans" panose="020B0503020204020204" pitchFamily="34" charset="0"/>
                  </a:endParaRPr>
                </a:p>
              </p:txBody>
            </p:sp>
            <p:sp>
              <p:nvSpPr>
                <p:cNvPr id="43" name="Rectangle 42">
                  <a:extLst>
                    <a:ext uri="{FF2B5EF4-FFF2-40B4-BE49-F238E27FC236}">
                      <a16:creationId xmlns:a16="http://schemas.microsoft.com/office/drawing/2014/main" id="{3FAA2156-D104-4680-A606-9A3275E3FAE8}"/>
                    </a:ext>
                  </a:extLst>
                </p:cNvPr>
                <p:cNvSpPr/>
                <p:nvPr/>
              </p:nvSpPr>
              <p:spPr>
                <a:xfrm>
                  <a:off x="7916018" y="4989805"/>
                  <a:ext cx="113920" cy="118872"/>
                </a:xfrm>
                <a:prstGeom prst="rect">
                  <a:avLst/>
                </a:prstGeom>
                <a:solidFill>
                  <a:srgbClr val="41817E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fontAlgn="base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>
                    <a:solidFill>
                      <a:srgbClr val="0070C0"/>
                    </a:solidFill>
                    <a:latin typeface="Oracle Sans" panose="020B0503020204020204" pitchFamily="34" charset="0"/>
                  </a:endParaRPr>
                </a:p>
              </p:txBody>
            </p:sp>
            <p:sp>
              <p:nvSpPr>
                <p:cNvPr id="44" name="Rectangle 43">
                  <a:extLst>
                    <a:ext uri="{FF2B5EF4-FFF2-40B4-BE49-F238E27FC236}">
                      <a16:creationId xmlns:a16="http://schemas.microsoft.com/office/drawing/2014/main" id="{8ABB28EB-B4AA-4FA9-BCCB-F61D3BEA6111}"/>
                    </a:ext>
                  </a:extLst>
                </p:cNvPr>
                <p:cNvSpPr/>
                <p:nvPr/>
              </p:nvSpPr>
              <p:spPr>
                <a:xfrm>
                  <a:off x="7916018" y="5138928"/>
                  <a:ext cx="113920" cy="118872"/>
                </a:xfrm>
                <a:prstGeom prst="rect">
                  <a:avLst/>
                </a:prstGeom>
                <a:solidFill>
                  <a:srgbClr val="41817E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fontAlgn="base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>
                    <a:solidFill>
                      <a:srgbClr val="FFFFFF"/>
                    </a:solidFill>
                    <a:latin typeface="Oracle Sans" panose="020B0503020204020204" pitchFamily="34" charset="0"/>
                  </a:endParaRPr>
                </a:p>
              </p:txBody>
            </p:sp>
          </p:grpSp>
          <p:grpSp>
            <p:nvGrpSpPr>
              <p:cNvPr id="36" name="Group 176">
                <a:extLst>
                  <a:ext uri="{FF2B5EF4-FFF2-40B4-BE49-F238E27FC236}">
                    <a16:creationId xmlns:a16="http://schemas.microsoft.com/office/drawing/2014/main" id="{A07FB475-9719-49A7-A5EC-EB1DAD40D475}"/>
                  </a:ext>
                </a:extLst>
              </p:cNvPr>
              <p:cNvGrpSpPr/>
              <p:nvPr/>
            </p:nvGrpSpPr>
            <p:grpSpPr>
              <a:xfrm>
                <a:off x="8501492" y="4691557"/>
                <a:ext cx="113920" cy="566243"/>
                <a:chOff x="7916018" y="4691557"/>
                <a:chExt cx="113920" cy="566243"/>
              </a:xfrm>
            </p:grpSpPr>
            <p:sp>
              <p:nvSpPr>
                <p:cNvPr id="37" name="Rectangle 36">
                  <a:extLst>
                    <a:ext uri="{FF2B5EF4-FFF2-40B4-BE49-F238E27FC236}">
                      <a16:creationId xmlns:a16="http://schemas.microsoft.com/office/drawing/2014/main" id="{7AD0BF8A-6683-455D-9291-D003228A9326}"/>
                    </a:ext>
                  </a:extLst>
                </p:cNvPr>
                <p:cNvSpPr/>
                <p:nvPr/>
              </p:nvSpPr>
              <p:spPr>
                <a:xfrm>
                  <a:off x="7916018" y="4691557"/>
                  <a:ext cx="113920" cy="118872"/>
                </a:xfrm>
                <a:prstGeom prst="rect">
                  <a:avLst/>
                </a:prstGeom>
                <a:solidFill>
                  <a:srgbClr val="41817E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fontAlgn="base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>
                    <a:solidFill>
                      <a:srgbClr val="FFFFFF"/>
                    </a:solidFill>
                    <a:latin typeface="Oracle Sans" panose="020B0503020204020204" pitchFamily="34" charset="0"/>
                  </a:endParaRPr>
                </a:p>
              </p:txBody>
            </p:sp>
            <p:sp>
              <p:nvSpPr>
                <p:cNvPr id="38" name="Rectangle 37">
                  <a:extLst>
                    <a:ext uri="{FF2B5EF4-FFF2-40B4-BE49-F238E27FC236}">
                      <a16:creationId xmlns:a16="http://schemas.microsoft.com/office/drawing/2014/main" id="{A2F3528B-9351-4469-A529-5C80E6B63798}"/>
                    </a:ext>
                  </a:extLst>
                </p:cNvPr>
                <p:cNvSpPr/>
                <p:nvPr/>
              </p:nvSpPr>
              <p:spPr>
                <a:xfrm>
                  <a:off x="7916018" y="4840681"/>
                  <a:ext cx="113920" cy="118872"/>
                </a:xfrm>
                <a:prstGeom prst="rect">
                  <a:avLst/>
                </a:prstGeom>
                <a:solidFill>
                  <a:srgbClr val="41817E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fontAlgn="base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>
                    <a:solidFill>
                      <a:srgbClr val="FFFFFF"/>
                    </a:solidFill>
                    <a:latin typeface="Oracle Sans" panose="020B0503020204020204" pitchFamily="34" charset="0"/>
                  </a:endParaRPr>
                </a:p>
              </p:txBody>
            </p:sp>
            <p:sp>
              <p:nvSpPr>
                <p:cNvPr id="39" name="Rectangle 38">
                  <a:extLst>
                    <a:ext uri="{FF2B5EF4-FFF2-40B4-BE49-F238E27FC236}">
                      <a16:creationId xmlns:a16="http://schemas.microsoft.com/office/drawing/2014/main" id="{11F69F99-FEF7-4A7D-B3FE-DB379B289F6C}"/>
                    </a:ext>
                  </a:extLst>
                </p:cNvPr>
                <p:cNvSpPr/>
                <p:nvPr/>
              </p:nvSpPr>
              <p:spPr>
                <a:xfrm>
                  <a:off x="7916018" y="4989805"/>
                  <a:ext cx="113920" cy="118872"/>
                </a:xfrm>
                <a:prstGeom prst="rect">
                  <a:avLst/>
                </a:prstGeom>
                <a:solidFill>
                  <a:srgbClr val="41817E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fontAlgn="base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>
                    <a:solidFill>
                      <a:srgbClr val="0070C0"/>
                    </a:solidFill>
                    <a:latin typeface="Oracle Sans" panose="020B0503020204020204" pitchFamily="34" charset="0"/>
                  </a:endParaRPr>
                </a:p>
              </p:txBody>
            </p:sp>
            <p:sp>
              <p:nvSpPr>
                <p:cNvPr id="40" name="Rectangle 39">
                  <a:extLst>
                    <a:ext uri="{FF2B5EF4-FFF2-40B4-BE49-F238E27FC236}">
                      <a16:creationId xmlns:a16="http://schemas.microsoft.com/office/drawing/2014/main" id="{B5921D16-448E-41DC-9A19-C4543B6835F8}"/>
                    </a:ext>
                  </a:extLst>
                </p:cNvPr>
                <p:cNvSpPr/>
                <p:nvPr/>
              </p:nvSpPr>
              <p:spPr>
                <a:xfrm>
                  <a:off x="7916018" y="5138928"/>
                  <a:ext cx="113920" cy="118872"/>
                </a:xfrm>
                <a:prstGeom prst="rect">
                  <a:avLst/>
                </a:prstGeom>
                <a:solidFill>
                  <a:srgbClr val="41817E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fontAlgn="base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>
                    <a:solidFill>
                      <a:srgbClr val="FFFFFF"/>
                    </a:solidFill>
                    <a:latin typeface="Oracle Sans" panose="020B0503020204020204" pitchFamily="34" charset="0"/>
                  </a:endParaRPr>
                </a:p>
              </p:txBody>
            </p:sp>
          </p:grpSp>
        </p:grpSp>
      </p:grpSp>
      <p:grpSp>
        <p:nvGrpSpPr>
          <p:cNvPr id="57" name="Group 184">
            <a:extLst>
              <a:ext uri="{FF2B5EF4-FFF2-40B4-BE49-F238E27FC236}">
                <a16:creationId xmlns:a16="http://schemas.microsoft.com/office/drawing/2014/main" id="{9D7947EB-9E5E-4C79-A462-04CEABE2C72F}"/>
              </a:ext>
            </a:extLst>
          </p:cNvPr>
          <p:cNvGrpSpPr/>
          <p:nvPr/>
        </p:nvGrpSpPr>
        <p:grpSpPr>
          <a:xfrm>
            <a:off x="9124215" y="4401552"/>
            <a:ext cx="838200" cy="1033140"/>
            <a:chOff x="7923212" y="4278420"/>
            <a:chExt cx="838200" cy="1033140"/>
          </a:xfrm>
        </p:grpSpPr>
        <p:sp>
          <p:nvSpPr>
            <p:cNvPr id="58" name="Can 74">
              <a:extLst>
                <a:ext uri="{FF2B5EF4-FFF2-40B4-BE49-F238E27FC236}">
                  <a16:creationId xmlns:a16="http://schemas.microsoft.com/office/drawing/2014/main" id="{0737F315-6EE7-41F5-A9D9-FE5A70F130B1}"/>
                </a:ext>
              </a:extLst>
            </p:cNvPr>
            <p:cNvSpPr/>
            <p:nvPr/>
          </p:nvSpPr>
          <p:spPr>
            <a:xfrm>
              <a:off x="7923212" y="4278420"/>
              <a:ext cx="838200" cy="1033140"/>
            </a:xfrm>
            <a:prstGeom prst="can">
              <a:avLst>
                <a:gd name="adj" fmla="val 15901"/>
              </a:avLst>
            </a:prstGeom>
            <a:gradFill flip="none" rotWithShape="1">
              <a:gsLst>
                <a:gs pos="28000">
                  <a:schemeClr val="accent5"/>
                </a:gs>
                <a:gs pos="0">
                  <a:schemeClr val="accent5">
                    <a:lumMod val="40000"/>
                    <a:lumOff val="60000"/>
                  </a:schemeClr>
                </a:gs>
                <a:gs pos="100000">
                  <a:schemeClr val="accent5">
                    <a:lumMod val="60000"/>
                    <a:lumOff val="40000"/>
                  </a:schemeClr>
                </a:gs>
              </a:gsLst>
              <a:lin ang="0" scaled="1"/>
            </a:gradFill>
            <a:ln>
              <a:noFill/>
            </a:ln>
            <a:effectLst>
              <a:outerShdw blurRad="203200" dist="50800" dir="5400000" sx="88000" sy="88000" rotWithShape="0">
                <a:prstClr val="black">
                  <a:alpha val="72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>
                <a:solidFill>
                  <a:srgbClr val="FFFFFF"/>
                </a:solidFill>
                <a:latin typeface="Oracle Sans" panose="020B0503020204020204" pitchFamily="34" charset="0"/>
              </a:endParaRPr>
            </a:p>
          </p:txBody>
        </p:sp>
        <p:grpSp>
          <p:nvGrpSpPr>
            <p:cNvPr id="59" name="Group 186">
              <a:extLst>
                <a:ext uri="{FF2B5EF4-FFF2-40B4-BE49-F238E27FC236}">
                  <a16:creationId xmlns:a16="http://schemas.microsoft.com/office/drawing/2014/main" id="{D68B319E-96C5-496A-8030-FD0EDAB4948A}"/>
                </a:ext>
              </a:extLst>
            </p:cNvPr>
            <p:cNvGrpSpPr/>
            <p:nvPr/>
          </p:nvGrpSpPr>
          <p:grpSpPr>
            <a:xfrm>
              <a:off x="7985818" y="4495800"/>
              <a:ext cx="699394" cy="715367"/>
              <a:chOff x="7916018" y="4542433"/>
              <a:chExt cx="699394" cy="715367"/>
            </a:xfrm>
          </p:grpSpPr>
          <p:sp>
            <p:nvSpPr>
              <p:cNvPr id="60" name="Rectangle 59">
                <a:extLst>
                  <a:ext uri="{FF2B5EF4-FFF2-40B4-BE49-F238E27FC236}">
                    <a16:creationId xmlns:a16="http://schemas.microsoft.com/office/drawing/2014/main" id="{6BBB0E7A-2935-43D9-93CA-9F6A30B64193}"/>
                  </a:ext>
                </a:extLst>
              </p:cNvPr>
              <p:cNvSpPr/>
              <p:nvPr/>
            </p:nvSpPr>
            <p:spPr>
              <a:xfrm>
                <a:off x="8501492" y="4542433"/>
                <a:ext cx="113920" cy="118872"/>
              </a:xfrm>
              <a:prstGeom prst="rect">
                <a:avLst/>
              </a:prstGeom>
              <a:solidFill>
                <a:schemeClr val="bg2"/>
              </a:solidFill>
              <a:ln w="1270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>
                  <a:solidFill>
                    <a:srgbClr val="FFFFFF"/>
                  </a:solidFill>
                  <a:latin typeface="Oracle Sans" panose="020B0503020204020204" pitchFamily="34" charset="0"/>
                </a:endParaRPr>
              </a:p>
            </p:txBody>
          </p:sp>
          <p:sp>
            <p:nvSpPr>
              <p:cNvPr id="61" name="Rectangle 60">
                <a:extLst>
                  <a:ext uri="{FF2B5EF4-FFF2-40B4-BE49-F238E27FC236}">
                    <a16:creationId xmlns:a16="http://schemas.microsoft.com/office/drawing/2014/main" id="{AA3ED644-6FDC-424D-B266-EE3EB1F4BDC0}"/>
                  </a:ext>
                </a:extLst>
              </p:cNvPr>
              <p:cNvSpPr/>
              <p:nvPr/>
            </p:nvSpPr>
            <p:spPr>
              <a:xfrm>
                <a:off x="8208754" y="4542433"/>
                <a:ext cx="113920" cy="118872"/>
              </a:xfrm>
              <a:prstGeom prst="rect">
                <a:avLst/>
              </a:prstGeom>
              <a:solidFill>
                <a:schemeClr val="bg2"/>
              </a:solidFill>
              <a:ln w="1270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>
                  <a:solidFill>
                    <a:srgbClr val="FFFFFF"/>
                  </a:solidFill>
                  <a:latin typeface="Oracle Sans" panose="020B0503020204020204" pitchFamily="34" charset="0"/>
                </a:endParaRPr>
              </a:p>
            </p:txBody>
          </p:sp>
          <p:sp>
            <p:nvSpPr>
              <p:cNvPr id="62" name="Rectangle 61">
                <a:extLst>
                  <a:ext uri="{FF2B5EF4-FFF2-40B4-BE49-F238E27FC236}">
                    <a16:creationId xmlns:a16="http://schemas.microsoft.com/office/drawing/2014/main" id="{79D7A4BC-BC1B-482B-8E31-0F1B9332B8B1}"/>
                  </a:ext>
                </a:extLst>
              </p:cNvPr>
              <p:cNvSpPr/>
              <p:nvPr/>
            </p:nvSpPr>
            <p:spPr>
              <a:xfrm>
                <a:off x="7916018" y="4542433"/>
                <a:ext cx="113920" cy="118872"/>
              </a:xfrm>
              <a:prstGeom prst="rect">
                <a:avLst/>
              </a:prstGeom>
              <a:solidFill>
                <a:schemeClr val="bg2"/>
              </a:solidFill>
              <a:ln w="1270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>
                  <a:solidFill>
                    <a:srgbClr val="FFFFFF"/>
                  </a:solidFill>
                  <a:latin typeface="Oracle Sans" panose="020B0503020204020204" pitchFamily="34" charset="0"/>
                </a:endParaRPr>
              </a:p>
            </p:txBody>
          </p:sp>
          <p:sp>
            <p:nvSpPr>
              <p:cNvPr id="63" name="Rectangle 62">
                <a:extLst>
                  <a:ext uri="{FF2B5EF4-FFF2-40B4-BE49-F238E27FC236}">
                    <a16:creationId xmlns:a16="http://schemas.microsoft.com/office/drawing/2014/main" id="{549E39D8-A8FD-45E9-B4B2-1AE0D53F3AFC}"/>
                  </a:ext>
                </a:extLst>
              </p:cNvPr>
              <p:cNvSpPr/>
              <p:nvPr/>
            </p:nvSpPr>
            <p:spPr>
              <a:xfrm>
                <a:off x="8062386" y="4542433"/>
                <a:ext cx="113920" cy="118872"/>
              </a:xfrm>
              <a:prstGeom prst="rect">
                <a:avLst/>
              </a:prstGeom>
              <a:solidFill>
                <a:schemeClr val="bg2"/>
              </a:solidFill>
              <a:ln w="1270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>
                  <a:solidFill>
                    <a:srgbClr val="FFFFFF"/>
                  </a:solidFill>
                  <a:latin typeface="Oracle Sans" panose="020B0503020204020204" pitchFamily="34" charset="0"/>
                </a:endParaRPr>
              </a:p>
            </p:txBody>
          </p:sp>
          <p:sp>
            <p:nvSpPr>
              <p:cNvPr id="64" name="Rectangle 63">
                <a:extLst>
                  <a:ext uri="{FF2B5EF4-FFF2-40B4-BE49-F238E27FC236}">
                    <a16:creationId xmlns:a16="http://schemas.microsoft.com/office/drawing/2014/main" id="{EE45B7E6-3B3D-4985-BDD2-5C6719106CC8}"/>
                  </a:ext>
                </a:extLst>
              </p:cNvPr>
              <p:cNvSpPr/>
              <p:nvPr/>
            </p:nvSpPr>
            <p:spPr>
              <a:xfrm>
                <a:off x="8355122" y="4542433"/>
                <a:ext cx="113920" cy="118872"/>
              </a:xfrm>
              <a:prstGeom prst="rect">
                <a:avLst/>
              </a:prstGeom>
              <a:solidFill>
                <a:schemeClr val="bg2"/>
              </a:solidFill>
              <a:ln w="1270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>
                  <a:solidFill>
                    <a:srgbClr val="FFFFFF"/>
                  </a:solidFill>
                  <a:latin typeface="Oracle Sans" panose="020B0503020204020204" pitchFamily="34" charset="0"/>
                </a:endParaRPr>
              </a:p>
            </p:txBody>
          </p:sp>
          <p:grpSp>
            <p:nvGrpSpPr>
              <p:cNvPr id="65" name="Group 192">
                <a:extLst>
                  <a:ext uri="{FF2B5EF4-FFF2-40B4-BE49-F238E27FC236}">
                    <a16:creationId xmlns:a16="http://schemas.microsoft.com/office/drawing/2014/main" id="{99196DBB-E486-4303-ADB4-B1EB606C1140}"/>
                  </a:ext>
                </a:extLst>
              </p:cNvPr>
              <p:cNvGrpSpPr/>
              <p:nvPr/>
            </p:nvGrpSpPr>
            <p:grpSpPr>
              <a:xfrm>
                <a:off x="7916018" y="4691557"/>
                <a:ext cx="113920" cy="566243"/>
                <a:chOff x="7916018" y="4691557"/>
                <a:chExt cx="113920" cy="566243"/>
              </a:xfrm>
            </p:grpSpPr>
            <p:sp>
              <p:nvSpPr>
                <p:cNvPr id="86" name="Rectangle 85">
                  <a:extLst>
                    <a:ext uri="{FF2B5EF4-FFF2-40B4-BE49-F238E27FC236}">
                      <a16:creationId xmlns:a16="http://schemas.microsoft.com/office/drawing/2014/main" id="{A939AC63-0D92-41BC-AE4D-5DB4E961592E}"/>
                    </a:ext>
                  </a:extLst>
                </p:cNvPr>
                <p:cNvSpPr/>
                <p:nvPr/>
              </p:nvSpPr>
              <p:spPr>
                <a:xfrm>
                  <a:off x="7916018" y="4691557"/>
                  <a:ext cx="113920" cy="118872"/>
                </a:xfrm>
                <a:prstGeom prst="rect">
                  <a:avLst/>
                </a:prstGeom>
                <a:solidFill>
                  <a:srgbClr val="594564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fontAlgn="base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>
                    <a:solidFill>
                      <a:srgbClr val="FFFFFF"/>
                    </a:solidFill>
                    <a:latin typeface="Oracle Sans" panose="020B0503020204020204" pitchFamily="34" charset="0"/>
                  </a:endParaRPr>
                </a:p>
              </p:txBody>
            </p:sp>
            <p:sp>
              <p:nvSpPr>
                <p:cNvPr id="87" name="Rectangle 86">
                  <a:extLst>
                    <a:ext uri="{FF2B5EF4-FFF2-40B4-BE49-F238E27FC236}">
                      <a16:creationId xmlns:a16="http://schemas.microsoft.com/office/drawing/2014/main" id="{AC21E447-26D1-4B76-B637-5C6A3F4441B6}"/>
                    </a:ext>
                  </a:extLst>
                </p:cNvPr>
                <p:cNvSpPr/>
                <p:nvPr/>
              </p:nvSpPr>
              <p:spPr>
                <a:xfrm>
                  <a:off x="7916018" y="4840681"/>
                  <a:ext cx="113920" cy="118872"/>
                </a:xfrm>
                <a:prstGeom prst="rect">
                  <a:avLst/>
                </a:prstGeom>
                <a:solidFill>
                  <a:schemeClr val="bg2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fontAlgn="base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>
                    <a:solidFill>
                      <a:srgbClr val="FFFFFF"/>
                    </a:solidFill>
                    <a:latin typeface="Oracle Sans" panose="020B0503020204020204" pitchFamily="34" charset="0"/>
                  </a:endParaRPr>
                </a:p>
              </p:txBody>
            </p:sp>
            <p:sp>
              <p:nvSpPr>
                <p:cNvPr id="88" name="Rectangle 87">
                  <a:extLst>
                    <a:ext uri="{FF2B5EF4-FFF2-40B4-BE49-F238E27FC236}">
                      <a16:creationId xmlns:a16="http://schemas.microsoft.com/office/drawing/2014/main" id="{388F8139-D2DF-46EE-8B76-9420B48DAA75}"/>
                    </a:ext>
                  </a:extLst>
                </p:cNvPr>
                <p:cNvSpPr/>
                <p:nvPr/>
              </p:nvSpPr>
              <p:spPr>
                <a:xfrm>
                  <a:off x="7916018" y="4989805"/>
                  <a:ext cx="113920" cy="118872"/>
                </a:xfrm>
                <a:prstGeom prst="rect">
                  <a:avLst/>
                </a:prstGeom>
                <a:solidFill>
                  <a:schemeClr val="bg2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fontAlgn="base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>
                    <a:solidFill>
                      <a:srgbClr val="0070C0"/>
                    </a:solidFill>
                    <a:latin typeface="Oracle Sans" panose="020B0503020204020204" pitchFamily="34" charset="0"/>
                  </a:endParaRPr>
                </a:p>
              </p:txBody>
            </p:sp>
            <p:sp>
              <p:nvSpPr>
                <p:cNvPr id="89" name="Rectangle 88">
                  <a:extLst>
                    <a:ext uri="{FF2B5EF4-FFF2-40B4-BE49-F238E27FC236}">
                      <a16:creationId xmlns:a16="http://schemas.microsoft.com/office/drawing/2014/main" id="{D616410A-0044-42C9-9592-B46004DF5F70}"/>
                    </a:ext>
                  </a:extLst>
                </p:cNvPr>
                <p:cNvSpPr/>
                <p:nvPr/>
              </p:nvSpPr>
              <p:spPr>
                <a:xfrm>
                  <a:off x="7916018" y="5138928"/>
                  <a:ext cx="113920" cy="118872"/>
                </a:xfrm>
                <a:prstGeom prst="rect">
                  <a:avLst/>
                </a:prstGeom>
                <a:solidFill>
                  <a:schemeClr val="bg2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fontAlgn="base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>
                    <a:solidFill>
                      <a:srgbClr val="FFFFFF"/>
                    </a:solidFill>
                    <a:latin typeface="Oracle Sans" panose="020B0503020204020204" pitchFamily="34" charset="0"/>
                  </a:endParaRPr>
                </a:p>
              </p:txBody>
            </p:sp>
          </p:grpSp>
          <p:grpSp>
            <p:nvGrpSpPr>
              <p:cNvPr id="66" name="Group 193">
                <a:extLst>
                  <a:ext uri="{FF2B5EF4-FFF2-40B4-BE49-F238E27FC236}">
                    <a16:creationId xmlns:a16="http://schemas.microsoft.com/office/drawing/2014/main" id="{65982B07-0B94-4B4D-B7F3-AE34D962DC83}"/>
                  </a:ext>
                </a:extLst>
              </p:cNvPr>
              <p:cNvGrpSpPr/>
              <p:nvPr/>
            </p:nvGrpSpPr>
            <p:grpSpPr>
              <a:xfrm>
                <a:off x="8062386" y="4691557"/>
                <a:ext cx="113920" cy="566243"/>
                <a:chOff x="7916018" y="4691557"/>
                <a:chExt cx="113920" cy="566243"/>
              </a:xfrm>
            </p:grpSpPr>
            <p:sp>
              <p:nvSpPr>
                <p:cNvPr id="82" name="Rectangle 81">
                  <a:extLst>
                    <a:ext uri="{FF2B5EF4-FFF2-40B4-BE49-F238E27FC236}">
                      <a16:creationId xmlns:a16="http://schemas.microsoft.com/office/drawing/2014/main" id="{E49DDD51-2383-4382-9491-2CD75BF4C6DA}"/>
                    </a:ext>
                  </a:extLst>
                </p:cNvPr>
                <p:cNvSpPr/>
                <p:nvPr/>
              </p:nvSpPr>
              <p:spPr>
                <a:xfrm>
                  <a:off x="7916018" y="4691557"/>
                  <a:ext cx="113920" cy="118872"/>
                </a:xfrm>
                <a:prstGeom prst="rect">
                  <a:avLst/>
                </a:prstGeom>
                <a:solidFill>
                  <a:schemeClr val="bg2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fontAlgn="base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>
                    <a:solidFill>
                      <a:srgbClr val="FFFFFF"/>
                    </a:solidFill>
                    <a:latin typeface="Oracle Sans" panose="020B0503020204020204" pitchFamily="34" charset="0"/>
                  </a:endParaRPr>
                </a:p>
              </p:txBody>
            </p:sp>
            <p:sp>
              <p:nvSpPr>
                <p:cNvPr id="83" name="Rectangle 82">
                  <a:extLst>
                    <a:ext uri="{FF2B5EF4-FFF2-40B4-BE49-F238E27FC236}">
                      <a16:creationId xmlns:a16="http://schemas.microsoft.com/office/drawing/2014/main" id="{DC2DAD1B-9941-476A-AA8E-04EA389D0A3A}"/>
                    </a:ext>
                  </a:extLst>
                </p:cNvPr>
                <p:cNvSpPr/>
                <p:nvPr/>
              </p:nvSpPr>
              <p:spPr>
                <a:xfrm>
                  <a:off x="7916018" y="4840680"/>
                  <a:ext cx="113920" cy="118872"/>
                </a:xfrm>
                <a:prstGeom prst="rect">
                  <a:avLst/>
                </a:prstGeom>
                <a:solidFill>
                  <a:srgbClr val="594564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fontAlgn="base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>
                    <a:solidFill>
                      <a:srgbClr val="FFFFFF"/>
                    </a:solidFill>
                    <a:latin typeface="Oracle Sans" panose="020B0503020204020204" pitchFamily="34" charset="0"/>
                  </a:endParaRPr>
                </a:p>
              </p:txBody>
            </p:sp>
            <p:sp>
              <p:nvSpPr>
                <p:cNvPr id="84" name="Rectangle 83">
                  <a:extLst>
                    <a:ext uri="{FF2B5EF4-FFF2-40B4-BE49-F238E27FC236}">
                      <a16:creationId xmlns:a16="http://schemas.microsoft.com/office/drawing/2014/main" id="{5132E276-4E94-49CE-891E-6CF16D6E522F}"/>
                    </a:ext>
                  </a:extLst>
                </p:cNvPr>
                <p:cNvSpPr/>
                <p:nvPr/>
              </p:nvSpPr>
              <p:spPr>
                <a:xfrm>
                  <a:off x="7916018" y="4989805"/>
                  <a:ext cx="113920" cy="118872"/>
                </a:xfrm>
                <a:prstGeom prst="rect">
                  <a:avLst/>
                </a:prstGeom>
                <a:solidFill>
                  <a:schemeClr val="bg2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fontAlgn="base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>
                    <a:solidFill>
                      <a:srgbClr val="0070C0"/>
                    </a:solidFill>
                    <a:latin typeface="Oracle Sans" panose="020B0503020204020204" pitchFamily="34" charset="0"/>
                  </a:endParaRPr>
                </a:p>
              </p:txBody>
            </p:sp>
            <p:sp>
              <p:nvSpPr>
                <p:cNvPr id="85" name="Rectangle 84">
                  <a:extLst>
                    <a:ext uri="{FF2B5EF4-FFF2-40B4-BE49-F238E27FC236}">
                      <a16:creationId xmlns:a16="http://schemas.microsoft.com/office/drawing/2014/main" id="{9BC17D3D-BB37-4FC8-8249-4B5CF0F8503F}"/>
                    </a:ext>
                  </a:extLst>
                </p:cNvPr>
                <p:cNvSpPr/>
                <p:nvPr/>
              </p:nvSpPr>
              <p:spPr>
                <a:xfrm>
                  <a:off x="7916018" y="5138928"/>
                  <a:ext cx="113920" cy="118872"/>
                </a:xfrm>
                <a:prstGeom prst="rect">
                  <a:avLst/>
                </a:prstGeom>
                <a:solidFill>
                  <a:schemeClr val="bg2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fontAlgn="base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>
                    <a:solidFill>
                      <a:srgbClr val="FFFFFF"/>
                    </a:solidFill>
                    <a:latin typeface="Oracle Sans" panose="020B0503020204020204" pitchFamily="34" charset="0"/>
                  </a:endParaRPr>
                </a:p>
              </p:txBody>
            </p:sp>
          </p:grpSp>
          <p:grpSp>
            <p:nvGrpSpPr>
              <p:cNvPr id="67" name="Group 194">
                <a:extLst>
                  <a:ext uri="{FF2B5EF4-FFF2-40B4-BE49-F238E27FC236}">
                    <a16:creationId xmlns:a16="http://schemas.microsoft.com/office/drawing/2014/main" id="{EE3DC018-BFF8-4409-8DFD-F62B1FDB08B3}"/>
                  </a:ext>
                </a:extLst>
              </p:cNvPr>
              <p:cNvGrpSpPr/>
              <p:nvPr/>
            </p:nvGrpSpPr>
            <p:grpSpPr>
              <a:xfrm>
                <a:off x="8208754" y="4691557"/>
                <a:ext cx="113920" cy="566243"/>
                <a:chOff x="7916018" y="4691557"/>
                <a:chExt cx="113920" cy="566243"/>
              </a:xfrm>
            </p:grpSpPr>
            <p:sp>
              <p:nvSpPr>
                <p:cNvPr id="78" name="Rectangle 77">
                  <a:extLst>
                    <a:ext uri="{FF2B5EF4-FFF2-40B4-BE49-F238E27FC236}">
                      <a16:creationId xmlns:a16="http://schemas.microsoft.com/office/drawing/2014/main" id="{7EE40804-7D03-4ADF-9ADC-70DDF6AF74D2}"/>
                    </a:ext>
                  </a:extLst>
                </p:cNvPr>
                <p:cNvSpPr/>
                <p:nvPr/>
              </p:nvSpPr>
              <p:spPr>
                <a:xfrm>
                  <a:off x="7916018" y="4691557"/>
                  <a:ext cx="113920" cy="118872"/>
                </a:xfrm>
                <a:prstGeom prst="rect">
                  <a:avLst/>
                </a:prstGeom>
                <a:solidFill>
                  <a:schemeClr val="bg2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fontAlgn="base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>
                    <a:solidFill>
                      <a:srgbClr val="FFFFFF"/>
                    </a:solidFill>
                    <a:latin typeface="Oracle Sans" panose="020B0503020204020204" pitchFamily="34" charset="0"/>
                  </a:endParaRPr>
                </a:p>
              </p:txBody>
            </p:sp>
            <p:sp>
              <p:nvSpPr>
                <p:cNvPr id="79" name="Rectangle 78">
                  <a:extLst>
                    <a:ext uri="{FF2B5EF4-FFF2-40B4-BE49-F238E27FC236}">
                      <a16:creationId xmlns:a16="http://schemas.microsoft.com/office/drawing/2014/main" id="{2C3996DA-45D0-43A5-94BD-4C6440CF0DAE}"/>
                    </a:ext>
                  </a:extLst>
                </p:cNvPr>
                <p:cNvSpPr/>
                <p:nvPr/>
              </p:nvSpPr>
              <p:spPr>
                <a:xfrm>
                  <a:off x="7916018" y="4840681"/>
                  <a:ext cx="113920" cy="118872"/>
                </a:xfrm>
                <a:prstGeom prst="rect">
                  <a:avLst/>
                </a:prstGeom>
                <a:solidFill>
                  <a:schemeClr val="bg2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fontAlgn="base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>
                    <a:solidFill>
                      <a:srgbClr val="FFFFFF"/>
                    </a:solidFill>
                    <a:latin typeface="Oracle Sans" panose="020B0503020204020204" pitchFamily="34" charset="0"/>
                  </a:endParaRPr>
                </a:p>
              </p:txBody>
            </p:sp>
            <p:sp>
              <p:nvSpPr>
                <p:cNvPr id="80" name="Rectangle 79">
                  <a:extLst>
                    <a:ext uri="{FF2B5EF4-FFF2-40B4-BE49-F238E27FC236}">
                      <a16:creationId xmlns:a16="http://schemas.microsoft.com/office/drawing/2014/main" id="{EA78E817-818C-4194-8279-EB4DDC8327EC}"/>
                    </a:ext>
                  </a:extLst>
                </p:cNvPr>
                <p:cNvSpPr/>
                <p:nvPr/>
              </p:nvSpPr>
              <p:spPr>
                <a:xfrm>
                  <a:off x="7916018" y="4989805"/>
                  <a:ext cx="113920" cy="118872"/>
                </a:xfrm>
                <a:prstGeom prst="rect">
                  <a:avLst/>
                </a:prstGeom>
                <a:solidFill>
                  <a:schemeClr val="bg2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fontAlgn="base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>
                    <a:solidFill>
                      <a:srgbClr val="0070C0"/>
                    </a:solidFill>
                    <a:latin typeface="Oracle Sans" panose="020B0503020204020204" pitchFamily="34" charset="0"/>
                  </a:endParaRPr>
                </a:p>
              </p:txBody>
            </p:sp>
            <p:sp>
              <p:nvSpPr>
                <p:cNvPr id="81" name="Rectangle 80">
                  <a:extLst>
                    <a:ext uri="{FF2B5EF4-FFF2-40B4-BE49-F238E27FC236}">
                      <a16:creationId xmlns:a16="http://schemas.microsoft.com/office/drawing/2014/main" id="{3D868829-B32C-411E-A652-E83C73A46E4E}"/>
                    </a:ext>
                  </a:extLst>
                </p:cNvPr>
                <p:cNvSpPr/>
                <p:nvPr/>
              </p:nvSpPr>
              <p:spPr>
                <a:xfrm>
                  <a:off x="7916018" y="5138928"/>
                  <a:ext cx="113920" cy="118872"/>
                </a:xfrm>
                <a:prstGeom prst="rect">
                  <a:avLst/>
                </a:prstGeom>
                <a:solidFill>
                  <a:schemeClr val="bg2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fontAlgn="base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>
                    <a:solidFill>
                      <a:srgbClr val="FFFFFF"/>
                    </a:solidFill>
                    <a:latin typeface="Oracle Sans" panose="020B0503020204020204" pitchFamily="34" charset="0"/>
                  </a:endParaRPr>
                </a:p>
              </p:txBody>
            </p:sp>
          </p:grpSp>
          <p:grpSp>
            <p:nvGrpSpPr>
              <p:cNvPr id="68" name="Group 195">
                <a:extLst>
                  <a:ext uri="{FF2B5EF4-FFF2-40B4-BE49-F238E27FC236}">
                    <a16:creationId xmlns:a16="http://schemas.microsoft.com/office/drawing/2014/main" id="{F6578FF4-07AD-4737-87EC-A6123D2EE314}"/>
                  </a:ext>
                </a:extLst>
              </p:cNvPr>
              <p:cNvGrpSpPr/>
              <p:nvPr/>
            </p:nvGrpSpPr>
            <p:grpSpPr>
              <a:xfrm>
                <a:off x="8355122" y="4691557"/>
                <a:ext cx="113920" cy="566243"/>
                <a:chOff x="7916018" y="4691557"/>
                <a:chExt cx="113920" cy="566243"/>
              </a:xfrm>
            </p:grpSpPr>
            <p:sp>
              <p:nvSpPr>
                <p:cNvPr id="74" name="Rectangle 73">
                  <a:extLst>
                    <a:ext uri="{FF2B5EF4-FFF2-40B4-BE49-F238E27FC236}">
                      <a16:creationId xmlns:a16="http://schemas.microsoft.com/office/drawing/2014/main" id="{653073CF-E174-4556-AE6C-118718EF663F}"/>
                    </a:ext>
                  </a:extLst>
                </p:cNvPr>
                <p:cNvSpPr/>
                <p:nvPr/>
              </p:nvSpPr>
              <p:spPr>
                <a:xfrm>
                  <a:off x="7916018" y="4691557"/>
                  <a:ext cx="113920" cy="118872"/>
                </a:xfrm>
                <a:prstGeom prst="rect">
                  <a:avLst/>
                </a:prstGeom>
                <a:solidFill>
                  <a:schemeClr val="bg2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fontAlgn="base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>
                    <a:solidFill>
                      <a:srgbClr val="FFFFFF"/>
                    </a:solidFill>
                    <a:latin typeface="Oracle Sans" panose="020B0503020204020204" pitchFamily="34" charset="0"/>
                  </a:endParaRPr>
                </a:p>
              </p:txBody>
            </p:sp>
            <p:sp>
              <p:nvSpPr>
                <p:cNvPr id="75" name="Rectangle 74">
                  <a:extLst>
                    <a:ext uri="{FF2B5EF4-FFF2-40B4-BE49-F238E27FC236}">
                      <a16:creationId xmlns:a16="http://schemas.microsoft.com/office/drawing/2014/main" id="{0DB4447B-D89E-40A2-8B83-211FC77B3D5E}"/>
                    </a:ext>
                  </a:extLst>
                </p:cNvPr>
                <p:cNvSpPr/>
                <p:nvPr/>
              </p:nvSpPr>
              <p:spPr>
                <a:xfrm>
                  <a:off x="7916018" y="4840681"/>
                  <a:ext cx="113920" cy="118872"/>
                </a:xfrm>
                <a:prstGeom prst="rect">
                  <a:avLst/>
                </a:prstGeom>
                <a:solidFill>
                  <a:schemeClr val="bg2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fontAlgn="base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>
                    <a:solidFill>
                      <a:srgbClr val="FFFFFF"/>
                    </a:solidFill>
                    <a:latin typeface="Oracle Sans" panose="020B0503020204020204" pitchFamily="34" charset="0"/>
                  </a:endParaRPr>
                </a:p>
              </p:txBody>
            </p:sp>
            <p:sp>
              <p:nvSpPr>
                <p:cNvPr id="76" name="Rectangle 75">
                  <a:extLst>
                    <a:ext uri="{FF2B5EF4-FFF2-40B4-BE49-F238E27FC236}">
                      <a16:creationId xmlns:a16="http://schemas.microsoft.com/office/drawing/2014/main" id="{22115F38-E92A-4055-AE77-744A5B08E9D4}"/>
                    </a:ext>
                  </a:extLst>
                </p:cNvPr>
                <p:cNvSpPr/>
                <p:nvPr/>
              </p:nvSpPr>
              <p:spPr>
                <a:xfrm>
                  <a:off x="7916018" y="4989805"/>
                  <a:ext cx="113920" cy="118872"/>
                </a:xfrm>
                <a:prstGeom prst="rect">
                  <a:avLst/>
                </a:prstGeom>
                <a:solidFill>
                  <a:srgbClr val="594564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fontAlgn="base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>
                    <a:solidFill>
                      <a:srgbClr val="0070C0"/>
                    </a:solidFill>
                    <a:latin typeface="Oracle Sans" panose="020B0503020204020204" pitchFamily="34" charset="0"/>
                  </a:endParaRPr>
                </a:p>
              </p:txBody>
            </p:sp>
            <p:sp>
              <p:nvSpPr>
                <p:cNvPr id="77" name="Rectangle 76">
                  <a:extLst>
                    <a:ext uri="{FF2B5EF4-FFF2-40B4-BE49-F238E27FC236}">
                      <a16:creationId xmlns:a16="http://schemas.microsoft.com/office/drawing/2014/main" id="{D6F59E0B-50B2-474D-B824-1B7FF080F917}"/>
                    </a:ext>
                  </a:extLst>
                </p:cNvPr>
                <p:cNvSpPr/>
                <p:nvPr/>
              </p:nvSpPr>
              <p:spPr>
                <a:xfrm>
                  <a:off x="7916018" y="5138928"/>
                  <a:ext cx="113920" cy="118872"/>
                </a:xfrm>
                <a:prstGeom prst="rect">
                  <a:avLst/>
                </a:prstGeom>
                <a:solidFill>
                  <a:schemeClr val="bg2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fontAlgn="base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>
                    <a:solidFill>
                      <a:srgbClr val="FFFFFF"/>
                    </a:solidFill>
                    <a:latin typeface="Oracle Sans" panose="020B0503020204020204" pitchFamily="34" charset="0"/>
                  </a:endParaRPr>
                </a:p>
              </p:txBody>
            </p:sp>
          </p:grpSp>
          <p:grpSp>
            <p:nvGrpSpPr>
              <p:cNvPr id="69" name="Group 196">
                <a:extLst>
                  <a:ext uri="{FF2B5EF4-FFF2-40B4-BE49-F238E27FC236}">
                    <a16:creationId xmlns:a16="http://schemas.microsoft.com/office/drawing/2014/main" id="{6E13E8E3-ADDB-4CA7-AEA0-B956EAF8EEF6}"/>
                  </a:ext>
                </a:extLst>
              </p:cNvPr>
              <p:cNvGrpSpPr/>
              <p:nvPr/>
            </p:nvGrpSpPr>
            <p:grpSpPr>
              <a:xfrm>
                <a:off x="8501492" y="4691557"/>
                <a:ext cx="113920" cy="566243"/>
                <a:chOff x="7916018" y="4691557"/>
                <a:chExt cx="113920" cy="566243"/>
              </a:xfrm>
            </p:grpSpPr>
            <p:sp>
              <p:nvSpPr>
                <p:cNvPr id="70" name="Rectangle 69">
                  <a:extLst>
                    <a:ext uri="{FF2B5EF4-FFF2-40B4-BE49-F238E27FC236}">
                      <a16:creationId xmlns:a16="http://schemas.microsoft.com/office/drawing/2014/main" id="{A2489F8F-269F-404B-ACC7-F7C464405603}"/>
                    </a:ext>
                  </a:extLst>
                </p:cNvPr>
                <p:cNvSpPr/>
                <p:nvPr/>
              </p:nvSpPr>
              <p:spPr>
                <a:xfrm>
                  <a:off x="7916018" y="4691557"/>
                  <a:ext cx="113920" cy="118872"/>
                </a:xfrm>
                <a:prstGeom prst="rect">
                  <a:avLst/>
                </a:prstGeom>
                <a:solidFill>
                  <a:schemeClr val="bg2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fontAlgn="base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>
                    <a:solidFill>
                      <a:srgbClr val="FFFFFF"/>
                    </a:solidFill>
                    <a:latin typeface="Oracle Sans" panose="020B0503020204020204" pitchFamily="34" charset="0"/>
                  </a:endParaRPr>
                </a:p>
              </p:txBody>
            </p:sp>
            <p:sp>
              <p:nvSpPr>
                <p:cNvPr id="71" name="Rectangle 70">
                  <a:extLst>
                    <a:ext uri="{FF2B5EF4-FFF2-40B4-BE49-F238E27FC236}">
                      <a16:creationId xmlns:a16="http://schemas.microsoft.com/office/drawing/2014/main" id="{6205D560-8FA3-408F-9D4A-68C448552AB2}"/>
                    </a:ext>
                  </a:extLst>
                </p:cNvPr>
                <p:cNvSpPr/>
                <p:nvPr/>
              </p:nvSpPr>
              <p:spPr>
                <a:xfrm>
                  <a:off x="7916018" y="4840681"/>
                  <a:ext cx="113920" cy="118872"/>
                </a:xfrm>
                <a:prstGeom prst="rect">
                  <a:avLst/>
                </a:prstGeom>
                <a:solidFill>
                  <a:srgbClr val="594564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fontAlgn="base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>
                    <a:solidFill>
                      <a:srgbClr val="FFFFFF"/>
                    </a:solidFill>
                    <a:latin typeface="Oracle Sans" panose="020B0503020204020204" pitchFamily="34" charset="0"/>
                  </a:endParaRPr>
                </a:p>
              </p:txBody>
            </p:sp>
            <p:sp>
              <p:nvSpPr>
                <p:cNvPr id="72" name="Rectangle 71">
                  <a:extLst>
                    <a:ext uri="{FF2B5EF4-FFF2-40B4-BE49-F238E27FC236}">
                      <a16:creationId xmlns:a16="http://schemas.microsoft.com/office/drawing/2014/main" id="{4939DA04-38C1-4489-8238-47DE59FC4DB3}"/>
                    </a:ext>
                  </a:extLst>
                </p:cNvPr>
                <p:cNvSpPr/>
                <p:nvPr/>
              </p:nvSpPr>
              <p:spPr>
                <a:xfrm>
                  <a:off x="7916018" y="4989805"/>
                  <a:ext cx="113920" cy="118872"/>
                </a:xfrm>
                <a:prstGeom prst="rect">
                  <a:avLst/>
                </a:prstGeom>
                <a:solidFill>
                  <a:schemeClr val="bg2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fontAlgn="base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>
                    <a:solidFill>
                      <a:srgbClr val="0070C0"/>
                    </a:solidFill>
                    <a:latin typeface="Oracle Sans" panose="020B0503020204020204" pitchFamily="34" charset="0"/>
                  </a:endParaRPr>
                </a:p>
              </p:txBody>
            </p:sp>
            <p:sp>
              <p:nvSpPr>
                <p:cNvPr id="73" name="Rectangle 72">
                  <a:extLst>
                    <a:ext uri="{FF2B5EF4-FFF2-40B4-BE49-F238E27FC236}">
                      <a16:creationId xmlns:a16="http://schemas.microsoft.com/office/drawing/2014/main" id="{501F3694-B713-4592-9A05-2DA1695A7F90}"/>
                    </a:ext>
                  </a:extLst>
                </p:cNvPr>
                <p:cNvSpPr/>
                <p:nvPr/>
              </p:nvSpPr>
              <p:spPr>
                <a:xfrm>
                  <a:off x="7916018" y="5138928"/>
                  <a:ext cx="113920" cy="118872"/>
                </a:xfrm>
                <a:prstGeom prst="rect">
                  <a:avLst/>
                </a:prstGeom>
                <a:solidFill>
                  <a:schemeClr val="bg2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fontAlgn="base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>
                    <a:solidFill>
                      <a:srgbClr val="FFFFFF"/>
                    </a:solidFill>
                    <a:latin typeface="Oracle Sans" panose="020B0503020204020204" pitchFamily="34" charset="0"/>
                  </a:endParaRPr>
                </a:p>
              </p:txBody>
            </p:sp>
          </p:grpSp>
        </p:grpSp>
      </p:grpSp>
      <p:grpSp>
        <p:nvGrpSpPr>
          <p:cNvPr id="90" name="Group 217">
            <a:extLst>
              <a:ext uri="{FF2B5EF4-FFF2-40B4-BE49-F238E27FC236}">
                <a16:creationId xmlns:a16="http://schemas.microsoft.com/office/drawing/2014/main" id="{43BC0100-0626-4C12-9419-4AE65324A628}"/>
              </a:ext>
            </a:extLst>
          </p:cNvPr>
          <p:cNvGrpSpPr/>
          <p:nvPr/>
        </p:nvGrpSpPr>
        <p:grpSpPr>
          <a:xfrm>
            <a:off x="10239007" y="4399044"/>
            <a:ext cx="838200" cy="1033140"/>
            <a:chOff x="7923212" y="4278420"/>
            <a:chExt cx="838200" cy="1033140"/>
          </a:xfrm>
        </p:grpSpPr>
        <p:sp>
          <p:nvSpPr>
            <p:cNvPr id="91" name="Can 107">
              <a:extLst>
                <a:ext uri="{FF2B5EF4-FFF2-40B4-BE49-F238E27FC236}">
                  <a16:creationId xmlns:a16="http://schemas.microsoft.com/office/drawing/2014/main" id="{01A9661D-A7AB-473C-941D-DD466DBA7EF0}"/>
                </a:ext>
              </a:extLst>
            </p:cNvPr>
            <p:cNvSpPr/>
            <p:nvPr/>
          </p:nvSpPr>
          <p:spPr>
            <a:xfrm>
              <a:off x="7923212" y="4278420"/>
              <a:ext cx="838200" cy="1033140"/>
            </a:xfrm>
            <a:prstGeom prst="can">
              <a:avLst>
                <a:gd name="adj" fmla="val 15901"/>
              </a:avLst>
            </a:prstGeom>
            <a:gradFill flip="none" rotWithShape="1">
              <a:gsLst>
                <a:gs pos="28000">
                  <a:schemeClr val="accent5"/>
                </a:gs>
                <a:gs pos="0">
                  <a:schemeClr val="accent5">
                    <a:lumMod val="40000"/>
                    <a:lumOff val="60000"/>
                  </a:schemeClr>
                </a:gs>
                <a:gs pos="100000">
                  <a:schemeClr val="accent5">
                    <a:lumMod val="60000"/>
                    <a:lumOff val="40000"/>
                  </a:schemeClr>
                </a:gs>
              </a:gsLst>
              <a:lin ang="0" scaled="1"/>
            </a:gradFill>
            <a:ln>
              <a:noFill/>
            </a:ln>
            <a:effectLst>
              <a:outerShdw blurRad="203200" dist="50800" dir="5400000" sx="88000" sy="88000" rotWithShape="0">
                <a:prstClr val="black">
                  <a:alpha val="72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>
                <a:solidFill>
                  <a:srgbClr val="FFFFFF"/>
                </a:solidFill>
                <a:latin typeface="Oracle Sans" panose="020B0503020204020204" pitchFamily="34" charset="0"/>
              </a:endParaRPr>
            </a:p>
          </p:txBody>
        </p:sp>
        <p:grpSp>
          <p:nvGrpSpPr>
            <p:cNvPr id="92" name="Group 219">
              <a:extLst>
                <a:ext uri="{FF2B5EF4-FFF2-40B4-BE49-F238E27FC236}">
                  <a16:creationId xmlns:a16="http://schemas.microsoft.com/office/drawing/2014/main" id="{74D77658-6B30-4A00-ACAF-5B582B7ED65A}"/>
                </a:ext>
              </a:extLst>
            </p:cNvPr>
            <p:cNvGrpSpPr/>
            <p:nvPr/>
          </p:nvGrpSpPr>
          <p:grpSpPr>
            <a:xfrm>
              <a:off x="7985818" y="4495800"/>
              <a:ext cx="699394" cy="715367"/>
              <a:chOff x="7916018" y="4542433"/>
              <a:chExt cx="699394" cy="715367"/>
            </a:xfrm>
          </p:grpSpPr>
          <p:sp>
            <p:nvSpPr>
              <p:cNvPr id="93" name="Rectangle 92">
                <a:extLst>
                  <a:ext uri="{FF2B5EF4-FFF2-40B4-BE49-F238E27FC236}">
                    <a16:creationId xmlns:a16="http://schemas.microsoft.com/office/drawing/2014/main" id="{125D4284-A9AC-4F2F-8E7C-BFC872189382}"/>
                  </a:ext>
                </a:extLst>
              </p:cNvPr>
              <p:cNvSpPr/>
              <p:nvPr/>
            </p:nvSpPr>
            <p:spPr>
              <a:xfrm>
                <a:off x="8501492" y="4542433"/>
                <a:ext cx="113920" cy="118872"/>
              </a:xfrm>
              <a:prstGeom prst="rect">
                <a:avLst/>
              </a:prstGeom>
              <a:solidFill>
                <a:schemeClr val="bg2"/>
              </a:solidFill>
              <a:ln w="1270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>
                  <a:solidFill>
                    <a:srgbClr val="FFFFFF"/>
                  </a:solidFill>
                  <a:latin typeface="Oracle Sans" panose="020B0503020204020204" pitchFamily="34" charset="0"/>
                </a:endParaRPr>
              </a:p>
            </p:txBody>
          </p:sp>
          <p:sp>
            <p:nvSpPr>
              <p:cNvPr id="94" name="Rectangle 93">
                <a:extLst>
                  <a:ext uri="{FF2B5EF4-FFF2-40B4-BE49-F238E27FC236}">
                    <a16:creationId xmlns:a16="http://schemas.microsoft.com/office/drawing/2014/main" id="{EC8C8F5F-7841-4E87-B34D-B1B964469793}"/>
                  </a:ext>
                </a:extLst>
              </p:cNvPr>
              <p:cNvSpPr/>
              <p:nvPr/>
            </p:nvSpPr>
            <p:spPr>
              <a:xfrm>
                <a:off x="8208754" y="4542433"/>
                <a:ext cx="113920" cy="118872"/>
              </a:xfrm>
              <a:prstGeom prst="rect">
                <a:avLst/>
              </a:prstGeom>
              <a:solidFill>
                <a:schemeClr val="bg2"/>
              </a:solidFill>
              <a:ln w="1270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>
                  <a:solidFill>
                    <a:srgbClr val="FFFFFF"/>
                  </a:solidFill>
                  <a:latin typeface="Oracle Sans" panose="020B0503020204020204" pitchFamily="34" charset="0"/>
                </a:endParaRPr>
              </a:p>
            </p:txBody>
          </p:sp>
          <p:sp>
            <p:nvSpPr>
              <p:cNvPr id="95" name="Rectangle 94">
                <a:extLst>
                  <a:ext uri="{FF2B5EF4-FFF2-40B4-BE49-F238E27FC236}">
                    <a16:creationId xmlns:a16="http://schemas.microsoft.com/office/drawing/2014/main" id="{9CE20570-0424-44C7-B0F6-A980220486D3}"/>
                  </a:ext>
                </a:extLst>
              </p:cNvPr>
              <p:cNvSpPr/>
              <p:nvPr/>
            </p:nvSpPr>
            <p:spPr>
              <a:xfrm>
                <a:off x="7916018" y="4542433"/>
                <a:ext cx="113920" cy="118872"/>
              </a:xfrm>
              <a:prstGeom prst="rect">
                <a:avLst/>
              </a:prstGeom>
              <a:solidFill>
                <a:schemeClr val="bg2"/>
              </a:solidFill>
              <a:ln w="1270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>
                  <a:solidFill>
                    <a:srgbClr val="FFFFFF"/>
                  </a:solidFill>
                  <a:latin typeface="Oracle Sans" panose="020B0503020204020204" pitchFamily="34" charset="0"/>
                </a:endParaRPr>
              </a:p>
            </p:txBody>
          </p:sp>
          <p:sp>
            <p:nvSpPr>
              <p:cNvPr id="96" name="Rectangle 95">
                <a:extLst>
                  <a:ext uri="{FF2B5EF4-FFF2-40B4-BE49-F238E27FC236}">
                    <a16:creationId xmlns:a16="http://schemas.microsoft.com/office/drawing/2014/main" id="{9D0BC583-9FB0-4C29-997D-C0ED4EECF93D}"/>
                  </a:ext>
                </a:extLst>
              </p:cNvPr>
              <p:cNvSpPr/>
              <p:nvPr/>
            </p:nvSpPr>
            <p:spPr>
              <a:xfrm>
                <a:off x="8062386" y="4542433"/>
                <a:ext cx="113920" cy="118872"/>
              </a:xfrm>
              <a:prstGeom prst="rect">
                <a:avLst/>
              </a:prstGeom>
              <a:solidFill>
                <a:schemeClr val="bg2"/>
              </a:solidFill>
              <a:ln w="1270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>
                  <a:solidFill>
                    <a:srgbClr val="FFFFFF"/>
                  </a:solidFill>
                  <a:latin typeface="Oracle Sans" panose="020B0503020204020204" pitchFamily="34" charset="0"/>
                </a:endParaRPr>
              </a:p>
            </p:txBody>
          </p:sp>
          <p:sp>
            <p:nvSpPr>
              <p:cNvPr id="97" name="Rectangle 96">
                <a:extLst>
                  <a:ext uri="{FF2B5EF4-FFF2-40B4-BE49-F238E27FC236}">
                    <a16:creationId xmlns:a16="http://schemas.microsoft.com/office/drawing/2014/main" id="{22E5726B-06C8-4CD4-95F6-2ED7AD9677E3}"/>
                  </a:ext>
                </a:extLst>
              </p:cNvPr>
              <p:cNvSpPr/>
              <p:nvPr/>
            </p:nvSpPr>
            <p:spPr>
              <a:xfrm>
                <a:off x="8355122" y="4542433"/>
                <a:ext cx="113920" cy="118872"/>
              </a:xfrm>
              <a:prstGeom prst="rect">
                <a:avLst/>
              </a:prstGeom>
              <a:solidFill>
                <a:schemeClr val="bg2"/>
              </a:solidFill>
              <a:ln w="1270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>
                  <a:solidFill>
                    <a:srgbClr val="FFFFFF"/>
                  </a:solidFill>
                  <a:latin typeface="Oracle Sans" panose="020B0503020204020204" pitchFamily="34" charset="0"/>
                </a:endParaRPr>
              </a:p>
            </p:txBody>
          </p:sp>
          <p:grpSp>
            <p:nvGrpSpPr>
              <p:cNvPr id="98" name="Group 225">
                <a:extLst>
                  <a:ext uri="{FF2B5EF4-FFF2-40B4-BE49-F238E27FC236}">
                    <a16:creationId xmlns:a16="http://schemas.microsoft.com/office/drawing/2014/main" id="{612D3E4C-3BED-46C7-AA95-943853F196A1}"/>
                  </a:ext>
                </a:extLst>
              </p:cNvPr>
              <p:cNvGrpSpPr/>
              <p:nvPr/>
            </p:nvGrpSpPr>
            <p:grpSpPr>
              <a:xfrm>
                <a:off x="7916018" y="4691557"/>
                <a:ext cx="113920" cy="566243"/>
                <a:chOff x="7916018" y="4691557"/>
                <a:chExt cx="113920" cy="566243"/>
              </a:xfrm>
            </p:grpSpPr>
            <p:sp>
              <p:nvSpPr>
                <p:cNvPr id="119" name="Rectangle 118">
                  <a:extLst>
                    <a:ext uri="{FF2B5EF4-FFF2-40B4-BE49-F238E27FC236}">
                      <a16:creationId xmlns:a16="http://schemas.microsoft.com/office/drawing/2014/main" id="{352114B6-1F93-4528-A0C7-591C905CB0A9}"/>
                    </a:ext>
                  </a:extLst>
                </p:cNvPr>
                <p:cNvSpPr/>
                <p:nvPr/>
              </p:nvSpPr>
              <p:spPr>
                <a:xfrm>
                  <a:off x="7916018" y="4691557"/>
                  <a:ext cx="113920" cy="118872"/>
                </a:xfrm>
                <a:prstGeom prst="rect">
                  <a:avLst/>
                </a:prstGeom>
                <a:solidFill>
                  <a:schemeClr val="bg2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fontAlgn="base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>
                    <a:solidFill>
                      <a:srgbClr val="FFFFFF"/>
                    </a:solidFill>
                    <a:latin typeface="Oracle Sans" panose="020B0503020204020204" pitchFamily="34" charset="0"/>
                  </a:endParaRPr>
                </a:p>
              </p:txBody>
            </p:sp>
            <p:sp>
              <p:nvSpPr>
                <p:cNvPr id="120" name="Rectangle 119">
                  <a:extLst>
                    <a:ext uri="{FF2B5EF4-FFF2-40B4-BE49-F238E27FC236}">
                      <a16:creationId xmlns:a16="http://schemas.microsoft.com/office/drawing/2014/main" id="{30C912FF-1F02-4BAE-B369-D0089D7FA305}"/>
                    </a:ext>
                  </a:extLst>
                </p:cNvPr>
                <p:cNvSpPr/>
                <p:nvPr/>
              </p:nvSpPr>
              <p:spPr>
                <a:xfrm>
                  <a:off x="7916018" y="4840681"/>
                  <a:ext cx="113920" cy="118872"/>
                </a:xfrm>
                <a:prstGeom prst="rect">
                  <a:avLst/>
                </a:prstGeom>
                <a:solidFill>
                  <a:schemeClr val="bg2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fontAlgn="base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>
                    <a:solidFill>
                      <a:srgbClr val="FFFFFF"/>
                    </a:solidFill>
                    <a:latin typeface="Oracle Sans" panose="020B0503020204020204" pitchFamily="34" charset="0"/>
                  </a:endParaRPr>
                </a:p>
              </p:txBody>
            </p:sp>
            <p:sp>
              <p:nvSpPr>
                <p:cNvPr id="121" name="Rectangle 120">
                  <a:extLst>
                    <a:ext uri="{FF2B5EF4-FFF2-40B4-BE49-F238E27FC236}">
                      <a16:creationId xmlns:a16="http://schemas.microsoft.com/office/drawing/2014/main" id="{CE667D8D-4651-4B3B-985C-20E8FDF6756C}"/>
                    </a:ext>
                  </a:extLst>
                </p:cNvPr>
                <p:cNvSpPr/>
                <p:nvPr/>
              </p:nvSpPr>
              <p:spPr>
                <a:xfrm>
                  <a:off x="7916018" y="4989805"/>
                  <a:ext cx="113920" cy="118872"/>
                </a:xfrm>
                <a:prstGeom prst="rect">
                  <a:avLst/>
                </a:prstGeom>
                <a:solidFill>
                  <a:schemeClr val="bg2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fontAlgn="base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>
                    <a:solidFill>
                      <a:srgbClr val="0070C0"/>
                    </a:solidFill>
                    <a:latin typeface="Oracle Sans" panose="020B0503020204020204" pitchFamily="34" charset="0"/>
                  </a:endParaRPr>
                </a:p>
              </p:txBody>
            </p:sp>
            <p:sp>
              <p:nvSpPr>
                <p:cNvPr id="122" name="Rectangle 121">
                  <a:extLst>
                    <a:ext uri="{FF2B5EF4-FFF2-40B4-BE49-F238E27FC236}">
                      <a16:creationId xmlns:a16="http://schemas.microsoft.com/office/drawing/2014/main" id="{58248860-EB3E-4A31-9C4D-63BEC61C2141}"/>
                    </a:ext>
                  </a:extLst>
                </p:cNvPr>
                <p:cNvSpPr/>
                <p:nvPr/>
              </p:nvSpPr>
              <p:spPr>
                <a:xfrm>
                  <a:off x="7916018" y="5138928"/>
                  <a:ext cx="113920" cy="118872"/>
                </a:xfrm>
                <a:prstGeom prst="rect">
                  <a:avLst/>
                </a:prstGeom>
                <a:solidFill>
                  <a:schemeClr val="bg2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fontAlgn="base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>
                    <a:solidFill>
                      <a:srgbClr val="FFFFFF"/>
                    </a:solidFill>
                    <a:latin typeface="Oracle Sans" panose="020B0503020204020204" pitchFamily="34" charset="0"/>
                  </a:endParaRPr>
                </a:p>
              </p:txBody>
            </p:sp>
          </p:grpSp>
          <p:grpSp>
            <p:nvGrpSpPr>
              <p:cNvPr id="99" name="Group 226">
                <a:extLst>
                  <a:ext uri="{FF2B5EF4-FFF2-40B4-BE49-F238E27FC236}">
                    <a16:creationId xmlns:a16="http://schemas.microsoft.com/office/drawing/2014/main" id="{35A6DED1-6FDE-4769-850B-21BE7732307F}"/>
                  </a:ext>
                </a:extLst>
              </p:cNvPr>
              <p:cNvGrpSpPr/>
              <p:nvPr/>
            </p:nvGrpSpPr>
            <p:grpSpPr>
              <a:xfrm>
                <a:off x="8062386" y="4691557"/>
                <a:ext cx="113920" cy="566243"/>
                <a:chOff x="7916018" y="4691557"/>
                <a:chExt cx="113920" cy="566243"/>
              </a:xfrm>
            </p:grpSpPr>
            <p:sp>
              <p:nvSpPr>
                <p:cNvPr id="115" name="Rectangle 114">
                  <a:extLst>
                    <a:ext uri="{FF2B5EF4-FFF2-40B4-BE49-F238E27FC236}">
                      <a16:creationId xmlns:a16="http://schemas.microsoft.com/office/drawing/2014/main" id="{C23CD532-CDC8-4435-8187-0BE10E3AD3B3}"/>
                    </a:ext>
                  </a:extLst>
                </p:cNvPr>
                <p:cNvSpPr/>
                <p:nvPr/>
              </p:nvSpPr>
              <p:spPr>
                <a:xfrm>
                  <a:off x="7916018" y="4691557"/>
                  <a:ext cx="113920" cy="118872"/>
                </a:xfrm>
                <a:prstGeom prst="rect">
                  <a:avLst/>
                </a:prstGeom>
                <a:solidFill>
                  <a:schemeClr val="bg2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fontAlgn="base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>
                    <a:solidFill>
                      <a:srgbClr val="FFFFFF"/>
                    </a:solidFill>
                    <a:latin typeface="Oracle Sans" panose="020B0503020204020204" pitchFamily="34" charset="0"/>
                  </a:endParaRPr>
                </a:p>
              </p:txBody>
            </p:sp>
            <p:sp>
              <p:nvSpPr>
                <p:cNvPr id="116" name="Rectangle 115">
                  <a:extLst>
                    <a:ext uri="{FF2B5EF4-FFF2-40B4-BE49-F238E27FC236}">
                      <a16:creationId xmlns:a16="http://schemas.microsoft.com/office/drawing/2014/main" id="{CAC9548C-9848-4C1A-BA9A-3234BA37370E}"/>
                    </a:ext>
                  </a:extLst>
                </p:cNvPr>
                <p:cNvSpPr/>
                <p:nvPr/>
              </p:nvSpPr>
              <p:spPr>
                <a:xfrm>
                  <a:off x="7916018" y="4840681"/>
                  <a:ext cx="113920" cy="118872"/>
                </a:xfrm>
                <a:prstGeom prst="rect">
                  <a:avLst/>
                </a:prstGeom>
                <a:solidFill>
                  <a:schemeClr val="accent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fontAlgn="base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>
                    <a:solidFill>
                      <a:srgbClr val="FFFFFF"/>
                    </a:solidFill>
                    <a:latin typeface="Oracle Sans" panose="020B0503020204020204" pitchFamily="34" charset="0"/>
                  </a:endParaRPr>
                </a:p>
              </p:txBody>
            </p:sp>
            <p:sp>
              <p:nvSpPr>
                <p:cNvPr id="117" name="Rectangle 116">
                  <a:extLst>
                    <a:ext uri="{FF2B5EF4-FFF2-40B4-BE49-F238E27FC236}">
                      <a16:creationId xmlns:a16="http://schemas.microsoft.com/office/drawing/2014/main" id="{1F130A19-7D5D-4FF9-B8E7-D2A3CE0B7702}"/>
                    </a:ext>
                  </a:extLst>
                </p:cNvPr>
                <p:cNvSpPr/>
                <p:nvPr/>
              </p:nvSpPr>
              <p:spPr>
                <a:xfrm>
                  <a:off x="7916018" y="4989805"/>
                  <a:ext cx="113920" cy="118872"/>
                </a:xfrm>
                <a:prstGeom prst="rect">
                  <a:avLst/>
                </a:prstGeom>
                <a:solidFill>
                  <a:schemeClr val="accent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fontAlgn="base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>
                    <a:solidFill>
                      <a:srgbClr val="0070C0"/>
                    </a:solidFill>
                    <a:latin typeface="Oracle Sans" panose="020B0503020204020204" pitchFamily="34" charset="0"/>
                  </a:endParaRPr>
                </a:p>
              </p:txBody>
            </p:sp>
            <p:sp>
              <p:nvSpPr>
                <p:cNvPr id="118" name="Rectangle 117">
                  <a:extLst>
                    <a:ext uri="{FF2B5EF4-FFF2-40B4-BE49-F238E27FC236}">
                      <a16:creationId xmlns:a16="http://schemas.microsoft.com/office/drawing/2014/main" id="{837336D9-83F2-4D3C-B02C-1FA784487616}"/>
                    </a:ext>
                  </a:extLst>
                </p:cNvPr>
                <p:cNvSpPr/>
                <p:nvPr/>
              </p:nvSpPr>
              <p:spPr>
                <a:xfrm>
                  <a:off x="7916018" y="5138928"/>
                  <a:ext cx="113920" cy="118872"/>
                </a:xfrm>
                <a:prstGeom prst="rect">
                  <a:avLst/>
                </a:prstGeom>
                <a:solidFill>
                  <a:schemeClr val="bg2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fontAlgn="base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>
                    <a:solidFill>
                      <a:srgbClr val="FFFFFF"/>
                    </a:solidFill>
                    <a:latin typeface="Oracle Sans" panose="020B0503020204020204" pitchFamily="34" charset="0"/>
                  </a:endParaRPr>
                </a:p>
              </p:txBody>
            </p:sp>
          </p:grpSp>
          <p:grpSp>
            <p:nvGrpSpPr>
              <p:cNvPr id="100" name="Group 227">
                <a:extLst>
                  <a:ext uri="{FF2B5EF4-FFF2-40B4-BE49-F238E27FC236}">
                    <a16:creationId xmlns:a16="http://schemas.microsoft.com/office/drawing/2014/main" id="{0ECD286F-7C5F-4237-A60D-6D63251E9F6C}"/>
                  </a:ext>
                </a:extLst>
              </p:cNvPr>
              <p:cNvGrpSpPr/>
              <p:nvPr/>
            </p:nvGrpSpPr>
            <p:grpSpPr>
              <a:xfrm>
                <a:off x="8208754" y="4691557"/>
                <a:ext cx="113920" cy="566243"/>
                <a:chOff x="7916018" y="4691557"/>
                <a:chExt cx="113920" cy="566243"/>
              </a:xfrm>
            </p:grpSpPr>
            <p:sp>
              <p:nvSpPr>
                <p:cNvPr id="111" name="Rectangle 110">
                  <a:extLst>
                    <a:ext uri="{FF2B5EF4-FFF2-40B4-BE49-F238E27FC236}">
                      <a16:creationId xmlns:a16="http://schemas.microsoft.com/office/drawing/2014/main" id="{BA2141F1-4326-46C6-B30D-950835942A38}"/>
                    </a:ext>
                  </a:extLst>
                </p:cNvPr>
                <p:cNvSpPr/>
                <p:nvPr/>
              </p:nvSpPr>
              <p:spPr>
                <a:xfrm>
                  <a:off x="7916018" y="4691557"/>
                  <a:ext cx="113920" cy="118872"/>
                </a:xfrm>
                <a:prstGeom prst="rect">
                  <a:avLst/>
                </a:prstGeom>
                <a:solidFill>
                  <a:schemeClr val="bg2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fontAlgn="base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>
                    <a:solidFill>
                      <a:srgbClr val="FFFFFF"/>
                    </a:solidFill>
                    <a:latin typeface="Oracle Sans" panose="020B0503020204020204" pitchFamily="34" charset="0"/>
                  </a:endParaRPr>
                </a:p>
              </p:txBody>
            </p:sp>
            <p:sp>
              <p:nvSpPr>
                <p:cNvPr id="112" name="Rectangle 111">
                  <a:extLst>
                    <a:ext uri="{FF2B5EF4-FFF2-40B4-BE49-F238E27FC236}">
                      <a16:creationId xmlns:a16="http://schemas.microsoft.com/office/drawing/2014/main" id="{EB1513F8-08AB-404C-BD16-04EB6B222FA4}"/>
                    </a:ext>
                  </a:extLst>
                </p:cNvPr>
                <p:cNvSpPr/>
                <p:nvPr/>
              </p:nvSpPr>
              <p:spPr>
                <a:xfrm>
                  <a:off x="7916018" y="4840681"/>
                  <a:ext cx="113920" cy="118872"/>
                </a:xfrm>
                <a:prstGeom prst="rect">
                  <a:avLst/>
                </a:prstGeom>
                <a:solidFill>
                  <a:schemeClr val="bg2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fontAlgn="base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>
                    <a:solidFill>
                      <a:srgbClr val="FFFFFF"/>
                    </a:solidFill>
                    <a:latin typeface="Oracle Sans" panose="020B0503020204020204" pitchFamily="34" charset="0"/>
                  </a:endParaRPr>
                </a:p>
              </p:txBody>
            </p:sp>
            <p:sp>
              <p:nvSpPr>
                <p:cNvPr id="113" name="Rectangle 112">
                  <a:extLst>
                    <a:ext uri="{FF2B5EF4-FFF2-40B4-BE49-F238E27FC236}">
                      <a16:creationId xmlns:a16="http://schemas.microsoft.com/office/drawing/2014/main" id="{EB6B0773-32F0-4A29-9ED2-EBB44DAEE092}"/>
                    </a:ext>
                  </a:extLst>
                </p:cNvPr>
                <p:cNvSpPr/>
                <p:nvPr/>
              </p:nvSpPr>
              <p:spPr>
                <a:xfrm>
                  <a:off x="7916018" y="4989805"/>
                  <a:ext cx="113920" cy="118872"/>
                </a:xfrm>
                <a:prstGeom prst="rect">
                  <a:avLst/>
                </a:prstGeom>
                <a:solidFill>
                  <a:schemeClr val="bg2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fontAlgn="base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>
                    <a:solidFill>
                      <a:srgbClr val="0070C0"/>
                    </a:solidFill>
                    <a:latin typeface="Oracle Sans" panose="020B0503020204020204" pitchFamily="34" charset="0"/>
                  </a:endParaRPr>
                </a:p>
              </p:txBody>
            </p:sp>
            <p:sp>
              <p:nvSpPr>
                <p:cNvPr id="114" name="Rectangle 113">
                  <a:extLst>
                    <a:ext uri="{FF2B5EF4-FFF2-40B4-BE49-F238E27FC236}">
                      <a16:creationId xmlns:a16="http://schemas.microsoft.com/office/drawing/2014/main" id="{45201BE5-AD66-48AF-9DFE-0C40472122B4}"/>
                    </a:ext>
                  </a:extLst>
                </p:cNvPr>
                <p:cNvSpPr/>
                <p:nvPr/>
              </p:nvSpPr>
              <p:spPr>
                <a:xfrm>
                  <a:off x="7916018" y="5138928"/>
                  <a:ext cx="113920" cy="118872"/>
                </a:xfrm>
                <a:prstGeom prst="rect">
                  <a:avLst/>
                </a:prstGeom>
                <a:solidFill>
                  <a:schemeClr val="bg2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fontAlgn="base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>
                    <a:solidFill>
                      <a:srgbClr val="FFFFFF"/>
                    </a:solidFill>
                    <a:latin typeface="Oracle Sans" panose="020B0503020204020204" pitchFamily="34" charset="0"/>
                  </a:endParaRPr>
                </a:p>
              </p:txBody>
            </p:sp>
          </p:grpSp>
          <p:grpSp>
            <p:nvGrpSpPr>
              <p:cNvPr id="101" name="Group 228">
                <a:extLst>
                  <a:ext uri="{FF2B5EF4-FFF2-40B4-BE49-F238E27FC236}">
                    <a16:creationId xmlns:a16="http://schemas.microsoft.com/office/drawing/2014/main" id="{06FCB9D3-BA4A-4704-900A-EC3ABF7C51DE}"/>
                  </a:ext>
                </a:extLst>
              </p:cNvPr>
              <p:cNvGrpSpPr/>
              <p:nvPr/>
            </p:nvGrpSpPr>
            <p:grpSpPr>
              <a:xfrm>
                <a:off x="8355122" y="4691557"/>
                <a:ext cx="113920" cy="566243"/>
                <a:chOff x="7916018" y="4691557"/>
                <a:chExt cx="113920" cy="566243"/>
              </a:xfrm>
            </p:grpSpPr>
            <p:sp>
              <p:nvSpPr>
                <p:cNvPr id="107" name="Rectangle 106">
                  <a:extLst>
                    <a:ext uri="{FF2B5EF4-FFF2-40B4-BE49-F238E27FC236}">
                      <a16:creationId xmlns:a16="http://schemas.microsoft.com/office/drawing/2014/main" id="{1A876523-D3EE-4401-8E34-CD4996A1561F}"/>
                    </a:ext>
                  </a:extLst>
                </p:cNvPr>
                <p:cNvSpPr/>
                <p:nvPr/>
              </p:nvSpPr>
              <p:spPr>
                <a:xfrm>
                  <a:off x="7916018" y="4691557"/>
                  <a:ext cx="113920" cy="118872"/>
                </a:xfrm>
                <a:prstGeom prst="rect">
                  <a:avLst/>
                </a:prstGeom>
                <a:solidFill>
                  <a:schemeClr val="bg2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fontAlgn="base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>
                    <a:solidFill>
                      <a:srgbClr val="FFFFFF"/>
                    </a:solidFill>
                    <a:latin typeface="Oracle Sans" panose="020B0503020204020204" pitchFamily="34" charset="0"/>
                  </a:endParaRPr>
                </a:p>
              </p:txBody>
            </p:sp>
            <p:sp>
              <p:nvSpPr>
                <p:cNvPr id="108" name="Rectangle 107">
                  <a:extLst>
                    <a:ext uri="{FF2B5EF4-FFF2-40B4-BE49-F238E27FC236}">
                      <a16:creationId xmlns:a16="http://schemas.microsoft.com/office/drawing/2014/main" id="{01DF712C-3552-43FD-8198-74CD4F24321A}"/>
                    </a:ext>
                  </a:extLst>
                </p:cNvPr>
                <p:cNvSpPr/>
                <p:nvPr/>
              </p:nvSpPr>
              <p:spPr>
                <a:xfrm>
                  <a:off x="7916018" y="4840681"/>
                  <a:ext cx="113920" cy="118872"/>
                </a:xfrm>
                <a:prstGeom prst="rect">
                  <a:avLst/>
                </a:prstGeom>
                <a:solidFill>
                  <a:schemeClr val="bg2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fontAlgn="base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>
                    <a:solidFill>
                      <a:srgbClr val="FFFFFF"/>
                    </a:solidFill>
                    <a:latin typeface="Oracle Sans" panose="020B0503020204020204" pitchFamily="34" charset="0"/>
                  </a:endParaRPr>
                </a:p>
              </p:txBody>
            </p:sp>
            <p:sp>
              <p:nvSpPr>
                <p:cNvPr id="109" name="Rectangle 108">
                  <a:extLst>
                    <a:ext uri="{FF2B5EF4-FFF2-40B4-BE49-F238E27FC236}">
                      <a16:creationId xmlns:a16="http://schemas.microsoft.com/office/drawing/2014/main" id="{FA97EA2D-A01C-4C24-A787-110C3C40616A}"/>
                    </a:ext>
                  </a:extLst>
                </p:cNvPr>
                <p:cNvSpPr/>
                <p:nvPr/>
              </p:nvSpPr>
              <p:spPr>
                <a:xfrm>
                  <a:off x="7916018" y="4989805"/>
                  <a:ext cx="113920" cy="118872"/>
                </a:xfrm>
                <a:prstGeom prst="rect">
                  <a:avLst/>
                </a:prstGeom>
                <a:solidFill>
                  <a:schemeClr val="bg2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fontAlgn="base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>
                    <a:solidFill>
                      <a:srgbClr val="0070C0"/>
                    </a:solidFill>
                    <a:latin typeface="Oracle Sans" panose="020B0503020204020204" pitchFamily="34" charset="0"/>
                  </a:endParaRPr>
                </a:p>
              </p:txBody>
            </p:sp>
            <p:sp>
              <p:nvSpPr>
                <p:cNvPr id="110" name="Rectangle 109">
                  <a:extLst>
                    <a:ext uri="{FF2B5EF4-FFF2-40B4-BE49-F238E27FC236}">
                      <a16:creationId xmlns:a16="http://schemas.microsoft.com/office/drawing/2014/main" id="{A00677C3-910D-4F9E-89AF-2CB071F89562}"/>
                    </a:ext>
                  </a:extLst>
                </p:cNvPr>
                <p:cNvSpPr/>
                <p:nvPr/>
              </p:nvSpPr>
              <p:spPr>
                <a:xfrm>
                  <a:off x="7916018" y="5138928"/>
                  <a:ext cx="113920" cy="118872"/>
                </a:xfrm>
                <a:prstGeom prst="rect">
                  <a:avLst/>
                </a:prstGeom>
                <a:solidFill>
                  <a:schemeClr val="accent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fontAlgn="base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>
                    <a:solidFill>
                      <a:srgbClr val="FFFFFF"/>
                    </a:solidFill>
                    <a:latin typeface="Oracle Sans" panose="020B0503020204020204" pitchFamily="34" charset="0"/>
                  </a:endParaRPr>
                </a:p>
              </p:txBody>
            </p:sp>
          </p:grpSp>
          <p:grpSp>
            <p:nvGrpSpPr>
              <p:cNvPr id="102" name="Group 229">
                <a:extLst>
                  <a:ext uri="{FF2B5EF4-FFF2-40B4-BE49-F238E27FC236}">
                    <a16:creationId xmlns:a16="http://schemas.microsoft.com/office/drawing/2014/main" id="{7DD0F2C9-2FB8-478A-AFD8-0473A9D61E0B}"/>
                  </a:ext>
                </a:extLst>
              </p:cNvPr>
              <p:cNvGrpSpPr/>
              <p:nvPr/>
            </p:nvGrpSpPr>
            <p:grpSpPr>
              <a:xfrm>
                <a:off x="8501492" y="4691557"/>
                <a:ext cx="113920" cy="566243"/>
                <a:chOff x="7916018" y="4691557"/>
                <a:chExt cx="113920" cy="566243"/>
              </a:xfrm>
            </p:grpSpPr>
            <p:sp>
              <p:nvSpPr>
                <p:cNvPr id="103" name="Rectangle 102">
                  <a:extLst>
                    <a:ext uri="{FF2B5EF4-FFF2-40B4-BE49-F238E27FC236}">
                      <a16:creationId xmlns:a16="http://schemas.microsoft.com/office/drawing/2014/main" id="{1FCC8C1E-70B7-4F57-8E85-40BAAAD56933}"/>
                    </a:ext>
                  </a:extLst>
                </p:cNvPr>
                <p:cNvSpPr/>
                <p:nvPr/>
              </p:nvSpPr>
              <p:spPr>
                <a:xfrm>
                  <a:off x="7916018" y="4691557"/>
                  <a:ext cx="113920" cy="118872"/>
                </a:xfrm>
                <a:prstGeom prst="rect">
                  <a:avLst/>
                </a:prstGeom>
                <a:solidFill>
                  <a:schemeClr val="bg2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fontAlgn="base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>
                    <a:solidFill>
                      <a:srgbClr val="FFFFFF"/>
                    </a:solidFill>
                    <a:latin typeface="Oracle Sans" panose="020B0503020204020204" pitchFamily="34" charset="0"/>
                  </a:endParaRPr>
                </a:p>
              </p:txBody>
            </p:sp>
            <p:sp>
              <p:nvSpPr>
                <p:cNvPr id="104" name="Rectangle 103">
                  <a:extLst>
                    <a:ext uri="{FF2B5EF4-FFF2-40B4-BE49-F238E27FC236}">
                      <a16:creationId xmlns:a16="http://schemas.microsoft.com/office/drawing/2014/main" id="{531DFFEC-C529-4115-8CA8-1C79B0CB5442}"/>
                    </a:ext>
                  </a:extLst>
                </p:cNvPr>
                <p:cNvSpPr/>
                <p:nvPr/>
              </p:nvSpPr>
              <p:spPr>
                <a:xfrm>
                  <a:off x="7916018" y="4840681"/>
                  <a:ext cx="113920" cy="118872"/>
                </a:xfrm>
                <a:prstGeom prst="rect">
                  <a:avLst/>
                </a:prstGeom>
                <a:solidFill>
                  <a:schemeClr val="bg2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fontAlgn="base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>
                    <a:solidFill>
                      <a:srgbClr val="FFFFFF"/>
                    </a:solidFill>
                    <a:latin typeface="Oracle Sans" panose="020B0503020204020204" pitchFamily="34" charset="0"/>
                  </a:endParaRPr>
                </a:p>
              </p:txBody>
            </p:sp>
            <p:sp>
              <p:nvSpPr>
                <p:cNvPr id="105" name="Rectangle 104">
                  <a:extLst>
                    <a:ext uri="{FF2B5EF4-FFF2-40B4-BE49-F238E27FC236}">
                      <a16:creationId xmlns:a16="http://schemas.microsoft.com/office/drawing/2014/main" id="{88A42D96-F82B-474A-9C20-42517B8D11DF}"/>
                    </a:ext>
                  </a:extLst>
                </p:cNvPr>
                <p:cNvSpPr/>
                <p:nvPr/>
              </p:nvSpPr>
              <p:spPr>
                <a:xfrm>
                  <a:off x="7916018" y="4989805"/>
                  <a:ext cx="113920" cy="118872"/>
                </a:xfrm>
                <a:prstGeom prst="rect">
                  <a:avLst/>
                </a:prstGeom>
                <a:solidFill>
                  <a:schemeClr val="bg2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fontAlgn="base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>
                    <a:solidFill>
                      <a:srgbClr val="0070C0"/>
                    </a:solidFill>
                    <a:latin typeface="Oracle Sans" panose="020B0503020204020204" pitchFamily="34" charset="0"/>
                  </a:endParaRPr>
                </a:p>
              </p:txBody>
            </p:sp>
            <p:sp>
              <p:nvSpPr>
                <p:cNvPr id="106" name="Rectangle 105">
                  <a:extLst>
                    <a:ext uri="{FF2B5EF4-FFF2-40B4-BE49-F238E27FC236}">
                      <a16:creationId xmlns:a16="http://schemas.microsoft.com/office/drawing/2014/main" id="{01C7C3BB-2426-4B32-A0AB-4EC64614B040}"/>
                    </a:ext>
                  </a:extLst>
                </p:cNvPr>
                <p:cNvSpPr/>
                <p:nvPr/>
              </p:nvSpPr>
              <p:spPr>
                <a:xfrm>
                  <a:off x="7916018" y="5138928"/>
                  <a:ext cx="113920" cy="118872"/>
                </a:xfrm>
                <a:prstGeom prst="rect">
                  <a:avLst/>
                </a:prstGeom>
                <a:solidFill>
                  <a:schemeClr val="accent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fontAlgn="base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>
                    <a:solidFill>
                      <a:srgbClr val="FFFFFF"/>
                    </a:solidFill>
                    <a:latin typeface="Oracle Sans" panose="020B0503020204020204" pitchFamily="34" charset="0"/>
                  </a:endParaRPr>
                </a:p>
              </p:txBody>
            </p:sp>
          </p:grpSp>
        </p:grpSp>
      </p:grpSp>
      <p:grpSp>
        <p:nvGrpSpPr>
          <p:cNvPr id="123" name="Group 181">
            <a:extLst>
              <a:ext uri="{FF2B5EF4-FFF2-40B4-BE49-F238E27FC236}">
                <a16:creationId xmlns:a16="http://schemas.microsoft.com/office/drawing/2014/main" id="{D90E8F57-45F3-4F77-9756-B1A3ADE578B0}"/>
              </a:ext>
            </a:extLst>
          </p:cNvPr>
          <p:cNvGrpSpPr/>
          <p:nvPr/>
        </p:nvGrpSpPr>
        <p:grpSpPr>
          <a:xfrm>
            <a:off x="8105329" y="4619472"/>
            <a:ext cx="699394" cy="715367"/>
            <a:chOff x="7916018" y="4542433"/>
            <a:chExt cx="699394" cy="715367"/>
          </a:xfrm>
          <a:effectLst/>
        </p:grpSpPr>
        <p:sp>
          <p:nvSpPr>
            <p:cNvPr id="124" name="Rectangle 123">
              <a:extLst>
                <a:ext uri="{FF2B5EF4-FFF2-40B4-BE49-F238E27FC236}">
                  <a16:creationId xmlns:a16="http://schemas.microsoft.com/office/drawing/2014/main" id="{0AF14C09-E720-4369-8317-E405DD44EF4E}"/>
                </a:ext>
              </a:extLst>
            </p:cNvPr>
            <p:cNvSpPr/>
            <p:nvPr/>
          </p:nvSpPr>
          <p:spPr>
            <a:xfrm>
              <a:off x="8501492" y="4542433"/>
              <a:ext cx="113920" cy="118872"/>
            </a:xfrm>
            <a:prstGeom prst="rect">
              <a:avLst/>
            </a:prstGeom>
            <a:solidFill>
              <a:srgbClr val="41817E"/>
            </a:solidFill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>
                <a:solidFill>
                  <a:srgbClr val="FFFFFF"/>
                </a:solidFill>
                <a:latin typeface="Oracle Sans" panose="020B0503020204020204" pitchFamily="34" charset="0"/>
              </a:endParaRPr>
            </a:p>
          </p:txBody>
        </p:sp>
        <p:sp>
          <p:nvSpPr>
            <p:cNvPr id="125" name="Rectangle 124">
              <a:extLst>
                <a:ext uri="{FF2B5EF4-FFF2-40B4-BE49-F238E27FC236}">
                  <a16:creationId xmlns:a16="http://schemas.microsoft.com/office/drawing/2014/main" id="{1F4F5C82-B019-4D71-964C-F90E9035D0F3}"/>
                </a:ext>
              </a:extLst>
            </p:cNvPr>
            <p:cNvSpPr/>
            <p:nvPr/>
          </p:nvSpPr>
          <p:spPr>
            <a:xfrm>
              <a:off x="8208754" y="4542433"/>
              <a:ext cx="113920" cy="118872"/>
            </a:xfrm>
            <a:prstGeom prst="rect">
              <a:avLst/>
            </a:prstGeom>
            <a:solidFill>
              <a:srgbClr val="41817E"/>
            </a:solidFill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>
                <a:solidFill>
                  <a:srgbClr val="FFFFFF"/>
                </a:solidFill>
                <a:latin typeface="Oracle Sans" panose="020B0503020204020204" pitchFamily="34" charset="0"/>
              </a:endParaRPr>
            </a:p>
          </p:txBody>
        </p:sp>
        <p:sp>
          <p:nvSpPr>
            <p:cNvPr id="126" name="Rectangle 125">
              <a:extLst>
                <a:ext uri="{FF2B5EF4-FFF2-40B4-BE49-F238E27FC236}">
                  <a16:creationId xmlns:a16="http://schemas.microsoft.com/office/drawing/2014/main" id="{808830AB-B8EC-45C9-B443-BC02A298DF12}"/>
                </a:ext>
              </a:extLst>
            </p:cNvPr>
            <p:cNvSpPr/>
            <p:nvPr/>
          </p:nvSpPr>
          <p:spPr>
            <a:xfrm>
              <a:off x="7916018" y="4542433"/>
              <a:ext cx="113920" cy="118872"/>
            </a:xfrm>
            <a:prstGeom prst="rect">
              <a:avLst/>
            </a:prstGeom>
            <a:solidFill>
              <a:srgbClr val="41817E"/>
            </a:solidFill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>
                <a:solidFill>
                  <a:srgbClr val="FFFFFF"/>
                </a:solidFill>
                <a:latin typeface="Oracle Sans" panose="020B0503020204020204" pitchFamily="34" charset="0"/>
              </a:endParaRPr>
            </a:p>
          </p:txBody>
        </p:sp>
        <p:sp>
          <p:nvSpPr>
            <p:cNvPr id="127" name="Rectangle 126">
              <a:extLst>
                <a:ext uri="{FF2B5EF4-FFF2-40B4-BE49-F238E27FC236}">
                  <a16:creationId xmlns:a16="http://schemas.microsoft.com/office/drawing/2014/main" id="{C58B8234-63B2-429B-A513-C8FEF71F50CB}"/>
                </a:ext>
              </a:extLst>
            </p:cNvPr>
            <p:cNvSpPr/>
            <p:nvPr/>
          </p:nvSpPr>
          <p:spPr>
            <a:xfrm>
              <a:off x="8062386" y="4542433"/>
              <a:ext cx="113920" cy="118872"/>
            </a:xfrm>
            <a:prstGeom prst="rect">
              <a:avLst/>
            </a:prstGeom>
            <a:solidFill>
              <a:srgbClr val="41817E"/>
            </a:solidFill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>
                <a:solidFill>
                  <a:srgbClr val="FFFFFF"/>
                </a:solidFill>
                <a:latin typeface="Oracle Sans" panose="020B0503020204020204" pitchFamily="34" charset="0"/>
              </a:endParaRPr>
            </a:p>
          </p:txBody>
        </p:sp>
        <p:sp>
          <p:nvSpPr>
            <p:cNvPr id="128" name="Rectangle 127">
              <a:extLst>
                <a:ext uri="{FF2B5EF4-FFF2-40B4-BE49-F238E27FC236}">
                  <a16:creationId xmlns:a16="http://schemas.microsoft.com/office/drawing/2014/main" id="{4662F74F-D3C9-4628-B72C-A2834840EE05}"/>
                </a:ext>
              </a:extLst>
            </p:cNvPr>
            <p:cNvSpPr/>
            <p:nvPr/>
          </p:nvSpPr>
          <p:spPr>
            <a:xfrm>
              <a:off x="8355122" y="4542433"/>
              <a:ext cx="113920" cy="118872"/>
            </a:xfrm>
            <a:prstGeom prst="rect">
              <a:avLst/>
            </a:prstGeom>
            <a:solidFill>
              <a:srgbClr val="41817E"/>
            </a:solidFill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>
                <a:solidFill>
                  <a:srgbClr val="FFFFFF"/>
                </a:solidFill>
                <a:latin typeface="Oracle Sans" panose="020B0503020204020204" pitchFamily="34" charset="0"/>
              </a:endParaRPr>
            </a:p>
          </p:txBody>
        </p:sp>
        <p:grpSp>
          <p:nvGrpSpPr>
            <p:cNvPr id="129" name="Group 160">
              <a:extLst>
                <a:ext uri="{FF2B5EF4-FFF2-40B4-BE49-F238E27FC236}">
                  <a16:creationId xmlns:a16="http://schemas.microsoft.com/office/drawing/2014/main" id="{240E42E1-350A-42BE-B88C-4F941EB31695}"/>
                </a:ext>
              </a:extLst>
            </p:cNvPr>
            <p:cNvGrpSpPr/>
            <p:nvPr/>
          </p:nvGrpSpPr>
          <p:grpSpPr>
            <a:xfrm>
              <a:off x="7916018" y="4691557"/>
              <a:ext cx="113920" cy="566243"/>
              <a:chOff x="7916018" y="4691557"/>
              <a:chExt cx="113920" cy="566243"/>
            </a:xfrm>
          </p:grpSpPr>
          <p:sp>
            <p:nvSpPr>
              <p:cNvPr id="150" name="Rectangle 149">
                <a:extLst>
                  <a:ext uri="{FF2B5EF4-FFF2-40B4-BE49-F238E27FC236}">
                    <a16:creationId xmlns:a16="http://schemas.microsoft.com/office/drawing/2014/main" id="{AB624319-556C-4022-ADF7-2C51C54A5711}"/>
                  </a:ext>
                </a:extLst>
              </p:cNvPr>
              <p:cNvSpPr/>
              <p:nvPr/>
            </p:nvSpPr>
            <p:spPr>
              <a:xfrm>
                <a:off x="7916018" y="4691557"/>
                <a:ext cx="113920" cy="118872"/>
              </a:xfrm>
              <a:prstGeom prst="rect">
                <a:avLst/>
              </a:prstGeom>
              <a:solidFill>
                <a:srgbClr val="41817E"/>
              </a:solidFill>
              <a:ln w="1270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>
                  <a:solidFill>
                    <a:srgbClr val="FFFFFF"/>
                  </a:solidFill>
                  <a:latin typeface="Oracle Sans" panose="020B0503020204020204" pitchFamily="34" charset="0"/>
                </a:endParaRPr>
              </a:p>
            </p:txBody>
          </p:sp>
          <p:sp>
            <p:nvSpPr>
              <p:cNvPr id="151" name="Rectangle 150">
                <a:extLst>
                  <a:ext uri="{FF2B5EF4-FFF2-40B4-BE49-F238E27FC236}">
                    <a16:creationId xmlns:a16="http://schemas.microsoft.com/office/drawing/2014/main" id="{AF08795D-616B-4B7D-9BCC-7FE778BF9385}"/>
                  </a:ext>
                </a:extLst>
              </p:cNvPr>
              <p:cNvSpPr/>
              <p:nvPr/>
            </p:nvSpPr>
            <p:spPr>
              <a:xfrm>
                <a:off x="7916018" y="4840681"/>
                <a:ext cx="113920" cy="118872"/>
              </a:xfrm>
              <a:prstGeom prst="rect">
                <a:avLst/>
              </a:prstGeom>
              <a:solidFill>
                <a:srgbClr val="41817E"/>
              </a:solidFill>
              <a:ln w="1270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>
                  <a:solidFill>
                    <a:srgbClr val="FFFFFF"/>
                  </a:solidFill>
                  <a:latin typeface="Oracle Sans" panose="020B0503020204020204" pitchFamily="34" charset="0"/>
                </a:endParaRPr>
              </a:p>
            </p:txBody>
          </p:sp>
          <p:sp>
            <p:nvSpPr>
              <p:cNvPr id="152" name="Rectangle 151">
                <a:extLst>
                  <a:ext uri="{FF2B5EF4-FFF2-40B4-BE49-F238E27FC236}">
                    <a16:creationId xmlns:a16="http://schemas.microsoft.com/office/drawing/2014/main" id="{F1780F7C-090F-41F3-91C7-3AE45C95E9A6}"/>
                  </a:ext>
                </a:extLst>
              </p:cNvPr>
              <p:cNvSpPr/>
              <p:nvPr/>
            </p:nvSpPr>
            <p:spPr>
              <a:xfrm>
                <a:off x="7916018" y="4989805"/>
                <a:ext cx="113920" cy="118872"/>
              </a:xfrm>
              <a:prstGeom prst="rect">
                <a:avLst/>
              </a:prstGeom>
              <a:solidFill>
                <a:srgbClr val="41817E"/>
              </a:solidFill>
              <a:ln w="1270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>
                  <a:solidFill>
                    <a:srgbClr val="0070C0"/>
                  </a:solidFill>
                  <a:latin typeface="Oracle Sans" panose="020B0503020204020204" pitchFamily="34" charset="0"/>
                </a:endParaRPr>
              </a:p>
            </p:txBody>
          </p:sp>
          <p:sp>
            <p:nvSpPr>
              <p:cNvPr id="153" name="Rectangle 152">
                <a:extLst>
                  <a:ext uri="{FF2B5EF4-FFF2-40B4-BE49-F238E27FC236}">
                    <a16:creationId xmlns:a16="http://schemas.microsoft.com/office/drawing/2014/main" id="{39EB3BB5-D6F6-4C35-B677-4A6ECA3FA229}"/>
                  </a:ext>
                </a:extLst>
              </p:cNvPr>
              <p:cNvSpPr/>
              <p:nvPr/>
            </p:nvSpPr>
            <p:spPr>
              <a:xfrm>
                <a:off x="7916018" y="5138928"/>
                <a:ext cx="113920" cy="118872"/>
              </a:xfrm>
              <a:prstGeom prst="rect">
                <a:avLst/>
              </a:prstGeom>
              <a:solidFill>
                <a:srgbClr val="41817E"/>
              </a:solidFill>
              <a:ln w="1270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>
                  <a:solidFill>
                    <a:srgbClr val="FFFFFF"/>
                  </a:solidFill>
                  <a:latin typeface="Oracle Sans" panose="020B0503020204020204" pitchFamily="34" charset="0"/>
                </a:endParaRPr>
              </a:p>
            </p:txBody>
          </p:sp>
        </p:grpSp>
        <p:grpSp>
          <p:nvGrpSpPr>
            <p:cNvPr id="130" name="Group 161">
              <a:extLst>
                <a:ext uri="{FF2B5EF4-FFF2-40B4-BE49-F238E27FC236}">
                  <a16:creationId xmlns:a16="http://schemas.microsoft.com/office/drawing/2014/main" id="{2159C40C-DBA2-4740-BA9C-B8FA7AB790A7}"/>
                </a:ext>
              </a:extLst>
            </p:cNvPr>
            <p:cNvGrpSpPr/>
            <p:nvPr/>
          </p:nvGrpSpPr>
          <p:grpSpPr>
            <a:xfrm>
              <a:off x="8062386" y="4691557"/>
              <a:ext cx="113920" cy="566243"/>
              <a:chOff x="7916018" y="4691557"/>
              <a:chExt cx="113920" cy="566243"/>
            </a:xfrm>
          </p:grpSpPr>
          <p:sp>
            <p:nvSpPr>
              <p:cNvPr id="146" name="Rectangle 145">
                <a:extLst>
                  <a:ext uri="{FF2B5EF4-FFF2-40B4-BE49-F238E27FC236}">
                    <a16:creationId xmlns:a16="http://schemas.microsoft.com/office/drawing/2014/main" id="{8FE51C5B-A696-4F9B-AD96-5608DB43EB6D}"/>
                  </a:ext>
                </a:extLst>
              </p:cNvPr>
              <p:cNvSpPr/>
              <p:nvPr/>
            </p:nvSpPr>
            <p:spPr>
              <a:xfrm>
                <a:off x="7916018" y="4691557"/>
                <a:ext cx="113920" cy="118872"/>
              </a:xfrm>
              <a:prstGeom prst="rect">
                <a:avLst/>
              </a:prstGeom>
              <a:solidFill>
                <a:srgbClr val="41817E"/>
              </a:solidFill>
              <a:ln w="1270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>
                  <a:solidFill>
                    <a:srgbClr val="FFFFFF"/>
                  </a:solidFill>
                  <a:latin typeface="Oracle Sans" panose="020B0503020204020204" pitchFamily="34" charset="0"/>
                </a:endParaRPr>
              </a:p>
            </p:txBody>
          </p:sp>
          <p:sp>
            <p:nvSpPr>
              <p:cNvPr id="147" name="Rectangle 146">
                <a:extLst>
                  <a:ext uri="{FF2B5EF4-FFF2-40B4-BE49-F238E27FC236}">
                    <a16:creationId xmlns:a16="http://schemas.microsoft.com/office/drawing/2014/main" id="{D19B03B9-EAE4-4944-A251-4AF5A1B8C2ED}"/>
                  </a:ext>
                </a:extLst>
              </p:cNvPr>
              <p:cNvSpPr/>
              <p:nvPr/>
            </p:nvSpPr>
            <p:spPr>
              <a:xfrm>
                <a:off x="7916018" y="4840681"/>
                <a:ext cx="113920" cy="118872"/>
              </a:xfrm>
              <a:prstGeom prst="rect">
                <a:avLst/>
              </a:prstGeom>
              <a:solidFill>
                <a:srgbClr val="41817E"/>
              </a:solidFill>
              <a:ln w="1270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>
                  <a:solidFill>
                    <a:srgbClr val="FFFFFF"/>
                  </a:solidFill>
                  <a:latin typeface="Oracle Sans" panose="020B0503020204020204" pitchFamily="34" charset="0"/>
                </a:endParaRPr>
              </a:p>
            </p:txBody>
          </p:sp>
          <p:sp>
            <p:nvSpPr>
              <p:cNvPr id="148" name="Rectangle 147">
                <a:extLst>
                  <a:ext uri="{FF2B5EF4-FFF2-40B4-BE49-F238E27FC236}">
                    <a16:creationId xmlns:a16="http://schemas.microsoft.com/office/drawing/2014/main" id="{5BD56C07-6B40-498D-8F2B-976201BBC0DF}"/>
                  </a:ext>
                </a:extLst>
              </p:cNvPr>
              <p:cNvSpPr/>
              <p:nvPr/>
            </p:nvSpPr>
            <p:spPr>
              <a:xfrm>
                <a:off x="7916018" y="4989805"/>
                <a:ext cx="113920" cy="118872"/>
              </a:xfrm>
              <a:prstGeom prst="rect">
                <a:avLst/>
              </a:prstGeom>
              <a:solidFill>
                <a:srgbClr val="41817E"/>
              </a:solidFill>
              <a:ln w="1270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>
                  <a:solidFill>
                    <a:srgbClr val="0070C0"/>
                  </a:solidFill>
                  <a:latin typeface="Oracle Sans" panose="020B0503020204020204" pitchFamily="34" charset="0"/>
                </a:endParaRPr>
              </a:p>
            </p:txBody>
          </p:sp>
          <p:sp>
            <p:nvSpPr>
              <p:cNvPr id="149" name="Rectangle 148">
                <a:extLst>
                  <a:ext uri="{FF2B5EF4-FFF2-40B4-BE49-F238E27FC236}">
                    <a16:creationId xmlns:a16="http://schemas.microsoft.com/office/drawing/2014/main" id="{2C519427-D1D6-4DD1-83C6-C9709C42741E}"/>
                  </a:ext>
                </a:extLst>
              </p:cNvPr>
              <p:cNvSpPr/>
              <p:nvPr/>
            </p:nvSpPr>
            <p:spPr>
              <a:xfrm>
                <a:off x="7916018" y="5138928"/>
                <a:ext cx="113920" cy="118872"/>
              </a:xfrm>
              <a:prstGeom prst="rect">
                <a:avLst/>
              </a:prstGeom>
              <a:solidFill>
                <a:srgbClr val="41817E"/>
              </a:solidFill>
              <a:ln w="1270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>
                  <a:solidFill>
                    <a:srgbClr val="FFFFFF"/>
                  </a:solidFill>
                  <a:latin typeface="Oracle Sans" panose="020B0503020204020204" pitchFamily="34" charset="0"/>
                </a:endParaRPr>
              </a:p>
            </p:txBody>
          </p:sp>
        </p:grpSp>
        <p:grpSp>
          <p:nvGrpSpPr>
            <p:cNvPr id="131" name="Group 166">
              <a:extLst>
                <a:ext uri="{FF2B5EF4-FFF2-40B4-BE49-F238E27FC236}">
                  <a16:creationId xmlns:a16="http://schemas.microsoft.com/office/drawing/2014/main" id="{97860B1C-9EFB-4AAB-BCC7-7254386D1458}"/>
                </a:ext>
              </a:extLst>
            </p:cNvPr>
            <p:cNvGrpSpPr/>
            <p:nvPr/>
          </p:nvGrpSpPr>
          <p:grpSpPr>
            <a:xfrm>
              <a:off x="8208754" y="4691557"/>
              <a:ext cx="113920" cy="566243"/>
              <a:chOff x="7916018" y="4691557"/>
              <a:chExt cx="113920" cy="566243"/>
            </a:xfrm>
          </p:grpSpPr>
          <p:sp>
            <p:nvSpPr>
              <p:cNvPr id="142" name="Rectangle 141">
                <a:extLst>
                  <a:ext uri="{FF2B5EF4-FFF2-40B4-BE49-F238E27FC236}">
                    <a16:creationId xmlns:a16="http://schemas.microsoft.com/office/drawing/2014/main" id="{29D3D69D-56DC-4C0E-BB3B-6F2343D446DC}"/>
                  </a:ext>
                </a:extLst>
              </p:cNvPr>
              <p:cNvSpPr/>
              <p:nvPr/>
            </p:nvSpPr>
            <p:spPr>
              <a:xfrm>
                <a:off x="7916018" y="4691557"/>
                <a:ext cx="113920" cy="118872"/>
              </a:xfrm>
              <a:prstGeom prst="rect">
                <a:avLst/>
              </a:prstGeom>
              <a:solidFill>
                <a:srgbClr val="41817E"/>
              </a:solidFill>
              <a:ln w="1270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>
                  <a:solidFill>
                    <a:srgbClr val="FFFFFF"/>
                  </a:solidFill>
                  <a:latin typeface="Oracle Sans" panose="020B0503020204020204" pitchFamily="34" charset="0"/>
                </a:endParaRPr>
              </a:p>
            </p:txBody>
          </p:sp>
          <p:sp>
            <p:nvSpPr>
              <p:cNvPr id="143" name="Rectangle 142">
                <a:extLst>
                  <a:ext uri="{FF2B5EF4-FFF2-40B4-BE49-F238E27FC236}">
                    <a16:creationId xmlns:a16="http://schemas.microsoft.com/office/drawing/2014/main" id="{CFCE07A2-D681-4346-A113-AAA5048CC80A}"/>
                  </a:ext>
                </a:extLst>
              </p:cNvPr>
              <p:cNvSpPr/>
              <p:nvPr/>
            </p:nvSpPr>
            <p:spPr>
              <a:xfrm>
                <a:off x="7916018" y="4840681"/>
                <a:ext cx="113920" cy="118872"/>
              </a:xfrm>
              <a:prstGeom prst="rect">
                <a:avLst/>
              </a:prstGeom>
              <a:solidFill>
                <a:srgbClr val="41817E"/>
              </a:solidFill>
              <a:ln w="1270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>
                  <a:solidFill>
                    <a:srgbClr val="FFFFFF"/>
                  </a:solidFill>
                  <a:latin typeface="Oracle Sans" panose="020B0503020204020204" pitchFamily="34" charset="0"/>
                </a:endParaRPr>
              </a:p>
            </p:txBody>
          </p:sp>
          <p:sp>
            <p:nvSpPr>
              <p:cNvPr id="144" name="Rectangle 143">
                <a:extLst>
                  <a:ext uri="{FF2B5EF4-FFF2-40B4-BE49-F238E27FC236}">
                    <a16:creationId xmlns:a16="http://schemas.microsoft.com/office/drawing/2014/main" id="{C294C787-6574-485C-9765-4B6FBA4B25C6}"/>
                  </a:ext>
                </a:extLst>
              </p:cNvPr>
              <p:cNvSpPr/>
              <p:nvPr/>
            </p:nvSpPr>
            <p:spPr>
              <a:xfrm>
                <a:off x="7916018" y="4989805"/>
                <a:ext cx="113920" cy="118872"/>
              </a:xfrm>
              <a:prstGeom prst="rect">
                <a:avLst/>
              </a:prstGeom>
              <a:solidFill>
                <a:srgbClr val="41817E"/>
              </a:solidFill>
              <a:ln w="1270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>
                  <a:solidFill>
                    <a:srgbClr val="0070C0"/>
                  </a:solidFill>
                  <a:latin typeface="Oracle Sans" panose="020B0503020204020204" pitchFamily="34" charset="0"/>
                </a:endParaRPr>
              </a:p>
            </p:txBody>
          </p:sp>
          <p:sp>
            <p:nvSpPr>
              <p:cNvPr id="145" name="Rectangle 144">
                <a:extLst>
                  <a:ext uri="{FF2B5EF4-FFF2-40B4-BE49-F238E27FC236}">
                    <a16:creationId xmlns:a16="http://schemas.microsoft.com/office/drawing/2014/main" id="{52D21A58-D3C8-47BE-8D7C-DF9C514B7137}"/>
                  </a:ext>
                </a:extLst>
              </p:cNvPr>
              <p:cNvSpPr/>
              <p:nvPr/>
            </p:nvSpPr>
            <p:spPr>
              <a:xfrm>
                <a:off x="7916018" y="5138928"/>
                <a:ext cx="113920" cy="118872"/>
              </a:xfrm>
              <a:prstGeom prst="rect">
                <a:avLst/>
              </a:prstGeom>
              <a:solidFill>
                <a:srgbClr val="41817E"/>
              </a:solidFill>
              <a:ln w="1270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>
                  <a:solidFill>
                    <a:srgbClr val="FFFFFF"/>
                  </a:solidFill>
                  <a:latin typeface="Oracle Sans" panose="020B0503020204020204" pitchFamily="34" charset="0"/>
                </a:endParaRPr>
              </a:p>
            </p:txBody>
          </p:sp>
        </p:grpSp>
        <p:grpSp>
          <p:nvGrpSpPr>
            <p:cNvPr id="132" name="Group 171">
              <a:extLst>
                <a:ext uri="{FF2B5EF4-FFF2-40B4-BE49-F238E27FC236}">
                  <a16:creationId xmlns:a16="http://schemas.microsoft.com/office/drawing/2014/main" id="{283113B7-7AA9-46A3-B50C-A4FA520384ED}"/>
                </a:ext>
              </a:extLst>
            </p:cNvPr>
            <p:cNvGrpSpPr/>
            <p:nvPr/>
          </p:nvGrpSpPr>
          <p:grpSpPr>
            <a:xfrm>
              <a:off x="8355122" y="4691557"/>
              <a:ext cx="113920" cy="566243"/>
              <a:chOff x="7916018" y="4691557"/>
              <a:chExt cx="113920" cy="566243"/>
            </a:xfrm>
          </p:grpSpPr>
          <p:sp>
            <p:nvSpPr>
              <p:cNvPr id="138" name="Rectangle 137">
                <a:extLst>
                  <a:ext uri="{FF2B5EF4-FFF2-40B4-BE49-F238E27FC236}">
                    <a16:creationId xmlns:a16="http://schemas.microsoft.com/office/drawing/2014/main" id="{382633F6-B34F-4CB8-AF05-DF1DAC2BEBB6}"/>
                  </a:ext>
                </a:extLst>
              </p:cNvPr>
              <p:cNvSpPr/>
              <p:nvPr/>
            </p:nvSpPr>
            <p:spPr>
              <a:xfrm>
                <a:off x="7916018" y="4691557"/>
                <a:ext cx="113920" cy="118872"/>
              </a:xfrm>
              <a:prstGeom prst="rect">
                <a:avLst/>
              </a:prstGeom>
              <a:solidFill>
                <a:srgbClr val="41817E"/>
              </a:solidFill>
              <a:ln w="1270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>
                  <a:solidFill>
                    <a:srgbClr val="FFFFFF"/>
                  </a:solidFill>
                  <a:latin typeface="Oracle Sans" panose="020B0503020204020204" pitchFamily="34" charset="0"/>
                </a:endParaRPr>
              </a:p>
            </p:txBody>
          </p:sp>
          <p:sp>
            <p:nvSpPr>
              <p:cNvPr id="139" name="Rectangle 138">
                <a:extLst>
                  <a:ext uri="{FF2B5EF4-FFF2-40B4-BE49-F238E27FC236}">
                    <a16:creationId xmlns:a16="http://schemas.microsoft.com/office/drawing/2014/main" id="{786D7F92-A51F-4607-BE01-9E9AE2E6BDC3}"/>
                  </a:ext>
                </a:extLst>
              </p:cNvPr>
              <p:cNvSpPr/>
              <p:nvPr/>
            </p:nvSpPr>
            <p:spPr>
              <a:xfrm>
                <a:off x="7916018" y="4840681"/>
                <a:ext cx="113920" cy="118872"/>
              </a:xfrm>
              <a:prstGeom prst="rect">
                <a:avLst/>
              </a:prstGeom>
              <a:solidFill>
                <a:srgbClr val="41817E"/>
              </a:solidFill>
              <a:ln w="1270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>
                  <a:solidFill>
                    <a:srgbClr val="FFFFFF"/>
                  </a:solidFill>
                  <a:latin typeface="Oracle Sans" panose="020B0503020204020204" pitchFamily="34" charset="0"/>
                </a:endParaRPr>
              </a:p>
            </p:txBody>
          </p:sp>
          <p:sp>
            <p:nvSpPr>
              <p:cNvPr id="140" name="Rectangle 139">
                <a:extLst>
                  <a:ext uri="{FF2B5EF4-FFF2-40B4-BE49-F238E27FC236}">
                    <a16:creationId xmlns:a16="http://schemas.microsoft.com/office/drawing/2014/main" id="{8CDA81CA-DB84-4532-AD43-6E37C4764872}"/>
                  </a:ext>
                </a:extLst>
              </p:cNvPr>
              <p:cNvSpPr/>
              <p:nvPr/>
            </p:nvSpPr>
            <p:spPr>
              <a:xfrm>
                <a:off x="7916018" y="4989805"/>
                <a:ext cx="113920" cy="118872"/>
              </a:xfrm>
              <a:prstGeom prst="rect">
                <a:avLst/>
              </a:prstGeom>
              <a:solidFill>
                <a:srgbClr val="41817E"/>
              </a:solidFill>
              <a:ln w="1270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>
                  <a:solidFill>
                    <a:srgbClr val="0070C0"/>
                  </a:solidFill>
                  <a:latin typeface="Oracle Sans" panose="020B0503020204020204" pitchFamily="34" charset="0"/>
                </a:endParaRPr>
              </a:p>
            </p:txBody>
          </p:sp>
          <p:sp>
            <p:nvSpPr>
              <p:cNvPr id="141" name="Rectangle 140">
                <a:extLst>
                  <a:ext uri="{FF2B5EF4-FFF2-40B4-BE49-F238E27FC236}">
                    <a16:creationId xmlns:a16="http://schemas.microsoft.com/office/drawing/2014/main" id="{125C8180-F12E-4090-A112-97EB5AB3BEE9}"/>
                  </a:ext>
                </a:extLst>
              </p:cNvPr>
              <p:cNvSpPr/>
              <p:nvPr/>
            </p:nvSpPr>
            <p:spPr>
              <a:xfrm>
                <a:off x="7916018" y="5138928"/>
                <a:ext cx="113920" cy="118872"/>
              </a:xfrm>
              <a:prstGeom prst="rect">
                <a:avLst/>
              </a:prstGeom>
              <a:solidFill>
                <a:srgbClr val="41817E"/>
              </a:solidFill>
              <a:ln w="1270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>
                  <a:solidFill>
                    <a:srgbClr val="FFFFFF"/>
                  </a:solidFill>
                  <a:latin typeface="Oracle Sans" panose="020B0503020204020204" pitchFamily="34" charset="0"/>
                </a:endParaRPr>
              </a:p>
            </p:txBody>
          </p:sp>
        </p:grpSp>
        <p:grpSp>
          <p:nvGrpSpPr>
            <p:cNvPr id="133" name="Group 176">
              <a:extLst>
                <a:ext uri="{FF2B5EF4-FFF2-40B4-BE49-F238E27FC236}">
                  <a16:creationId xmlns:a16="http://schemas.microsoft.com/office/drawing/2014/main" id="{986930E6-CD0F-4B64-9A65-2D88CAB69EFE}"/>
                </a:ext>
              </a:extLst>
            </p:cNvPr>
            <p:cNvGrpSpPr/>
            <p:nvPr/>
          </p:nvGrpSpPr>
          <p:grpSpPr>
            <a:xfrm>
              <a:off x="8501492" y="4691557"/>
              <a:ext cx="113920" cy="566243"/>
              <a:chOff x="7916018" y="4691557"/>
              <a:chExt cx="113920" cy="566243"/>
            </a:xfrm>
          </p:grpSpPr>
          <p:sp>
            <p:nvSpPr>
              <p:cNvPr id="134" name="Rectangle 133">
                <a:extLst>
                  <a:ext uri="{FF2B5EF4-FFF2-40B4-BE49-F238E27FC236}">
                    <a16:creationId xmlns:a16="http://schemas.microsoft.com/office/drawing/2014/main" id="{8CCA0837-27B1-42C6-ADD2-E43928909D8C}"/>
                  </a:ext>
                </a:extLst>
              </p:cNvPr>
              <p:cNvSpPr/>
              <p:nvPr/>
            </p:nvSpPr>
            <p:spPr>
              <a:xfrm>
                <a:off x="7916018" y="4691557"/>
                <a:ext cx="113920" cy="118872"/>
              </a:xfrm>
              <a:prstGeom prst="rect">
                <a:avLst/>
              </a:prstGeom>
              <a:solidFill>
                <a:srgbClr val="41817E"/>
              </a:solidFill>
              <a:ln w="1270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>
                  <a:solidFill>
                    <a:srgbClr val="FFFFFF"/>
                  </a:solidFill>
                  <a:latin typeface="Oracle Sans" panose="020B0503020204020204" pitchFamily="34" charset="0"/>
                </a:endParaRPr>
              </a:p>
            </p:txBody>
          </p:sp>
          <p:sp>
            <p:nvSpPr>
              <p:cNvPr id="135" name="Rectangle 134">
                <a:extLst>
                  <a:ext uri="{FF2B5EF4-FFF2-40B4-BE49-F238E27FC236}">
                    <a16:creationId xmlns:a16="http://schemas.microsoft.com/office/drawing/2014/main" id="{1233DFF3-9848-49EA-BE37-F592280A0EB8}"/>
                  </a:ext>
                </a:extLst>
              </p:cNvPr>
              <p:cNvSpPr/>
              <p:nvPr/>
            </p:nvSpPr>
            <p:spPr>
              <a:xfrm>
                <a:off x="7916018" y="4840681"/>
                <a:ext cx="113920" cy="118872"/>
              </a:xfrm>
              <a:prstGeom prst="rect">
                <a:avLst/>
              </a:prstGeom>
              <a:solidFill>
                <a:srgbClr val="41817E"/>
              </a:solidFill>
              <a:ln w="1270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>
                  <a:solidFill>
                    <a:srgbClr val="FFFFFF"/>
                  </a:solidFill>
                  <a:latin typeface="Oracle Sans" panose="020B0503020204020204" pitchFamily="34" charset="0"/>
                </a:endParaRPr>
              </a:p>
            </p:txBody>
          </p:sp>
          <p:sp>
            <p:nvSpPr>
              <p:cNvPr id="136" name="Rectangle 135">
                <a:extLst>
                  <a:ext uri="{FF2B5EF4-FFF2-40B4-BE49-F238E27FC236}">
                    <a16:creationId xmlns:a16="http://schemas.microsoft.com/office/drawing/2014/main" id="{69EE464A-DF90-446A-9FC4-0D557EFB73F7}"/>
                  </a:ext>
                </a:extLst>
              </p:cNvPr>
              <p:cNvSpPr/>
              <p:nvPr/>
            </p:nvSpPr>
            <p:spPr>
              <a:xfrm>
                <a:off x="7916018" y="4989805"/>
                <a:ext cx="113920" cy="118872"/>
              </a:xfrm>
              <a:prstGeom prst="rect">
                <a:avLst/>
              </a:prstGeom>
              <a:solidFill>
                <a:srgbClr val="41817E"/>
              </a:solidFill>
              <a:ln w="1270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>
                  <a:solidFill>
                    <a:srgbClr val="0070C0"/>
                  </a:solidFill>
                  <a:latin typeface="Oracle Sans" panose="020B0503020204020204" pitchFamily="34" charset="0"/>
                </a:endParaRPr>
              </a:p>
            </p:txBody>
          </p:sp>
          <p:sp>
            <p:nvSpPr>
              <p:cNvPr id="137" name="Rectangle 136">
                <a:extLst>
                  <a:ext uri="{FF2B5EF4-FFF2-40B4-BE49-F238E27FC236}">
                    <a16:creationId xmlns:a16="http://schemas.microsoft.com/office/drawing/2014/main" id="{5B1EABC8-DCAB-46B7-885E-CEECEEF34FF7}"/>
                  </a:ext>
                </a:extLst>
              </p:cNvPr>
              <p:cNvSpPr/>
              <p:nvPr/>
            </p:nvSpPr>
            <p:spPr>
              <a:xfrm>
                <a:off x="7916018" y="5138928"/>
                <a:ext cx="113920" cy="118872"/>
              </a:xfrm>
              <a:prstGeom prst="rect">
                <a:avLst/>
              </a:prstGeom>
              <a:solidFill>
                <a:srgbClr val="41817E"/>
              </a:solidFill>
              <a:ln w="1270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>
                  <a:solidFill>
                    <a:srgbClr val="FFFFFF"/>
                  </a:solidFill>
                  <a:latin typeface="Oracle Sans" panose="020B0503020204020204" pitchFamily="34" charset="0"/>
                </a:endParaRPr>
              </a:p>
            </p:txBody>
          </p:sp>
        </p:grpSp>
      </p:grpSp>
      <p:grpSp>
        <p:nvGrpSpPr>
          <p:cNvPr id="154" name="Group 186">
            <a:extLst>
              <a:ext uri="{FF2B5EF4-FFF2-40B4-BE49-F238E27FC236}">
                <a16:creationId xmlns:a16="http://schemas.microsoft.com/office/drawing/2014/main" id="{2E843F13-5DA9-4C50-B59F-4BDF9FD38B69}"/>
              </a:ext>
            </a:extLst>
          </p:cNvPr>
          <p:cNvGrpSpPr/>
          <p:nvPr/>
        </p:nvGrpSpPr>
        <p:grpSpPr>
          <a:xfrm>
            <a:off x="9171332" y="4619472"/>
            <a:ext cx="723533" cy="715367"/>
            <a:chOff x="7891879" y="4542433"/>
            <a:chExt cx="723533" cy="715367"/>
          </a:xfrm>
        </p:grpSpPr>
        <p:sp>
          <p:nvSpPr>
            <p:cNvPr id="155" name="Rectangle 154">
              <a:extLst>
                <a:ext uri="{FF2B5EF4-FFF2-40B4-BE49-F238E27FC236}">
                  <a16:creationId xmlns:a16="http://schemas.microsoft.com/office/drawing/2014/main" id="{117DF164-DD27-4930-B3BF-D1961E95BB9C}"/>
                </a:ext>
              </a:extLst>
            </p:cNvPr>
            <p:cNvSpPr/>
            <p:nvPr/>
          </p:nvSpPr>
          <p:spPr>
            <a:xfrm>
              <a:off x="8501492" y="4542433"/>
              <a:ext cx="113920" cy="118872"/>
            </a:xfrm>
            <a:prstGeom prst="rect">
              <a:avLst/>
            </a:prstGeom>
            <a:noFill/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>
                <a:solidFill>
                  <a:srgbClr val="FFFFFF"/>
                </a:solidFill>
                <a:latin typeface="Oracle Sans" panose="020B0503020204020204" pitchFamily="34" charset="0"/>
              </a:endParaRPr>
            </a:p>
          </p:txBody>
        </p:sp>
        <p:sp>
          <p:nvSpPr>
            <p:cNvPr id="156" name="Rectangle 155">
              <a:extLst>
                <a:ext uri="{FF2B5EF4-FFF2-40B4-BE49-F238E27FC236}">
                  <a16:creationId xmlns:a16="http://schemas.microsoft.com/office/drawing/2014/main" id="{28548CF7-485D-48C5-9FD6-B460E3716558}"/>
                </a:ext>
              </a:extLst>
            </p:cNvPr>
            <p:cNvSpPr/>
            <p:nvPr/>
          </p:nvSpPr>
          <p:spPr>
            <a:xfrm>
              <a:off x="8208754" y="4542433"/>
              <a:ext cx="113920" cy="118872"/>
            </a:xfrm>
            <a:prstGeom prst="rect">
              <a:avLst/>
            </a:prstGeom>
            <a:noFill/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>
                <a:solidFill>
                  <a:srgbClr val="FFFFFF"/>
                </a:solidFill>
                <a:latin typeface="Oracle Sans" panose="020B0503020204020204" pitchFamily="34" charset="0"/>
              </a:endParaRPr>
            </a:p>
          </p:txBody>
        </p:sp>
        <p:sp>
          <p:nvSpPr>
            <p:cNvPr id="157" name="Rectangle 156">
              <a:extLst>
                <a:ext uri="{FF2B5EF4-FFF2-40B4-BE49-F238E27FC236}">
                  <a16:creationId xmlns:a16="http://schemas.microsoft.com/office/drawing/2014/main" id="{B45CFE85-9B23-4DE0-9A09-D88C20E87934}"/>
                </a:ext>
              </a:extLst>
            </p:cNvPr>
            <p:cNvSpPr/>
            <p:nvPr/>
          </p:nvSpPr>
          <p:spPr>
            <a:xfrm>
              <a:off x="7916018" y="4542433"/>
              <a:ext cx="113920" cy="118872"/>
            </a:xfrm>
            <a:prstGeom prst="rect">
              <a:avLst/>
            </a:prstGeom>
            <a:noFill/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>
                <a:solidFill>
                  <a:srgbClr val="FFFFFF"/>
                </a:solidFill>
                <a:latin typeface="Oracle Sans" panose="020B0503020204020204" pitchFamily="34" charset="0"/>
              </a:endParaRPr>
            </a:p>
          </p:txBody>
        </p:sp>
        <p:sp>
          <p:nvSpPr>
            <p:cNvPr id="158" name="Rectangle 157">
              <a:extLst>
                <a:ext uri="{FF2B5EF4-FFF2-40B4-BE49-F238E27FC236}">
                  <a16:creationId xmlns:a16="http://schemas.microsoft.com/office/drawing/2014/main" id="{AE72324F-73A2-4720-8AF0-63AE32B36A8A}"/>
                </a:ext>
              </a:extLst>
            </p:cNvPr>
            <p:cNvSpPr/>
            <p:nvPr/>
          </p:nvSpPr>
          <p:spPr>
            <a:xfrm>
              <a:off x="8062386" y="4542433"/>
              <a:ext cx="113920" cy="118872"/>
            </a:xfrm>
            <a:prstGeom prst="rect">
              <a:avLst/>
            </a:prstGeom>
            <a:noFill/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>
                <a:solidFill>
                  <a:srgbClr val="FFFFFF"/>
                </a:solidFill>
                <a:latin typeface="Oracle Sans" panose="020B0503020204020204" pitchFamily="34" charset="0"/>
              </a:endParaRPr>
            </a:p>
          </p:txBody>
        </p:sp>
        <p:sp>
          <p:nvSpPr>
            <p:cNvPr id="159" name="Rectangle 158">
              <a:extLst>
                <a:ext uri="{FF2B5EF4-FFF2-40B4-BE49-F238E27FC236}">
                  <a16:creationId xmlns:a16="http://schemas.microsoft.com/office/drawing/2014/main" id="{E7ECA049-A70A-43BB-B0CE-F6FE467582C8}"/>
                </a:ext>
              </a:extLst>
            </p:cNvPr>
            <p:cNvSpPr/>
            <p:nvPr/>
          </p:nvSpPr>
          <p:spPr>
            <a:xfrm>
              <a:off x="8355122" y="4542433"/>
              <a:ext cx="113920" cy="118872"/>
            </a:xfrm>
            <a:prstGeom prst="rect">
              <a:avLst/>
            </a:prstGeom>
            <a:noFill/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>
                <a:solidFill>
                  <a:srgbClr val="FFFFFF"/>
                </a:solidFill>
                <a:latin typeface="Oracle Sans" panose="020B0503020204020204" pitchFamily="34" charset="0"/>
              </a:endParaRPr>
            </a:p>
          </p:txBody>
        </p:sp>
        <p:grpSp>
          <p:nvGrpSpPr>
            <p:cNvPr id="160" name="Group 192">
              <a:extLst>
                <a:ext uri="{FF2B5EF4-FFF2-40B4-BE49-F238E27FC236}">
                  <a16:creationId xmlns:a16="http://schemas.microsoft.com/office/drawing/2014/main" id="{DA1D2325-0242-4ED4-B12E-D5AA4BA9C78E}"/>
                </a:ext>
              </a:extLst>
            </p:cNvPr>
            <p:cNvGrpSpPr/>
            <p:nvPr/>
          </p:nvGrpSpPr>
          <p:grpSpPr>
            <a:xfrm>
              <a:off x="7891879" y="4690128"/>
              <a:ext cx="138059" cy="567672"/>
              <a:chOff x="7891879" y="4690128"/>
              <a:chExt cx="138059" cy="567672"/>
            </a:xfrm>
          </p:grpSpPr>
          <p:sp>
            <p:nvSpPr>
              <p:cNvPr id="181" name="Rectangle 180">
                <a:extLst>
                  <a:ext uri="{FF2B5EF4-FFF2-40B4-BE49-F238E27FC236}">
                    <a16:creationId xmlns:a16="http://schemas.microsoft.com/office/drawing/2014/main" id="{B07D49B9-165D-4998-9CA4-6DACF75DAA79}"/>
                  </a:ext>
                </a:extLst>
              </p:cNvPr>
              <p:cNvSpPr/>
              <p:nvPr/>
            </p:nvSpPr>
            <p:spPr>
              <a:xfrm>
                <a:off x="7891879" y="4690128"/>
                <a:ext cx="113920" cy="118872"/>
              </a:xfrm>
              <a:prstGeom prst="rect">
                <a:avLst/>
              </a:prstGeom>
              <a:solidFill>
                <a:srgbClr val="594564"/>
              </a:solidFill>
              <a:ln w="1270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>
                  <a:solidFill>
                    <a:srgbClr val="FFFFFF"/>
                  </a:solidFill>
                  <a:latin typeface="Oracle Sans" panose="020B0503020204020204" pitchFamily="34" charset="0"/>
                </a:endParaRPr>
              </a:p>
            </p:txBody>
          </p:sp>
          <p:sp>
            <p:nvSpPr>
              <p:cNvPr id="182" name="Rectangle 181">
                <a:extLst>
                  <a:ext uri="{FF2B5EF4-FFF2-40B4-BE49-F238E27FC236}">
                    <a16:creationId xmlns:a16="http://schemas.microsoft.com/office/drawing/2014/main" id="{F3758E1D-5DC0-46DF-963F-231D96509AD0}"/>
                  </a:ext>
                </a:extLst>
              </p:cNvPr>
              <p:cNvSpPr/>
              <p:nvPr/>
            </p:nvSpPr>
            <p:spPr>
              <a:xfrm>
                <a:off x="7916018" y="4840681"/>
                <a:ext cx="113920" cy="118872"/>
              </a:xfrm>
              <a:prstGeom prst="rect">
                <a:avLst/>
              </a:prstGeom>
              <a:noFill/>
              <a:ln w="127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>
                  <a:solidFill>
                    <a:srgbClr val="FFFFFF"/>
                  </a:solidFill>
                  <a:latin typeface="Oracle Sans" panose="020B0503020204020204" pitchFamily="34" charset="0"/>
                </a:endParaRPr>
              </a:p>
            </p:txBody>
          </p:sp>
          <p:sp>
            <p:nvSpPr>
              <p:cNvPr id="183" name="Rectangle 182">
                <a:extLst>
                  <a:ext uri="{FF2B5EF4-FFF2-40B4-BE49-F238E27FC236}">
                    <a16:creationId xmlns:a16="http://schemas.microsoft.com/office/drawing/2014/main" id="{FB9F000D-60AF-4F99-A7C3-883B8471A7A5}"/>
                  </a:ext>
                </a:extLst>
              </p:cNvPr>
              <p:cNvSpPr/>
              <p:nvPr/>
            </p:nvSpPr>
            <p:spPr>
              <a:xfrm>
                <a:off x="7916018" y="4989805"/>
                <a:ext cx="113920" cy="118872"/>
              </a:xfrm>
              <a:prstGeom prst="rect">
                <a:avLst/>
              </a:prstGeom>
              <a:noFill/>
              <a:ln w="127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>
                  <a:solidFill>
                    <a:srgbClr val="0070C0"/>
                  </a:solidFill>
                  <a:latin typeface="Oracle Sans" panose="020B0503020204020204" pitchFamily="34" charset="0"/>
                </a:endParaRPr>
              </a:p>
            </p:txBody>
          </p:sp>
          <p:sp>
            <p:nvSpPr>
              <p:cNvPr id="184" name="Rectangle 183">
                <a:extLst>
                  <a:ext uri="{FF2B5EF4-FFF2-40B4-BE49-F238E27FC236}">
                    <a16:creationId xmlns:a16="http://schemas.microsoft.com/office/drawing/2014/main" id="{07E0A677-CC1C-4908-BA42-7572BBF9FAC4}"/>
                  </a:ext>
                </a:extLst>
              </p:cNvPr>
              <p:cNvSpPr/>
              <p:nvPr/>
            </p:nvSpPr>
            <p:spPr>
              <a:xfrm>
                <a:off x="7916018" y="5138928"/>
                <a:ext cx="113920" cy="118872"/>
              </a:xfrm>
              <a:prstGeom prst="rect">
                <a:avLst/>
              </a:prstGeom>
              <a:noFill/>
              <a:ln w="127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>
                  <a:solidFill>
                    <a:srgbClr val="FFFFFF"/>
                  </a:solidFill>
                  <a:latin typeface="Oracle Sans" panose="020B0503020204020204" pitchFamily="34" charset="0"/>
                </a:endParaRPr>
              </a:p>
            </p:txBody>
          </p:sp>
        </p:grpSp>
        <p:grpSp>
          <p:nvGrpSpPr>
            <p:cNvPr id="161" name="Group 193">
              <a:extLst>
                <a:ext uri="{FF2B5EF4-FFF2-40B4-BE49-F238E27FC236}">
                  <a16:creationId xmlns:a16="http://schemas.microsoft.com/office/drawing/2014/main" id="{5107E41C-0E0A-4369-A9EA-B4072C2798D3}"/>
                </a:ext>
              </a:extLst>
            </p:cNvPr>
            <p:cNvGrpSpPr/>
            <p:nvPr/>
          </p:nvGrpSpPr>
          <p:grpSpPr>
            <a:xfrm>
              <a:off x="8062386" y="4691557"/>
              <a:ext cx="113920" cy="566243"/>
              <a:chOff x="7916018" y="4691557"/>
              <a:chExt cx="113920" cy="566243"/>
            </a:xfrm>
          </p:grpSpPr>
          <p:sp>
            <p:nvSpPr>
              <p:cNvPr id="177" name="Rectangle 176">
                <a:extLst>
                  <a:ext uri="{FF2B5EF4-FFF2-40B4-BE49-F238E27FC236}">
                    <a16:creationId xmlns:a16="http://schemas.microsoft.com/office/drawing/2014/main" id="{27320766-2FFD-4AD9-9248-CDCC598F6591}"/>
                  </a:ext>
                </a:extLst>
              </p:cNvPr>
              <p:cNvSpPr/>
              <p:nvPr/>
            </p:nvSpPr>
            <p:spPr>
              <a:xfrm>
                <a:off x="7916018" y="4691557"/>
                <a:ext cx="113920" cy="118872"/>
              </a:xfrm>
              <a:prstGeom prst="rect">
                <a:avLst/>
              </a:prstGeom>
              <a:noFill/>
              <a:ln w="127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>
                  <a:solidFill>
                    <a:srgbClr val="FFFFFF"/>
                  </a:solidFill>
                  <a:latin typeface="Oracle Sans" panose="020B0503020204020204" pitchFamily="34" charset="0"/>
                </a:endParaRPr>
              </a:p>
            </p:txBody>
          </p:sp>
          <p:sp>
            <p:nvSpPr>
              <p:cNvPr id="178" name="Rectangle 177">
                <a:extLst>
                  <a:ext uri="{FF2B5EF4-FFF2-40B4-BE49-F238E27FC236}">
                    <a16:creationId xmlns:a16="http://schemas.microsoft.com/office/drawing/2014/main" id="{7BE6D91C-F1C1-4997-801C-FD2E30F9CD28}"/>
                  </a:ext>
                </a:extLst>
              </p:cNvPr>
              <p:cNvSpPr/>
              <p:nvPr/>
            </p:nvSpPr>
            <p:spPr>
              <a:xfrm>
                <a:off x="7916018" y="4840681"/>
                <a:ext cx="113920" cy="118872"/>
              </a:xfrm>
              <a:prstGeom prst="rect">
                <a:avLst/>
              </a:prstGeom>
              <a:noFill/>
              <a:ln w="127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>
                  <a:solidFill>
                    <a:srgbClr val="FFFFFF"/>
                  </a:solidFill>
                  <a:latin typeface="Oracle Sans" panose="020B0503020204020204" pitchFamily="34" charset="0"/>
                </a:endParaRPr>
              </a:p>
            </p:txBody>
          </p:sp>
          <p:sp>
            <p:nvSpPr>
              <p:cNvPr id="179" name="Rectangle 178">
                <a:extLst>
                  <a:ext uri="{FF2B5EF4-FFF2-40B4-BE49-F238E27FC236}">
                    <a16:creationId xmlns:a16="http://schemas.microsoft.com/office/drawing/2014/main" id="{6A1D64EA-CF62-4583-8D45-DDD3971ED020}"/>
                  </a:ext>
                </a:extLst>
              </p:cNvPr>
              <p:cNvSpPr/>
              <p:nvPr/>
            </p:nvSpPr>
            <p:spPr>
              <a:xfrm>
                <a:off x="7916018" y="4989805"/>
                <a:ext cx="113920" cy="118872"/>
              </a:xfrm>
              <a:prstGeom prst="rect">
                <a:avLst/>
              </a:prstGeom>
              <a:noFill/>
              <a:ln w="127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>
                  <a:solidFill>
                    <a:srgbClr val="0070C0"/>
                  </a:solidFill>
                  <a:latin typeface="Oracle Sans" panose="020B0503020204020204" pitchFamily="34" charset="0"/>
                </a:endParaRPr>
              </a:p>
            </p:txBody>
          </p:sp>
          <p:sp>
            <p:nvSpPr>
              <p:cNvPr id="180" name="Rectangle 179">
                <a:extLst>
                  <a:ext uri="{FF2B5EF4-FFF2-40B4-BE49-F238E27FC236}">
                    <a16:creationId xmlns:a16="http://schemas.microsoft.com/office/drawing/2014/main" id="{08B2448C-3CDC-47F7-BA3C-AF6B72E4A2AA}"/>
                  </a:ext>
                </a:extLst>
              </p:cNvPr>
              <p:cNvSpPr/>
              <p:nvPr/>
            </p:nvSpPr>
            <p:spPr>
              <a:xfrm>
                <a:off x="7916018" y="5138928"/>
                <a:ext cx="113920" cy="118872"/>
              </a:xfrm>
              <a:prstGeom prst="rect">
                <a:avLst/>
              </a:prstGeom>
              <a:noFill/>
              <a:ln w="127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>
                  <a:solidFill>
                    <a:srgbClr val="FFFFFF"/>
                  </a:solidFill>
                  <a:latin typeface="Oracle Sans" panose="020B0503020204020204" pitchFamily="34" charset="0"/>
                </a:endParaRPr>
              </a:p>
            </p:txBody>
          </p:sp>
        </p:grpSp>
        <p:grpSp>
          <p:nvGrpSpPr>
            <p:cNvPr id="162" name="Group 194">
              <a:extLst>
                <a:ext uri="{FF2B5EF4-FFF2-40B4-BE49-F238E27FC236}">
                  <a16:creationId xmlns:a16="http://schemas.microsoft.com/office/drawing/2014/main" id="{24382289-A910-4DC2-BC12-F82FB318DB8E}"/>
                </a:ext>
              </a:extLst>
            </p:cNvPr>
            <p:cNvGrpSpPr/>
            <p:nvPr/>
          </p:nvGrpSpPr>
          <p:grpSpPr>
            <a:xfrm>
              <a:off x="8208754" y="4691557"/>
              <a:ext cx="113920" cy="566243"/>
              <a:chOff x="7916018" y="4691557"/>
              <a:chExt cx="113920" cy="566243"/>
            </a:xfrm>
          </p:grpSpPr>
          <p:sp>
            <p:nvSpPr>
              <p:cNvPr id="173" name="Rectangle 172">
                <a:extLst>
                  <a:ext uri="{FF2B5EF4-FFF2-40B4-BE49-F238E27FC236}">
                    <a16:creationId xmlns:a16="http://schemas.microsoft.com/office/drawing/2014/main" id="{44DD2906-7F6C-4A8F-AECC-D488BB3CC3F9}"/>
                  </a:ext>
                </a:extLst>
              </p:cNvPr>
              <p:cNvSpPr/>
              <p:nvPr/>
            </p:nvSpPr>
            <p:spPr>
              <a:xfrm>
                <a:off x="7916018" y="4691557"/>
                <a:ext cx="113920" cy="118872"/>
              </a:xfrm>
              <a:prstGeom prst="rect">
                <a:avLst/>
              </a:prstGeom>
              <a:noFill/>
              <a:ln w="127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>
                  <a:solidFill>
                    <a:srgbClr val="FFFFFF"/>
                  </a:solidFill>
                  <a:latin typeface="Oracle Sans" panose="020B0503020204020204" pitchFamily="34" charset="0"/>
                </a:endParaRPr>
              </a:p>
            </p:txBody>
          </p:sp>
          <p:sp>
            <p:nvSpPr>
              <p:cNvPr id="174" name="Rectangle 173">
                <a:extLst>
                  <a:ext uri="{FF2B5EF4-FFF2-40B4-BE49-F238E27FC236}">
                    <a16:creationId xmlns:a16="http://schemas.microsoft.com/office/drawing/2014/main" id="{322AC407-16DB-44DE-862B-345AFC665E5C}"/>
                  </a:ext>
                </a:extLst>
              </p:cNvPr>
              <p:cNvSpPr/>
              <p:nvPr/>
            </p:nvSpPr>
            <p:spPr>
              <a:xfrm>
                <a:off x="7916018" y="4840681"/>
                <a:ext cx="113920" cy="118872"/>
              </a:xfrm>
              <a:prstGeom prst="rect">
                <a:avLst/>
              </a:prstGeom>
              <a:noFill/>
              <a:ln w="127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>
                  <a:solidFill>
                    <a:srgbClr val="FFFFFF"/>
                  </a:solidFill>
                  <a:latin typeface="Oracle Sans" panose="020B0503020204020204" pitchFamily="34" charset="0"/>
                </a:endParaRPr>
              </a:p>
            </p:txBody>
          </p:sp>
          <p:sp>
            <p:nvSpPr>
              <p:cNvPr id="175" name="Rectangle 174">
                <a:extLst>
                  <a:ext uri="{FF2B5EF4-FFF2-40B4-BE49-F238E27FC236}">
                    <a16:creationId xmlns:a16="http://schemas.microsoft.com/office/drawing/2014/main" id="{3AD2EE90-C703-4DC2-8440-649AE6060026}"/>
                  </a:ext>
                </a:extLst>
              </p:cNvPr>
              <p:cNvSpPr/>
              <p:nvPr/>
            </p:nvSpPr>
            <p:spPr>
              <a:xfrm>
                <a:off x="7916018" y="4989805"/>
                <a:ext cx="113920" cy="118872"/>
              </a:xfrm>
              <a:prstGeom prst="rect">
                <a:avLst/>
              </a:prstGeom>
              <a:noFill/>
              <a:ln w="127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>
                  <a:solidFill>
                    <a:srgbClr val="0070C0"/>
                  </a:solidFill>
                  <a:latin typeface="Oracle Sans" panose="020B0503020204020204" pitchFamily="34" charset="0"/>
                </a:endParaRPr>
              </a:p>
            </p:txBody>
          </p:sp>
          <p:sp>
            <p:nvSpPr>
              <p:cNvPr id="176" name="Rectangle 175">
                <a:extLst>
                  <a:ext uri="{FF2B5EF4-FFF2-40B4-BE49-F238E27FC236}">
                    <a16:creationId xmlns:a16="http://schemas.microsoft.com/office/drawing/2014/main" id="{C6D25479-B7F5-4BD5-94B3-A48DB1A5A8EE}"/>
                  </a:ext>
                </a:extLst>
              </p:cNvPr>
              <p:cNvSpPr/>
              <p:nvPr/>
            </p:nvSpPr>
            <p:spPr>
              <a:xfrm>
                <a:off x="7916018" y="5138928"/>
                <a:ext cx="113920" cy="118872"/>
              </a:xfrm>
              <a:prstGeom prst="rect">
                <a:avLst/>
              </a:prstGeom>
              <a:noFill/>
              <a:ln w="127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>
                  <a:solidFill>
                    <a:srgbClr val="FFFFFF"/>
                  </a:solidFill>
                  <a:latin typeface="Oracle Sans" panose="020B0503020204020204" pitchFamily="34" charset="0"/>
                </a:endParaRPr>
              </a:p>
            </p:txBody>
          </p:sp>
        </p:grpSp>
        <p:grpSp>
          <p:nvGrpSpPr>
            <p:cNvPr id="163" name="Group 195">
              <a:extLst>
                <a:ext uri="{FF2B5EF4-FFF2-40B4-BE49-F238E27FC236}">
                  <a16:creationId xmlns:a16="http://schemas.microsoft.com/office/drawing/2014/main" id="{41F39DC4-81F1-4CCB-8F49-DFD17C17DFD3}"/>
                </a:ext>
              </a:extLst>
            </p:cNvPr>
            <p:cNvGrpSpPr/>
            <p:nvPr/>
          </p:nvGrpSpPr>
          <p:grpSpPr>
            <a:xfrm>
              <a:off x="8355122" y="4691557"/>
              <a:ext cx="113920" cy="566243"/>
              <a:chOff x="7916018" y="4691557"/>
              <a:chExt cx="113920" cy="566243"/>
            </a:xfrm>
          </p:grpSpPr>
          <p:sp>
            <p:nvSpPr>
              <p:cNvPr id="169" name="Rectangle 168">
                <a:extLst>
                  <a:ext uri="{FF2B5EF4-FFF2-40B4-BE49-F238E27FC236}">
                    <a16:creationId xmlns:a16="http://schemas.microsoft.com/office/drawing/2014/main" id="{65EC719E-5A10-408F-806C-E10BB13B7464}"/>
                  </a:ext>
                </a:extLst>
              </p:cNvPr>
              <p:cNvSpPr/>
              <p:nvPr/>
            </p:nvSpPr>
            <p:spPr>
              <a:xfrm>
                <a:off x="7916018" y="4691557"/>
                <a:ext cx="113920" cy="118872"/>
              </a:xfrm>
              <a:prstGeom prst="rect">
                <a:avLst/>
              </a:prstGeom>
              <a:noFill/>
              <a:ln w="127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>
                  <a:solidFill>
                    <a:srgbClr val="FFFFFF"/>
                  </a:solidFill>
                  <a:latin typeface="Oracle Sans" panose="020B0503020204020204" pitchFamily="34" charset="0"/>
                </a:endParaRPr>
              </a:p>
            </p:txBody>
          </p:sp>
          <p:sp>
            <p:nvSpPr>
              <p:cNvPr id="170" name="Rectangle 169">
                <a:extLst>
                  <a:ext uri="{FF2B5EF4-FFF2-40B4-BE49-F238E27FC236}">
                    <a16:creationId xmlns:a16="http://schemas.microsoft.com/office/drawing/2014/main" id="{30774C6F-E5C0-4CB1-AAF9-D83CB1453669}"/>
                  </a:ext>
                </a:extLst>
              </p:cNvPr>
              <p:cNvSpPr/>
              <p:nvPr/>
            </p:nvSpPr>
            <p:spPr>
              <a:xfrm>
                <a:off x="7916018" y="4840681"/>
                <a:ext cx="113920" cy="118872"/>
              </a:xfrm>
              <a:prstGeom prst="rect">
                <a:avLst/>
              </a:prstGeom>
              <a:noFill/>
              <a:ln w="127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>
                  <a:solidFill>
                    <a:srgbClr val="FFFFFF"/>
                  </a:solidFill>
                  <a:latin typeface="Oracle Sans" panose="020B0503020204020204" pitchFamily="34" charset="0"/>
                </a:endParaRPr>
              </a:p>
            </p:txBody>
          </p:sp>
          <p:sp>
            <p:nvSpPr>
              <p:cNvPr id="171" name="Rectangle 170">
                <a:extLst>
                  <a:ext uri="{FF2B5EF4-FFF2-40B4-BE49-F238E27FC236}">
                    <a16:creationId xmlns:a16="http://schemas.microsoft.com/office/drawing/2014/main" id="{9CACB6B0-7841-4003-B746-3CBB53428A70}"/>
                  </a:ext>
                </a:extLst>
              </p:cNvPr>
              <p:cNvSpPr/>
              <p:nvPr/>
            </p:nvSpPr>
            <p:spPr>
              <a:xfrm>
                <a:off x="7916018" y="4989808"/>
                <a:ext cx="113920" cy="118872"/>
              </a:xfrm>
              <a:prstGeom prst="rect">
                <a:avLst/>
              </a:prstGeom>
              <a:solidFill>
                <a:srgbClr val="594564"/>
              </a:solidFill>
              <a:ln w="1270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>
                  <a:solidFill>
                    <a:srgbClr val="0070C0"/>
                  </a:solidFill>
                  <a:latin typeface="Oracle Sans" panose="020B0503020204020204" pitchFamily="34" charset="0"/>
                </a:endParaRPr>
              </a:p>
            </p:txBody>
          </p:sp>
          <p:sp>
            <p:nvSpPr>
              <p:cNvPr id="172" name="Rectangle 171">
                <a:extLst>
                  <a:ext uri="{FF2B5EF4-FFF2-40B4-BE49-F238E27FC236}">
                    <a16:creationId xmlns:a16="http://schemas.microsoft.com/office/drawing/2014/main" id="{C725387C-09A2-40B9-A9DF-EBF7D753C71A}"/>
                  </a:ext>
                </a:extLst>
              </p:cNvPr>
              <p:cNvSpPr/>
              <p:nvPr/>
            </p:nvSpPr>
            <p:spPr>
              <a:xfrm>
                <a:off x="7916018" y="5138928"/>
                <a:ext cx="113920" cy="118872"/>
              </a:xfrm>
              <a:prstGeom prst="rect">
                <a:avLst/>
              </a:prstGeom>
              <a:noFill/>
              <a:ln w="127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>
                  <a:solidFill>
                    <a:srgbClr val="FFFFFF"/>
                  </a:solidFill>
                  <a:latin typeface="Oracle Sans" panose="020B0503020204020204" pitchFamily="34" charset="0"/>
                </a:endParaRPr>
              </a:p>
            </p:txBody>
          </p:sp>
        </p:grpSp>
        <p:grpSp>
          <p:nvGrpSpPr>
            <p:cNvPr id="164" name="Group 196">
              <a:extLst>
                <a:ext uri="{FF2B5EF4-FFF2-40B4-BE49-F238E27FC236}">
                  <a16:creationId xmlns:a16="http://schemas.microsoft.com/office/drawing/2014/main" id="{CF5A26D0-E231-4A1D-BD6F-BD370B3AF7AD}"/>
                </a:ext>
              </a:extLst>
            </p:cNvPr>
            <p:cNvGrpSpPr/>
            <p:nvPr/>
          </p:nvGrpSpPr>
          <p:grpSpPr>
            <a:xfrm>
              <a:off x="8501492" y="4691557"/>
              <a:ext cx="113920" cy="566243"/>
              <a:chOff x="7916018" y="4691557"/>
              <a:chExt cx="113920" cy="566243"/>
            </a:xfrm>
          </p:grpSpPr>
          <p:sp>
            <p:nvSpPr>
              <p:cNvPr id="165" name="Rectangle 164">
                <a:extLst>
                  <a:ext uri="{FF2B5EF4-FFF2-40B4-BE49-F238E27FC236}">
                    <a16:creationId xmlns:a16="http://schemas.microsoft.com/office/drawing/2014/main" id="{6E9C9201-7DE9-446C-A2E8-8C62094DB43F}"/>
                  </a:ext>
                </a:extLst>
              </p:cNvPr>
              <p:cNvSpPr/>
              <p:nvPr/>
            </p:nvSpPr>
            <p:spPr>
              <a:xfrm>
                <a:off x="7916018" y="4691557"/>
                <a:ext cx="113920" cy="118872"/>
              </a:xfrm>
              <a:prstGeom prst="rect">
                <a:avLst/>
              </a:prstGeom>
              <a:noFill/>
              <a:ln w="127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>
                  <a:solidFill>
                    <a:srgbClr val="FFFFFF"/>
                  </a:solidFill>
                  <a:latin typeface="Oracle Sans" panose="020B0503020204020204" pitchFamily="34" charset="0"/>
                </a:endParaRPr>
              </a:p>
            </p:txBody>
          </p:sp>
          <p:sp>
            <p:nvSpPr>
              <p:cNvPr id="166" name="Rectangle 165">
                <a:extLst>
                  <a:ext uri="{FF2B5EF4-FFF2-40B4-BE49-F238E27FC236}">
                    <a16:creationId xmlns:a16="http://schemas.microsoft.com/office/drawing/2014/main" id="{7FBF4043-5174-43DB-907F-F57D9993A9CB}"/>
                  </a:ext>
                </a:extLst>
              </p:cNvPr>
              <p:cNvSpPr/>
              <p:nvPr/>
            </p:nvSpPr>
            <p:spPr>
              <a:xfrm>
                <a:off x="7916018" y="4840684"/>
                <a:ext cx="113920" cy="118872"/>
              </a:xfrm>
              <a:prstGeom prst="rect">
                <a:avLst/>
              </a:prstGeom>
              <a:solidFill>
                <a:srgbClr val="594564"/>
              </a:solidFill>
              <a:ln w="1270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>
                  <a:solidFill>
                    <a:srgbClr val="FFFFFF"/>
                  </a:solidFill>
                  <a:latin typeface="Oracle Sans" panose="020B0503020204020204" pitchFamily="34" charset="0"/>
                </a:endParaRPr>
              </a:p>
            </p:txBody>
          </p:sp>
          <p:sp>
            <p:nvSpPr>
              <p:cNvPr id="167" name="Rectangle 166">
                <a:extLst>
                  <a:ext uri="{FF2B5EF4-FFF2-40B4-BE49-F238E27FC236}">
                    <a16:creationId xmlns:a16="http://schemas.microsoft.com/office/drawing/2014/main" id="{4B55C972-D53F-4337-96DC-05DB2C73E098}"/>
                  </a:ext>
                </a:extLst>
              </p:cNvPr>
              <p:cNvSpPr/>
              <p:nvPr/>
            </p:nvSpPr>
            <p:spPr>
              <a:xfrm>
                <a:off x="7916018" y="4989805"/>
                <a:ext cx="113920" cy="118872"/>
              </a:xfrm>
              <a:prstGeom prst="rect">
                <a:avLst/>
              </a:prstGeom>
              <a:noFill/>
              <a:ln w="127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>
                  <a:solidFill>
                    <a:srgbClr val="0070C0"/>
                  </a:solidFill>
                  <a:latin typeface="Oracle Sans" panose="020B0503020204020204" pitchFamily="34" charset="0"/>
                </a:endParaRPr>
              </a:p>
            </p:txBody>
          </p:sp>
          <p:sp>
            <p:nvSpPr>
              <p:cNvPr id="168" name="Rectangle 167">
                <a:extLst>
                  <a:ext uri="{FF2B5EF4-FFF2-40B4-BE49-F238E27FC236}">
                    <a16:creationId xmlns:a16="http://schemas.microsoft.com/office/drawing/2014/main" id="{6819533B-D88B-4041-9E27-3DF86EC79F6C}"/>
                  </a:ext>
                </a:extLst>
              </p:cNvPr>
              <p:cNvSpPr/>
              <p:nvPr/>
            </p:nvSpPr>
            <p:spPr>
              <a:xfrm>
                <a:off x="7916018" y="5138928"/>
                <a:ext cx="113920" cy="118872"/>
              </a:xfrm>
              <a:prstGeom prst="rect">
                <a:avLst/>
              </a:prstGeom>
              <a:noFill/>
              <a:ln w="127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>
                  <a:solidFill>
                    <a:srgbClr val="FFFFFF"/>
                  </a:solidFill>
                  <a:latin typeface="Oracle Sans" panose="020B0503020204020204" pitchFamily="34" charset="0"/>
                </a:endParaRPr>
              </a:p>
            </p:txBody>
          </p:sp>
        </p:grpSp>
      </p:grpSp>
      <p:grpSp>
        <p:nvGrpSpPr>
          <p:cNvPr id="185" name="Group 219">
            <a:extLst>
              <a:ext uri="{FF2B5EF4-FFF2-40B4-BE49-F238E27FC236}">
                <a16:creationId xmlns:a16="http://schemas.microsoft.com/office/drawing/2014/main" id="{D813B911-9325-4A30-94EA-BA0320814BDE}"/>
              </a:ext>
            </a:extLst>
          </p:cNvPr>
          <p:cNvGrpSpPr/>
          <p:nvPr/>
        </p:nvGrpSpPr>
        <p:grpSpPr>
          <a:xfrm>
            <a:off x="10318948" y="4619472"/>
            <a:ext cx="699394" cy="715367"/>
            <a:chOff x="7916018" y="4542433"/>
            <a:chExt cx="699394" cy="715367"/>
          </a:xfrm>
        </p:grpSpPr>
        <p:sp>
          <p:nvSpPr>
            <p:cNvPr id="186" name="Rectangle 185">
              <a:extLst>
                <a:ext uri="{FF2B5EF4-FFF2-40B4-BE49-F238E27FC236}">
                  <a16:creationId xmlns:a16="http://schemas.microsoft.com/office/drawing/2014/main" id="{A82BF51E-CDF5-4364-8CC0-5DE113A066E2}"/>
                </a:ext>
              </a:extLst>
            </p:cNvPr>
            <p:cNvSpPr/>
            <p:nvPr/>
          </p:nvSpPr>
          <p:spPr>
            <a:xfrm>
              <a:off x="8501492" y="4542433"/>
              <a:ext cx="113920" cy="118872"/>
            </a:xfrm>
            <a:prstGeom prst="rect">
              <a:avLst/>
            </a:prstGeom>
            <a:noFill/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>
                <a:solidFill>
                  <a:srgbClr val="FFFFFF"/>
                </a:solidFill>
                <a:latin typeface="Oracle Sans" panose="020B0503020204020204" pitchFamily="34" charset="0"/>
              </a:endParaRPr>
            </a:p>
          </p:txBody>
        </p:sp>
        <p:sp>
          <p:nvSpPr>
            <p:cNvPr id="187" name="Rectangle 186">
              <a:extLst>
                <a:ext uri="{FF2B5EF4-FFF2-40B4-BE49-F238E27FC236}">
                  <a16:creationId xmlns:a16="http://schemas.microsoft.com/office/drawing/2014/main" id="{906F5776-AD51-48C3-8C6D-2E58493C4C6E}"/>
                </a:ext>
              </a:extLst>
            </p:cNvPr>
            <p:cNvSpPr/>
            <p:nvPr/>
          </p:nvSpPr>
          <p:spPr>
            <a:xfrm>
              <a:off x="8208754" y="4542433"/>
              <a:ext cx="113920" cy="118872"/>
            </a:xfrm>
            <a:prstGeom prst="rect">
              <a:avLst/>
            </a:prstGeom>
            <a:noFill/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>
                <a:solidFill>
                  <a:srgbClr val="FFFFFF"/>
                </a:solidFill>
                <a:latin typeface="Oracle Sans" panose="020B0503020204020204" pitchFamily="34" charset="0"/>
              </a:endParaRPr>
            </a:p>
          </p:txBody>
        </p:sp>
        <p:sp>
          <p:nvSpPr>
            <p:cNvPr id="188" name="Rectangle 187">
              <a:extLst>
                <a:ext uri="{FF2B5EF4-FFF2-40B4-BE49-F238E27FC236}">
                  <a16:creationId xmlns:a16="http://schemas.microsoft.com/office/drawing/2014/main" id="{439E7F59-715F-4E7D-ACA0-8ACB86813462}"/>
                </a:ext>
              </a:extLst>
            </p:cNvPr>
            <p:cNvSpPr/>
            <p:nvPr/>
          </p:nvSpPr>
          <p:spPr>
            <a:xfrm>
              <a:off x="7916018" y="4542433"/>
              <a:ext cx="113920" cy="118872"/>
            </a:xfrm>
            <a:prstGeom prst="rect">
              <a:avLst/>
            </a:prstGeom>
            <a:noFill/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>
                <a:solidFill>
                  <a:srgbClr val="FFFFFF"/>
                </a:solidFill>
                <a:latin typeface="Oracle Sans" panose="020B0503020204020204" pitchFamily="34" charset="0"/>
              </a:endParaRPr>
            </a:p>
          </p:txBody>
        </p:sp>
        <p:sp>
          <p:nvSpPr>
            <p:cNvPr id="189" name="Rectangle 188">
              <a:extLst>
                <a:ext uri="{FF2B5EF4-FFF2-40B4-BE49-F238E27FC236}">
                  <a16:creationId xmlns:a16="http://schemas.microsoft.com/office/drawing/2014/main" id="{862EE1C4-FD83-4B22-8D36-DF3D3570228A}"/>
                </a:ext>
              </a:extLst>
            </p:cNvPr>
            <p:cNvSpPr/>
            <p:nvPr/>
          </p:nvSpPr>
          <p:spPr>
            <a:xfrm>
              <a:off x="8062386" y="4542433"/>
              <a:ext cx="113920" cy="118872"/>
            </a:xfrm>
            <a:prstGeom prst="rect">
              <a:avLst/>
            </a:prstGeom>
            <a:noFill/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>
                <a:solidFill>
                  <a:srgbClr val="FFFFFF"/>
                </a:solidFill>
                <a:latin typeface="Oracle Sans" panose="020B0503020204020204" pitchFamily="34" charset="0"/>
              </a:endParaRPr>
            </a:p>
          </p:txBody>
        </p:sp>
        <p:sp>
          <p:nvSpPr>
            <p:cNvPr id="190" name="Rectangle 189">
              <a:extLst>
                <a:ext uri="{FF2B5EF4-FFF2-40B4-BE49-F238E27FC236}">
                  <a16:creationId xmlns:a16="http://schemas.microsoft.com/office/drawing/2014/main" id="{52DAC931-F576-45CB-B434-AFF165BD9CA2}"/>
                </a:ext>
              </a:extLst>
            </p:cNvPr>
            <p:cNvSpPr/>
            <p:nvPr/>
          </p:nvSpPr>
          <p:spPr>
            <a:xfrm>
              <a:off x="8355122" y="4542433"/>
              <a:ext cx="113920" cy="118872"/>
            </a:xfrm>
            <a:prstGeom prst="rect">
              <a:avLst/>
            </a:prstGeom>
            <a:noFill/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>
                <a:solidFill>
                  <a:srgbClr val="FFFFFF"/>
                </a:solidFill>
                <a:latin typeface="Oracle Sans" panose="020B0503020204020204" pitchFamily="34" charset="0"/>
              </a:endParaRPr>
            </a:p>
          </p:txBody>
        </p:sp>
        <p:grpSp>
          <p:nvGrpSpPr>
            <p:cNvPr id="191" name="Group 225">
              <a:extLst>
                <a:ext uri="{FF2B5EF4-FFF2-40B4-BE49-F238E27FC236}">
                  <a16:creationId xmlns:a16="http://schemas.microsoft.com/office/drawing/2014/main" id="{84C32FF7-0EA0-428F-B8D3-995D35D5DD76}"/>
                </a:ext>
              </a:extLst>
            </p:cNvPr>
            <p:cNvGrpSpPr/>
            <p:nvPr/>
          </p:nvGrpSpPr>
          <p:grpSpPr>
            <a:xfrm>
              <a:off x="7916018" y="4691557"/>
              <a:ext cx="113920" cy="566243"/>
              <a:chOff x="7916018" y="4691557"/>
              <a:chExt cx="113920" cy="566243"/>
            </a:xfrm>
          </p:grpSpPr>
          <p:sp>
            <p:nvSpPr>
              <p:cNvPr id="212" name="Rectangle 211">
                <a:extLst>
                  <a:ext uri="{FF2B5EF4-FFF2-40B4-BE49-F238E27FC236}">
                    <a16:creationId xmlns:a16="http://schemas.microsoft.com/office/drawing/2014/main" id="{1E4E647C-B466-4F42-96F3-C53397071F6F}"/>
                  </a:ext>
                </a:extLst>
              </p:cNvPr>
              <p:cNvSpPr/>
              <p:nvPr/>
            </p:nvSpPr>
            <p:spPr>
              <a:xfrm>
                <a:off x="7916018" y="4691557"/>
                <a:ext cx="113920" cy="118872"/>
              </a:xfrm>
              <a:prstGeom prst="rect">
                <a:avLst/>
              </a:prstGeom>
              <a:noFill/>
              <a:ln w="127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>
                  <a:solidFill>
                    <a:srgbClr val="FFFFFF"/>
                  </a:solidFill>
                  <a:latin typeface="Oracle Sans" panose="020B0503020204020204" pitchFamily="34" charset="0"/>
                </a:endParaRPr>
              </a:p>
            </p:txBody>
          </p:sp>
          <p:sp>
            <p:nvSpPr>
              <p:cNvPr id="213" name="Rectangle 212">
                <a:extLst>
                  <a:ext uri="{FF2B5EF4-FFF2-40B4-BE49-F238E27FC236}">
                    <a16:creationId xmlns:a16="http://schemas.microsoft.com/office/drawing/2014/main" id="{511140D7-040D-45BA-9C70-951406C3FBC9}"/>
                  </a:ext>
                </a:extLst>
              </p:cNvPr>
              <p:cNvSpPr/>
              <p:nvPr/>
            </p:nvSpPr>
            <p:spPr>
              <a:xfrm>
                <a:off x="7916018" y="4840681"/>
                <a:ext cx="113920" cy="118872"/>
              </a:xfrm>
              <a:prstGeom prst="rect">
                <a:avLst/>
              </a:prstGeom>
              <a:noFill/>
              <a:ln w="127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>
                  <a:solidFill>
                    <a:srgbClr val="FFFFFF"/>
                  </a:solidFill>
                  <a:latin typeface="Oracle Sans" panose="020B0503020204020204" pitchFamily="34" charset="0"/>
                </a:endParaRPr>
              </a:p>
            </p:txBody>
          </p:sp>
          <p:sp>
            <p:nvSpPr>
              <p:cNvPr id="214" name="Rectangle 213">
                <a:extLst>
                  <a:ext uri="{FF2B5EF4-FFF2-40B4-BE49-F238E27FC236}">
                    <a16:creationId xmlns:a16="http://schemas.microsoft.com/office/drawing/2014/main" id="{73FE5DAB-997B-4397-AA7F-41C746FEC376}"/>
                  </a:ext>
                </a:extLst>
              </p:cNvPr>
              <p:cNvSpPr/>
              <p:nvPr/>
            </p:nvSpPr>
            <p:spPr>
              <a:xfrm>
                <a:off x="7916018" y="4989805"/>
                <a:ext cx="113920" cy="118872"/>
              </a:xfrm>
              <a:prstGeom prst="rect">
                <a:avLst/>
              </a:prstGeom>
              <a:noFill/>
              <a:ln w="127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>
                  <a:solidFill>
                    <a:srgbClr val="0070C0"/>
                  </a:solidFill>
                  <a:latin typeface="Oracle Sans" panose="020B0503020204020204" pitchFamily="34" charset="0"/>
                </a:endParaRPr>
              </a:p>
            </p:txBody>
          </p:sp>
          <p:sp>
            <p:nvSpPr>
              <p:cNvPr id="215" name="Rectangle 214">
                <a:extLst>
                  <a:ext uri="{FF2B5EF4-FFF2-40B4-BE49-F238E27FC236}">
                    <a16:creationId xmlns:a16="http://schemas.microsoft.com/office/drawing/2014/main" id="{6F6C462B-1978-4A91-9C60-8B9655B5886D}"/>
                  </a:ext>
                </a:extLst>
              </p:cNvPr>
              <p:cNvSpPr/>
              <p:nvPr/>
            </p:nvSpPr>
            <p:spPr>
              <a:xfrm>
                <a:off x="7916018" y="5138928"/>
                <a:ext cx="113920" cy="118872"/>
              </a:xfrm>
              <a:prstGeom prst="rect">
                <a:avLst/>
              </a:prstGeom>
              <a:noFill/>
              <a:ln w="127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>
                  <a:solidFill>
                    <a:srgbClr val="FFFFFF"/>
                  </a:solidFill>
                  <a:latin typeface="Oracle Sans" panose="020B0503020204020204" pitchFamily="34" charset="0"/>
                </a:endParaRPr>
              </a:p>
            </p:txBody>
          </p:sp>
        </p:grpSp>
        <p:grpSp>
          <p:nvGrpSpPr>
            <p:cNvPr id="192" name="Group 226">
              <a:extLst>
                <a:ext uri="{FF2B5EF4-FFF2-40B4-BE49-F238E27FC236}">
                  <a16:creationId xmlns:a16="http://schemas.microsoft.com/office/drawing/2014/main" id="{9255429F-4DF8-4F40-B653-BE2FAD041A5D}"/>
                </a:ext>
              </a:extLst>
            </p:cNvPr>
            <p:cNvGrpSpPr/>
            <p:nvPr/>
          </p:nvGrpSpPr>
          <p:grpSpPr>
            <a:xfrm>
              <a:off x="8052959" y="4691557"/>
              <a:ext cx="123347" cy="566243"/>
              <a:chOff x="7906591" y="4691557"/>
              <a:chExt cx="123347" cy="566243"/>
            </a:xfrm>
          </p:grpSpPr>
          <p:sp>
            <p:nvSpPr>
              <p:cNvPr id="208" name="Rectangle 207">
                <a:extLst>
                  <a:ext uri="{FF2B5EF4-FFF2-40B4-BE49-F238E27FC236}">
                    <a16:creationId xmlns:a16="http://schemas.microsoft.com/office/drawing/2014/main" id="{E78A8086-DF34-40D3-AB0E-DE0A6281E54D}"/>
                  </a:ext>
                </a:extLst>
              </p:cNvPr>
              <p:cNvSpPr/>
              <p:nvPr/>
            </p:nvSpPr>
            <p:spPr>
              <a:xfrm>
                <a:off x="7916018" y="4691557"/>
                <a:ext cx="113920" cy="118872"/>
              </a:xfrm>
              <a:prstGeom prst="rect">
                <a:avLst/>
              </a:prstGeom>
              <a:noFill/>
              <a:ln w="127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>
                  <a:solidFill>
                    <a:srgbClr val="FFFFFF"/>
                  </a:solidFill>
                  <a:latin typeface="Oracle Sans" panose="020B0503020204020204" pitchFamily="34" charset="0"/>
                </a:endParaRPr>
              </a:p>
            </p:txBody>
          </p:sp>
          <p:sp>
            <p:nvSpPr>
              <p:cNvPr id="209" name="Rectangle 208">
                <a:extLst>
                  <a:ext uri="{FF2B5EF4-FFF2-40B4-BE49-F238E27FC236}">
                    <a16:creationId xmlns:a16="http://schemas.microsoft.com/office/drawing/2014/main" id="{60F2CB72-75F5-415E-B2A3-B17271CF117D}"/>
                  </a:ext>
                </a:extLst>
              </p:cNvPr>
              <p:cNvSpPr/>
              <p:nvPr/>
            </p:nvSpPr>
            <p:spPr>
              <a:xfrm>
                <a:off x="7906591" y="4831255"/>
                <a:ext cx="113920" cy="118872"/>
              </a:xfrm>
              <a:prstGeom prst="rect">
                <a:avLst/>
              </a:prstGeom>
              <a:solidFill>
                <a:srgbClr val="759C6C"/>
              </a:solidFill>
              <a:ln w="1270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>
                  <a:solidFill>
                    <a:srgbClr val="FFFFFF"/>
                  </a:solidFill>
                  <a:latin typeface="Oracle Sans" panose="020B0503020204020204" pitchFamily="34" charset="0"/>
                </a:endParaRPr>
              </a:p>
            </p:txBody>
          </p:sp>
          <p:sp>
            <p:nvSpPr>
              <p:cNvPr id="210" name="Rectangle 209">
                <a:extLst>
                  <a:ext uri="{FF2B5EF4-FFF2-40B4-BE49-F238E27FC236}">
                    <a16:creationId xmlns:a16="http://schemas.microsoft.com/office/drawing/2014/main" id="{64E41ADD-098D-4D40-830E-F3E10F77E910}"/>
                  </a:ext>
                </a:extLst>
              </p:cNvPr>
              <p:cNvSpPr/>
              <p:nvPr/>
            </p:nvSpPr>
            <p:spPr>
              <a:xfrm>
                <a:off x="7906591" y="4980383"/>
                <a:ext cx="113920" cy="118872"/>
              </a:xfrm>
              <a:prstGeom prst="rect">
                <a:avLst/>
              </a:prstGeom>
              <a:solidFill>
                <a:srgbClr val="759C6C"/>
              </a:solidFill>
              <a:ln w="1270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>
                  <a:solidFill>
                    <a:srgbClr val="0070C0"/>
                  </a:solidFill>
                  <a:latin typeface="Oracle Sans" panose="020B0503020204020204" pitchFamily="34" charset="0"/>
                </a:endParaRPr>
              </a:p>
            </p:txBody>
          </p:sp>
          <p:sp>
            <p:nvSpPr>
              <p:cNvPr id="211" name="Rectangle 210">
                <a:extLst>
                  <a:ext uri="{FF2B5EF4-FFF2-40B4-BE49-F238E27FC236}">
                    <a16:creationId xmlns:a16="http://schemas.microsoft.com/office/drawing/2014/main" id="{40BBA272-EE52-4A51-B966-119EB4832532}"/>
                  </a:ext>
                </a:extLst>
              </p:cNvPr>
              <p:cNvSpPr/>
              <p:nvPr/>
            </p:nvSpPr>
            <p:spPr>
              <a:xfrm>
                <a:off x="7916018" y="5138928"/>
                <a:ext cx="113920" cy="118872"/>
              </a:xfrm>
              <a:prstGeom prst="rect">
                <a:avLst/>
              </a:prstGeom>
              <a:noFill/>
              <a:ln w="127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>
                  <a:solidFill>
                    <a:srgbClr val="FFFFFF"/>
                  </a:solidFill>
                  <a:latin typeface="Oracle Sans" panose="020B0503020204020204" pitchFamily="34" charset="0"/>
                </a:endParaRPr>
              </a:p>
            </p:txBody>
          </p:sp>
        </p:grpSp>
        <p:grpSp>
          <p:nvGrpSpPr>
            <p:cNvPr id="193" name="Group 227">
              <a:extLst>
                <a:ext uri="{FF2B5EF4-FFF2-40B4-BE49-F238E27FC236}">
                  <a16:creationId xmlns:a16="http://schemas.microsoft.com/office/drawing/2014/main" id="{6ABA2C74-8A53-4D5B-99B0-F858B604D484}"/>
                </a:ext>
              </a:extLst>
            </p:cNvPr>
            <p:cNvGrpSpPr/>
            <p:nvPr/>
          </p:nvGrpSpPr>
          <p:grpSpPr>
            <a:xfrm>
              <a:off x="8208754" y="4691557"/>
              <a:ext cx="113920" cy="566243"/>
              <a:chOff x="7916018" y="4691557"/>
              <a:chExt cx="113920" cy="566243"/>
            </a:xfrm>
          </p:grpSpPr>
          <p:sp>
            <p:nvSpPr>
              <p:cNvPr id="204" name="Rectangle 203">
                <a:extLst>
                  <a:ext uri="{FF2B5EF4-FFF2-40B4-BE49-F238E27FC236}">
                    <a16:creationId xmlns:a16="http://schemas.microsoft.com/office/drawing/2014/main" id="{9883957C-35F2-4C3E-B117-6CD68F22CDD0}"/>
                  </a:ext>
                </a:extLst>
              </p:cNvPr>
              <p:cNvSpPr/>
              <p:nvPr/>
            </p:nvSpPr>
            <p:spPr>
              <a:xfrm>
                <a:off x="7916018" y="4691557"/>
                <a:ext cx="113920" cy="118872"/>
              </a:xfrm>
              <a:prstGeom prst="rect">
                <a:avLst/>
              </a:prstGeom>
              <a:noFill/>
              <a:ln w="127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>
                  <a:solidFill>
                    <a:srgbClr val="FFFFFF"/>
                  </a:solidFill>
                  <a:latin typeface="Oracle Sans" panose="020B0503020204020204" pitchFamily="34" charset="0"/>
                </a:endParaRPr>
              </a:p>
            </p:txBody>
          </p:sp>
          <p:sp>
            <p:nvSpPr>
              <p:cNvPr id="205" name="Rectangle 204">
                <a:extLst>
                  <a:ext uri="{FF2B5EF4-FFF2-40B4-BE49-F238E27FC236}">
                    <a16:creationId xmlns:a16="http://schemas.microsoft.com/office/drawing/2014/main" id="{CB18F81D-8DF9-41AF-9D14-77FBBA31755B}"/>
                  </a:ext>
                </a:extLst>
              </p:cNvPr>
              <p:cNvSpPr/>
              <p:nvPr/>
            </p:nvSpPr>
            <p:spPr>
              <a:xfrm>
                <a:off x="7916018" y="4840681"/>
                <a:ext cx="113920" cy="118872"/>
              </a:xfrm>
              <a:prstGeom prst="rect">
                <a:avLst/>
              </a:prstGeom>
              <a:noFill/>
              <a:ln w="127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>
                  <a:solidFill>
                    <a:srgbClr val="FFFFFF"/>
                  </a:solidFill>
                  <a:latin typeface="Oracle Sans" panose="020B0503020204020204" pitchFamily="34" charset="0"/>
                </a:endParaRPr>
              </a:p>
            </p:txBody>
          </p:sp>
          <p:sp>
            <p:nvSpPr>
              <p:cNvPr id="206" name="Rectangle 205">
                <a:extLst>
                  <a:ext uri="{FF2B5EF4-FFF2-40B4-BE49-F238E27FC236}">
                    <a16:creationId xmlns:a16="http://schemas.microsoft.com/office/drawing/2014/main" id="{F04BDE1D-1C43-478D-813C-E20C718B0416}"/>
                  </a:ext>
                </a:extLst>
              </p:cNvPr>
              <p:cNvSpPr/>
              <p:nvPr/>
            </p:nvSpPr>
            <p:spPr>
              <a:xfrm>
                <a:off x="7916018" y="4989805"/>
                <a:ext cx="113920" cy="118872"/>
              </a:xfrm>
              <a:prstGeom prst="rect">
                <a:avLst/>
              </a:prstGeom>
              <a:noFill/>
              <a:ln w="127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>
                  <a:solidFill>
                    <a:srgbClr val="0070C0"/>
                  </a:solidFill>
                  <a:latin typeface="Oracle Sans" panose="020B0503020204020204" pitchFamily="34" charset="0"/>
                </a:endParaRPr>
              </a:p>
            </p:txBody>
          </p:sp>
          <p:sp>
            <p:nvSpPr>
              <p:cNvPr id="207" name="Rectangle 206">
                <a:extLst>
                  <a:ext uri="{FF2B5EF4-FFF2-40B4-BE49-F238E27FC236}">
                    <a16:creationId xmlns:a16="http://schemas.microsoft.com/office/drawing/2014/main" id="{8C03DCD8-908D-458E-84D8-BE028D29744B}"/>
                  </a:ext>
                </a:extLst>
              </p:cNvPr>
              <p:cNvSpPr/>
              <p:nvPr/>
            </p:nvSpPr>
            <p:spPr>
              <a:xfrm>
                <a:off x="7916018" y="5138928"/>
                <a:ext cx="113920" cy="118872"/>
              </a:xfrm>
              <a:prstGeom prst="rect">
                <a:avLst/>
              </a:prstGeom>
              <a:noFill/>
              <a:ln w="127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>
                  <a:solidFill>
                    <a:srgbClr val="FFFFFF"/>
                  </a:solidFill>
                  <a:latin typeface="Oracle Sans" panose="020B0503020204020204" pitchFamily="34" charset="0"/>
                </a:endParaRPr>
              </a:p>
            </p:txBody>
          </p:sp>
        </p:grpSp>
        <p:grpSp>
          <p:nvGrpSpPr>
            <p:cNvPr id="194" name="Group 228">
              <a:extLst>
                <a:ext uri="{FF2B5EF4-FFF2-40B4-BE49-F238E27FC236}">
                  <a16:creationId xmlns:a16="http://schemas.microsoft.com/office/drawing/2014/main" id="{42528F62-AA7B-4C2B-A226-C8E2699F941A}"/>
                </a:ext>
              </a:extLst>
            </p:cNvPr>
            <p:cNvGrpSpPr/>
            <p:nvPr/>
          </p:nvGrpSpPr>
          <p:grpSpPr>
            <a:xfrm>
              <a:off x="8345695" y="4691557"/>
              <a:ext cx="123347" cy="556815"/>
              <a:chOff x="7906591" y="4691557"/>
              <a:chExt cx="123347" cy="556815"/>
            </a:xfrm>
          </p:grpSpPr>
          <p:sp>
            <p:nvSpPr>
              <p:cNvPr id="200" name="Rectangle 199">
                <a:extLst>
                  <a:ext uri="{FF2B5EF4-FFF2-40B4-BE49-F238E27FC236}">
                    <a16:creationId xmlns:a16="http://schemas.microsoft.com/office/drawing/2014/main" id="{338B250E-CA2F-4A49-A258-7DE45F3B1B35}"/>
                  </a:ext>
                </a:extLst>
              </p:cNvPr>
              <p:cNvSpPr/>
              <p:nvPr/>
            </p:nvSpPr>
            <p:spPr>
              <a:xfrm>
                <a:off x="7916018" y="4691557"/>
                <a:ext cx="113920" cy="118872"/>
              </a:xfrm>
              <a:prstGeom prst="rect">
                <a:avLst/>
              </a:prstGeom>
              <a:noFill/>
              <a:ln w="127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>
                  <a:solidFill>
                    <a:srgbClr val="FFFFFF"/>
                  </a:solidFill>
                  <a:latin typeface="Oracle Sans" panose="020B0503020204020204" pitchFamily="34" charset="0"/>
                </a:endParaRPr>
              </a:p>
            </p:txBody>
          </p:sp>
          <p:sp>
            <p:nvSpPr>
              <p:cNvPr id="201" name="Rectangle 200">
                <a:extLst>
                  <a:ext uri="{FF2B5EF4-FFF2-40B4-BE49-F238E27FC236}">
                    <a16:creationId xmlns:a16="http://schemas.microsoft.com/office/drawing/2014/main" id="{73C9EFCC-7429-44A5-B676-3A4128F1525C}"/>
                  </a:ext>
                </a:extLst>
              </p:cNvPr>
              <p:cNvSpPr/>
              <p:nvPr/>
            </p:nvSpPr>
            <p:spPr>
              <a:xfrm>
                <a:off x="7916018" y="4840681"/>
                <a:ext cx="113920" cy="118872"/>
              </a:xfrm>
              <a:prstGeom prst="rect">
                <a:avLst/>
              </a:prstGeom>
              <a:noFill/>
              <a:ln w="127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>
                  <a:solidFill>
                    <a:srgbClr val="FFFFFF"/>
                  </a:solidFill>
                  <a:latin typeface="Oracle Sans" panose="020B0503020204020204" pitchFamily="34" charset="0"/>
                </a:endParaRPr>
              </a:p>
            </p:txBody>
          </p:sp>
          <p:sp>
            <p:nvSpPr>
              <p:cNvPr id="202" name="Rectangle 201">
                <a:extLst>
                  <a:ext uri="{FF2B5EF4-FFF2-40B4-BE49-F238E27FC236}">
                    <a16:creationId xmlns:a16="http://schemas.microsoft.com/office/drawing/2014/main" id="{196E979A-9A43-4CD6-AE8F-2EA49074AA48}"/>
                  </a:ext>
                </a:extLst>
              </p:cNvPr>
              <p:cNvSpPr/>
              <p:nvPr/>
            </p:nvSpPr>
            <p:spPr>
              <a:xfrm>
                <a:off x="7916018" y="4989805"/>
                <a:ext cx="113920" cy="118872"/>
              </a:xfrm>
              <a:prstGeom prst="rect">
                <a:avLst/>
              </a:prstGeom>
              <a:noFill/>
              <a:ln w="127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>
                  <a:solidFill>
                    <a:srgbClr val="0070C0"/>
                  </a:solidFill>
                  <a:latin typeface="Oracle Sans" panose="020B0503020204020204" pitchFamily="34" charset="0"/>
                </a:endParaRPr>
              </a:p>
            </p:txBody>
          </p:sp>
          <p:sp>
            <p:nvSpPr>
              <p:cNvPr id="203" name="Rectangle 202">
                <a:extLst>
                  <a:ext uri="{FF2B5EF4-FFF2-40B4-BE49-F238E27FC236}">
                    <a16:creationId xmlns:a16="http://schemas.microsoft.com/office/drawing/2014/main" id="{64407A07-447A-46B0-AD80-44CBB159F377}"/>
                  </a:ext>
                </a:extLst>
              </p:cNvPr>
              <p:cNvSpPr/>
              <p:nvPr/>
            </p:nvSpPr>
            <p:spPr>
              <a:xfrm>
                <a:off x="7906591" y="5129500"/>
                <a:ext cx="113920" cy="118872"/>
              </a:xfrm>
              <a:prstGeom prst="rect">
                <a:avLst/>
              </a:prstGeom>
              <a:solidFill>
                <a:srgbClr val="759C6C"/>
              </a:solidFill>
              <a:ln w="1270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>
                  <a:solidFill>
                    <a:srgbClr val="FFFFFF"/>
                  </a:solidFill>
                  <a:latin typeface="Oracle Sans" panose="020B0503020204020204" pitchFamily="34" charset="0"/>
                </a:endParaRPr>
              </a:p>
            </p:txBody>
          </p:sp>
        </p:grpSp>
        <p:grpSp>
          <p:nvGrpSpPr>
            <p:cNvPr id="195" name="Group 229">
              <a:extLst>
                <a:ext uri="{FF2B5EF4-FFF2-40B4-BE49-F238E27FC236}">
                  <a16:creationId xmlns:a16="http://schemas.microsoft.com/office/drawing/2014/main" id="{7A0FA95B-DB08-4703-8771-4F4279D5503C}"/>
                </a:ext>
              </a:extLst>
            </p:cNvPr>
            <p:cNvGrpSpPr/>
            <p:nvPr/>
          </p:nvGrpSpPr>
          <p:grpSpPr>
            <a:xfrm>
              <a:off x="8492065" y="4691557"/>
              <a:ext cx="123347" cy="556815"/>
              <a:chOff x="7906591" y="4691557"/>
              <a:chExt cx="123347" cy="556815"/>
            </a:xfrm>
          </p:grpSpPr>
          <p:sp>
            <p:nvSpPr>
              <p:cNvPr id="196" name="Rectangle 195">
                <a:extLst>
                  <a:ext uri="{FF2B5EF4-FFF2-40B4-BE49-F238E27FC236}">
                    <a16:creationId xmlns:a16="http://schemas.microsoft.com/office/drawing/2014/main" id="{2575DD3C-28D5-4E84-81C7-3C8D9FFF9508}"/>
                  </a:ext>
                </a:extLst>
              </p:cNvPr>
              <p:cNvSpPr/>
              <p:nvPr/>
            </p:nvSpPr>
            <p:spPr>
              <a:xfrm>
                <a:off x="7916018" y="4691557"/>
                <a:ext cx="113920" cy="118872"/>
              </a:xfrm>
              <a:prstGeom prst="rect">
                <a:avLst/>
              </a:prstGeom>
              <a:noFill/>
              <a:ln w="127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>
                  <a:solidFill>
                    <a:srgbClr val="FFFFFF"/>
                  </a:solidFill>
                  <a:latin typeface="Oracle Sans" panose="020B0503020204020204" pitchFamily="34" charset="0"/>
                </a:endParaRPr>
              </a:p>
            </p:txBody>
          </p:sp>
          <p:sp>
            <p:nvSpPr>
              <p:cNvPr id="197" name="Rectangle 196">
                <a:extLst>
                  <a:ext uri="{FF2B5EF4-FFF2-40B4-BE49-F238E27FC236}">
                    <a16:creationId xmlns:a16="http://schemas.microsoft.com/office/drawing/2014/main" id="{B881D77B-7FDE-4857-8E23-32F43FE64731}"/>
                  </a:ext>
                </a:extLst>
              </p:cNvPr>
              <p:cNvSpPr/>
              <p:nvPr/>
            </p:nvSpPr>
            <p:spPr>
              <a:xfrm>
                <a:off x="7916018" y="4840681"/>
                <a:ext cx="113920" cy="118872"/>
              </a:xfrm>
              <a:prstGeom prst="rect">
                <a:avLst/>
              </a:prstGeom>
              <a:noFill/>
              <a:ln w="127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>
                  <a:solidFill>
                    <a:srgbClr val="FFFFFF"/>
                  </a:solidFill>
                  <a:latin typeface="Oracle Sans" panose="020B0503020204020204" pitchFamily="34" charset="0"/>
                </a:endParaRPr>
              </a:p>
            </p:txBody>
          </p:sp>
          <p:sp>
            <p:nvSpPr>
              <p:cNvPr id="198" name="Rectangle 197">
                <a:extLst>
                  <a:ext uri="{FF2B5EF4-FFF2-40B4-BE49-F238E27FC236}">
                    <a16:creationId xmlns:a16="http://schemas.microsoft.com/office/drawing/2014/main" id="{EB0E9253-F252-48CB-BDAB-9010F25B2AEE}"/>
                  </a:ext>
                </a:extLst>
              </p:cNvPr>
              <p:cNvSpPr/>
              <p:nvPr/>
            </p:nvSpPr>
            <p:spPr>
              <a:xfrm>
                <a:off x="7916018" y="4989805"/>
                <a:ext cx="113920" cy="118872"/>
              </a:xfrm>
              <a:prstGeom prst="rect">
                <a:avLst/>
              </a:prstGeom>
              <a:noFill/>
              <a:ln w="127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>
                  <a:solidFill>
                    <a:srgbClr val="0070C0"/>
                  </a:solidFill>
                  <a:latin typeface="Oracle Sans" panose="020B0503020204020204" pitchFamily="34" charset="0"/>
                </a:endParaRPr>
              </a:p>
            </p:txBody>
          </p:sp>
          <p:sp>
            <p:nvSpPr>
              <p:cNvPr id="199" name="Rectangle 198">
                <a:extLst>
                  <a:ext uri="{FF2B5EF4-FFF2-40B4-BE49-F238E27FC236}">
                    <a16:creationId xmlns:a16="http://schemas.microsoft.com/office/drawing/2014/main" id="{B50416F0-444E-4F22-B7E0-8DFD982B4C7D}"/>
                  </a:ext>
                </a:extLst>
              </p:cNvPr>
              <p:cNvSpPr/>
              <p:nvPr/>
            </p:nvSpPr>
            <p:spPr>
              <a:xfrm>
                <a:off x="7906591" y="5129500"/>
                <a:ext cx="113920" cy="118872"/>
              </a:xfrm>
              <a:prstGeom prst="rect">
                <a:avLst/>
              </a:prstGeom>
              <a:solidFill>
                <a:srgbClr val="759C6C"/>
              </a:solidFill>
              <a:ln w="1270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>
                  <a:solidFill>
                    <a:srgbClr val="FFFFFF"/>
                  </a:solidFill>
                  <a:latin typeface="Oracle Sans" panose="020B0503020204020204" pitchFamily="34" charset="0"/>
                </a:endParaRPr>
              </a:p>
            </p:txBody>
          </p:sp>
        </p:grpSp>
      </p:grpSp>
      <p:grpSp>
        <p:nvGrpSpPr>
          <p:cNvPr id="248" name="Group 247">
            <a:extLst>
              <a:ext uri="{FF2B5EF4-FFF2-40B4-BE49-F238E27FC236}">
                <a16:creationId xmlns:a16="http://schemas.microsoft.com/office/drawing/2014/main" id="{375D0B9A-FF8C-4775-9F9B-D4C7A3722DDA}"/>
              </a:ext>
            </a:extLst>
          </p:cNvPr>
          <p:cNvGrpSpPr/>
          <p:nvPr/>
        </p:nvGrpSpPr>
        <p:grpSpPr>
          <a:xfrm>
            <a:off x="2082978" y="2810361"/>
            <a:ext cx="1486212" cy="914400"/>
            <a:chOff x="1723388" y="1286351"/>
            <a:chExt cx="1486212" cy="914400"/>
          </a:xfrm>
        </p:grpSpPr>
        <p:grpSp>
          <p:nvGrpSpPr>
            <p:cNvPr id="243" name="Group 242">
              <a:extLst>
                <a:ext uri="{FF2B5EF4-FFF2-40B4-BE49-F238E27FC236}">
                  <a16:creationId xmlns:a16="http://schemas.microsoft.com/office/drawing/2014/main" id="{280CFCDC-59BB-4DE4-9E18-29589ED9C0A0}"/>
                </a:ext>
              </a:extLst>
            </p:cNvPr>
            <p:cNvGrpSpPr/>
            <p:nvPr/>
          </p:nvGrpSpPr>
          <p:grpSpPr>
            <a:xfrm>
              <a:off x="1785362" y="1312730"/>
              <a:ext cx="1424238" cy="861643"/>
              <a:chOff x="312193" y="1688362"/>
              <a:chExt cx="1424238" cy="861643"/>
            </a:xfrm>
          </p:grpSpPr>
          <p:pic>
            <p:nvPicPr>
              <p:cNvPr id="238" name="Graphic 237">
                <a:extLst>
                  <a:ext uri="{FF2B5EF4-FFF2-40B4-BE49-F238E27FC236}">
                    <a16:creationId xmlns:a16="http://schemas.microsoft.com/office/drawing/2014/main" id="{D9185267-EABC-4AB5-8B99-722AF9738C21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5" cstate="screen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="" xmlns:asvg="http://schemas.microsoft.com/office/drawing/2016/SVG/main" r:embed="rId6"/>
                  </a:ext>
                </a:extLst>
              </a:blip>
              <a:srcRect/>
              <a:stretch/>
            </p:blipFill>
            <p:spPr>
              <a:xfrm>
                <a:off x="312193" y="1688362"/>
                <a:ext cx="861643" cy="861643"/>
              </a:xfrm>
              <a:custGeom>
                <a:avLst/>
                <a:gdLst>
                  <a:gd name="connsiteX0" fmla="*/ 207008 w 2397621"/>
                  <a:gd name="connsiteY0" fmla="*/ 1253292 h 2397621"/>
                  <a:gd name="connsiteX1" fmla="*/ 207008 w 2397621"/>
                  <a:gd name="connsiteY1" fmla="*/ 2048031 h 2397621"/>
                  <a:gd name="connsiteX2" fmla="*/ 789732 w 2397621"/>
                  <a:gd name="connsiteY2" fmla="*/ 2048031 h 2397621"/>
                  <a:gd name="connsiteX3" fmla="*/ 789732 w 2397621"/>
                  <a:gd name="connsiteY3" fmla="*/ 1253292 h 2397621"/>
                  <a:gd name="connsiteX4" fmla="*/ 1497125 w 2397621"/>
                  <a:gd name="connsiteY4" fmla="*/ 1017782 h 2397621"/>
                  <a:gd name="connsiteX5" fmla="*/ 1497125 w 2397621"/>
                  <a:gd name="connsiteY5" fmla="*/ 2141732 h 2397621"/>
                  <a:gd name="connsiteX6" fmla="*/ 1965659 w 2397621"/>
                  <a:gd name="connsiteY6" fmla="*/ 2141732 h 2397621"/>
                  <a:gd name="connsiteX7" fmla="*/ 1965659 w 2397621"/>
                  <a:gd name="connsiteY7" fmla="*/ 1017782 h 2397621"/>
                  <a:gd name="connsiteX8" fmla="*/ 0 w 2397621"/>
                  <a:gd name="connsiteY8" fmla="*/ 0 h 2397621"/>
                  <a:gd name="connsiteX9" fmla="*/ 2397621 w 2397621"/>
                  <a:gd name="connsiteY9" fmla="*/ 0 h 2397621"/>
                  <a:gd name="connsiteX10" fmla="*/ 2397621 w 2397621"/>
                  <a:gd name="connsiteY10" fmla="*/ 2397621 h 2397621"/>
                  <a:gd name="connsiteX11" fmla="*/ 0 w 2397621"/>
                  <a:gd name="connsiteY11" fmla="*/ 2397621 h 23976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2397621" h="2397621">
                    <a:moveTo>
                      <a:pt x="207008" y="1253292"/>
                    </a:moveTo>
                    <a:lnTo>
                      <a:pt x="207008" y="2048031"/>
                    </a:lnTo>
                    <a:lnTo>
                      <a:pt x="789732" y="2048031"/>
                    </a:lnTo>
                    <a:lnTo>
                      <a:pt x="789732" y="1253292"/>
                    </a:lnTo>
                    <a:close/>
                    <a:moveTo>
                      <a:pt x="1497125" y="1017782"/>
                    </a:moveTo>
                    <a:lnTo>
                      <a:pt x="1497125" y="2141732"/>
                    </a:lnTo>
                    <a:lnTo>
                      <a:pt x="1965659" y="2141732"/>
                    </a:lnTo>
                    <a:lnTo>
                      <a:pt x="1965659" y="1017782"/>
                    </a:lnTo>
                    <a:close/>
                    <a:moveTo>
                      <a:pt x="0" y="0"/>
                    </a:moveTo>
                    <a:lnTo>
                      <a:pt x="2397621" y="0"/>
                    </a:lnTo>
                    <a:lnTo>
                      <a:pt x="2397621" y="2397621"/>
                    </a:lnTo>
                    <a:lnTo>
                      <a:pt x="0" y="2397621"/>
                    </a:lnTo>
                    <a:close/>
                  </a:path>
                </a:pathLst>
              </a:custGeom>
            </p:spPr>
          </p:pic>
          <p:sp>
            <p:nvSpPr>
              <p:cNvPr id="239" name="TextBox 238">
                <a:extLst>
                  <a:ext uri="{FF2B5EF4-FFF2-40B4-BE49-F238E27FC236}">
                    <a16:creationId xmlns:a16="http://schemas.microsoft.com/office/drawing/2014/main" id="{66F03CB3-0D1B-4ECF-BB4A-0FC3736D8249}"/>
                  </a:ext>
                </a:extLst>
              </p:cNvPr>
              <p:cNvSpPr txBox="1"/>
              <p:nvPr/>
            </p:nvSpPr>
            <p:spPr>
              <a:xfrm>
                <a:off x="781795" y="2016530"/>
                <a:ext cx="954636" cy="461665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800" dirty="0"/>
                  <a:t>Autonomous Database - Dedicated</a:t>
                </a:r>
              </a:p>
            </p:txBody>
          </p:sp>
        </p:grpSp>
        <p:sp>
          <p:nvSpPr>
            <p:cNvPr id="244" name="Rectangle 243">
              <a:extLst>
                <a:ext uri="{FF2B5EF4-FFF2-40B4-BE49-F238E27FC236}">
                  <a16:creationId xmlns:a16="http://schemas.microsoft.com/office/drawing/2014/main" id="{784C41E6-39D8-4F39-8B95-DFEED3E99985}"/>
                </a:ext>
              </a:extLst>
            </p:cNvPr>
            <p:cNvSpPr/>
            <p:nvPr/>
          </p:nvSpPr>
          <p:spPr>
            <a:xfrm>
              <a:off x="1723388" y="1286351"/>
              <a:ext cx="1463040" cy="9144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249" name="Group 248">
            <a:extLst>
              <a:ext uri="{FF2B5EF4-FFF2-40B4-BE49-F238E27FC236}">
                <a16:creationId xmlns:a16="http://schemas.microsoft.com/office/drawing/2014/main" id="{35D98EA2-E517-43EC-A459-593090F94909}"/>
              </a:ext>
            </a:extLst>
          </p:cNvPr>
          <p:cNvGrpSpPr/>
          <p:nvPr/>
        </p:nvGrpSpPr>
        <p:grpSpPr>
          <a:xfrm>
            <a:off x="2082978" y="3470864"/>
            <a:ext cx="1463040" cy="914400"/>
            <a:chOff x="1723388" y="2842028"/>
            <a:chExt cx="1463040" cy="914400"/>
          </a:xfrm>
        </p:grpSpPr>
        <p:grpSp>
          <p:nvGrpSpPr>
            <p:cNvPr id="242" name="Group 241">
              <a:extLst>
                <a:ext uri="{FF2B5EF4-FFF2-40B4-BE49-F238E27FC236}">
                  <a16:creationId xmlns:a16="http://schemas.microsoft.com/office/drawing/2014/main" id="{366B8B16-4E19-450C-AD66-2FE2761E1BA0}"/>
                </a:ext>
              </a:extLst>
            </p:cNvPr>
            <p:cNvGrpSpPr/>
            <p:nvPr/>
          </p:nvGrpSpPr>
          <p:grpSpPr>
            <a:xfrm>
              <a:off x="1747606" y="2846036"/>
              <a:ext cx="1422483" cy="906385"/>
              <a:chOff x="289822" y="2770933"/>
              <a:chExt cx="1422483" cy="906385"/>
            </a:xfrm>
          </p:grpSpPr>
          <p:pic>
            <p:nvPicPr>
              <p:cNvPr id="236" name="Picture Placeholder 93">
                <a:extLst>
                  <a:ext uri="{FF2B5EF4-FFF2-40B4-BE49-F238E27FC236}">
                    <a16:creationId xmlns:a16="http://schemas.microsoft.com/office/drawing/2014/main" id="{BCF3EFFC-2C70-4C74-A515-91B268F349DB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7" cstate="screen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="" xmlns:asvg="http://schemas.microsoft.com/office/drawing/2016/SVG/main" r:embed="rId8"/>
                  </a:ext>
                </a:extLst>
              </a:blip>
              <a:srcRect t="85" b="85"/>
              <a:stretch/>
            </p:blipFill>
            <p:spPr>
              <a:xfrm>
                <a:off x="289822" y="2770933"/>
                <a:ext cx="906384" cy="906385"/>
              </a:xfrm>
              <a:prstGeom prst="rect">
                <a:avLst/>
              </a:prstGeom>
            </p:spPr>
          </p:pic>
          <p:sp>
            <p:nvSpPr>
              <p:cNvPr id="237" name="TextBox 236">
                <a:extLst>
                  <a:ext uri="{FF2B5EF4-FFF2-40B4-BE49-F238E27FC236}">
                    <a16:creationId xmlns:a16="http://schemas.microsoft.com/office/drawing/2014/main" id="{88964B97-79F7-4B4F-89F5-E52F9D1FFF25}"/>
                  </a:ext>
                </a:extLst>
              </p:cNvPr>
              <p:cNvSpPr txBox="1"/>
              <p:nvPr/>
            </p:nvSpPr>
            <p:spPr>
              <a:xfrm>
                <a:off x="805921" y="3101464"/>
                <a:ext cx="906384" cy="461665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800" dirty="0"/>
                  <a:t>Exadata Database Service</a:t>
                </a:r>
              </a:p>
            </p:txBody>
          </p:sp>
        </p:grpSp>
        <p:sp>
          <p:nvSpPr>
            <p:cNvPr id="245" name="Rectangle 244">
              <a:extLst>
                <a:ext uri="{FF2B5EF4-FFF2-40B4-BE49-F238E27FC236}">
                  <a16:creationId xmlns:a16="http://schemas.microsoft.com/office/drawing/2014/main" id="{B74AFF27-AD90-4E89-B332-9A88F7CD47A0}"/>
                </a:ext>
              </a:extLst>
            </p:cNvPr>
            <p:cNvSpPr/>
            <p:nvPr/>
          </p:nvSpPr>
          <p:spPr>
            <a:xfrm>
              <a:off x="1723388" y="2842028"/>
              <a:ext cx="1463040" cy="9144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250" name="Group 249">
            <a:extLst>
              <a:ext uri="{FF2B5EF4-FFF2-40B4-BE49-F238E27FC236}">
                <a16:creationId xmlns:a16="http://schemas.microsoft.com/office/drawing/2014/main" id="{DAA49587-CD9C-44D4-A5DA-18BC5295A4C2}"/>
              </a:ext>
            </a:extLst>
          </p:cNvPr>
          <p:cNvGrpSpPr/>
          <p:nvPr/>
        </p:nvGrpSpPr>
        <p:grpSpPr>
          <a:xfrm>
            <a:off x="2082978" y="4131367"/>
            <a:ext cx="1463040" cy="914400"/>
            <a:chOff x="1723388" y="3855353"/>
            <a:chExt cx="1463040" cy="914400"/>
          </a:xfrm>
        </p:grpSpPr>
        <p:grpSp>
          <p:nvGrpSpPr>
            <p:cNvPr id="241" name="Group 240">
              <a:extLst>
                <a:ext uri="{FF2B5EF4-FFF2-40B4-BE49-F238E27FC236}">
                  <a16:creationId xmlns:a16="http://schemas.microsoft.com/office/drawing/2014/main" id="{48524AFC-BE77-4AA5-A0A1-7815C8798786}"/>
                </a:ext>
              </a:extLst>
            </p:cNvPr>
            <p:cNvGrpSpPr/>
            <p:nvPr/>
          </p:nvGrpSpPr>
          <p:grpSpPr>
            <a:xfrm>
              <a:off x="1916503" y="4056457"/>
              <a:ext cx="1198449" cy="512193"/>
              <a:chOff x="470478" y="3632205"/>
              <a:chExt cx="1198449" cy="512193"/>
            </a:xfrm>
          </p:grpSpPr>
          <p:grpSp>
            <p:nvGrpSpPr>
              <p:cNvPr id="230" name="Graphic 70">
                <a:extLst>
                  <a:ext uri="{FF2B5EF4-FFF2-40B4-BE49-F238E27FC236}">
                    <a16:creationId xmlns:a16="http://schemas.microsoft.com/office/drawing/2014/main" id="{ABA9A6DE-CDCC-416C-B046-3D487DD59496}"/>
                  </a:ext>
                </a:extLst>
              </p:cNvPr>
              <p:cNvGrpSpPr>
                <a:grpSpLocks noChangeAspect="1"/>
              </p:cNvGrpSpPr>
              <p:nvPr/>
            </p:nvGrpSpPr>
            <p:grpSpPr>
              <a:xfrm>
                <a:off x="470478" y="3632205"/>
                <a:ext cx="545072" cy="475782"/>
                <a:chOff x="7162146" y="2961107"/>
                <a:chExt cx="419100" cy="393700"/>
              </a:xfrm>
            </p:grpSpPr>
            <p:sp>
              <p:nvSpPr>
                <p:cNvPr id="232" name="Freeform 11">
                  <a:extLst>
                    <a:ext uri="{FF2B5EF4-FFF2-40B4-BE49-F238E27FC236}">
                      <a16:creationId xmlns:a16="http://schemas.microsoft.com/office/drawing/2014/main" id="{97CCA862-452F-41F2-A3DA-FDF7FB8E118D}"/>
                    </a:ext>
                  </a:extLst>
                </p:cNvPr>
                <p:cNvSpPr/>
                <p:nvPr/>
              </p:nvSpPr>
              <p:spPr>
                <a:xfrm>
                  <a:off x="7167734" y="2965386"/>
                  <a:ext cx="404533" cy="384733"/>
                </a:xfrm>
                <a:custGeom>
                  <a:avLst/>
                  <a:gdLst>
                    <a:gd name="connsiteX0" fmla="*/ 202099 w 404533"/>
                    <a:gd name="connsiteY0" fmla="*/ 384734 h 384733"/>
                    <a:gd name="connsiteX1" fmla="*/ 185335 w 404533"/>
                    <a:gd name="connsiteY1" fmla="*/ 384734 h 384733"/>
                    <a:gd name="connsiteX2" fmla="*/ 128524 w 404533"/>
                    <a:gd name="connsiteY2" fmla="*/ 378172 h 384733"/>
                    <a:gd name="connsiteX3" fmla="*/ 111760 w 404533"/>
                    <a:gd name="connsiteY3" fmla="*/ 373485 h 384733"/>
                    <a:gd name="connsiteX4" fmla="*/ 97790 w 404533"/>
                    <a:gd name="connsiteY4" fmla="*/ 366923 h 384733"/>
                    <a:gd name="connsiteX5" fmla="*/ 83820 w 404533"/>
                    <a:gd name="connsiteY5" fmla="*/ 346301 h 384733"/>
                    <a:gd name="connsiteX6" fmla="*/ 83820 w 404533"/>
                    <a:gd name="connsiteY6" fmla="*/ 208506 h 384733"/>
                    <a:gd name="connsiteX7" fmla="*/ 0 w 404533"/>
                    <a:gd name="connsiteY7" fmla="*/ 208506 h 384733"/>
                    <a:gd name="connsiteX8" fmla="*/ 931 w 404533"/>
                    <a:gd name="connsiteY8" fmla="*/ 194445 h 384733"/>
                    <a:gd name="connsiteX9" fmla="*/ 53086 w 404533"/>
                    <a:gd name="connsiteY9" fmla="*/ 114768 h 384733"/>
                    <a:gd name="connsiteX10" fmla="*/ 65193 w 404533"/>
                    <a:gd name="connsiteY10" fmla="*/ 97895 h 384733"/>
                    <a:gd name="connsiteX11" fmla="*/ 108035 w 404533"/>
                    <a:gd name="connsiteY11" fmla="*/ 43527 h 384733"/>
                    <a:gd name="connsiteX12" fmla="*/ 137837 w 404533"/>
                    <a:gd name="connsiteY12" fmla="*/ 36965 h 384733"/>
                    <a:gd name="connsiteX13" fmla="*/ 145288 w 404533"/>
                    <a:gd name="connsiteY13" fmla="*/ 36965 h 384733"/>
                    <a:gd name="connsiteX14" fmla="*/ 148082 w 404533"/>
                    <a:gd name="connsiteY14" fmla="*/ 36965 h 384733"/>
                    <a:gd name="connsiteX15" fmla="*/ 164846 w 404533"/>
                    <a:gd name="connsiteY15" fmla="*/ 29466 h 384733"/>
                    <a:gd name="connsiteX16" fmla="*/ 294301 w 404533"/>
                    <a:gd name="connsiteY16" fmla="*/ 24779 h 384733"/>
                    <a:gd name="connsiteX17" fmla="*/ 313859 w 404533"/>
                    <a:gd name="connsiteY17" fmla="*/ 51026 h 384733"/>
                    <a:gd name="connsiteX18" fmla="*/ 330623 w 404533"/>
                    <a:gd name="connsiteY18" fmla="*/ 64149 h 384733"/>
                    <a:gd name="connsiteX19" fmla="*/ 402336 w 404533"/>
                    <a:gd name="connsiteY19" fmla="*/ 176635 h 384733"/>
                    <a:gd name="connsiteX20" fmla="*/ 393023 w 404533"/>
                    <a:gd name="connsiteY20" fmla="*/ 201007 h 384733"/>
                    <a:gd name="connsiteX21" fmla="*/ 389297 w 404533"/>
                    <a:gd name="connsiteY21" fmla="*/ 207569 h 384733"/>
                    <a:gd name="connsiteX22" fmla="*/ 319447 w 404533"/>
                    <a:gd name="connsiteY22" fmla="*/ 207569 h 384733"/>
                    <a:gd name="connsiteX23" fmla="*/ 319447 w 404533"/>
                    <a:gd name="connsiteY23" fmla="*/ 346301 h 384733"/>
                    <a:gd name="connsiteX24" fmla="*/ 311065 w 404533"/>
                    <a:gd name="connsiteY24" fmla="*/ 363174 h 384733"/>
                    <a:gd name="connsiteX25" fmla="*/ 305477 w 404533"/>
                    <a:gd name="connsiteY25" fmla="*/ 366923 h 384733"/>
                    <a:gd name="connsiteX26" fmla="*/ 228177 w 404533"/>
                    <a:gd name="connsiteY26" fmla="*/ 383796 h 384733"/>
                    <a:gd name="connsiteX27" fmla="*/ 202099 w 404533"/>
                    <a:gd name="connsiteY27" fmla="*/ 384734 h 3847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</a:cxnLst>
                  <a:rect l="l" t="t" r="r" b="b"/>
                  <a:pathLst>
                    <a:path w="404533" h="384733">
                      <a:moveTo>
                        <a:pt x="202099" y="384734"/>
                      </a:moveTo>
                      <a:lnTo>
                        <a:pt x="185335" y="384734"/>
                      </a:lnTo>
                      <a:cubicBezTo>
                        <a:pt x="166709" y="383796"/>
                        <a:pt x="147151" y="381922"/>
                        <a:pt x="128524" y="378172"/>
                      </a:cubicBezTo>
                      <a:cubicBezTo>
                        <a:pt x="122936" y="377235"/>
                        <a:pt x="117348" y="375360"/>
                        <a:pt x="111760" y="373485"/>
                      </a:cubicBezTo>
                      <a:cubicBezTo>
                        <a:pt x="107103" y="371610"/>
                        <a:pt x="102447" y="369736"/>
                        <a:pt x="97790" y="366923"/>
                      </a:cubicBezTo>
                      <a:cubicBezTo>
                        <a:pt x="89408" y="363174"/>
                        <a:pt x="84751" y="355675"/>
                        <a:pt x="83820" y="346301"/>
                      </a:cubicBezTo>
                      <a:lnTo>
                        <a:pt x="83820" y="208506"/>
                      </a:lnTo>
                      <a:lnTo>
                        <a:pt x="0" y="208506"/>
                      </a:lnTo>
                      <a:lnTo>
                        <a:pt x="931" y="194445"/>
                      </a:lnTo>
                      <a:cubicBezTo>
                        <a:pt x="3725" y="160700"/>
                        <a:pt x="23283" y="129766"/>
                        <a:pt x="53086" y="114768"/>
                      </a:cubicBezTo>
                      <a:cubicBezTo>
                        <a:pt x="59605" y="111018"/>
                        <a:pt x="64262" y="105394"/>
                        <a:pt x="65193" y="97895"/>
                      </a:cubicBezTo>
                      <a:cubicBezTo>
                        <a:pt x="69850" y="73523"/>
                        <a:pt x="85683" y="53838"/>
                        <a:pt x="108035" y="43527"/>
                      </a:cubicBezTo>
                      <a:cubicBezTo>
                        <a:pt x="117348" y="39777"/>
                        <a:pt x="127593" y="36965"/>
                        <a:pt x="137837" y="36965"/>
                      </a:cubicBezTo>
                      <a:cubicBezTo>
                        <a:pt x="139700" y="36965"/>
                        <a:pt x="142494" y="36965"/>
                        <a:pt x="145288" y="36965"/>
                      </a:cubicBezTo>
                      <a:lnTo>
                        <a:pt x="148082" y="36965"/>
                      </a:lnTo>
                      <a:cubicBezTo>
                        <a:pt x="154601" y="36965"/>
                        <a:pt x="160189" y="34153"/>
                        <a:pt x="164846" y="29466"/>
                      </a:cubicBezTo>
                      <a:cubicBezTo>
                        <a:pt x="199305" y="-8029"/>
                        <a:pt x="257048" y="-9904"/>
                        <a:pt x="294301" y="24779"/>
                      </a:cubicBezTo>
                      <a:cubicBezTo>
                        <a:pt x="302683" y="32278"/>
                        <a:pt x="309203" y="40715"/>
                        <a:pt x="313859" y="51026"/>
                      </a:cubicBezTo>
                      <a:cubicBezTo>
                        <a:pt x="317585" y="57588"/>
                        <a:pt x="323173" y="62275"/>
                        <a:pt x="330623" y="64149"/>
                      </a:cubicBezTo>
                      <a:cubicBezTo>
                        <a:pt x="380915" y="75398"/>
                        <a:pt x="413512" y="126016"/>
                        <a:pt x="402336" y="176635"/>
                      </a:cubicBezTo>
                      <a:cubicBezTo>
                        <a:pt x="400473" y="185071"/>
                        <a:pt x="397679" y="193508"/>
                        <a:pt x="393023" y="201007"/>
                      </a:cubicBezTo>
                      <a:lnTo>
                        <a:pt x="389297" y="207569"/>
                      </a:lnTo>
                      <a:lnTo>
                        <a:pt x="319447" y="207569"/>
                      </a:lnTo>
                      <a:lnTo>
                        <a:pt x="319447" y="346301"/>
                      </a:lnTo>
                      <a:cubicBezTo>
                        <a:pt x="319447" y="352863"/>
                        <a:pt x="315722" y="359424"/>
                        <a:pt x="311065" y="363174"/>
                      </a:cubicBezTo>
                      <a:cubicBezTo>
                        <a:pt x="309203" y="364111"/>
                        <a:pt x="307340" y="365986"/>
                        <a:pt x="305477" y="366923"/>
                      </a:cubicBezTo>
                      <a:cubicBezTo>
                        <a:pt x="285919" y="379109"/>
                        <a:pt x="248666" y="382859"/>
                        <a:pt x="228177" y="383796"/>
                      </a:cubicBezTo>
                      <a:cubicBezTo>
                        <a:pt x="218863" y="384734"/>
                        <a:pt x="210481" y="384734"/>
                        <a:pt x="202099" y="384734"/>
                      </a:cubicBezTo>
                      <a:close/>
                    </a:path>
                  </a:pathLst>
                </a:custGeom>
                <a:noFill/>
                <a:ln w="931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sz="800" dirty="0"/>
                </a:p>
              </p:txBody>
            </p:sp>
            <p:sp>
              <p:nvSpPr>
                <p:cNvPr id="233" name="Freeform 12">
                  <a:extLst>
                    <a:ext uri="{FF2B5EF4-FFF2-40B4-BE49-F238E27FC236}">
                      <a16:creationId xmlns:a16="http://schemas.microsoft.com/office/drawing/2014/main" id="{F015DA5A-E9D6-46F4-BF9C-D6320DE84B5E}"/>
                    </a:ext>
                  </a:extLst>
                </p:cNvPr>
                <p:cNvSpPr/>
                <p:nvPr/>
              </p:nvSpPr>
              <p:spPr>
                <a:xfrm>
                  <a:off x="7162146" y="2961107"/>
                  <a:ext cx="415300" cy="393699"/>
                </a:xfrm>
                <a:custGeom>
                  <a:avLst/>
                  <a:gdLst>
                    <a:gd name="connsiteX0" fmla="*/ 237490 w 415300"/>
                    <a:gd name="connsiteY0" fmla="*/ 9374 h 393699"/>
                    <a:gd name="connsiteX1" fmla="*/ 315722 w 415300"/>
                    <a:gd name="connsiteY1" fmla="*/ 58118 h 393699"/>
                    <a:gd name="connsiteX2" fmla="*/ 335280 w 415300"/>
                    <a:gd name="connsiteY2" fmla="*/ 73116 h 393699"/>
                    <a:gd name="connsiteX3" fmla="*/ 363220 w 415300"/>
                    <a:gd name="connsiteY3" fmla="*/ 84364 h 393699"/>
                    <a:gd name="connsiteX4" fmla="*/ 394885 w 415300"/>
                    <a:gd name="connsiteY4" fmla="*/ 202474 h 393699"/>
                    <a:gd name="connsiteX5" fmla="*/ 392091 w 415300"/>
                    <a:gd name="connsiteY5" fmla="*/ 207161 h 393699"/>
                    <a:gd name="connsiteX6" fmla="*/ 320379 w 415300"/>
                    <a:gd name="connsiteY6" fmla="*/ 207161 h 393699"/>
                    <a:gd name="connsiteX7" fmla="*/ 320379 w 415300"/>
                    <a:gd name="connsiteY7" fmla="*/ 350581 h 393699"/>
                    <a:gd name="connsiteX8" fmla="*/ 313859 w 415300"/>
                    <a:gd name="connsiteY8" fmla="*/ 363704 h 393699"/>
                    <a:gd name="connsiteX9" fmla="*/ 309203 w 415300"/>
                    <a:gd name="connsiteY9" fmla="*/ 367453 h 393699"/>
                    <a:gd name="connsiteX10" fmla="*/ 233765 w 415300"/>
                    <a:gd name="connsiteY10" fmla="*/ 383389 h 393699"/>
                    <a:gd name="connsiteX11" fmla="*/ 207687 w 415300"/>
                    <a:gd name="connsiteY11" fmla="*/ 384326 h 393699"/>
                    <a:gd name="connsiteX12" fmla="*/ 190923 w 415300"/>
                    <a:gd name="connsiteY12" fmla="*/ 384326 h 393699"/>
                    <a:gd name="connsiteX13" fmla="*/ 135043 w 415300"/>
                    <a:gd name="connsiteY13" fmla="*/ 377765 h 393699"/>
                    <a:gd name="connsiteX14" fmla="*/ 119211 w 415300"/>
                    <a:gd name="connsiteY14" fmla="*/ 373078 h 393699"/>
                    <a:gd name="connsiteX15" fmla="*/ 106172 w 415300"/>
                    <a:gd name="connsiteY15" fmla="*/ 367453 h 393699"/>
                    <a:gd name="connsiteX16" fmla="*/ 94065 w 415300"/>
                    <a:gd name="connsiteY16" fmla="*/ 351518 h 393699"/>
                    <a:gd name="connsiteX17" fmla="*/ 94065 w 415300"/>
                    <a:gd name="connsiteY17" fmla="*/ 208099 h 393699"/>
                    <a:gd name="connsiteX18" fmla="*/ 9313 w 415300"/>
                    <a:gd name="connsiteY18" fmla="*/ 208099 h 393699"/>
                    <a:gd name="connsiteX19" fmla="*/ 10245 w 415300"/>
                    <a:gd name="connsiteY19" fmla="*/ 198725 h 393699"/>
                    <a:gd name="connsiteX20" fmla="*/ 59605 w 415300"/>
                    <a:gd name="connsiteY20" fmla="*/ 122797 h 393699"/>
                    <a:gd name="connsiteX21" fmla="*/ 74507 w 415300"/>
                    <a:gd name="connsiteY21" fmla="*/ 103112 h 393699"/>
                    <a:gd name="connsiteX22" fmla="*/ 143425 w 415300"/>
                    <a:gd name="connsiteY22" fmla="*/ 45932 h 393699"/>
                    <a:gd name="connsiteX23" fmla="*/ 149945 w 415300"/>
                    <a:gd name="connsiteY23" fmla="*/ 45932 h 393699"/>
                    <a:gd name="connsiteX24" fmla="*/ 152739 w 415300"/>
                    <a:gd name="connsiteY24" fmla="*/ 45932 h 393699"/>
                    <a:gd name="connsiteX25" fmla="*/ 173228 w 415300"/>
                    <a:gd name="connsiteY25" fmla="*/ 37495 h 393699"/>
                    <a:gd name="connsiteX26" fmla="*/ 237490 w 415300"/>
                    <a:gd name="connsiteY26" fmla="*/ 9374 h 393699"/>
                    <a:gd name="connsiteX27" fmla="*/ 237490 w 415300"/>
                    <a:gd name="connsiteY27" fmla="*/ 0 h 393699"/>
                    <a:gd name="connsiteX28" fmla="*/ 166709 w 415300"/>
                    <a:gd name="connsiteY28" fmla="*/ 30934 h 393699"/>
                    <a:gd name="connsiteX29" fmla="*/ 153670 w 415300"/>
                    <a:gd name="connsiteY29" fmla="*/ 36558 h 393699"/>
                    <a:gd name="connsiteX30" fmla="*/ 151807 w 415300"/>
                    <a:gd name="connsiteY30" fmla="*/ 36558 h 393699"/>
                    <a:gd name="connsiteX31" fmla="*/ 144357 w 415300"/>
                    <a:gd name="connsiteY31" fmla="*/ 36558 h 393699"/>
                    <a:gd name="connsiteX32" fmla="*/ 112691 w 415300"/>
                    <a:gd name="connsiteY32" fmla="*/ 43120 h 393699"/>
                    <a:gd name="connsiteX33" fmla="*/ 67056 w 415300"/>
                    <a:gd name="connsiteY33" fmla="*/ 101237 h 393699"/>
                    <a:gd name="connsiteX34" fmla="*/ 55880 w 415300"/>
                    <a:gd name="connsiteY34" fmla="*/ 114360 h 393699"/>
                    <a:gd name="connsiteX35" fmla="*/ 1863 w 415300"/>
                    <a:gd name="connsiteY35" fmla="*/ 197787 h 393699"/>
                    <a:gd name="connsiteX36" fmla="*/ 931 w 415300"/>
                    <a:gd name="connsiteY36" fmla="*/ 207161 h 393699"/>
                    <a:gd name="connsiteX37" fmla="*/ 0 w 415300"/>
                    <a:gd name="connsiteY37" fmla="*/ 217472 h 393699"/>
                    <a:gd name="connsiteX38" fmla="*/ 84751 w 415300"/>
                    <a:gd name="connsiteY38" fmla="*/ 217472 h 393699"/>
                    <a:gd name="connsiteX39" fmla="*/ 84751 w 415300"/>
                    <a:gd name="connsiteY39" fmla="*/ 351518 h 393699"/>
                    <a:gd name="connsiteX40" fmla="*/ 101515 w 415300"/>
                    <a:gd name="connsiteY40" fmla="*/ 375890 h 393699"/>
                    <a:gd name="connsiteX41" fmla="*/ 116417 w 415300"/>
                    <a:gd name="connsiteY41" fmla="*/ 382451 h 393699"/>
                    <a:gd name="connsiteX42" fmla="*/ 134112 w 415300"/>
                    <a:gd name="connsiteY42" fmla="*/ 387138 h 393699"/>
                    <a:gd name="connsiteX43" fmla="*/ 190923 w 415300"/>
                    <a:gd name="connsiteY43" fmla="*/ 393700 h 393699"/>
                    <a:gd name="connsiteX44" fmla="*/ 208619 w 415300"/>
                    <a:gd name="connsiteY44" fmla="*/ 393700 h 393699"/>
                    <a:gd name="connsiteX45" fmla="*/ 235627 w 415300"/>
                    <a:gd name="connsiteY45" fmla="*/ 392763 h 393699"/>
                    <a:gd name="connsiteX46" fmla="*/ 314791 w 415300"/>
                    <a:gd name="connsiteY46" fmla="*/ 374952 h 393699"/>
                    <a:gd name="connsiteX47" fmla="*/ 321310 w 415300"/>
                    <a:gd name="connsiteY47" fmla="*/ 370265 h 393699"/>
                    <a:gd name="connsiteX48" fmla="*/ 331555 w 415300"/>
                    <a:gd name="connsiteY48" fmla="*/ 350581 h 393699"/>
                    <a:gd name="connsiteX49" fmla="*/ 331555 w 415300"/>
                    <a:gd name="connsiteY49" fmla="*/ 217472 h 393699"/>
                    <a:gd name="connsiteX50" fmla="*/ 399542 w 415300"/>
                    <a:gd name="connsiteY50" fmla="*/ 217472 h 393699"/>
                    <a:gd name="connsiteX51" fmla="*/ 402336 w 415300"/>
                    <a:gd name="connsiteY51" fmla="*/ 212785 h 393699"/>
                    <a:gd name="connsiteX52" fmla="*/ 405130 w 415300"/>
                    <a:gd name="connsiteY52" fmla="*/ 208099 h 393699"/>
                    <a:gd name="connsiteX53" fmla="*/ 362289 w 415300"/>
                    <a:gd name="connsiteY53" fmla="*/ 74053 h 393699"/>
                    <a:gd name="connsiteX54" fmla="*/ 337143 w 415300"/>
                    <a:gd name="connsiteY54" fmla="*/ 64679 h 393699"/>
                    <a:gd name="connsiteX55" fmla="*/ 323173 w 415300"/>
                    <a:gd name="connsiteY55" fmla="*/ 54368 h 393699"/>
                    <a:gd name="connsiteX56" fmla="*/ 237490 w 415300"/>
                    <a:gd name="connsiteY56" fmla="*/ 0 h 39369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</a:cxnLst>
                  <a:rect l="l" t="t" r="r" b="b"/>
                  <a:pathLst>
                    <a:path w="415300" h="393699">
                      <a:moveTo>
                        <a:pt x="237490" y="9374"/>
                      </a:moveTo>
                      <a:cubicBezTo>
                        <a:pt x="270087" y="9374"/>
                        <a:pt x="300821" y="28121"/>
                        <a:pt x="315722" y="58118"/>
                      </a:cubicBezTo>
                      <a:cubicBezTo>
                        <a:pt x="319447" y="65617"/>
                        <a:pt x="326898" y="71241"/>
                        <a:pt x="335280" y="73116"/>
                      </a:cubicBezTo>
                      <a:cubicBezTo>
                        <a:pt x="345525" y="74990"/>
                        <a:pt x="354838" y="79677"/>
                        <a:pt x="363220" y="84364"/>
                      </a:cubicBezTo>
                      <a:cubicBezTo>
                        <a:pt x="403267" y="109674"/>
                        <a:pt x="416306" y="161230"/>
                        <a:pt x="394885" y="202474"/>
                      </a:cubicBezTo>
                      <a:lnTo>
                        <a:pt x="392091" y="207161"/>
                      </a:lnTo>
                      <a:lnTo>
                        <a:pt x="320379" y="207161"/>
                      </a:lnTo>
                      <a:lnTo>
                        <a:pt x="320379" y="350581"/>
                      </a:lnTo>
                      <a:cubicBezTo>
                        <a:pt x="320379" y="355267"/>
                        <a:pt x="317585" y="359954"/>
                        <a:pt x="313859" y="363704"/>
                      </a:cubicBezTo>
                      <a:cubicBezTo>
                        <a:pt x="311997" y="364641"/>
                        <a:pt x="311065" y="366516"/>
                        <a:pt x="309203" y="367453"/>
                      </a:cubicBezTo>
                      <a:cubicBezTo>
                        <a:pt x="292439" y="376827"/>
                        <a:pt x="261705" y="381514"/>
                        <a:pt x="233765" y="383389"/>
                      </a:cubicBezTo>
                      <a:cubicBezTo>
                        <a:pt x="224451" y="384326"/>
                        <a:pt x="215138" y="384326"/>
                        <a:pt x="207687" y="384326"/>
                      </a:cubicBezTo>
                      <a:lnTo>
                        <a:pt x="190923" y="384326"/>
                      </a:lnTo>
                      <a:cubicBezTo>
                        <a:pt x="172297" y="383389"/>
                        <a:pt x="153670" y="381514"/>
                        <a:pt x="135043" y="377765"/>
                      </a:cubicBezTo>
                      <a:cubicBezTo>
                        <a:pt x="129455" y="376827"/>
                        <a:pt x="123867" y="374952"/>
                        <a:pt x="119211" y="373078"/>
                      </a:cubicBezTo>
                      <a:cubicBezTo>
                        <a:pt x="114554" y="371203"/>
                        <a:pt x="109897" y="369328"/>
                        <a:pt x="106172" y="367453"/>
                      </a:cubicBezTo>
                      <a:cubicBezTo>
                        <a:pt x="99653" y="364641"/>
                        <a:pt x="94996" y="358080"/>
                        <a:pt x="94065" y="351518"/>
                      </a:cubicBezTo>
                      <a:lnTo>
                        <a:pt x="94065" y="208099"/>
                      </a:lnTo>
                      <a:lnTo>
                        <a:pt x="9313" y="208099"/>
                      </a:lnTo>
                      <a:lnTo>
                        <a:pt x="10245" y="198725"/>
                      </a:lnTo>
                      <a:cubicBezTo>
                        <a:pt x="13039" y="166854"/>
                        <a:pt x="31665" y="137795"/>
                        <a:pt x="59605" y="122797"/>
                      </a:cubicBezTo>
                      <a:cubicBezTo>
                        <a:pt x="67056" y="119047"/>
                        <a:pt x="73575" y="111548"/>
                        <a:pt x="74507" y="103112"/>
                      </a:cubicBezTo>
                      <a:cubicBezTo>
                        <a:pt x="81026" y="70304"/>
                        <a:pt x="109897" y="45932"/>
                        <a:pt x="143425" y="45932"/>
                      </a:cubicBezTo>
                      <a:cubicBezTo>
                        <a:pt x="145288" y="45932"/>
                        <a:pt x="148082" y="45932"/>
                        <a:pt x="149945" y="45932"/>
                      </a:cubicBezTo>
                      <a:lnTo>
                        <a:pt x="152739" y="45932"/>
                      </a:lnTo>
                      <a:cubicBezTo>
                        <a:pt x="160189" y="45932"/>
                        <a:pt x="167640" y="43120"/>
                        <a:pt x="173228" y="37495"/>
                      </a:cubicBezTo>
                      <a:cubicBezTo>
                        <a:pt x="189992" y="19685"/>
                        <a:pt x="213275" y="9374"/>
                        <a:pt x="237490" y="9374"/>
                      </a:cubicBezTo>
                      <a:moveTo>
                        <a:pt x="237490" y="0"/>
                      </a:moveTo>
                      <a:cubicBezTo>
                        <a:pt x="210481" y="0"/>
                        <a:pt x="185335" y="11249"/>
                        <a:pt x="166709" y="30934"/>
                      </a:cubicBezTo>
                      <a:cubicBezTo>
                        <a:pt x="162983" y="34683"/>
                        <a:pt x="158327" y="36558"/>
                        <a:pt x="153670" y="36558"/>
                      </a:cubicBezTo>
                      <a:lnTo>
                        <a:pt x="151807" y="36558"/>
                      </a:lnTo>
                      <a:cubicBezTo>
                        <a:pt x="149013" y="36558"/>
                        <a:pt x="147151" y="36558"/>
                        <a:pt x="144357" y="36558"/>
                      </a:cubicBezTo>
                      <a:cubicBezTo>
                        <a:pt x="133181" y="36558"/>
                        <a:pt x="122936" y="38433"/>
                        <a:pt x="112691" y="43120"/>
                      </a:cubicBezTo>
                      <a:cubicBezTo>
                        <a:pt x="88477" y="53431"/>
                        <a:pt x="71713" y="74990"/>
                        <a:pt x="67056" y="101237"/>
                      </a:cubicBezTo>
                      <a:cubicBezTo>
                        <a:pt x="65193" y="106861"/>
                        <a:pt x="61468" y="111548"/>
                        <a:pt x="55880" y="114360"/>
                      </a:cubicBezTo>
                      <a:cubicBezTo>
                        <a:pt x="24215" y="131233"/>
                        <a:pt x="3725" y="162167"/>
                        <a:pt x="1863" y="197787"/>
                      </a:cubicBezTo>
                      <a:lnTo>
                        <a:pt x="931" y="207161"/>
                      </a:lnTo>
                      <a:lnTo>
                        <a:pt x="0" y="217472"/>
                      </a:lnTo>
                      <a:lnTo>
                        <a:pt x="84751" y="217472"/>
                      </a:lnTo>
                      <a:lnTo>
                        <a:pt x="84751" y="351518"/>
                      </a:lnTo>
                      <a:cubicBezTo>
                        <a:pt x="85683" y="361829"/>
                        <a:pt x="91271" y="371203"/>
                        <a:pt x="101515" y="375890"/>
                      </a:cubicBezTo>
                      <a:cubicBezTo>
                        <a:pt x="106172" y="378702"/>
                        <a:pt x="110829" y="380577"/>
                        <a:pt x="116417" y="382451"/>
                      </a:cubicBezTo>
                      <a:cubicBezTo>
                        <a:pt x="122005" y="384326"/>
                        <a:pt x="127593" y="385264"/>
                        <a:pt x="134112" y="387138"/>
                      </a:cubicBezTo>
                      <a:cubicBezTo>
                        <a:pt x="152739" y="390888"/>
                        <a:pt x="172297" y="392763"/>
                        <a:pt x="190923" y="393700"/>
                      </a:cubicBezTo>
                      <a:cubicBezTo>
                        <a:pt x="196511" y="393700"/>
                        <a:pt x="203031" y="393700"/>
                        <a:pt x="208619" y="393700"/>
                      </a:cubicBezTo>
                      <a:cubicBezTo>
                        <a:pt x="217001" y="393700"/>
                        <a:pt x="226314" y="393700"/>
                        <a:pt x="235627" y="392763"/>
                      </a:cubicBezTo>
                      <a:cubicBezTo>
                        <a:pt x="260773" y="390888"/>
                        <a:pt x="296164" y="387138"/>
                        <a:pt x="314791" y="374952"/>
                      </a:cubicBezTo>
                      <a:cubicBezTo>
                        <a:pt x="316653" y="374015"/>
                        <a:pt x="319447" y="372140"/>
                        <a:pt x="321310" y="370265"/>
                      </a:cubicBezTo>
                      <a:cubicBezTo>
                        <a:pt x="327829" y="365579"/>
                        <a:pt x="331555" y="358080"/>
                        <a:pt x="331555" y="350581"/>
                      </a:cubicBezTo>
                      <a:lnTo>
                        <a:pt x="331555" y="217472"/>
                      </a:lnTo>
                      <a:lnTo>
                        <a:pt x="399542" y="217472"/>
                      </a:lnTo>
                      <a:lnTo>
                        <a:pt x="402336" y="212785"/>
                      </a:lnTo>
                      <a:lnTo>
                        <a:pt x="405130" y="208099"/>
                      </a:lnTo>
                      <a:cubicBezTo>
                        <a:pt x="428413" y="159355"/>
                        <a:pt x="410718" y="99362"/>
                        <a:pt x="362289" y="74053"/>
                      </a:cubicBezTo>
                      <a:cubicBezTo>
                        <a:pt x="354838" y="69366"/>
                        <a:pt x="345525" y="66554"/>
                        <a:pt x="337143" y="64679"/>
                      </a:cubicBezTo>
                      <a:cubicBezTo>
                        <a:pt x="331555" y="63742"/>
                        <a:pt x="325967" y="59055"/>
                        <a:pt x="323173" y="54368"/>
                      </a:cubicBezTo>
                      <a:cubicBezTo>
                        <a:pt x="307340" y="20622"/>
                        <a:pt x="273812" y="0"/>
                        <a:pt x="237490" y="0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931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sz="800"/>
                </a:p>
              </p:txBody>
            </p:sp>
            <p:sp>
              <p:nvSpPr>
                <p:cNvPr id="234" name="Freeform 13">
                  <a:extLst>
                    <a:ext uri="{FF2B5EF4-FFF2-40B4-BE49-F238E27FC236}">
                      <a16:creationId xmlns:a16="http://schemas.microsoft.com/office/drawing/2014/main" id="{04359900-87A3-4296-84D8-2E817A2C9CC3}"/>
                    </a:ext>
                  </a:extLst>
                </p:cNvPr>
                <p:cNvSpPr/>
                <p:nvPr/>
              </p:nvSpPr>
              <p:spPr>
                <a:xfrm>
                  <a:off x="7171459" y="2970480"/>
                  <a:ext cx="395230" cy="198724"/>
                </a:xfrm>
                <a:custGeom>
                  <a:avLst/>
                  <a:gdLst>
                    <a:gd name="connsiteX0" fmla="*/ 353907 w 395230"/>
                    <a:gd name="connsiteY0" fmla="*/ 75928 h 198724"/>
                    <a:gd name="connsiteX1" fmla="*/ 325967 w 395230"/>
                    <a:gd name="connsiteY1" fmla="*/ 64679 h 198724"/>
                    <a:gd name="connsiteX2" fmla="*/ 306409 w 395230"/>
                    <a:gd name="connsiteY2" fmla="*/ 48744 h 198724"/>
                    <a:gd name="connsiteX3" fmla="*/ 228177 w 395230"/>
                    <a:gd name="connsiteY3" fmla="*/ 0 h 198724"/>
                    <a:gd name="connsiteX4" fmla="*/ 163915 w 395230"/>
                    <a:gd name="connsiteY4" fmla="*/ 28121 h 198724"/>
                    <a:gd name="connsiteX5" fmla="*/ 140631 w 395230"/>
                    <a:gd name="connsiteY5" fmla="*/ 36558 h 198724"/>
                    <a:gd name="connsiteX6" fmla="*/ 65193 w 395230"/>
                    <a:gd name="connsiteY6" fmla="*/ 92801 h 198724"/>
                    <a:gd name="connsiteX7" fmla="*/ 50292 w 395230"/>
                    <a:gd name="connsiteY7" fmla="*/ 112486 h 198724"/>
                    <a:gd name="connsiteX8" fmla="*/ 931 w 395230"/>
                    <a:gd name="connsiteY8" fmla="*/ 189351 h 198724"/>
                    <a:gd name="connsiteX9" fmla="*/ 0 w 395230"/>
                    <a:gd name="connsiteY9" fmla="*/ 198725 h 198724"/>
                    <a:gd name="connsiteX10" fmla="*/ 74507 w 395230"/>
                    <a:gd name="connsiteY10" fmla="*/ 198725 h 198724"/>
                    <a:gd name="connsiteX11" fmla="*/ 74507 w 395230"/>
                    <a:gd name="connsiteY11" fmla="*/ 181852 h 198724"/>
                    <a:gd name="connsiteX12" fmla="*/ 18627 w 395230"/>
                    <a:gd name="connsiteY12" fmla="*/ 181852 h 198724"/>
                    <a:gd name="connsiteX13" fmla="*/ 57743 w 395230"/>
                    <a:gd name="connsiteY13" fmla="*/ 128421 h 198724"/>
                    <a:gd name="connsiteX14" fmla="*/ 81026 w 395230"/>
                    <a:gd name="connsiteY14" fmla="*/ 96550 h 198724"/>
                    <a:gd name="connsiteX15" fmla="*/ 137837 w 395230"/>
                    <a:gd name="connsiteY15" fmla="*/ 53431 h 198724"/>
                    <a:gd name="connsiteX16" fmla="*/ 175091 w 395230"/>
                    <a:gd name="connsiteY16" fmla="*/ 39370 h 198724"/>
                    <a:gd name="connsiteX17" fmla="*/ 273812 w 395230"/>
                    <a:gd name="connsiteY17" fmla="*/ 35620 h 198724"/>
                    <a:gd name="connsiteX18" fmla="*/ 288713 w 395230"/>
                    <a:gd name="connsiteY18" fmla="*/ 55305 h 198724"/>
                    <a:gd name="connsiteX19" fmla="*/ 320379 w 395230"/>
                    <a:gd name="connsiteY19" fmla="*/ 79677 h 198724"/>
                    <a:gd name="connsiteX20" fmla="*/ 343662 w 395230"/>
                    <a:gd name="connsiteY20" fmla="*/ 89051 h 198724"/>
                    <a:gd name="connsiteX21" fmla="*/ 370671 w 395230"/>
                    <a:gd name="connsiteY21" fmla="*/ 179977 h 198724"/>
                    <a:gd name="connsiteX22" fmla="*/ 318516 w 395230"/>
                    <a:gd name="connsiteY22" fmla="*/ 179977 h 198724"/>
                    <a:gd name="connsiteX23" fmla="*/ 318516 w 395230"/>
                    <a:gd name="connsiteY23" fmla="*/ 196850 h 198724"/>
                    <a:gd name="connsiteX24" fmla="*/ 380915 w 395230"/>
                    <a:gd name="connsiteY24" fmla="*/ 196850 h 198724"/>
                    <a:gd name="connsiteX25" fmla="*/ 383709 w 395230"/>
                    <a:gd name="connsiteY25" fmla="*/ 192163 h 198724"/>
                    <a:gd name="connsiteX26" fmla="*/ 353907 w 395230"/>
                    <a:gd name="connsiteY26" fmla="*/ 75928 h 19872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</a:cxnLst>
                  <a:rect l="l" t="t" r="r" b="b"/>
                  <a:pathLst>
                    <a:path w="395230" h="198724">
                      <a:moveTo>
                        <a:pt x="353907" y="75928"/>
                      </a:moveTo>
                      <a:cubicBezTo>
                        <a:pt x="345525" y="70304"/>
                        <a:pt x="336211" y="66554"/>
                        <a:pt x="325967" y="64679"/>
                      </a:cubicBezTo>
                      <a:cubicBezTo>
                        <a:pt x="317585" y="62805"/>
                        <a:pt x="310134" y="57180"/>
                        <a:pt x="306409" y="48744"/>
                      </a:cubicBezTo>
                      <a:cubicBezTo>
                        <a:pt x="291507" y="18748"/>
                        <a:pt x="260773" y="0"/>
                        <a:pt x="228177" y="0"/>
                      </a:cubicBezTo>
                      <a:cubicBezTo>
                        <a:pt x="203962" y="0"/>
                        <a:pt x="180679" y="10311"/>
                        <a:pt x="163915" y="28121"/>
                      </a:cubicBezTo>
                      <a:cubicBezTo>
                        <a:pt x="158327" y="34683"/>
                        <a:pt x="149013" y="37495"/>
                        <a:pt x="140631" y="36558"/>
                      </a:cubicBezTo>
                      <a:cubicBezTo>
                        <a:pt x="105241" y="32808"/>
                        <a:pt x="72644" y="57180"/>
                        <a:pt x="65193" y="92801"/>
                      </a:cubicBezTo>
                      <a:cubicBezTo>
                        <a:pt x="63331" y="101237"/>
                        <a:pt x="57743" y="108736"/>
                        <a:pt x="50292" y="112486"/>
                      </a:cubicBezTo>
                      <a:cubicBezTo>
                        <a:pt x="21421" y="127484"/>
                        <a:pt x="2794" y="156543"/>
                        <a:pt x="931" y="189351"/>
                      </a:cubicBezTo>
                      <a:lnTo>
                        <a:pt x="0" y="198725"/>
                      </a:lnTo>
                      <a:lnTo>
                        <a:pt x="74507" y="198725"/>
                      </a:lnTo>
                      <a:lnTo>
                        <a:pt x="74507" y="181852"/>
                      </a:lnTo>
                      <a:lnTo>
                        <a:pt x="18627" y="181852"/>
                      </a:lnTo>
                      <a:cubicBezTo>
                        <a:pt x="23283" y="159355"/>
                        <a:pt x="37253" y="139670"/>
                        <a:pt x="57743" y="128421"/>
                      </a:cubicBezTo>
                      <a:cubicBezTo>
                        <a:pt x="69850" y="121860"/>
                        <a:pt x="79163" y="110611"/>
                        <a:pt x="81026" y="96550"/>
                      </a:cubicBezTo>
                      <a:cubicBezTo>
                        <a:pt x="86614" y="69366"/>
                        <a:pt x="110829" y="50619"/>
                        <a:pt x="137837" y="53431"/>
                      </a:cubicBezTo>
                      <a:cubicBezTo>
                        <a:pt x="151807" y="55305"/>
                        <a:pt x="165777" y="49681"/>
                        <a:pt x="175091" y="39370"/>
                      </a:cubicBezTo>
                      <a:cubicBezTo>
                        <a:pt x="201168" y="11249"/>
                        <a:pt x="245872" y="9374"/>
                        <a:pt x="273812" y="35620"/>
                      </a:cubicBezTo>
                      <a:cubicBezTo>
                        <a:pt x="280331" y="41245"/>
                        <a:pt x="284988" y="47806"/>
                        <a:pt x="288713" y="55305"/>
                      </a:cubicBezTo>
                      <a:cubicBezTo>
                        <a:pt x="295233" y="67491"/>
                        <a:pt x="306409" y="76865"/>
                        <a:pt x="320379" y="79677"/>
                      </a:cubicBezTo>
                      <a:cubicBezTo>
                        <a:pt x="328761" y="81552"/>
                        <a:pt x="336211" y="84364"/>
                        <a:pt x="343662" y="89051"/>
                      </a:cubicBezTo>
                      <a:cubicBezTo>
                        <a:pt x="374396" y="108736"/>
                        <a:pt x="385572" y="147169"/>
                        <a:pt x="370671" y="179977"/>
                      </a:cubicBezTo>
                      <a:lnTo>
                        <a:pt x="318516" y="179977"/>
                      </a:lnTo>
                      <a:lnTo>
                        <a:pt x="318516" y="196850"/>
                      </a:lnTo>
                      <a:lnTo>
                        <a:pt x="380915" y="196850"/>
                      </a:lnTo>
                      <a:lnTo>
                        <a:pt x="383709" y="192163"/>
                      </a:lnTo>
                      <a:cubicBezTo>
                        <a:pt x="406993" y="152793"/>
                        <a:pt x="393954" y="100300"/>
                        <a:pt x="353907" y="75928"/>
                      </a:cubicBezTo>
                      <a:close/>
                    </a:path>
                  </a:pathLst>
                </a:custGeom>
                <a:solidFill>
                  <a:schemeClr val="tx1"/>
                </a:solidFill>
                <a:ln w="931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sz="800"/>
                </a:p>
              </p:txBody>
            </p:sp>
            <p:sp>
              <p:nvSpPr>
                <p:cNvPr id="235" name="Freeform 14">
                  <a:extLst>
                    <a:ext uri="{FF2B5EF4-FFF2-40B4-BE49-F238E27FC236}">
                      <a16:creationId xmlns:a16="http://schemas.microsoft.com/office/drawing/2014/main" id="{A59CFCC6-4B4F-4C27-92CC-024582C6C345}"/>
                    </a:ext>
                  </a:extLst>
                </p:cNvPr>
                <p:cNvSpPr/>
                <p:nvPr/>
              </p:nvSpPr>
              <p:spPr>
                <a:xfrm>
                  <a:off x="7256210" y="3089528"/>
                  <a:ext cx="226314" cy="254967"/>
                </a:xfrm>
                <a:custGeom>
                  <a:avLst/>
                  <a:gdLst>
                    <a:gd name="connsiteX0" fmla="*/ 226314 w 226314"/>
                    <a:gd name="connsiteY0" fmla="*/ 36558 h 254967"/>
                    <a:gd name="connsiteX1" fmla="*/ 226314 w 226314"/>
                    <a:gd name="connsiteY1" fmla="*/ 36558 h 254967"/>
                    <a:gd name="connsiteX2" fmla="*/ 226314 w 226314"/>
                    <a:gd name="connsiteY2" fmla="*/ 34683 h 254967"/>
                    <a:gd name="connsiteX3" fmla="*/ 219795 w 226314"/>
                    <a:gd name="connsiteY3" fmla="*/ 21560 h 254967"/>
                    <a:gd name="connsiteX4" fmla="*/ 215138 w 226314"/>
                    <a:gd name="connsiteY4" fmla="*/ 17810 h 254967"/>
                    <a:gd name="connsiteX5" fmla="*/ 139700 w 226314"/>
                    <a:gd name="connsiteY5" fmla="*/ 937 h 254967"/>
                    <a:gd name="connsiteX6" fmla="*/ 113623 w 226314"/>
                    <a:gd name="connsiteY6" fmla="*/ 0 h 254967"/>
                    <a:gd name="connsiteX7" fmla="*/ 96859 w 226314"/>
                    <a:gd name="connsiteY7" fmla="*/ 0 h 254967"/>
                    <a:gd name="connsiteX8" fmla="*/ 40979 w 226314"/>
                    <a:gd name="connsiteY8" fmla="*/ 6562 h 254967"/>
                    <a:gd name="connsiteX9" fmla="*/ 25146 w 226314"/>
                    <a:gd name="connsiteY9" fmla="*/ 11249 h 254967"/>
                    <a:gd name="connsiteX10" fmla="*/ 12107 w 226314"/>
                    <a:gd name="connsiteY10" fmla="*/ 16873 h 254967"/>
                    <a:gd name="connsiteX11" fmla="*/ 0 w 226314"/>
                    <a:gd name="connsiteY11" fmla="*/ 33746 h 254967"/>
                    <a:gd name="connsiteX12" fmla="*/ 0 w 226314"/>
                    <a:gd name="connsiteY12" fmla="*/ 34683 h 254967"/>
                    <a:gd name="connsiteX13" fmla="*/ 0 w 226314"/>
                    <a:gd name="connsiteY13" fmla="*/ 35620 h 254967"/>
                    <a:gd name="connsiteX14" fmla="*/ 0 w 226314"/>
                    <a:gd name="connsiteY14" fmla="*/ 222159 h 254967"/>
                    <a:gd name="connsiteX15" fmla="*/ 12107 w 226314"/>
                    <a:gd name="connsiteY15" fmla="*/ 238095 h 254967"/>
                    <a:gd name="connsiteX16" fmla="*/ 25146 w 226314"/>
                    <a:gd name="connsiteY16" fmla="*/ 243719 h 254967"/>
                    <a:gd name="connsiteX17" fmla="*/ 40979 w 226314"/>
                    <a:gd name="connsiteY17" fmla="*/ 248406 h 254967"/>
                    <a:gd name="connsiteX18" fmla="*/ 96859 w 226314"/>
                    <a:gd name="connsiteY18" fmla="*/ 254968 h 254967"/>
                    <a:gd name="connsiteX19" fmla="*/ 113623 w 226314"/>
                    <a:gd name="connsiteY19" fmla="*/ 254968 h 254967"/>
                    <a:gd name="connsiteX20" fmla="*/ 139700 w 226314"/>
                    <a:gd name="connsiteY20" fmla="*/ 254030 h 254967"/>
                    <a:gd name="connsiteX21" fmla="*/ 215138 w 226314"/>
                    <a:gd name="connsiteY21" fmla="*/ 238095 h 254967"/>
                    <a:gd name="connsiteX22" fmla="*/ 219795 w 226314"/>
                    <a:gd name="connsiteY22" fmla="*/ 234345 h 254967"/>
                    <a:gd name="connsiteX23" fmla="*/ 226314 w 226314"/>
                    <a:gd name="connsiteY23" fmla="*/ 221222 h 254967"/>
                    <a:gd name="connsiteX24" fmla="*/ 226314 w 226314"/>
                    <a:gd name="connsiteY24" fmla="*/ 36558 h 254967"/>
                    <a:gd name="connsiteX25" fmla="*/ 113623 w 226314"/>
                    <a:gd name="connsiteY25" fmla="*/ 15935 h 254967"/>
                    <a:gd name="connsiteX26" fmla="*/ 211413 w 226314"/>
                    <a:gd name="connsiteY26" fmla="*/ 34683 h 254967"/>
                    <a:gd name="connsiteX27" fmla="*/ 113623 w 226314"/>
                    <a:gd name="connsiteY27" fmla="*/ 53431 h 254967"/>
                    <a:gd name="connsiteX28" fmla="*/ 15833 w 226314"/>
                    <a:gd name="connsiteY28" fmla="*/ 34683 h 254967"/>
                    <a:gd name="connsiteX29" fmla="*/ 113623 w 226314"/>
                    <a:gd name="connsiteY29" fmla="*/ 15935 h 254967"/>
                    <a:gd name="connsiteX30" fmla="*/ 14901 w 226314"/>
                    <a:gd name="connsiteY30" fmla="*/ 53431 h 254967"/>
                    <a:gd name="connsiteX31" fmla="*/ 113623 w 226314"/>
                    <a:gd name="connsiteY31" fmla="*/ 68429 h 254967"/>
                    <a:gd name="connsiteX32" fmla="*/ 211413 w 226314"/>
                    <a:gd name="connsiteY32" fmla="*/ 53431 h 254967"/>
                    <a:gd name="connsiteX33" fmla="*/ 211413 w 226314"/>
                    <a:gd name="connsiteY33" fmla="*/ 98425 h 254967"/>
                    <a:gd name="connsiteX34" fmla="*/ 113623 w 226314"/>
                    <a:gd name="connsiteY34" fmla="*/ 116235 h 254967"/>
                    <a:gd name="connsiteX35" fmla="*/ 14901 w 226314"/>
                    <a:gd name="connsiteY35" fmla="*/ 98425 h 254967"/>
                    <a:gd name="connsiteX36" fmla="*/ 14901 w 226314"/>
                    <a:gd name="connsiteY36" fmla="*/ 53431 h 254967"/>
                    <a:gd name="connsiteX37" fmla="*/ 211413 w 226314"/>
                    <a:gd name="connsiteY37" fmla="*/ 117173 h 254967"/>
                    <a:gd name="connsiteX38" fmla="*/ 211413 w 226314"/>
                    <a:gd name="connsiteY38" fmla="*/ 160292 h 254967"/>
                    <a:gd name="connsiteX39" fmla="*/ 113623 w 226314"/>
                    <a:gd name="connsiteY39" fmla="*/ 178102 h 254967"/>
                    <a:gd name="connsiteX40" fmla="*/ 15833 w 226314"/>
                    <a:gd name="connsiteY40" fmla="*/ 159355 h 254967"/>
                    <a:gd name="connsiteX41" fmla="*/ 15833 w 226314"/>
                    <a:gd name="connsiteY41" fmla="*/ 116235 h 254967"/>
                    <a:gd name="connsiteX42" fmla="*/ 113623 w 226314"/>
                    <a:gd name="connsiteY42" fmla="*/ 131233 h 254967"/>
                    <a:gd name="connsiteX43" fmla="*/ 211413 w 226314"/>
                    <a:gd name="connsiteY43" fmla="*/ 117173 h 254967"/>
                    <a:gd name="connsiteX44" fmla="*/ 211413 w 226314"/>
                    <a:gd name="connsiteY44" fmla="*/ 117173 h 254967"/>
                    <a:gd name="connsiteX45" fmla="*/ 113623 w 226314"/>
                    <a:gd name="connsiteY45" fmla="*/ 240907 h 254967"/>
                    <a:gd name="connsiteX46" fmla="*/ 15833 w 226314"/>
                    <a:gd name="connsiteY46" fmla="*/ 223097 h 254967"/>
                    <a:gd name="connsiteX47" fmla="*/ 15833 w 226314"/>
                    <a:gd name="connsiteY47" fmla="*/ 179040 h 254967"/>
                    <a:gd name="connsiteX48" fmla="*/ 113623 w 226314"/>
                    <a:gd name="connsiteY48" fmla="*/ 194038 h 254967"/>
                    <a:gd name="connsiteX49" fmla="*/ 211413 w 226314"/>
                    <a:gd name="connsiteY49" fmla="*/ 179040 h 254967"/>
                    <a:gd name="connsiteX50" fmla="*/ 211413 w 226314"/>
                    <a:gd name="connsiteY50" fmla="*/ 223097 h 254967"/>
                    <a:gd name="connsiteX51" fmla="*/ 113623 w 226314"/>
                    <a:gd name="connsiteY51" fmla="*/ 240907 h 25496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</a:cxnLst>
                  <a:rect l="l" t="t" r="r" b="b"/>
                  <a:pathLst>
                    <a:path w="226314" h="254967">
                      <a:moveTo>
                        <a:pt x="226314" y="36558"/>
                      </a:moveTo>
                      <a:cubicBezTo>
                        <a:pt x="226314" y="36558"/>
                        <a:pt x="226314" y="35620"/>
                        <a:pt x="226314" y="36558"/>
                      </a:cubicBezTo>
                      <a:cubicBezTo>
                        <a:pt x="226314" y="35620"/>
                        <a:pt x="226314" y="34683"/>
                        <a:pt x="226314" y="34683"/>
                      </a:cubicBezTo>
                      <a:cubicBezTo>
                        <a:pt x="226314" y="29059"/>
                        <a:pt x="223520" y="24372"/>
                        <a:pt x="219795" y="21560"/>
                      </a:cubicBezTo>
                      <a:cubicBezTo>
                        <a:pt x="217932" y="20622"/>
                        <a:pt x="217001" y="18748"/>
                        <a:pt x="215138" y="17810"/>
                      </a:cubicBezTo>
                      <a:cubicBezTo>
                        <a:pt x="198374" y="7499"/>
                        <a:pt x="167640" y="2812"/>
                        <a:pt x="139700" y="937"/>
                      </a:cubicBezTo>
                      <a:cubicBezTo>
                        <a:pt x="130387" y="0"/>
                        <a:pt x="121073" y="0"/>
                        <a:pt x="113623" y="0"/>
                      </a:cubicBezTo>
                      <a:cubicBezTo>
                        <a:pt x="108035" y="0"/>
                        <a:pt x="102447" y="0"/>
                        <a:pt x="96859" y="0"/>
                      </a:cubicBezTo>
                      <a:cubicBezTo>
                        <a:pt x="78232" y="937"/>
                        <a:pt x="59605" y="2812"/>
                        <a:pt x="40979" y="6562"/>
                      </a:cubicBezTo>
                      <a:cubicBezTo>
                        <a:pt x="35391" y="7499"/>
                        <a:pt x="29803" y="9374"/>
                        <a:pt x="25146" y="11249"/>
                      </a:cubicBezTo>
                      <a:cubicBezTo>
                        <a:pt x="20489" y="13123"/>
                        <a:pt x="15833" y="14998"/>
                        <a:pt x="12107" y="16873"/>
                      </a:cubicBezTo>
                      <a:cubicBezTo>
                        <a:pt x="5588" y="19685"/>
                        <a:pt x="931" y="26247"/>
                        <a:pt x="0" y="33746"/>
                      </a:cubicBezTo>
                      <a:cubicBezTo>
                        <a:pt x="0" y="33746"/>
                        <a:pt x="0" y="34683"/>
                        <a:pt x="0" y="34683"/>
                      </a:cubicBezTo>
                      <a:cubicBezTo>
                        <a:pt x="0" y="34683"/>
                        <a:pt x="0" y="35620"/>
                        <a:pt x="0" y="35620"/>
                      </a:cubicBezTo>
                      <a:lnTo>
                        <a:pt x="0" y="222159"/>
                      </a:lnTo>
                      <a:cubicBezTo>
                        <a:pt x="931" y="229658"/>
                        <a:pt x="5588" y="235283"/>
                        <a:pt x="12107" y="238095"/>
                      </a:cubicBezTo>
                      <a:cubicBezTo>
                        <a:pt x="15833" y="240907"/>
                        <a:pt x="20489" y="242782"/>
                        <a:pt x="25146" y="243719"/>
                      </a:cubicBezTo>
                      <a:cubicBezTo>
                        <a:pt x="30734" y="245594"/>
                        <a:pt x="35391" y="246531"/>
                        <a:pt x="40979" y="248406"/>
                      </a:cubicBezTo>
                      <a:cubicBezTo>
                        <a:pt x="59605" y="252155"/>
                        <a:pt x="78232" y="254030"/>
                        <a:pt x="96859" y="254968"/>
                      </a:cubicBezTo>
                      <a:lnTo>
                        <a:pt x="113623" y="254968"/>
                      </a:lnTo>
                      <a:cubicBezTo>
                        <a:pt x="122005" y="254968"/>
                        <a:pt x="130387" y="254968"/>
                        <a:pt x="139700" y="254030"/>
                      </a:cubicBezTo>
                      <a:cubicBezTo>
                        <a:pt x="167640" y="252155"/>
                        <a:pt x="198374" y="247469"/>
                        <a:pt x="215138" y="238095"/>
                      </a:cubicBezTo>
                      <a:cubicBezTo>
                        <a:pt x="217001" y="237157"/>
                        <a:pt x="218863" y="236220"/>
                        <a:pt x="219795" y="234345"/>
                      </a:cubicBezTo>
                      <a:cubicBezTo>
                        <a:pt x="223520" y="231533"/>
                        <a:pt x="226314" y="226846"/>
                        <a:pt x="226314" y="221222"/>
                      </a:cubicBezTo>
                      <a:lnTo>
                        <a:pt x="226314" y="36558"/>
                      </a:lnTo>
                      <a:close/>
                      <a:moveTo>
                        <a:pt x="113623" y="15935"/>
                      </a:moveTo>
                      <a:cubicBezTo>
                        <a:pt x="173228" y="15935"/>
                        <a:pt x="208619" y="28121"/>
                        <a:pt x="211413" y="34683"/>
                      </a:cubicBezTo>
                      <a:cubicBezTo>
                        <a:pt x="208619" y="41245"/>
                        <a:pt x="173228" y="53431"/>
                        <a:pt x="113623" y="53431"/>
                      </a:cubicBezTo>
                      <a:cubicBezTo>
                        <a:pt x="54017" y="53431"/>
                        <a:pt x="18627" y="41245"/>
                        <a:pt x="15833" y="34683"/>
                      </a:cubicBezTo>
                      <a:cubicBezTo>
                        <a:pt x="18627" y="28121"/>
                        <a:pt x="54017" y="15935"/>
                        <a:pt x="113623" y="15935"/>
                      </a:cubicBezTo>
                      <a:close/>
                      <a:moveTo>
                        <a:pt x="14901" y="53431"/>
                      </a:moveTo>
                      <a:cubicBezTo>
                        <a:pt x="38185" y="64679"/>
                        <a:pt x="82889" y="68429"/>
                        <a:pt x="113623" y="68429"/>
                      </a:cubicBezTo>
                      <a:cubicBezTo>
                        <a:pt x="144357" y="68429"/>
                        <a:pt x="188129" y="64679"/>
                        <a:pt x="211413" y="53431"/>
                      </a:cubicBezTo>
                      <a:lnTo>
                        <a:pt x="211413" y="98425"/>
                      </a:lnTo>
                      <a:cubicBezTo>
                        <a:pt x="209550" y="102175"/>
                        <a:pt x="181610" y="116235"/>
                        <a:pt x="113623" y="116235"/>
                      </a:cubicBezTo>
                      <a:cubicBezTo>
                        <a:pt x="45635" y="116235"/>
                        <a:pt x="17695" y="103112"/>
                        <a:pt x="14901" y="98425"/>
                      </a:cubicBezTo>
                      <a:lnTo>
                        <a:pt x="14901" y="53431"/>
                      </a:lnTo>
                      <a:close/>
                      <a:moveTo>
                        <a:pt x="211413" y="117173"/>
                      </a:moveTo>
                      <a:lnTo>
                        <a:pt x="211413" y="160292"/>
                      </a:lnTo>
                      <a:cubicBezTo>
                        <a:pt x="209550" y="164979"/>
                        <a:pt x="181610" y="178102"/>
                        <a:pt x="113623" y="178102"/>
                      </a:cubicBezTo>
                      <a:cubicBezTo>
                        <a:pt x="45635" y="178102"/>
                        <a:pt x="17695" y="164042"/>
                        <a:pt x="15833" y="159355"/>
                      </a:cubicBezTo>
                      <a:lnTo>
                        <a:pt x="15833" y="116235"/>
                      </a:lnTo>
                      <a:cubicBezTo>
                        <a:pt x="39116" y="127484"/>
                        <a:pt x="83820" y="131233"/>
                        <a:pt x="113623" y="131233"/>
                      </a:cubicBezTo>
                      <a:cubicBezTo>
                        <a:pt x="143425" y="131233"/>
                        <a:pt x="188129" y="128421"/>
                        <a:pt x="211413" y="117173"/>
                      </a:cubicBezTo>
                      <a:lnTo>
                        <a:pt x="211413" y="117173"/>
                      </a:lnTo>
                      <a:close/>
                      <a:moveTo>
                        <a:pt x="113623" y="240907"/>
                      </a:moveTo>
                      <a:cubicBezTo>
                        <a:pt x="45635" y="240907"/>
                        <a:pt x="17695" y="226846"/>
                        <a:pt x="15833" y="223097"/>
                      </a:cubicBezTo>
                      <a:lnTo>
                        <a:pt x="15833" y="179040"/>
                      </a:lnTo>
                      <a:cubicBezTo>
                        <a:pt x="39116" y="190288"/>
                        <a:pt x="83820" y="194038"/>
                        <a:pt x="113623" y="194038"/>
                      </a:cubicBezTo>
                      <a:cubicBezTo>
                        <a:pt x="143425" y="194038"/>
                        <a:pt x="188129" y="190288"/>
                        <a:pt x="211413" y="179040"/>
                      </a:cubicBezTo>
                      <a:lnTo>
                        <a:pt x="211413" y="223097"/>
                      </a:lnTo>
                      <a:cubicBezTo>
                        <a:pt x="208619" y="226846"/>
                        <a:pt x="181610" y="240907"/>
                        <a:pt x="113623" y="240907"/>
                      </a:cubicBezTo>
                      <a:close/>
                    </a:path>
                  </a:pathLst>
                </a:custGeom>
                <a:solidFill>
                  <a:schemeClr val="tx1"/>
                </a:solidFill>
                <a:ln w="931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sz="800"/>
                </a:p>
              </p:txBody>
            </p:sp>
          </p:grpSp>
          <p:sp>
            <p:nvSpPr>
              <p:cNvPr id="231" name="TextBox 230">
                <a:extLst>
                  <a:ext uri="{FF2B5EF4-FFF2-40B4-BE49-F238E27FC236}">
                    <a16:creationId xmlns:a16="http://schemas.microsoft.com/office/drawing/2014/main" id="{AE792119-4727-443B-A74B-1C85C469C6D1}"/>
                  </a:ext>
                </a:extLst>
              </p:cNvPr>
              <p:cNvSpPr txBox="1"/>
              <p:nvPr/>
            </p:nvSpPr>
            <p:spPr>
              <a:xfrm>
                <a:off x="849300" y="3682734"/>
                <a:ext cx="819627" cy="461664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800" dirty="0"/>
                  <a:t>Enterprise Database Service</a:t>
                </a:r>
              </a:p>
            </p:txBody>
          </p:sp>
        </p:grpSp>
        <p:sp>
          <p:nvSpPr>
            <p:cNvPr id="246" name="Rectangle 245">
              <a:extLst>
                <a:ext uri="{FF2B5EF4-FFF2-40B4-BE49-F238E27FC236}">
                  <a16:creationId xmlns:a16="http://schemas.microsoft.com/office/drawing/2014/main" id="{7907A519-3E69-4469-82D7-07EFB8FEE167}"/>
                </a:ext>
              </a:extLst>
            </p:cNvPr>
            <p:cNvSpPr/>
            <p:nvPr/>
          </p:nvSpPr>
          <p:spPr>
            <a:xfrm>
              <a:off x="1723388" y="3855353"/>
              <a:ext cx="1463040" cy="9144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251" name="Group 250">
            <a:extLst>
              <a:ext uri="{FF2B5EF4-FFF2-40B4-BE49-F238E27FC236}">
                <a16:creationId xmlns:a16="http://schemas.microsoft.com/office/drawing/2014/main" id="{672D70A6-8109-484F-996B-9F748A0719EB}"/>
              </a:ext>
            </a:extLst>
          </p:cNvPr>
          <p:cNvGrpSpPr/>
          <p:nvPr/>
        </p:nvGrpSpPr>
        <p:grpSpPr>
          <a:xfrm>
            <a:off x="2082978" y="4791869"/>
            <a:ext cx="1463040" cy="914400"/>
            <a:chOff x="1723388" y="4774451"/>
            <a:chExt cx="1463040" cy="914400"/>
          </a:xfrm>
        </p:grpSpPr>
        <p:grpSp>
          <p:nvGrpSpPr>
            <p:cNvPr id="240" name="Group 239">
              <a:extLst>
                <a:ext uri="{FF2B5EF4-FFF2-40B4-BE49-F238E27FC236}">
                  <a16:creationId xmlns:a16="http://schemas.microsoft.com/office/drawing/2014/main" id="{7260D559-F1AF-43C6-A30C-F78045B0EAB3}"/>
                </a:ext>
              </a:extLst>
            </p:cNvPr>
            <p:cNvGrpSpPr/>
            <p:nvPr/>
          </p:nvGrpSpPr>
          <p:grpSpPr>
            <a:xfrm>
              <a:off x="1894885" y="4975456"/>
              <a:ext cx="1182586" cy="512391"/>
              <a:chOff x="476814" y="4675860"/>
              <a:chExt cx="1182586" cy="512391"/>
            </a:xfrm>
          </p:grpSpPr>
          <p:grpSp>
            <p:nvGrpSpPr>
              <p:cNvPr id="224" name="Graphic 70">
                <a:extLst>
                  <a:ext uri="{FF2B5EF4-FFF2-40B4-BE49-F238E27FC236}">
                    <a16:creationId xmlns:a16="http://schemas.microsoft.com/office/drawing/2014/main" id="{E520F4D6-15E8-4F30-9629-AFA71CF98109}"/>
                  </a:ext>
                </a:extLst>
              </p:cNvPr>
              <p:cNvGrpSpPr>
                <a:grpSpLocks noChangeAspect="1"/>
              </p:cNvGrpSpPr>
              <p:nvPr/>
            </p:nvGrpSpPr>
            <p:grpSpPr>
              <a:xfrm>
                <a:off x="476814" y="4675860"/>
                <a:ext cx="532401" cy="464723"/>
                <a:chOff x="7162146" y="2961107"/>
                <a:chExt cx="419100" cy="393700"/>
              </a:xfrm>
            </p:grpSpPr>
            <p:sp>
              <p:nvSpPr>
                <p:cNvPr id="226" name="Freeform 18">
                  <a:extLst>
                    <a:ext uri="{FF2B5EF4-FFF2-40B4-BE49-F238E27FC236}">
                      <a16:creationId xmlns:a16="http://schemas.microsoft.com/office/drawing/2014/main" id="{E0010E4F-56FB-46E0-AF61-B460889612CA}"/>
                    </a:ext>
                  </a:extLst>
                </p:cNvPr>
                <p:cNvSpPr/>
                <p:nvPr/>
              </p:nvSpPr>
              <p:spPr>
                <a:xfrm>
                  <a:off x="7167734" y="2965386"/>
                  <a:ext cx="404533" cy="384733"/>
                </a:xfrm>
                <a:custGeom>
                  <a:avLst/>
                  <a:gdLst>
                    <a:gd name="connsiteX0" fmla="*/ 202099 w 404533"/>
                    <a:gd name="connsiteY0" fmla="*/ 384734 h 384733"/>
                    <a:gd name="connsiteX1" fmla="*/ 185335 w 404533"/>
                    <a:gd name="connsiteY1" fmla="*/ 384734 h 384733"/>
                    <a:gd name="connsiteX2" fmla="*/ 128524 w 404533"/>
                    <a:gd name="connsiteY2" fmla="*/ 378172 h 384733"/>
                    <a:gd name="connsiteX3" fmla="*/ 111760 w 404533"/>
                    <a:gd name="connsiteY3" fmla="*/ 373485 h 384733"/>
                    <a:gd name="connsiteX4" fmla="*/ 97790 w 404533"/>
                    <a:gd name="connsiteY4" fmla="*/ 366923 h 384733"/>
                    <a:gd name="connsiteX5" fmla="*/ 83820 w 404533"/>
                    <a:gd name="connsiteY5" fmla="*/ 346301 h 384733"/>
                    <a:gd name="connsiteX6" fmla="*/ 83820 w 404533"/>
                    <a:gd name="connsiteY6" fmla="*/ 208506 h 384733"/>
                    <a:gd name="connsiteX7" fmla="*/ 0 w 404533"/>
                    <a:gd name="connsiteY7" fmla="*/ 208506 h 384733"/>
                    <a:gd name="connsiteX8" fmla="*/ 931 w 404533"/>
                    <a:gd name="connsiteY8" fmla="*/ 194445 h 384733"/>
                    <a:gd name="connsiteX9" fmla="*/ 53086 w 404533"/>
                    <a:gd name="connsiteY9" fmla="*/ 114768 h 384733"/>
                    <a:gd name="connsiteX10" fmla="*/ 65193 w 404533"/>
                    <a:gd name="connsiteY10" fmla="*/ 97895 h 384733"/>
                    <a:gd name="connsiteX11" fmla="*/ 108035 w 404533"/>
                    <a:gd name="connsiteY11" fmla="*/ 43527 h 384733"/>
                    <a:gd name="connsiteX12" fmla="*/ 137837 w 404533"/>
                    <a:gd name="connsiteY12" fmla="*/ 36965 h 384733"/>
                    <a:gd name="connsiteX13" fmla="*/ 145288 w 404533"/>
                    <a:gd name="connsiteY13" fmla="*/ 36965 h 384733"/>
                    <a:gd name="connsiteX14" fmla="*/ 148082 w 404533"/>
                    <a:gd name="connsiteY14" fmla="*/ 36965 h 384733"/>
                    <a:gd name="connsiteX15" fmla="*/ 164846 w 404533"/>
                    <a:gd name="connsiteY15" fmla="*/ 29466 h 384733"/>
                    <a:gd name="connsiteX16" fmla="*/ 294301 w 404533"/>
                    <a:gd name="connsiteY16" fmla="*/ 24779 h 384733"/>
                    <a:gd name="connsiteX17" fmla="*/ 313859 w 404533"/>
                    <a:gd name="connsiteY17" fmla="*/ 51026 h 384733"/>
                    <a:gd name="connsiteX18" fmla="*/ 330623 w 404533"/>
                    <a:gd name="connsiteY18" fmla="*/ 64149 h 384733"/>
                    <a:gd name="connsiteX19" fmla="*/ 402336 w 404533"/>
                    <a:gd name="connsiteY19" fmla="*/ 176635 h 384733"/>
                    <a:gd name="connsiteX20" fmla="*/ 393023 w 404533"/>
                    <a:gd name="connsiteY20" fmla="*/ 201007 h 384733"/>
                    <a:gd name="connsiteX21" fmla="*/ 389297 w 404533"/>
                    <a:gd name="connsiteY21" fmla="*/ 207569 h 384733"/>
                    <a:gd name="connsiteX22" fmla="*/ 319447 w 404533"/>
                    <a:gd name="connsiteY22" fmla="*/ 207569 h 384733"/>
                    <a:gd name="connsiteX23" fmla="*/ 319447 w 404533"/>
                    <a:gd name="connsiteY23" fmla="*/ 346301 h 384733"/>
                    <a:gd name="connsiteX24" fmla="*/ 311065 w 404533"/>
                    <a:gd name="connsiteY24" fmla="*/ 363174 h 384733"/>
                    <a:gd name="connsiteX25" fmla="*/ 305477 w 404533"/>
                    <a:gd name="connsiteY25" fmla="*/ 366923 h 384733"/>
                    <a:gd name="connsiteX26" fmla="*/ 228177 w 404533"/>
                    <a:gd name="connsiteY26" fmla="*/ 383796 h 384733"/>
                    <a:gd name="connsiteX27" fmla="*/ 202099 w 404533"/>
                    <a:gd name="connsiteY27" fmla="*/ 384734 h 3847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</a:cxnLst>
                  <a:rect l="l" t="t" r="r" b="b"/>
                  <a:pathLst>
                    <a:path w="404533" h="384733">
                      <a:moveTo>
                        <a:pt x="202099" y="384734"/>
                      </a:moveTo>
                      <a:lnTo>
                        <a:pt x="185335" y="384734"/>
                      </a:lnTo>
                      <a:cubicBezTo>
                        <a:pt x="166709" y="383796"/>
                        <a:pt x="147151" y="381922"/>
                        <a:pt x="128524" y="378172"/>
                      </a:cubicBezTo>
                      <a:cubicBezTo>
                        <a:pt x="122936" y="377235"/>
                        <a:pt x="117348" y="375360"/>
                        <a:pt x="111760" y="373485"/>
                      </a:cubicBezTo>
                      <a:cubicBezTo>
                        <a:pt x="107103" y="371610"/>
                        <a:pt x="102447" y="369736"/>
                        <a:pt x="97790" y="366923"/>
                      </a:cubicBezTo>
                      <a:cubicBezTo>
                        <a:pt x="89408" y="363174"/>
                        <a:pt x="84751" y="355675"/>
                        <a:pt x="83820" y="346301"/>
                      </a:cubicBezTo>
                      <a:lnTo>
                        <a:pt x="83820" y="208506"/>
                      </a:lnTo>
                      <a:lnTo>
                        <a:pt x="0" y="208506"/>
                      </a:lnTo>
                      <a:lnTo>
                        <a:pt x="931" y="194445"/>
                      </a:lnTo>
                      <a:cubicBezTo>
                        <a:pt x="3725" y="160700"/>
                        <a:pt x="23283" y="129766"/>
                        <a:pt x="53086" y="114768"/>
                      </a:cubicBezTo>
                      <a:cubicBezTo>
                        <a:pt x="59605" y="111018"/>
                        <a:pt x="64262" y="105394"/>
                        <a:pt x="65193" y="97895"/>
                      </a:cubicBezTo>
                      <a:cubicBezTo>
                        <a:pt x="69850" y="73523"/>
                        <a:pt x="85683" y="53838"/>
                        <a:pt x="108035" y="43527"/>
                      </a:cubicBezTo>
                      <a:cubicBezTo>
                        <a:pt x="117348" y="39777"/>
                        <a:pt x="127593" y="36965"/>
                        <a:pt x="137837" y="36965"/>
                      </a:cubicBezTo>
                      <a:cubicBezTo>
                        <a:pt x="139700" y="36965"/>
                        <a:pt x="142494" y="36965"/>
                        <a:pt x="145288" y="36965"/>
                      </a:cubicBezTo>
                      <a:lnTo>
                        <a:pt x="148082" y="36965"/>
                      </a:lnTo>
                      <a:cubicBezTo>
                        <a:pt x="154601" y="36965"/>
                        <a:pt x="160189" y="34153"/>
                        <a:pt x="164846" y="29466"/>
                      </a:cubicBezTo>
                      <a:cubicBezTo>
                        <a:pt x="199305" y="-8029"/>
                        <a:pt x="257048" y="-9904"/>
                        <a:pt x="294301" y="24779"/>
                      </a:cubicBezTo>
                      <a:cubicBezTo>
                        <a:pt x="302683" y="32278"/>
                        <a:pt x="309203" y="40715"/>
                        <a:pt x="313859" y="51026"/>
                      </a:cubicBezTo>
                      <a:cubicBezTo>
                        <a:pt x="317585" y="57588"/>
                        <a:pt x="323173" y="62275"/>
                        <a:pt x="330623" y="64149"/>
                      </a:cubicBezTo>
                      <a:cubicBezTo>
                        <a:pt x="380915" y="75398"/>
                        <a:pt x="413512" y="126016"/>
                        <a:pt x="402336" y="176635"/>
                      </a:cubicBezTo>
                      <a:cubicBezTo>
                        <a:pt x="400473" y="185071"/>
                        <a:pt x="397679" y="193508"/>
                        <a:pt x="393023" y="201007"/>
                      </a:cubicBezTo>
                      <a:lnTo>
                        <a:pt x="389297" y="207569"/>
                      </a:lnTo>
                      <a:lnTo>
                        <a:pt x="319447" y="207569"/>
                      </a:lnTo>
                      <a:lnTo>
                        <a:pt x="319447" y="346301"/>
                      </a:lnTo>
                      <a:cubicBezTo>
                        <a:pt x="319447" y="352863"/>
                        <a:pt x="315722" y="359424"/>
                        <a:pt x="311065" y="363174"/>
                      </a:cubicBezTo>
                      <a:cubicBezTo>
                        <a:pt x="309203" y="364111"/>
                        <a:pt x="307340" y="365986"/>
                        <a:pt x="305477" y="366923"/>
                      </a:cubicBezTo>
                      <a:cubicBezTo>
                        <a:pt x="285919" y="379109"/>
                        <a:pt x="248666" y="382859"/>
                        <a:pt x="228177" y="383796"/>
                      </a:cubicBezTo>
                      <a:cubicBezTo>
                        <a:pt x="218863" y="384734"/>
                        <a:pt x="210481" y="384734"/>
                        <a:pt x="202099" y="384734"/>
                      </a:cubicBezTo>
                      <a:close/>
                    </a:path>
                  </a:pathLst>
                </a:custGeom>
                <a:noFill/>
                <a:ln w="931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sz="800" dirty="0"/>
                </a:p>
              </p:txBody>
            </p:sp>
            <p:sp>
              <p:nvSpPr>
                <p:cNvPr id="227" name="Freeform 19">
                  <a:extLst>
                    <a:ext uri="{FF2B5EF4-FFF2-40B4-BE49-F238E27FC236}">
                      <a16:creationId xmlns:a16="http://schemas.microsoft.com/office/drawing/2014/main" id="{05D4AC7A-D9EB-4D2B-A8A5-A57E96C39E64}"/>
                    </a:ext>
                  </a:extLst>
                </p:cNvPr>
                <p:cNvSpPr/>
                <p:nvPr/>
              </p:nvSpPr>
              <p:spPr>
                <a:xfrm>
                  <a:off x="7162146" y="2961107"/>
                  <a:ext cx="415300" cy="393699"/>
                </a:xfrm>
                <a:custGeom>
                  <a:avLst/>
                  <a:gdLst>
                    <a:gd name="connsiteX0" fmla="*/ 237490 w 415300"/>
                    <a:gd name="connsiteY0" fmla="*/ 9374 h 393699"/>
                    <a:gd name="connsiteX1" fmla="*/ 315722 w 415300"/>
                    <a:gd name="connsiteY1" fmla="*/ 58118 h 393699"/>
                    <a:gd name="connsiteX2" fmla="*/ 335280 w 415300"/>
                    <a:gd name="connsiteY2" fmla="*/ 73116 h 393699"/>
                    <a:gd name="connsiteX3" fmla="*/ 363220 w 415300"/>
                    <a:gd name="connsiteY3" fmla="*/ 84364 h 393699"/>
                    <a:gd name="connsiteX4" fmla="*/ 394885 w 415300"/>
                    <a:gd name="connsiteY4" fmla="*/ 202474 h 393699"/>
                    <a:gd name="connsiteX5" fmla="*/ 392091 w 415300"/>
                    <a:gd name="connsiteY5" fmla="*/ 207161 h 393699"/>
                    <a:gd name="connsiteX6" fmla="*/ 320379 w 415300"/>
                    <a:gd name="connsiteY6" fmla="*/ 207161 h 393699"/>
                    <a:gd name="connsiteX7" fmla="*/ 320379 w 415300"/>
                    <a:gd name="connsiteY7" fmla="*/ 350581 h 393699"/>
                    <a:gd name="connsiteX8" fmla="*/ 313859 w 415300"/>
                    <a:gd name="connsiteY8" fmla="*/ 363704 h 393699"/>
                    <a:gd name="connsiteX9" fmla="*/ 309203 w 415300"/>
                    <a:gd name="connsiteY9" fmla="*/ 367453 h 393699"/>
                    <a:gd name="connsiteX10" fmla="*/ 233765 w 415300"/>
                    <a:gd name="connsiteY10" fmla="*/ 383389 h 393699"/>
                    <a:gd name="connsiteX11" fmla="*/ 207687 w 415300"/>
                    <a:gd name="connsiteY11" fmla="*/ 384326 h 393699"/>
                    <a:gd name="connsiteX12" fmla="*/ 190923 w 415300"/>
                    <a:gd name="connsiteY12" fmla="*/ 384326 h 393699"/>
                    <a:gd name="connsiteX13" fmla="*/ 135043 w 415300"/>
                    <a:gd name="connsiteY13" fmla="*/ 377765 h 393699"/>
                    <a:gd name="connsiteX14" fmla="*/ 119211 w 415300"/>
                    <a:gd name="connsiteY14" fmla="*/ 373078 h 393699"/>
                    <a:gd name="connsiteX15" fmla="*/ 106172 w 415300"/>
                    <a:gd name="connsiteY15" fmla="*/ 367453 h 393699"/>
                    <a:gd name="connsiteX16" fmla="*/ 94065 w 415300"/>
                    <a:gd name="connsiteY16" fmla="*/ 351518 h 393699"/>
                    <a:gd name="connsiteX17" fmla="*/ 94065 w 415300"/>
                    <a:gd name="connsiteY17" fmla="*/ 208099 h 393699"/>
                    <a:gd name="connsiteX18" fmla="*/ 9313 w 415300"/>
                    <a:gd name="connsiteY18" fmla="*/ 208099 h 393699"/>
                    <a:gd name="connsiteX19" fmla="*/ 10245 w 415300"/>
                    <a:gd name="connsiteY19" fmla="*/ 198725 h 393699"/>
                    <a:gd name="connsiteX20" fmla="*/ 59605 w 415300"/>
                    <a:gd name="connsiteY20" fmla="*/ 122797 h 393699"/>
                    <a:gd name="connsiteX21" fmla="*/ 74507 w 415300"/>
                    <a:gd name="connsiteY21" fmla="*/ 103112 h 393699"/>
                    <a:gd name="connsiteX22" fmla="*/ 143425 w 415300"/>
                    <a:gd name="connsiteY22" fmla="*/ 45932 h 393699"/>
                    <a:gd name="connsiteX23" fmla="*/ 149945 w 415300"/>
                    <a:gd name="connsiteY23" fmla="*/ 45932 h 393699"/>
                    <a:gd name="connsiteX24" fmla="*/ 152739 w 415300"/>
                    <a:gd name="connsiteY24" fmla="*/ 45932 h 393699"/>
                    <a:gd name="connsiteX25" fmla="*/ 173228 w 415300"/>
                    <a:gd name="connsiteY25" fmla="*/ 37495 h 393699"/>
                    <a:gd name="connsiteX26" fmla="*/ 237490 w 415300"/>
                    <a:gd name="connsiteY26" fmla="*/ 9374 h 393699"/>
                    <a:gd name="connsiteX27" fmla="*/ 237490 w 415300"/>
                    <a:gd name="connsiteY27" fmla="*/ 0 h 393699"/>
                    <a:gd name="connsiteX28" fmla="*/ 166709 w 415300"/>
                    <a:gd name="connsiteY28" fmla="*/ 30934 h 393699"/>
                    <a:gd name="connsiteX29" fmla="*/ 153670 w 415300"/>
                    <a:gd name="connsiteY29" fmla="*/ 36558 h 393699"/>
                    <a:gd name="connsiteX30" fmla="*/ 151807 w 415300"/>
                    <a:gd name="connsiteY30" fmla="*/ 36558 h 393699"/>
                    <a:gd name="connsiteX31" fmla="*/ 144357 w 415300"/>
                    <a:gd name="connsiteY31" fmla="*/ 36558 h 393699"/>
                    <a:gd name="connsiteX32" fmla="*/ 112691 w 415300"/>
                    <a:gd name="connsiteY32" fmla="*/ 43120 h 393699"/>
                    <a:gd name="connsiteX33" fmla="*/ 67056 w 415300"/>
                    <a:gd name="connsiteY33" fmla="*/ 101237 h 393699"/>
                    <a:gd name="connsiteX34" fmla="*/ 55880 w 415300"/>
                    <a:gd name="connsiteY34" fmla="*/ 114360 h 393699"/>
                    <a:gd name="connsiteX35" fmla="*/ 1863 w 415300"/>
                    <a:gd name="connsiteY35" fmla="*/ 197787 h 393699"/>
                    <a:gd name="connsiteX36" fmla="*/ 931 w 415300"/>
                    <a:gd name="connsiteY36" fmla="*/ 207161 h 393699"/>
                    <a:gd name="connsiteX37" fmla="*/ 0 w 415300"/>
                    <a:gd name="connsiteY37" fmla="*/ 217472 h 393699"/>
                    <a:gd name="connsiteX38" fmla="*/ 84751 w 415300"/>
                    <a:gd name="connsiteY38" fmla="*/ 217472 h 393699"/>
                    <a:gd name="connsiteX39" fmla="*/ 84751 w 415300"/>
                    <a:gd name="connsiteY39" fmla="*/ 351518 h 393699"/>
                    <a:gd name="connsiteX40" fmla="*/ 101515 w 415300"/>
                    <a:gd name="connsiteY40" fmla="*/ 375890 h 393699"/>
                    <a:gd name="connsiteX41" fmla="*/ 116417 w 415300"/>
                    <a:gd name="connsiteY41" fmla="*/ 382451 h 393699"/>
                    <a:gd name="connsiteX42" fmla="*/ 134112 w 415300"/>
                    <a:gd name="connsiteY42" fmla="*/ 387138 h 393699"/>
                    <a:gd name="connsiteX43" fmla="*/ 190923 w 415300"/>
                    <a:gd name="connsiteY43" fmla="*/ 393700 h 393699"/>
                    <a:gd name="connsiteX44" fmla="*/ 208619 w 415300"/>
                    <a:gd name="connsiteY44" fmla="*/ 393700 h 393699"/>
                    <a:gd name="connsiteX45" fmla="*/ 235627 w 415300"/>
                    <a:gd name="connsiteY45" fmla="*/ 392763 h 393699"/>
                    <a:gd name="connsiteX46" fmla="*/ 314791 w 415300"/>
                    <a:gd name="connsiteY46" fmla="*/ 374952 h 393699"/>
                    <a:gd name="connsiteX47" fmla="*/ 321310 w 415300"/>
                    <a:gd name="connsiteY47" fmla="*/ 370265 h 393699"/>
                    <a:gd name="connsiteX48" fmla="*/ 331555 w 415300"/>
                    <a:gd name="connsiteY48" fmla="*/ 350581 h 393699"/>
                    <a:gd name="connsiteX49" fmla="*/ 331555 w 415300"/>
                    <a:gd name="connsiteY49" fmla="*/ 217472 h 393699"/>
                    <a:gd name="connsiteX50" fmla="*/ 399542 w 415300"/>
                    <a:gd name="connsiteY50" fmla="*/ 217472 h 393699"/>
                    <a:gd name="connsiteX51" fmla="*/ 402336 w 415300"/>
                    <a:gd name="connsiteY51" fmla="*/ 212785 h 393699"/>
                    <a:gd name="connsiteX52" fmla="*/ 405130 w 415300"/>
                    <a:gd name="connsiteY52" fmla="*/ 208099 h 393699"/>
                    <a:gd name="connsiteX53" fmla="*/ 362289 w 415300"/>
                    <a:gd name="connsiteY53" fmla="*/ 74053 h 393699"/>
                    <a:gd name="connsiteX54" fmla="*/ 337143 w 415300"/>
                    <a:gd name="connsiteY54" fmla="*/ 64679 h 393699"/>
                    <a:gd name="connsiteX55" fmla="*/ 323173 w 415300"/>
                    <a:gd name="connsiteY55" fmla="*/ 54368 h 393699"/>
                    <a:gd name="connsiteX56" fmla="*/ 237490 w 415300"/>
                    <a:gd name="connsiteY56" fmla="*/ 0 h 39369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</a:cxnLst>
                  <a:rect l="l" t="t" r="r" b="b"/>
                  <a:pathLst>
                    <a:path w="415300" h="393699">
                      <a:moveTo>
                        <a:pt x="237490" y="9374"/>
                      </a:moveTo>
                      <a:cubicBezTo>
                        <a:pt x="270087" y="9374"/>
                        <a:pt x="300821" y="28121"/>
                        <a:pt x="315722" y="58118"/>
                      </a:cubicBezTo>
                      <a:cubicBezTo>
                        <a:pt x="319447" y="65617"/>
                        <a:pt x="326898" y="71241"/>
                        <a:pt x="335280" y="73116"/>
                      </a:cubicBezTo>
                      <a:cubicBezTo>
                        <a:pt x="345525" y="74990"/>
                        <a:pt x="354838" y="79677"/>
                        <a:pt x="363220" y="84364"/>
                      </a:cubicBezTo>
                      <a:cubicBezTo>
                        <a:pt x="403267" y="109674"/>
                        <a:pt x="416306" y="161230"/>
                        <a:pt x="394885" y="202474"/>
                      </a:cubicBezTo>
                      <a:lnTo>
                        <a:pt x="392091" y="207161"/>
                      </a:lnTo>
                      <a:lnTo>
                        <a:pt x="320379" y="207161"/>
                      </a:lnTo>
                      <a:lnTo>
                        <a:pt x="320379" y="350581"/>
                      </a:lnTo>
                      <a:cubicBezTo>
                        <a:pt x="320379" y="355267"/>
                        <a:pt x="317585" y="359954"/>
                        <a:pt x="313859" y="363704"/>
                      </a:cubicBezTo>
                      <a:cubicBezTo>
                        <a:pt x="311997" y="364641"/>
                        <a:pt x="311065" y="366516"/>
                        <a:pt x="309203" y="367453"/>
                      </a:cubicBezTo>
                      <a:cubicBezTo>
                        <a:pt x="292439" y="376827"/>
                        <a:pt x="261705" y="381514"/>
                        <a:pt x="233765" y="383389"/>
                      </a:cubicBezTo>
                      <a:cubicBezTo>
                        <a:pt x="224451" y="384326"/>
                        <a:pt x="215138" y="384326"/>
                        <a:pt x="207687" y="384326"/>
                      </a:cubicBezTo>
                      <a:lnTo>
                        <a:pt x="190923" y="384326"/>
                      </a:lnTo>
                      <a:cubicBezTo>
                        <a:pt x="172297" y="383389"/>
                        <a:pt x="153670" y="381514"/>
                        <a:pt x="135043" y="377765"/>
                      </a:cubicBezTo>
                      <a:cubicBezTo>
                        <a:pt x="129455" y="376827"/>
                        <a:pt x="123867" y="374952"/>
                        <a:pt x="119211" y="373078"/>
                      </a:cubicBezTo>
                      <a:cubicBezTo>
                        <a:pt x="114554" y="371203"/>
                        <a:pt x="109897" y="369328"/>
                        <a:pt x="106172" y="367453"/>
                      </a:cubicBezTo>
                      <a:cubicBezTo>
                        <a:pt x="99653" y="364641"/>
                        <a:pt x="94996" y="358080"/>
                        <a:pt x="94065" y="351518"/>
                      </a:cubicBezTo>
                      <a:lnTo>
                        <a:pt x="94065" y="208099"/>
                      </a:lnTo>
                      <a:lnTo>
                        <a:pt x="9313" y="208099"/>
                      </a:lnTo>
                      <a:lnTo>
                        <a:pt x="10245" y="198725"/>
                      </a:lnTo>
                      <a:cubicBezTo>
                        <a:pt x="13039" y="166854"/>
                        <a:pt x="31665" y="137795"/>
                        <a:pt x="59605" y="122797"/>
                      </a:cubicBezTo>
                      <a:cubicBezTo>
                        <a:pt x="67056" y="119047"/>
                        <a:pt x="73575" y="111548"/>
                        <a:pt x="74507" y="103112"/>
                      </a:cubicBezTo>
                      <a:cubicBezTo>
                        <a:pt x="81026" y="70304"/>
                        <a:pt x="109897" y="45932"/>
                        <a:pt x="143425" y="45932"/>
                      </a:cubicBezTo>
                      <a:cubicBezTo>
                        <a:pt x="145288" y="45932"/>
                        <a:pt x="148082" y="45932"/>
                        <a:pt x="149945" y="45932"/>
                      </a:cubicBezTo>
                      <a:lnTo>
                        <a:pt x="152739" y="45932"/>
                      </a:lnTo>
                      <a:cubicBezTo>
                        <a:pt x="160189" y="45932"/>
                        <a:pt x="167640" y="43120"/>
                        <a:pt x="173228" y="37495"/>
                      </a:cubicBezTo>
                      <a:cubicBezTo>
                        <a:pt x="189992" y="19685"/>
                        <a:pt x="213275" y="9374"/>
                        <a:pt x="237490" y="9374"/>
                      </a:cubicBezTo>
                      <a:moveTo>
                        <a:pt x="237490" y="0"/>
                      </a:moveTo>
                      <a:cubicBezTo>
                        <a:pt x="210481" y="0"/>
                        <a:pt x="185335" y="11249"/>
                        <a:pt x="166709" y="30934"/>
                      </a:cubicBezTo>
                      <a:cubicBezTo>
                        <a:pt x="162983" y="34683"/>
                        <a:pt x="158327" y="36558"/>
                        <a:pt x="153670" y="36558"/>
                      </a:cubicBezTo>
                      <a:lnTo>
                        <a:pt x="151807" y="36558"/>
                      </a:lnTo>
                      <a:cubicBezTo>
                        <a:pt x="149013" y="36558"/>
                        <a:pt x="147151" y="36558"/>
                        <a:pt x="144357" y="36558"/>
                      </a:cubicBezTo>
                      <a:cubicBezTo>
                        <a:pt x="133181" y="36558"/>
                        <a:pt x="122936" y="38433"/>
                        <a:pt x="112691" y="43120"/>
                      </a:cubicBezTo>
                      <a:cubicBezTo>
                        <a:pt x="88477" y="53431"/>
                        <a:pt x="71713" y="74990"/>
                        <a:pt x="67056" y="101237"/>
                      </a:cubicBezTo>
                      <a:cubicBezTo>
                        <a:pt x="65193" y="106861"/>
                        <a:pt x="61468" y="111548"/>
                        <a:pt x="55880" y="114360"/>
                      </a:cubicBezTo>
                      <a:cubicBezTo>
                        <a:pt x="24215" y="131233"/>
                        <a:pt x="3725" y="162167"/>
                        <a:pt x="1863" y="197787"/>
                      </a:cubicBezTo>
                      <a:lnTo>
                        <a:pt x="931" y="207161"/>
                      </a:lnTo>
                      <a:lnTo>
                        <a:pt x="0" y="217472"/>
                      </a:lnTo>
                      <a:lnTo>
                        <a:pt x="84751" y="217472"/>
                      </a:lnTo>
                      <a:lnTo>
                        <a:pt x="84751" y="351518"/>
                      </a:lnTo>
                      <a:cubicBezTo>
                        <a:pt x="85683" y="361829"/>
                        <a:pt x="91271" y="371203"/>
                        <a:pt x="101515" y="375890"/>
                      </a:cubicBezTo>
                      <a:cubicBezTo>
                        <a:pt x="106172" y="378702"/>
                        <a:pt x="110829" y="380577"/>
                        <a:pt x="116417" y="382451"/>
                      </a:cubicBezTo>
                      <a:cubicBezTo>
                        <a:pt x="122005" y="384326"/>
                        <a:pt x="127593" y="385264"/>
                        <a:pt x="134112" y="387138"/>
                      </a:cubicBezTo>
                      <a:cubicBezTo>
                        <a:pt x="152739" y="390888"/>
                        <a:pt x="172297" y="392763"/>
                        <a:pt x="190923" y="393700"/>
                      </a:cubicBezTo>
                      <a:cubicBezTo>
                        <a:pt x="196511" y="393700"/>
                        <a:pt x="203031" y="393700"/>
                        <a:pt x="208619" y="393700"/>
                      </a:cubicBezTo>
                      <a:cubicBezTo>
                        <a:pt x="217001" y="393700"/>
                        <a:pt x="226314" y="393700"/>
                        <a:pt x="235627" y="392763"/>
                      </a:cubicBezTo>
                      <a:cubicBezTo>
                        <a:pt x="260773" y="390888"/>
                        <a:pt x="296164" y="387138"/>
                        <a:pt x="314791" y="374952"/>
                      </a:cubicBezTo>
                      <a:cubicBezTo>
                        <a:pt x="316653" y="374015"/>
                        <a:pt x="319447" y="372140"/>
                        <a:pt x="321310" y="370265"/>
                      </a:cubicBezTo>
                      <a:cubicBezTo>
                        <a:pt x="327829" y="365579"/>
                        <a:pt x="331555" y="358080"/>
                        <a:pt x="331555" y="350581"/>
                      </a:cubicBezTo>
                      <a:lnTo>
                        <a:pt x="331555" y="217472"/>
                      </a:lnTo>
                      <a:lnTo>
                        <a:pt x="399542" y="217472"/>
                      </a:lnTo>
                      <a:lnTo>
                        <a:pt x="402336" y="212785"/>
                      </a:lnTo>
                      <a:lnTo>
                        <a:pt x="405130" y="208099"/>
                      </a:lnTo>
                      <a:cubicBezTo>
                        <a:pt x="428413" y="159355"/>
                        <a:pt x="410718" y="99362"/>
                        <a:pt x="362289" y="74053"/>
                      </a:cubicBezTo>
                      <a:cubicBezTo>
                        <a:pt x="354838" y="69366"/>
                        <a:pt x="345525" y="66554"/>
                        <a:pt x="337143" y="64679"/>
                      </a:cubicBezTo>
                      <a:cubicBezTo>
                        <a:pt x="331555" y="63742"/>
                        <a:pt x="325967" y="59055"/>
                        <a:pt x="323173" y="54368"/>
                      </a:cubicBezTo>
                      <a:cubicBezTo>
                        <a:pt x="307340" y="20622"/>
                        <a:pt x="273812" y="0"/>
                        <a:pt x="237490" y="0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931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sz="800"/>
                </a:p>
              </p:txBody>
            </p:sp>
            <p:sp>
              <p:nvSpPr>
                <p:cNvPr id="228" name="Freeform 20">
                  <a:extLst>
                    <a:ext uri="{FF2B5EF4-FFF2-40B4-BE49-F238E27FC236}">
                      <a16:creationId xmlns:a16="http://schemas.microsoft.com/office/drawing/2014/main" id="{0DB9D6A4-2C78-441A-8DD5-8557893419E8}"/>
                    </a:ext>
                  </a:extLst>
                </p:cNvPr>
                <p:cNvSpPr/>
                <p:nvPr/>
              </p:nvSpPr>
              <p:spPr>
                <a:xfrm>
                  <a:off x="7171459" y="2970480"/>
                  <a:ext cx="395230" cy="198724"/>
                </a:xfrm>
                <a:custGeom>
                  <a:avLst/>
                  <a:gdLst>
                    <a:gd name="connsiteX0" fmla="*/ 353907 w 395230"/>
                    <a:gd name="connsiteY0" fmla="*/ 75928 h 198724"/>
                    <a:gd name="connsiteX1" fmla="*/ 325967 w 395230"/>
                    <a:gd name="connsiteY1" fmla="*/ 64679 h 198724"/>
                    <a:gd name="connsiteX2" fmla="*/ 306409 w 395230"/>
                    <a:gd name="connsiteY2" fmla="*/ 48744 h 198724"/>
                    <a:gd name="connsiteX3" fmla="*/ 228177 w 395230"/>
                    <a:gd name="connsiteY3" fmla="*/ 0 h 198724"/>
                    <a:gd name="connsiteX4" fmla="*/ 163915 w 395230"/>
                    <a:gd name="connsiteY4" fmla="*/ 28121 h 198724"/>
                    <a:gd name="connsiteX5" fmla="*/ 140631 w 395230"/>
                    <a:gd name="connsiteY5" fmla="*/ 36558 h 198724"/>
                    <a:gd name="connsiteX6" fmla="*/ 65193 w 395230"/>
                    <a:gd name="connsiteY6" fmla="*/ 92801 h 198724"/>
                    <a:gd name="connsiteX7" fmla="*/ 50292 w 395230"/>
                    <a:gd name="connsiteY7" fmla="*/ 112486 h 198724"/>
                    <a:gd name="connsiteX8" fmla="*/ 931 w 395230"/>
                    <a:gd name="connsiteY8" fmla="*/ 189351 h 198724"/>
                    <a:gd name="connsiteX9" fmla="*/ 0 w 395230"/>
                    <a:gd name="connsiteY9" fmla="*/ 198725 h 198724"/>
                    <a:gd name="connsiteX10" fmla="*/ 74507 w 395230"/>
                    <a:gd name="connsiteY10" fmla="*/ 198725 h 198724"/>
                    <a:gd name="connsiteX11" fmla="*/ 74507 w 395230"/>
                    <a:gd name="connsiteY11" fmla="*/ 181852 h 198724"/>
                    <a:gd name="connsiteX12" fmla="*/ 18627 w 395230"/>
                    <a:gd name="connsiteY12" fmla="*/ 181852 h 198724"/>
                    <a:gd name="connsiteX13" fmla="*/ 57743 w 395230"/>
                    <a:gd name="connsiteY13" fmla="*/ 128421 h 198724"/>
                    <a:gd name="connsiteX14" fmla="*/ 81026 w 395230"/>
                    <a:gd name="connsiteY14" fmla="*/ 96550 h 198724"/>
                    <a:gd name="connsiteX15" fmla="*/ 137837 w 395230"/>
                    <a:gd name="connsiteY15" fmla="*/ 53431 h 198724"/>
                    <a:gd name="connsiteX16" fmla="*/ 175091 w 395230"/>
                    <a:gd name="connsiteY16" fmla="*/ 39370 h 198724"/>
                    <a:gd name="connsiteX17" fmla="*/ 273812 w 395230"/>
                    <a:gd name="connsiteY17" fmla="*/ 35620 h 198724"/>
                    <a:gd name="connsiteX18" fmla="*/ 288713 w 395230"/>
                    <a:gd name="connsiteY18" fmla="*/ 55305 h 198724"/>
                    <a:gd name="connsiteX19" fmla="*/ 320379 w 395230"/>
                    <a:gd name="connsiteY19" fmla="*/ 79677 h 198724"/>
                    <a:gd name="connsiteX20" fmla="*/ 343662 w 395230"/>
                    <a:gd name="connsiteY20" fmla="*/ 89051 h 198724"/>
                    <a:gd name="connsiteX21" fmla="*/ 370671 w 395230"/>
                    <a:gd name="connsiteY21" fmla="*/ 179977 h 198724"/>
                    <a:gd name="connsiteX22" fmla="*/ 318516 w 395230"/>
                    <a:gd name="connsiteY22" fmla="*/ 179977 h 198724"/>
                    <a:gd name="connsiteX23" fmla="*/ 318516 w 395230"/>
                    <a:gd name="connsiteY23" fmla="*/ 196850 h 198724"/>
                    <a:gd name="connsiteX24" fmla="*/ 380915 w 395230"/>
                    <a:gd name="connsiteY24" fmla="*/ 196850 h 198724"/>
                    <a:gd name="connsiteX25" fmla="*/ 383709 w 395230"/>
                    <a:gd name="connsiteY25" fmla="*/ 192163 h 198724"/>
                    <a:gd name="connsiteX26" fmla="*/ 353907 w 395230"/>
                    <a:gd name="connsiteY26" fmla="*/ 75928 h 19872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</a:cxnLst>
                  <a:rect l="l" t="t" r="r" b="b"/>
                  <a:pathLst>
                    <a:path w="395230" h="198724">
                      <a:moveTo>
                        <a:pt x="353907" y="75928"/>
                      </a:moveTo>
                      <a:cubicBezTo>
                        <a:pt x="345525" y="70304"/>
                        <a:pt x="336211" y="66554"/>
                        <a:pt x="325967" y="64679"/>
                      </a:cubicBezTo>
                      <a:cubicBezTo>
                        <a:pt x="317585" y="62805"/>
                        <a:pt x="310134" y="57180"/>
                        <a:pt x="306409" y="48744"/>
                      </a:cubicBezTo>
                      <a:cubicBezTo>
                        <a:pt x="291507" y="18748"/>
                        <a:pt x="260773" y="0"/>
                        <a:pt x="228177" y="0"/>
                      </a:cubicBezTo>
                      <a:cubicBezTo>
                        <a:pt x="203962" y="0"/>
                        <a:pt x="180679" y="10311"/>
                        <a:pt x="163915" y="28121"/>
                      </a:cubicBezTo>
                      <a:cubicBezTo>
                        <a:pt x="158327" y="34683"/>
                        <a:pt x="149013" y="37495"/>
                        <a:pt x="140631" y="36558"/>
                      </a:cubicBezTo>
                      <a:cubicBezTo>
                        <a:pt x="105241" y="32808"/>
                        <a:pt x="72644" y="57180"/>
                        <a:pt x="65193" y="92801"/>
                      </a:cubicBezTo>
                      <a:cubicBezTo>
                        <a:pt x="63331" y="101237"/>
                        <a:pt x="57743" y="108736"/>
                        <a:pt x="50292" y="112486"/>
                      </a:cubicBezTo>
                      <a:cubicBezTo>
                        <a:pt x="21421" y="127484"/>
                        <a:pt x="2794" y="156543"/>
                        <a:pt x="931" y="189351"/>
                      </a:cubicBezTo>
                      <a:lnTo>
                        <a:pt x="0" y="198725"/>
                      </a:lnTo>
                      <a:lnTo>
                        <a:pt x="74507" y="198725"/>
                      </a:lnTo>
                      <a:lnTo>
                        <a:pt x="74507" y="181852"/>
                      </a:lnTo>
                      <a:lnTo>
                        <a:pt x="18627" y="181852"/>
                      </a:lnTo>
                      <a:cubicBezTo>
                        <a:pt x="23283" y="159355"/>
                        <a:pt x="37253" y="139670"/>
                        <a:pt x="57743" y="128421"/>
                      </a:cubicBezTo>
                      <a:cubicBezTo>
                        <a:pt x="69850" y="121860"/>
                        <a:pt x="79163" y="110611"/>
                        <a:pt x="81026" y="96550"/>
                      </a:cubicBezTo>
                      <a:cubicBezTo>
                        <a:pt x="86614" y="69366"/>
                        <a:pt x="110829" y="50619"/>
                        <a:pt x="137837" y="53431"/>
                      </a:cubicBezTo>
                      <a:cubicBezTo>
                        <a:pt x="151807" y="55305"/>
                        <a:pt x="165777" y="49681"/>
                        <a:pt x="175091" y="39370"/>
                      </a:cubicBezTo>
                      <a:cubicBezTo>
                        <a:pt x="201168" y="11249"/>
                        <a:pt x="245872" y="9374"/>
                        <a:pt x="273812" y="35620"/>
                      </a:cubicBezTo>
                      <a:cubicBezTo>
                        <a:pt x="280331" y="41245"/>
                        <a:pt x="284988" y="47806"/>
                        <a:pt x="288713" y="55305"/>
                      </a:cubicBezTo>
                      <a:cubicBezTo>
                        <a:pt x="295233" y="67491"/>
                        <a:pt x="306409" y="76865"/>
                        <a:pt x="320379" y="79677"/>
                      </a:cubicBezTo>
                      <a:cubicBezTo>
                        <a:pt x="328761" y="81552"/>
                        <a:pt x="336211" y="84364"/>
                        <a:pt x="343662" y="89051"/>
                      </a:cubicBezTo>
                      <a:cubicBezTo>
                        <a:pt x="374396" y="108736"/>
                        <a:pt x="385572" y="147169"/>
                        <a:pt x="370671" y="179977"/>
                      </a:cubicBezTo>
                      <a:lnTo>
                        <a:pt x="318516" y="179977"/>
                      </a:lnTo>
                      <a:lnTo>
                        <a:pt x="318516" y="196850"/>
                      </a:lnTo>
                      <a:lnTo>
                        <a:pt x="380915" y="196850"/>
                      </a:lnTo>
                      <a:lnTo>
                        <a:pt x="383709" y="192163"/>
                      </a:lnTo>
                      <a:cubicBezTo>
                        <a:pt x="406993" y="152793"/>
                        <a:pt x="393954" y="100300"/>
                        <a:pt x="353907" y="75928"/>
                      </a:cubicBezTo>
                      <a:close/>
                    </a:path>
                  </a:pathLst>
                </a:custGeom>
                <a:solidFill>
                  <a:schemeClr val="tx1"/>
                </a:solidFill>
                <a:ln w="931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sz="800"/>
                </a:p>
              </p:txBody>
            </p:sp>
            <p:sp>
              <p:nvSpPr>
                <p:cNvPr id="229" name="Freeform 21">
                  <a:extLst>
                    <a:ext uri="{FF2B5EF4-FFF2-40B4-BE49-F238E27FC236}">
                      <a16:creationId xmlns:a16="http://schemas.microsoft.com/office/drawing/2014/main" id="{F876DD5E-614E-4C44-AC7A-E7276BBBDB8D}"/>
                    </a:ext>
                  </a:extLst>
                </p:cNvPr>
                <p:cNvSpPr/>
                <p:nvPr/>
              </p:nvSpPr>
              <p:spPr>
                <a:xfrm>
                  <a:off x="7256210" y="3089528"/>
                  <a:ext cx="226314" cy="254967"/>
                </a:xfrm>
                <a:custGeom>
                  <a:avLst/>
                  <a:gdLst>
                    <a:gd name="connsiteX0" fmla="*/ 226314 w 226314"/>
                    <a:gd name="connsiteY0" fmla="*/ 36558 h 254967"/>
                    <a:gd name="connsiteX1" fmla="*/ 226314 w 226314"/>
                    <a:gd name="connsiteY1" fmla="*/ 36558 h 254967"/>
                    <a:gd name="connsiteX2" fmla="*/ 226314 w 226314"/>
                    <a:gd name="connsiteY2" fmla="*/ 34683 h 254967"/>
                    <a:gd name="connsiteX3" fmla="*/ 219795 w 226314"/>
                    <a:gd name="connsiteY3" fmla="*/ 21560 h 254967"/>
                    <a:gd name="connsiteX4" fmla="*/ 215138 w 226314"/>
                    <a:gd name="connsiteY4" fmla="*/ 17810 h 254967"/>
                    <a:gd name="connsiteX5" fmla="*/ 139700 w 226314"/>
                    <a:gd name="connsiteY5" fmla="*/ 937 h 254967"/>
                    <a:gd name="connsiteX6" fmla="*/ 113623 w 226314"/>
                    <a:gd name="connsiteY6" fmla="*/ 0 h 254967"/>
                    <a:gd name="connsiteX7" fmla="*/ 96859 w 226314"/>
                    <a:gd name="connsiteY7" fmla="*/ 0 h 254967"/>
                    <a:gd name="connsiteX8" fmla="*/ 40979 w 226314"/>
                    <a:gd name="connsiteY8" fmla="*/ 6562 h 254967"/>
                    <a:gd name="connsiteX9" fmla="*/ 25146 w 226314"/>
                    <a:gd name="connsiteY9" fmla="*/ 11249 h 254967"/>
                    <a:gd name="connsiteX10" fmla="*/ 12107 w 226314"/>
                    <a:gd name="connsiteY10" fmla="*/ 16873 h 254967"/>
                    <a:gd name="connsiteX11" fmla="*/ 0 w 226314"/>
                    <a:gd name="connsiteY11" fmla="*/ 33746 h 254967"/>
                    <a:gd name="connsiteX12" fmla="*/ 0 w 226314"/>
                    <a:gd name="connsiteY12" fmla="*/ 34683 h 254967"/>
                    <a:gd name="connsiteX13" fmla="*/ 0 w 226314"/>
                    <a:gd name="connsiteY13" fmla="*/ 35620 h 254967"/>
                    <a:gd name="connsiteX14" fmla="*/ 0 w 226314"/>
                    <a:gd name="connsiteY14" fmla="*/ 222159 h 254967"/>
                    <a:gd name="connsiteX15" fmla="*/ 12107 w 226314"/>
                    <a:gd name="connsiteY15" fmla="*/ 238095 h 254967"/>
                    <a:gd name="connsiteX16" fmla="*/ 25146 w 226314"/>
                    <a:gd name="connsiteY16" fmla="*/ 243719 h 254967"/>
                    <a:gd name="connsiteX17" fmla="*/ 40979 w 226314"/>
                    <a:gd name="connsiteY17" fmla="*/ 248406 h 254967"/>
                    <a:gd name="connsiteX18" fmla="*/ 96859 w 226314"/>
                    <a:gd name="connsiteY18" fmla="*/ 254968 h 254967"/>
                    <a:gd name="connsiteX19" fmla="*/ 113623 w 226314"/>
                    <a:gd name="connsiteY19" fmla="*/ 254968 h 254967"/>
                    <a:gd name="connsiteX20" fmla="*/ 139700 w 226314"/>
                    <a:gd name="connsiteY20" fmla="*/ 254030 h 254967"/>
                    <a:gd name="connsiteX21" fmla="*/ 215138 w 226314"/>
                    <a:gd name="connsiteY21" fmla="*/ 238095 h 254967"/>
                    <a:gd name="connsiteX22" fmla="*/ 219795 w 226314"/>
                    <a:gd name="connsiteY22" fmla="*/ 234345 h 254967"/>
                    <a:gd name="connsiteX23" fmla="*/ 226314 w 226314"/>
                    <a:gd name="connsiteY23" fmla="*/ 221222 h 254967"/>
                    <a:gd name="connsiteX24" fmla="*/ 226314 w 226314"/>
                    <a:gd name="connsiteY24" fmla="*/ 36558 h 254967"/>
                    <a:gd name="connsiteX25" fmla="*/ 113623 w 226314"/>
                    <a:gd name="connsiteY25" fmla="*/ 15935 h 254967"/>
                    <a:gd name="connsiteX26" fmla="*/ 211413 w 226314"/>
                    <a:gd name="connsiteY26" fmla="*/ 34683 h 254967"/>
                    <a:gd name="connsiteX27" fmla="*/ 113623 w 226314"/>
                    <a:gd name="connsiteY27" fmla="*/ 53431 h 254967"/>
                    <a:gd name="connsiteX28" fmla="*/ 15833 w 226314"/>
                    <a:gd name="connsiteY28" fmla="*/ 34683 h 254967"/>
                    <a:gd name="connsiteX29" fmla="*/ 113623 w 226314"/>
                    <a:gd name="connsiteY29" fmla="*/ 15935 h 254967"/>
                    <a:gd name="connsiteX30" fmla="*/ 14901 w 226314"/>
                    <a:gd name="connsiteY30" fmla="*/ 53431 h 254967"/>
                    <a:gd name="connsiteX31" fmla="*/ 113623 w 226314"/>
                    <a:gd name="connsiteY31" fmla="*/ 68429 h 254967"/>
                    <a:gd name="connsiteX32" fmla="*/ 211413 w 226314"/>
                    <a:gd name="connsiteY32" fmla="*/ 53431 h 254967"/>
                    <a:gd name="connsiteX33" fmla="*/ 211413 w 226314"/>
                    <a:gd name="connsiteY33" fmla="*/ 98425 h 254967"/>
                    <a:gd name="connsiteX34" fmla="*/ 113623 w 226314"/>
                    <a:gd name="connsiteY34" fmla="*/ 116235 h 254967"/>
                    <a:gd name="connsiteX35" fmla="*/ 14901 w 226314"/>
                    <a:gd name="connsiteY35" fmla="*/ 98425 h 254967"/>
                    <a:gd name="connsiteX36" fmla="*/ 14901 w 226314"/>
                    <a:gd name="connsiteY36" fmla="*/ 53431 h 254967"/>
                    <a:gd name="connsiteX37" fmla="*/ 211413 w 226314"/>
                    <a:gd name="connsiteY37" fmla="*/ 117173 h 254967"/>
                    <a:gd name="connsiteX38" fmla="*/ 211413 w 226314"/>
                    <a:gd name="connsiteY38" fmla="*/ 160292 h 254967"/>
                    <a:gd name="connsiteX39" fmla="*/ 113623 w 226314"/>
                    <a:gd name="connsiteY39" fmla="*/ 178102 h 254967"/>
                    <a:gd name="connsiteX40" fmla="*/ 15833 w 226314"/>
                    <a:gd name="connsiteY40" fmla="*/ 159355 h 254967"/>
                    <a:gd name="connsiteX41" fmla="*/ 15833 w 226314"/>
                    <a:gd name="connsiteY41" fmla="*/ 116235 h 254967"/>
                    <a:gd name="connsiteX42" fmla="*/ 113623 w 226314"/>
                    <a:gd name="connsiteY42" fmla="*/ 131233 h 254967"/>
                    <a:gd name="connsiteX43" fmla="*/ 211413 w 226314"/>
                    <a:gd name="connsiteY43" fmla="*/ 117173 h 254967"/>
                    <a:gd name="connsiteX44" fmla="*/ 211413 w 226314"/>
                    <a:gd name="connsiteY44" fmla="*/ 117173 h 254967"/>
                    <a:gd name="connsiteX45" fmla="*/ 113623 w 226314"/>
                    <a:gd name="connsiteY45" fmla="*/ 240907 h 254967"/>
                    <a:gd name="connsiteX46" fmla="*/ 15833 w 226314"/>
                    <a:gd name="connsiteY46" fmla="*/ 223097 h 254967"/>
                    <a:gd name="connsiteX47" fmla="*/ 15833 w 226314"/>
                    <a:gd name="connsiteY47" fmla="*/ 179040 h 254967"/>
                    <a:gd name="connsiteX48" fmla="*/ 113623 w 226314"/>
                    <a:gd name="connsiteY48" fmla="*/ 194038 h 254967"/>
                    <a:gd name="connsiteX49" fmla="*/ 211413 w 226314"/>
                    <a:gd name="connsiteY49" fmla="*/ 179040 h 254967"/>
                    <a:gd name="connsiteX50" fmla="*/ 211413 w 226314"/>
                    <a:gd name="connsiteY50" fmla="*/ 223097 h 254967"/>
                    <a:gd name="connsiteX51" fmla="*/ 113623 w 226314"/>
                    <a:gd name="connsiteY51" fmla="*/ 240907 h 25496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</a:cxnLst>
                  <a:rect l="l" t="t" r="r" b="b"/>
                  <a:pathLst>
                    <a:path w="226314" h="254967">
                      <a:moveTo>
                        <a:pt x="226314" y="36558"/>
                      </a:moveTo>
                      <a:cubicBezTo>
                        <a:pt x="226314" y="36558"/>
                        <a:pt x="226314" y="35620"/>
                        <a:pt x="226314" y="36558"/>
                      </a:cubicBezTo>
                      <a:cubicBezTo>
                        <a:pt x="226314" y="35620"/>
                        <a:pt x="226314" y="34683"/>
                        <a:pt x="226314" y="34683"/>
                      </a:cubicBezTo>
                      <a:cubicBezTo>
                        <a:pt x="226314" y="29059"/>
                        <a:pt x="223520" y="24372"/>
                        <a:pt x="219795" y="21560"/>
                      </a:cubicBezTo>
                      <a:cubicBezTo>
                        <a:pt x="217932" y="20622"/>
                        <a:pt x="217001" y="18748"/>
                        <a:pt x="215138" y="17810"/>
                      </a:cubicBezTo>
                      <a:cubicBezTo>
                        <a:pt x="198374" y="7499"/>
                        <a:pt x="167640" y="2812"/>
                        <a:pt x="139700" y="937"/>
                      </a:cubicBezTo>
                      <a:cubicBezTo>
                        <a:pt x="130387" y="0"/>
                        <a:pt x="121073" y="0"/>
                        <a:pt x="113623" y="0"/>
                      </a:cubicBezTo>
                      <a:cubicBezTo>
                        <a:pt x="108035" y="0"/>
                        <a:pt x="102447" y="0"/>
                        <a:pt x="96859" y="0"/>
                      </a:cubicBezTo>
                      <a:cubicBezTo>
                        <a:pt x="78232" y="937"/>
                        <a:pt x="59605" y="2812"/>
                        <a:pt x="40979" y="6562"/>
                      </a:cubicBezTo>
                      <a:cubicBezTo>
                        <a:pt x="35391" y="7499"/>
                        <a:pt x="29803" y="9374"/>
                        <a:pt x="25146" y="11249"/>
                      </a:cubicBezTo>
                      <a:cubicBezTo>
                        <a:pt x="20489" y="13123"/>
                        <a:pt x="15833" y="14998"/>
                        <a:pt x="12107" y="16873"/>
                      </a:cubicBezTo>
                      <a:cubicBezTo>
                        <a:pt x="5588" y="19685"/>
                        <a:pt x="931" y="26247"/>
                        <a:pt x="0" y="33746"/>
                      </a:cubicBezTo>
                      <a:cubicBezTo>
                        <a:pt x="0" y="33746"/>
                        <a:pt x="0" y="34683"/>
                        <a:pt x="0" y="34683"/>
                      </a:cubicBezTo>
                      <a:cubicBezTo>
                        <a:pt x="0" y="34683"/>
                        <a:pt x="0" y="35620"/>
                        <a:pt x="0" y="35620"/>
                      </a:cubicBezTo>
                      <a:lnTo>
                        <a:pt x="0" y="222159"/>
                      </a:lnTo>
                      <a:cubicBezTo>
                        <a:pt x="931" y="229658"/>
                        <a:pt x="5588" y="235283"/>
                        <a:pt x="12107" y="238095"/>
                      </a:cubicBezTo>
                      <a:cubicBezTo>
                        <a:pt x="15833" y="240907"/>
                        <a:pt x="20489" y="242782"/>
                        <a:pt x="25146" y="243719"/>
                      </a:cubicBezTo>
                      <a:cubicBezTo>
                        <a:pt x="30734" y="245594"/>
                        <a:pt x="35391" y="246531"/>
                        <a:pt x="40979" y="248406"/>
                      </a:cubicBezTo>
                      <a:cubicBezTo>
                        <a:pt x="59605" y="252155"/>
                        <a:pt x="78232" y="254030"/>
                        <a:pt x="96859" y="254968"/>
                      </a:cubicBezTo>
                      <a:lnTo>
                        <a:pt x="113623" y="254968"/>
                      </a:lnTo>
                      <a:cubicBezTo>
                        <a:pt x="122005" y="254968"/>
                        <a:pt x="130387" y="254968"/>
                        <a:pt x="139700" y="254030"/>
                      </a:cubicBezTo>
                      <a:cubicBezTo>
                        <a:pt x="167640" y="252155"/>
                        <a:pt x="198374" y="247469"/>
                        <a:pt x="215138" y="238095"/>
                      </a:cubicBezTo>
                      <a:cubicBezTo>
                        <a:pt x="217001" y="237157"/>
                        <a:pt x="218863" y="236220"/>
                        <a:pt x="219795" y="234345"/>
                      </a:cubicBezTo>
                      <a:cubicBezTo>
                        <a:pt x="223520" y="231533"/>
                        <a:pt x="226314" y="226846"/>
                        <a:pt x="226314" y="221222"/>
                      </a:cubicBezTo>
                      <a:lnTo>
                        <a:pt x="226314" y="36558"/>
                      </a:lnTo>
                      <a:close/>
                      <a:moveTo>
                        <a:pt x="113623" y="15935"/>
                      </a:moveTo>
                      <a:cubicBezTo>
                        <a:pt x="173228" y="15935"/>
                        <a:pt x="208619" y="28121"/>
                        <a:pt x="211413" y="34683"/>
                      </a:cubicBezTo>
                      <a:cubicBezTo>
                        <a:pt x="208619" y="41245"/>
                        <a:pt x="173228" y="53431"/>
                        <a:pt x="113623" y="53431"/>
                      </a:cubicBezTo>
                      <a:cubicBezTo>
                        <a:pt x="54017" y="53431"/>
                        <a:pt x="18627" y="41245"/>
                        <a:pt x="15833" y="34683"/>
                      </a:cubicBezTo>
                      <a:cubicBezTo>
                        <a:pt x="18627" y="28121"/>
                        <a:pt x="54017" y="15935"/>
                        <a:pt x="113623" y="15935"/>
                      </a:cubicBezTo>
                      <a:close/>
                      <a:moveTo>
                        <a:pt x="14901" y="53431"/>
                      </a:moveTo>
                      <a:cubicBezTo>
                        <a:pt x="38185" y="64679"/>
                        <a:pt x="82889" y="68429"/>
                        <a:pt x="113623" y="68429"/>
                      </a:cubicBezTo>
                      <a:cubicBezTo>
                        <a:pt x="144357" y="68429"/>
                        <a:pt x="188129" y="64679"/>
                        <a:pt x="211413" y="53431"/>
                      </a:cubicBezTo>
                      <a:lnTo>
                        <a:pt x="211413" y="98425"/>
                      </a:lnTo>
                      <a:cubicBezTo>
                        <a:pt x="209550" y="102175"/>
                        <a:pt x="181610" y="116235"/>
                        <a:pt x="113623" y="116235"/>
                      </a:cubicBezTo>
                      <a:cubicBezTo>
                        <a:pt x="45635" y="116235"/>
                        <a:pt x="17695" y="103112"/>
                        <a:pt x="14901" y="98425"/>
                      </a:cubicBezTo>
                      <a:lnTo>
                        <a:pt x="14901" y="53431"/>
                      </a:lnTo>
                      <a:close/>
                      <a:moveTo>
                        <a:pt x="211413" y="117173"/>
                      </a:moveTo>
                      <a:lnTo>
                        <a:pt x="211413" y="160292"/>
                      </a:lnTo>
                      <a:cubicBezTo>
                        <a:pt x="209550" y="164979"/>
                        <a:pt x="181610" y="178102"/>
                        <a:pt x="113623" y="178102"/>
                      </a:cubicBezTo>
                      <a:cubicBezTo>
                        <a:pt x="45635" y="178102"/>
                        <a:pt x="17695" y="164042"/>
                        <a:pt x="15833" y="159355"/>
                      </a:cubicBezTo>
                      <a:lnTo>
                        <a:pt x="15833" y="116235"/>
                      </a:lnTo>
                      <a:cubicBezTo>
                        <a:pt x="39116" y="127484"/>
                        <a:pt x="83820" y="131233"/>
                        <a:pt x="113623" y="131233"/>
                      </a:cubicBezTo>
                      <a:cubicBezTo>
                        <a:pt x="143425" y="131233"/>
                        <a:pt x="188129" y="128421"/>
                        <a:pt x="211413" y="117173"/>
                      </a:cubicBezTo>
                      <a:lnTo>
                        <a:pt x="211413" y="117173"/>
                      </a:lnTo>
                      <a:close/>
                      <a:moveTo>
                        <a:pt x="113623" y="240907"/>
                      </a:moveTo>
                      <a:cubicBezTo>
                        <a:pt x="45635" y="240907"/>
                        <a:pt x="17695" y="226846"/>
                        <a:pt x="15833" y="223097"/>
                      </a:cubicBezTo>
                      <a:lnTo>
                        <a:pt x="15833" y="179040"/>
                      </a:lnTo>
                      <a:cubicBezTo>
                        <a:pt x="39116" y="190288"/>
                        <a:pt x="83820" y="194038"/>
                        <a:pt x="113623" y="194038"/>
                      </a:cubicBezTo>
                      <a:cubicBezTo>
                        <a:pt x="143425" y="194038"/>
                        <a:pt x="188129" y="190288"/>
                        <a:pt x="211413" y="179040"/>
                      </a:cubicBezTo>
                      <a:lnTo>
                        <a:pt x="211413" y="223097"/>
                      </a:lnTo>
                      <a:cubicBezTo>
                        <a:pt x="208619" y="226846"/>
                        <a:pt x="181610" y="240907"/>
                        <a:pt x="113623" y="240907"/>
                      </a:cubicBezTo>
                      <a:close/>
                    </a:path>
                  </a:pathLst>
                </a:custGeom>
                <a:solidFill>
                  <a:schemeClr val="tx1"/>
                </a:solidFill>
                <a:ln w="931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sz="800"/>
                </a:p>
              </p:txBody>
            </p:sp>
          </p:grpSp>
          <p:sp>
            <p:nvSpPr>
              <p:cNvPr id="225" name="TextBox 224">
                <a:extLst>
                  <a:ext uri="{FF2B5EF4-FFF2-40B4-BE49-F238E27FC236}">
                    <a16:creationId xmlns:a16="http://schemas.microsoft.com/office/drawing/2014/main" id="{EA24CDA4-2E7C-49C7-A871-4ED565FA83B6}"/>
                  </a:ext>
                </a:extLst>
              </p:cNvPr>
              <p:cNvSpPr txBox="1"/>
              <p:nvPr/>
            </p:nvSpPr>
            <p:spPr>
              <a:xfrm>
                <a:off x="858826" y="4726587"/>
                <a:ext cx="800574" cy="461664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800" dirty="0"/>
                  <a:t>Standard Database Service</a:t>
                </a:r>
              </a:p>
            </p:txBody>
          </p:sp>
        </p:grpSp>
        <p:sp>
          <p:nvSpPr>
            <p:cNvPr id="247" name="Rectangle 246">
              <a:extLst>
                <a:ext uri="{FF2B5EF4-FFF2-40B4-BE49-F238E27FC236}">
                  <a16:creationId xmlns:a16="http://schemas.microsoft.com/office/drawing/2014/main" id="{C0D777DE-C02B-4B51-901E-F33C7C6FF88A}"/>
                </a:ext>
              </a:extLst>
            </p:cNvPr>
            <p:cNvSpPr/>
            <p:nvPr/>
          </p:nvSpPr>
          <p:spPr>
            <a:xfrm>
              <a:off x="1723388" y="4774451"/>
              <a:ext cx="1463040" cy="9144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252" name="TextBox 251">
            <a:extLst>
              <a:ext uri="{FF2B5EF4-FFF2-40B4-BE49-F238E27FC236}">
                <a16:creationId xmlns:a16="http://schemas.microsoft.com/office/drawing/2014/main" id="{81FA5B5D-97B4-4E27-A486-786202D11CBC}"/>
              </a:ext>
            </a:extLst>
          </p:cNvPr>
          <p:cNvSpPr txBox="1"/>
          <p:nvPr/>
        </p:nvSpPr>
        <p:spPr>
          <a:xfrm>
            <a:off x="2847607" y="5552089"/>
            <a:ext cx="4164394" cy="338528"/>
          </a:xfrm>
          <a:prstGeom prst="rect">
            <a:avLst/>
          </a:prstGeom>
          <a:noFill/>
        </p:spPr>
        <p:txBody>
          <a:bodyPr wrap="square" lIns="121893" tIns="60947" rIns="121893" bIns="60947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00" b="1">
                <a:solidFill>
                  <a:srgbClr val="FFFFFF"/>
                </a:solidFill>
                <a:ea typeface="ＭＳ Ｐゴシック" pitchFamily="34" charset="-128"/>
              </a:rPr>
              <a:t>Recovery Appliance Delta Push (What it Does)</a:t>
            </a:r>
          </a:p>
        </p:txBody>
      </p:sp>
      <p:sp>
        <p:nvSpPr>
          <p:cNvPr id="253" name="Rectangle 252">
            <a:extLst>
              <a:ext uri="{FF2B5EF4-FFF2-40B4-BE49-F238E27FC236}">
                <a16:creationId xmlns:a16="http://schemas.microsoft.com/office/drawing/2014/main" id="{654DBE46-4DEB-407D-88D9-8A84B0791FCE}"/>
              </a:ext>
            </a:extLst>
          </p:cNvPr>
          <p:cNvSpPr/>
          <p:nvPr/>
        </p:nvSpPr>
        <p:spPr>
          <a:xfrm>
            <a:off x="7092774" y="5530823"/>
            <a:ext cx="4727449" cy="604174"/>
          </a:xfrm>
          <a:prstGeom prst="rect">
            <a:avLst/>
          </a:prstGeom>
          <a:solidFill>
            <a:schemeClr val="accent4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6" tIns="45719" rIns="91436" bIns="4571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>
              <a:solidFill>
                <a:srgbClr val="FFFFFF"/>
              </a:solidFill>
              <a:latin typeface="Oracle Sans" panose="020B0503020204020204" pitchFamily="34" charset="0"/>
            </a:endParaRPr>
          </a:p>
        </p:txBody>
      </p:sp>
      <p:sp>
        <p:nvSpPr>
          <p:cNvPr id="254" name="TextBox 253">
            <a:extLst>
              <a:ext uri="{FF2B5EF4-FFF2-40B4-BE49-F238E27FC236}">
                <a16:creationId xmlns:a16="http://schemas.microsoft.com/office/drawing/2014/main" id="{DC37F7E7-C3BF-47D3-B14C-611628E46215}"/>
              </a:ext>
            </a:extLst>
          </p:cNvPr>
          <p:cNvSpPr txBox="1"/>
          <p:nvPr/>
        </p:nvSpPr>
        <p:spPr>
          <a:xfrm>
            <a:off x="7092774" y="5552089"/>
            <a:ext cx="4724400" cy="553972"/>
          </a:xfrm>
          <a:prstGeom prst="rect">
            <a:avLst/>
          </a:prstGeom>
          <a:noFill/>
        </p:spPr>
        <p:txBody>
          <a:bodyPr wrap="square" lIns="121893" tIns="60947" rIns="121893" bIns="60947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00" b="1" dirty="0">
                <a:solidFill>
                  <a:srgbClr val="FFFFFF"/>
                </a:solidFill>
                <a:ea typeface="ＭＳ Ｐゴシック" pitchFamily="34" charset="-128"/>
              </a:rPr>
              <a:t>Incremental forever backups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00" b="1" dirty="0">
                <a:solidFill>
                  <a:srgbClr val="FFFFFF"/>
                </a:solidFill>
                <a:ea typeface="ＭＳ Ｐゴシック" pitchFamily="34" charset="-128"/>
              </a:rPr>
              <a:t>stored on Recovery Service</a:t>
            </a:r>
          </a:p>
        </p:txBody>
      </p:sp>
      <p:sp>
        <p:nvSpPr>
          <p:cNvPr id="255" name="Rectangle 254">
            <a:extLst>
              <a:ext uri="{FF2B5EF4-FFF2-40B4-BE49-F238E27FC236}">
                <a16:creationId xmlns:a16="http://schemas.microsoft.com/office/drawing/2014/main" id="{22592265-7736-46DC-8A43-EBAFAE363AE8}"/>
              </a:ext>
            </a:extLst>
          </p:cNvPr>
          <p:cNvSpPr/>
          <p:nvPr/>
        </p:nvSpPr>
        <p:spPr>
          <a:xfrm>
            <a:off x="2034849" y="5526473"/>
            <a:ext cx="4999400" cy="604174"/>
          </a:xfrm>
          <a:prstGeom prst="rect">
            <a:avLst/>
          </a:prstGeom>
          <a:solidFill>
            <a:schemeClr val="accent4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6" tIns="45719" rIns="91436" bIns="4571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>
              <a:solidFill>
                <a:srgbClr val="FFFFFF"/>
              </a:solidFill>
              <a:latin typeface="Oracle Sans" panose="020B0503020204020204" pitchFamily="34" charset="0"/>
            </a:endParaRPr>
          </a:p>
        </p:txBody>
      </p:sp>
      <p:sp>
        <p:nvSpPr>
          <p:cNvPr id="256" name="TextBox 255">
            <a:extLst>
              <a:ext uri="{FF2B5EF4-FFF2-40B4-BE49-F238E27FC236}">
                <a16:creationId xmlns:a16="http://schemas.microsoft.com/office/drawing/2014/main" id="{E34598C7-ACD0-4446-AEC8-532CD52B447C}"/>
              </a:ext>
            </a:extLst>
          </p:cNvPr>
          <p:cNvSpPr txBox="1"/>
          <p:nvPr/>
        </p:nvSpPr>
        <p:spPr>
          <a:xfrm>
            <a:off x="2576124" y="5547739"/>
            <a:ext cx="4164394" cy="553972"/>
          </a:xfrm>
          <a:prstGeom prst="rect">
            <a:avLst/>
          </a:prstGeom>
          <a:noFill/>
        </p:spPr>
        <p:txBody>
          <a:bodyPr wrap="square" lIns="121893" tIns="60947" rIns="121893" bIns="60947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00" b="1" dirty="0">
                <a:solidFill>
                  <a:srgbClr val="FFFFFF"/>
                </a:solidFill>
                <a:ea typeface="ＭＳ Ｐゴシック" pitchFamily="34" charset="-128"/>
              </a:rPr>
              <a:t>Incremental forever backups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00" b="1" dirty="0">
                <a:solidFill>
                  <a:srgbClr val="FFFFFF"/>
                </a:solidFill>
                <a:ea typeface="ＭＳ Ｐゴシック" pitchFamily="34" charset="-128"/>
              </a:rPr>
              <a:t>of protected databases</a:t>
            </a:r>
          </a:p>
        </p:txBody>
      </p:sp>
      <p:sp>
        <p:nvSpPr>
          <p:cNvPr id="257" name="Right Arrow 13">
            <a:extLst>
              <a:ext uri="{FF2B5EF4-FFF2-40B4-BE49-F238E27FC236}">
                <a16:creationId xmlns:a16="http://schemas.microsoft.com/office/drawing/2014/main" id="{71CE945E-4AF2-41C3-BA38-B3D6CC1EA8F4}"/>
              </a:ext>
            </a:extLst>
          </p:cNvPr>
          <p:cNvSpPr/>
          <p:nvPr/>
        </p:nvSpPr>
        <p:spPr>
          <a:xfrm>
            <a:off x="3552709" y="4159224"/>
            <a:ext cx="2038100" cy="636523"/>
          </a:xfrm>
          <a:prstGeom prst="rightArrow">
            <a:avLst/>
          </a:prstGeom>
          <a:gradFill>
            <a:gsLst>
              <a:gs pos="0">
                <a:srgbClr val="E5DBBE"/>
              </a:gs>
              <a:gs pos="96000">
                <a:srgbClr val="D39F5D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893" tIns="60947" rIns="121893" bIns="60947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>
              <a:solidFill>
                <a:srgbClr val="FFFFFF"/>
              </a:solidFill>
              <a:latin typeface="Oracle Sans" panose="020B0503020204020204" pitchFamily="34" charset="0"/>
            </a:endParaRPr>
          </a:p>
        </p:txBody>
      </p:sp>
      <p:sp>
        <p:nvSpPr>
          <p:cNvPr id="261" name="Rounded Rectangle 14">
            <a:extLst>
              <a:ext uri="{FF2B5EF4-FFF2-40B4-BE49-F238E27FC236}">
                <a16:creationId xmlns:a16="http://schemas.microsoft.com/office/drawing/2014/main" id="{8C9B8508-BCEC-4A93-ADA5-27E7CC5B6361}"/>
              </a:ext>
            </a:extLst>
          </p:cNvPr>
          <p:cNvSpPr/>
          <p:nvPr/>
        </p:nvSpPr>
        <p:spPr bwMode="auto">
          <a:xfrm>
            <a:off x="3685808" y="2559023"/>
            <a:ext cx="2868471" cy="685800"/>
          </a:xfrm>
          <a:prstGeom prst="roundRect">
            <a:avLst/>
          </a:prstGeom>
          <a:solidFill>
            <a:schemeClr val="bg2"/>
          </a:solidFill>
          <a:ln>
            <a:noFill/>
          </a:ln>
          <a:effectLst/>
          <a:scene3d>
            <a:camera prst="orthographicFront"/>
            <a:lightRig rig="threePt" dir="t"/>
          </a:scene3d>
          <a:sp3d>
            <a:bevelT prst="angle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 anchorCtr="0"/>
          <a:lstStyle/>
          <a:p>
            <a:pPr marL="78301"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00" b="1">
                <a:solidFill>
                  <a:srgbClr val="5F5F5F"/>
                </a:solidFill>
                <a:cs typeface="Courier New" pitchFamily="49" charset="0"/>
              </a:rPr>
              <a:t>Restore Database</a:t>
            </a:r>
            <a:br>
              <a:rPr lang="en-US" sz="1400" b="1">
                <a:solidFill>
                  <a:srgbClr val="5F5F5F"/>
                </a:solidFill>
                <a:cs typeface="Courier New" pitchFamily="49" charset="0"/>
              </a:rPr>
            </a:br>
            <a:r>
              <a:rPr lang="en-US" sz="1400" b="1">
                <a:solidFill>
                  <a:srgbClr val="5F5F5F"/>
                </a:solidFill>
                <a:cs typeface="Courier New" pitchFamily="49" charset="0"/>
              </a:rPr>
              <a:t>To Day ‘N’ at 14:53.12</a:t>
            </a:r>
          </a:p>
        </p:txBody>
      </p:sp>
      <p:sp>
        <p:nvSpPr>
          <p:cNvPr id="262" name="TextBox 261">
            <a:extLst>
              <a:ext uri="{FF2B5EF4-FFF2-40B4-BE49-F238E27FC236}">
                <a16:creationId xmlns:a16="http://schemas.microsoft.com/office/drawing/2014/main" id="{DFB0BD43-EDFE-4E4F-A2B2-22F36B5EEB89}"/>
              </a:ext>
            </a:extLst>
          </p:cNvPr>
          <p:cNvSpPr txBox="1"/>
          <p:nvPr/>
        </p:nvSpPr>
        <p:spPr>
          <a:xfrm>
            <a:off x="8142119" y="2087409"/>
            <a:ext cx="2763889" cy="338552"/>
          </a:xfrm>
          <a:prstGeom prst="rect">
            <a:avLst/>
          </a:prstGeom>
          <a:noFill/>
        </p:spPr>
        <p:txBody>
          <a:bodyPr wrap="none" lIns="91436" tIns="45719" rIns="91436" bIns="45719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b="1">
                <a:solidFill>
                  <a:srgbClr val="5F5F5F"/>
                </a:solidFill>
                <a:ea typeface="ＭＳ Ｐゴシック" pitchFamily="34" charset="-128"/>
              </a:rPr>
              <a:t>Day ‘N’ Virtual Full Backup</a:t>
            </a:r>
          </a:p>
        </p:txBody>
      </p:sp>
      <p:sp>
        <p:nvSpPr>
          <p:cNvPr id="263" name="TextBox 262">
            <a:extLst>
              <a:ext uri="{FF2B5EF4-FFF2-40B4-BE49-F238E27FC236}">
                <a16:creationId xmlns:a16="http://schemas.microsoft.com/office/drawing/2014/main" id="{504789EE-3D58-474A-8EF0-114CFFE9509C}"/>
              </a:ext>
            </a:extLst>
          </p:cNvPr>
          <p:cNvSpPr txBox="1"/>
          <p:nvPr/>
        </p:nvSpPr>
        <p:spPr>
          <a:xfrm>
            <a:off x="3076210" y="2087409"/>
            <a:ext cx="3733799" cy="3048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b="1" dirty="0">
                <a:solidFill>
                  <a:srgbClr val="AE562C"/>
                </a:solidFill>
                <a:cs typeface="Courier New" pitchFamily="49" charset="0"/>
              </a:rPr>
              <a:t>Request: January 9, 2022</a:t>
            </a:r>
          </a:p>
        </p:txBody>
      </p:sp>
      <p:grpSp>
        <p:nvGrpSpPr>
          <p:cNvPr id="264" name="Group 317">
            <a:extLst>
              <a:ext uri="{FF2B5EF4-FFF2-40B4-BE49-F238E27FC236}">
                <a16:creationId xmlns:a16="http://schemas.microsoft.com/office/drawing/2014/main" id="{E9D98344-DF67-49A7-959D-FFC2EDC38294}"/>
              </a:ext>
            </a:extLst>
          </p:cNvPr>
          <p:cNvGrpSpPr/>
          <p:nvPr/>
        </p:nvGrpSpPr>
        <p:grpSpPr>
          <a:xfrm>
            <a:off x="9140268" y="2522092"/>
            <a:ext cx="838200" cy="1033140"/>
            <a:chOff x="7923212" y="4278420"/>
            <a:chExt cx="838200" cy="1033140"/>
          </a:xfrm>
        </p:grpSpPr>
        <p:sp>
          <p:nvSpPr>
            <p:cNvPr id="265" name="Can 234">
              <a:extLst>
                <a:ext uri="{FF2B5EF4-FFF2-40B4-BE49-F238E27FC236}">
                  <a16:creationId xmlns:a16="http://schemas.microsoft.com/office/drawing/2014/main" id="{116AC163-B4C1-4461-AD22-2D53C2761AF9}"/>
                </a:ext>
              </a:extLst>
            </p:cNvPr>
            <p:cNvSpPr/>
            <p:nvPr/>
          </p:nvSpPr>
          <p:spPr>
            <a:xfrm>
              <a:off x="7923212" y="4278420"/>
              <a:ext cx="838200" cy="1033140"/>
            </a:xfrm>
            <a:prstGeom prst="can">
              <a:avLst>
                <a:gd name="adj" fmla="val 15901"/>
              </a:avLst>
            </a:prstGeom>
            <a:gradFill flip="none" rotWithShape="1">
              <a:gsLst>
                <a:gs pos="28000">
                  <a:schemeClr val="accent5"/>
                </a:gs>
                <a:gs pos="0">
                  <a:schemeClr val="accent5">
                    <a:lumMod val="40000"/>
                    <a:lumOff val="60000"/>
                  </a:schemeClr>
                </a:gs>
                <a:gs pos="100000">
                  <a:schemeClr val="accent5">
                    <a:lumMod val="60000"/>
                    <a:lumOff val="40000"/>
                  </a:schemeClr>
                </a:gs>
              </a:gsLst>
              <a:lin ang="0" scaled="1"/>
            </a:gradFill>
            <a:ln>
              <a:noFill/>
            </a:ln>
            <a:effectLst>
              <a:outerShdw blurRad="203200" dist="50800" dir="5400000" sx="88000" sy="88000" rotWithShape="0">
                <a:prstClr val="black">
                  <a:alpha val="72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>
                <a:solidFill>
                  <a:srgbClr val="FFFFFF"/>
                </a:solidFill>
                <a:latin typeface="Oracle Sans" panose="020B0503020204020204" pitchFamily="34" charset="0"/>
              </a:endParaRPr>
            </a:p>
          </p:txBody>
        </p:sp>
        <p:grpSp>
          <p:nvGrpSpPr>
            <p:cNvPr id="266" name="Group 319">
              <a:extLst>
                <a:ext uri="{FF2B5EF4-FFF2-40B4-BE49-F238E27FC236}">
                  <a16:creationId xmlns:a16="http://schemas.microsoft.com/office/drawing/2014/main" id="{CAE35DB2-0AD4-4456-B173-A36E37E79441}"/>
                </a:ext>
              </a:extLst>
            </p:cNvPr>
            <p:cNvGrpSpPr/>
            <p:nvPr/>
          </p:nvGrpSpPr>
          <p:grpSpPr>
            <a:xfrm>
              <a:off x="7985818" y="4495800"/>
              <a:ext cx="699394" cy="715367"/>
              <a:chOff x="7916018" y="4542433"/>
              <a:chExt cx="699394" cy="715367"/>
            </a:xfrm>
          </p:grpSpPr>
          <p:sp>
            <p:nvSpPr>
              <p:cNvPr id="267" name="Rectangle 266">
                <a:extLst>
                  <a:ext uri="{FF2B5EF4-FFF2-40B4-BE49-F238E27FC236}">
                    <a16:creationId xmlns:a16="http://schemas.microsoft.com/office/drawing/2014/main" id="{5F047B0B-F7CA-42A1-8267-EF7801AC5DB3}"/>
                  </a:ext>
                </a:extLst>
              </p:cNvPr>
              <p:cNvSpPr/>
              <p:nvPr/>
            </p:nvSpPr>
            <p:spPr>
              <a:xfrm>
                <a:off x="8501492" y="4542433"/>
                <a:ext cx="113920" cy="118872"/>
              </a:xfrm>
              <a:prstGeom prst="rect">
                <a:avLst/>
              </a:prstGeom>
              <a:solidFill>
                <a:srgbClr val="41817E"/>
              </a:solidFill>
              <a:ln w="1270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>
                  <a:solidFill>
                    <a:srgbClr val="FFFFFF"/>
                  </a:solidFill>
                  <a:latin typeface="Oracle Sans" panose="020B0503020204020204" pitchFamily="34" charset="0"/>
                </a:endParaRPr>
              </a:p>
            </p:txBody>
          </p:sp>
          <p:sp>
            <p:nvSpPr>
              <p:cNvPr id="268" name="Rectangle 267">
                <a:extLst>
                  <a:ext uri="{FF2B5EF4-FFF2-40B4-BE49-F238E27FC236}">
                    <a16:creationId xmlns:a16="http://schemas.microsoft.com/office/drawing/2014/main" id="{5F14BE40-8110-44D0-BDA0-EFCF1380117F}"/>
                  </a:ext>
                </a:extLst>
              </p:cNvPr>
              <p:cNvSpPr/>
              <p:nvPr/>
            </p:nvSpPr>
            <p:spPr>
              <a:xfrm>
                <a:off x="8208754" y="4542433"/>
                <a:ext cx="113920" cy="118872"/>
              </a:xfrm>
              <a:prstGeom prst="rect">
                <a:avLst/>
              </a:prstGeom>
              <a:solidFill>
                <a:srgbClr val="41817E"/>
              </a:solidFill>
              <a:ln w="1270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>
                  <a:solidFill>
                    <a:srgbClr val="FFFFFF"/>
                  </a:solidFill>
                  <a:latin typeface="Oracle Sans" panose="020B0503020204020204" pitchFamily="34" charset="0"/>
                </a:endParaRPr>
              </a:p>
            </p:txBody>
          </p:sp>
          <p:sp>
            <p:nvSpPr>
              <p:cNvPr id="269" name="Rectangle 268">
                <a:extLst>
                  <a:ext uri="{FF2B5EF4-FFF2-40B4-BE49-F238E27FC236}">
                    <a16:creationId xmlns:a16="http://schemas.microsoft.com/office/drawing/2014/main" id="{0BC9DA7E-5A35-48FA-B796-8096DB404E86}"/>
                  </a:ext>
                </a:extLst>
              </p:cNvPr>
              <p:cNvSpPr/>
              <p:nvPr/>
            </p:nvSpPr>
            <p:spPr>
              <a:xfrm>
                <a:off x="7916018" y="4542433"/>
                <a:ext cx="113920" cy="118872"/>
              </a:xfrm>
              <a:prstGeom prst="rect">
                <a:avLst/>
              </a:prstGeom>
              <a:solidFill>
                <a:srgbClr val="41817E"/>
              </a:solidFill>
              <a:ln w="1270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>
                  <a:solidFill>
                    <a:srgbClr val="FFFFFF"/>
                  </a:solidFill>
                  <a:latin typeface="Oracle Sans" panose="020B0503020204020204" pitchFamily="34" charset="0"/>
                </a:endParaRPr>
              </a:p>
            </p:txBody>
          </p:sp>
          <p:sp>
            <p:nvSpPr>
              <p:cNvPr id="270" name="Rectangle 269">
                <a:extLst>
                  <a:ext uri="{FF2B5EF4-FFF2-40B4-BE49-F238E27FC236}">
                    <a16:creationId xmlns:a16="http://schemas.microsoft.com/office/drawing/2014/main" id="{A270A555-1BFB-4CB5-93FB-B4D7F8E11779}"/>
                  </a:ext>
                </a:extLst>
              </p:cNvPr>
              <p:cNvSpPr/>
              <p:nvPr/>
            </p:nvSpPr>
            <p:spPr>
              <a:xfrm>
                <a:off x="8062386" y="4542433"/>
                <a:ext cx="113920" cy="118872"/>
              </a:xfrm>
              <a:prstGeom prst="rect">
                <a:avLst/>
              </a:prstGeom>
              <a:solidFill>
                <a:srgbClr val="41817E"/>
              </a:solidFill>
              <a:ln w="1270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>
                  <a:solidFill>
                    <a:srgbClr val="FFFFFF"/>
                  </a:solidFill>
                  <a:latin typeface="Oracle Sans" panose="020B0503020204020204" pitchFamily="34" charset="0"/>
                </a:endParaRPr>
              </a:p>
            </p:txBody>
          </p:sp>
          <p:sp>
            <p:nvSpPr>
              <p:cNvPr id="271" name="Rectangle 270">
                <a:extLst>
                  <a:ext uri="{FF2B5EF4-FFF2-40B4-BE49-F238E27FC236}">
                    <a16:creationId xmlns:a16="http://schemas.microsoft.com/office/drawing/2014/main" id="{BFA7787B-C715-428F-81DC-C7E4A27E53CA}"/>
                  </a:ext>
                </a:extLst>
              </p:cNvPr>
              <p:cNvSpPr/>
              <p:nvPr/>
            </p:nvSpPr>
            <p:spPr>
              <a:xfrm>
                <a:off x="8355122" y="4542433"/>
                <a:ext cx="113920" cy="118872"/>
              </a:xfrm>
              <a:prstGeom prst="rect">
                <a:avLst/>
              </a:prstGeom>
              <a:solidFill>
                <a:srgbClr val="41817E"/>
              </a:solidFill>
              <a:ln w="1270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>
                  <a:solidFill>
                    <a:srgbClr val="FFFFFF"/>
                  </a:solidFill>
                  <a:latin typeface="Oracle Sans" panose="020B0503020204020204" pitchFamily="34" charset="0"/>
                </a:endParaRPr>
              </a:p>
            </p:txBody>
          </p:sp>
          <p:grpSp>
            <p:nvGrpSpPr>
              <p:cNvPr id="272" name="Group 325">
                <a:extLst>
                  <a:ext uri="{FF2B5EF4-FFF2-40B4-BE49-F238E27FC236}">
                    <a16:creationId xmlns:a16="http://schemas.microsoft.com/office/drawing/2014/main" id="{581C0522-70D9-40E3-B0A9-7BA9AD654A51}"/>
                  </a:ext>
                </a:extLst>
              </p:cNvPr>
              <p:cNvGrpSpPr/>
              <p:nvPr/>
            </p:nvGrpSpPr>
            <p:grpSpPr>
              <a:xfrm>
                <a:off x="7916018" y="4691557"/>
                <a:ext cx="113920" cy="566243"/>
                <a:chOff x="7916018" y="4691557"/>
                <a:chExt cx="113920" cy="566243"/>
              </a:xfrm>
            </p:grpSpPr>
            <p:sp>
              <p:nvSpPr>
                <p:cNvPr id="293" name="Rectangle 292">
                  <a:extLst>
                    <a:ext uri="{FF2B5EF4-FFF2-40B4-BE49-F238E27FC236}">
                      <a16:creationId xmlns:a16="http://schemas.microsoft.com/office/drawing/2014/main" id="{1538DC21-5AE4-449B-9105-AEA976F96628}"/>
                    </a:ext>
                  </a:extLst>
                </p:cNvPr>
                <p:cNvSpPr/>
                <p:nvPr/>
              </p:nvSpPr>
              <p:spPr>
                <a:xfrm>
                  <a:off x="7916018" y="4691557"/>
                  <a:ext cx="113920" cy="118872"/>
                </a:xfrm>
                <a:prstGeom prst="rect">
                  <a:avLst/>
                </a:prstGeom>
                <a:solidFill>
                  <a:srgbClr val="594564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fontAlgn="base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>
                    <a:solidFill>
                      <a:srgbClr val="FFFFFF"/>
                    </a:solidFill>
                    <a:latin typeface="Oracle Sans" panose="020B0503020204020204" pitchFamily="34" charset="0"/>
                  </a:endParaRPr>
                </a:p>
              </p:txBody>
            </p:sp>
            <p:sp>
              <p:nvSpPr>
                <p:cNvPr id="294" name="Rectangle 293">
                  <a:extLst>
                    <a:ext uri="{FF2B5EF4-FFF2-40B4-BE49-F238E27FC236}">
                      <a16:creationId xmlns:a16="http://schemas.microsoft.com/office/drawing/2014/main" id="{F99AC725-1B9A-467A-8587-01A37578B615}"/>
                    </a:ext>
                  </a:extLst>
                </p:cNvPr>
                <p:cNvSpPr/>
                <p:nvPr/>
              </p:nvSpPr>
              <p:spPr>
                <a:xfrm>
                  <a:off x="7916018" y="4840681"/>
                  <a:ext cx="113920" cy="118872"/>
                </a:xfrm>
                <a:prstGeom prst="rect">
                  <a:avLst/>
                </a:prstGeom>
                <a:solidFill>
                  <a:srgbClr val="41817E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fontAlgn="base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>
                    <a:solidFill>
                      <a:srgbClr val="FFFFFF"/>
                    </a:solidFill>
                    <a:latin typeface="Oracle Sans" panose="020B0503020204020204" pitchFamily="34" charset="0"/>
                  </a:endParaRPr>
                </a:p>
              </p:txBody>
            </p:sp>
            <p:sp>
              <p:nvSpPr>
                <p:cNvPr id="295" name="Rectangle 294">
                  <a:extLst>
                    <a:ext uri="{FF2B5EF4-FFF2-40B4-BE49-F238E27FC236}">
                      <a16:creationId xmlns:a16="http://schemas.microsoft.com/office/drawing/2014/main" id="{EE312F38-06E5-4CA7-B7FC-F7A74C635C62}"/>
                    </a:ext>
                  </a:extLst>
                </p:cNvPr>
                <p:cNvSpPr/>
                <p:nvPr/>
              </p:nvSpPr>
              <p:spPr>
                <a:xfrm>
                  <a:off x="7916018" y="4989805"/>
                  <a:ext cx="113920" cy="118872"/>
                </a:xfrm>
                <a:prstGeom prst="rect">
                  <a:avLst/>
                </a:prstGeom>
                <a:solidFill>
                  <a:srgbClr val="41817E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fontAlgn="base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>
                    <a:solidFill>
                      <a:srgbClr val="0070C0"/>
                    </a:solidFill>
                    <a:latin typeface="Oracle Sans" panose="020B0503020204020204" pitchFamily="34" charset="0"/>
                  </a:endParaRPr>
                </a:p>
              </p:txBody>
            </p:sp>
            <p:sp>
              <p:nvSpPr>
                <p:cNvPr id="296" name="Rectangle 295">
                  <a:extLst>
                    <a:ext uri="{FF2B5EF4-FFF2-40B4-BE49-F238E27FC236}">
                      <a16:creationId xmlns:a16="http://schemas.microsoft.com/office/drawing/2014/main" id="{C69BEE78-69D7-443F-82CA-55F2F4E69E64}"/>
                    </a:ext>
                  </a:extLst>
                </p:cNvPr>
                <p:cNvSpPr/>
                <p:nvPr/>
              </p:nvSpPr>
              <p:spPr>
                <a:xfrm>
                  <a:off x="7916018" y="5138928"/>
                  <a:ext cx="113920" cy="118872"/>
                </a:xfrm>
                <a:prstGeom prst="rect">
                  <a:avLst/>
                </a:prstGeom>
                <a:solidFill>
                  <a:srgbClr val="41817E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fontAlgn="base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>
                    <a:solidFill>
                      <a:srgbClr val="FFFFFF"/>
                    </a:solidFill>
                    <a:latin typeface="Oracle Sans" panose="020B0503020204020204" pitchFamily="34" charset="0"/>
                  </a:endParaRPr>
                </a:p>
              </p:txBody>
            </p:sp>
          </p:grpSp>
          <p:grpSp>
            <p:nvGrpSpPr>
              <p:cNvPr id="273" name="Group 326">
                <a:extLst>
                  <a:ext uri="{FF2B5EF4-FFF2-40B4-BE49-F238E27FC236}">
                    <a16:creationId xmlns:a16="http://schemas.microsoft.com/office/drawing/2014/main" id="{738496FA-7AE5-4BEB-952C-A1E7F946DD03}"/>
                  </a:ext>
                </a:extLst>
              </p:cNvPr>
              <p:cNvGrpSpPr/>
              <p:nvPr/>
            </p:nvGrpSpPr>
            <p:grpSpPr>
              <a:xfrm>
                <a:off x="8062386" y="4691557"/>
                <a:ext cx="113920" cy="566243"/>
                <a:chOff x="7916018" y="4691557"/>
                <a:chExt cx="113920" cy="566243"/>
              </a:xfrm>
            </p:grpSpPr>
            <p:sp>
              <p:nvSpPr>
                <p:cNvPr id="289" name="Rectangle 288">
                  <a:extLst>
                    <a:ext uri="{FF2B5EF4-FFF2-40B4-BE49-F238E27FC236}">
                      <a16:creationId xmlns:a16="http://schemas.microsoft.com/office/drawing/2014/main" id="{AAD812D9-A848-4F0C-AD53-CD00F20EE454}"/>
                    </a:ext>
                  </a:extLst>
                </p:cNvPr>
                <p:cNvSpPr/>
                <p:nvPr/>
              </p:nvSpPr>
              <p:spPr>
                <a:xfrm>
                  <a:off x="7916018" y="4691557"/>
                  <a:ext cx="113920" cy="118872"/>
                </a:xfrm>
                <a:prstGeom prst="rect">
                  <a:avLst/>
                </a:prstGeom>
                <a:solidFill>
                  <a:srgbClr val="41817E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fontAlgn="base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>
                    <a:solidFill>
                      <a:srgbClr val="FFFFFF"/>
                    </a:solidFill>
                    <a:latin typeface="Oracle Sans" panose="020B0503020204020204" pitchFamily="34" charset="0"/>
                  </a:endParaRPr>
                </a:p>
              </p:txBody>
            </p:sp>
            <p:sp>
              <p:nvSpPr>
                <p:cNvPr id="290" name="Rectangle 289">
                  <a:extLst>
                    <a:ext uri="{FF2B5EF4-FFF2-40B4-BE49-F238E27FC236}">
                      <a16:creationId xmlns:a16="http://schemas.microsoft.com/office/drawing/2014/main" id="{FDA66F45-6F7C-430D-AF4D-43CC1F23B933}"/>
                    </a:ext>
                  </a:extLst>
                </p:cNvPr>
                <p:cNvSpPr/>
                <p:nvPr/>
              </p:nvSpPr>
              <p:spPr>
                <a:xfrm>
                  <a:off x="7916018" y="4840681"/>
                  <a:ext cx="113920" cy="118872"/>
                </a:xfrm>
                <a:prstGeom prst="rect">
                  <a:avLst/>
                </a:prstGeom>
                <a:solidFill>
                  <a:schemeClr val="accent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fontAlgn="base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>
                    <a:solidFill>
                      <a:srgbClr val="FFFFFF"/>
                    </a:solidFill>
                    <a:latin typeface="Oracle Sans" panose="020B0503020204020204" pitchFamily="34" charset="0"/>
                  </a:endParaRPr>
                </a:p>
              </p:txBody>
            </p:sp>
            <p:sp>
              <p:nvSpPr>
                <p:cNvPr id="291" name="Rectangle 290">
                  <a:extLst>
                    <a:ext uri="{FF2B5EF4-FFF2-40B4-BE49-F238E27FC236}">
                      <a16:creationId xmlns:a16="http://schemas.microsoft.com/office/drawing/2014/main" id="{66031FC7-0136-4233-B098-1CDD884D95BA}"/>
                    </a:ext>
                  </a:extLst>
                </p:cNvPr>
                <p:cNvSpPr/>
                <p:nvPr/>
              </p:nvSpPr>
              <p:spPr>
                <a:xfrm>
                  <a:off x="7916018" y="4989805"/>
                  <a:ext cx="113920" cy="118872"/>
                </a:xfrm>
                <a:prstGeom prst="rect">
                  <a:avLst/>
                </a:prstGeom>
                <a:solidFill>
                  <a:schemeClr val="accent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fontAlgn="base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>
                    <a:solidFill>
                      <a:srgbClr val="0070C0"/>
                    </a:solidFill>
                    <a:latin typeface="Oracle Sans" panose="020B0503020204020204" pitchFamily="34" charset="0"/>
                  </a:endParaRPr>
                </a:p>
              </p:txBody>
            </p:sp>
            <p:sp>
              <p:nvSpPr>
                <p:cNvPr id="292" name="Rectangle 291">
                  <a:extLst>
                    <a:ext uri="{FF2B5EF4-FFF2-40B4-BE49-F238E27FC236}">
                      <a16:creationId xmlns:a16="http://schemas.microsoft.com/office/drawing/2014/main" id="{1B5CE1B4-B31B-4578-A8C5-B7ED5A309C50}"/>
                    </a:ext>
                  </a:extLst>
                </p:cNvPr>
                <p:cNvSpPr/>
                <p:nvPr/>
              </p:nvSpPr>
              <p:spPr>
                <a:xfrm>
                  <a:off x="7916018" y="5138928"/>
                  <a:ext cx="113920" cy="118872"/>
                </a:xfrm>
                <a:prstGeom prst="rect">
                  <a:avLst/>
                </a:prstGeom>
                <a:solidFill>
                  <a:srgbClr val="41817E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fontAlgn="base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>
                    <a:solidFill>
                      <a:srgbClr val="FFFFFF"/>
                    </a:solidFill>
                    <a:latin typeface="Oracle Sans" panose="020B0503020204020204" pitchFamily="34" charset="0"/>
                  </a:endParaRPr>
                </a:p>
              </p:txBody>
            </p:sp>
          </p:grpSp>
          <p:grpSp>
            <p:nvGrpSpPr>
              <p:cNvPr id="274" name="Group 327">
                <a:extLst>
                  <a:ext uri="{FF2B5EF4-FFF2-40B4-BE49-F238E27FC236}">
                    <a16:creationId xmlns:a16="http://schemas.microsoft.com/office/drawing/2014/main" id="{1841A472-2D9C-4C3B-B8A5-7B76B6E7D0F4}"/>
                  </a:ext>
                </a:extLst>
              </p:cNvPr>
              <p:cNvGrpSpPr/>
              <p:nvPr/>
            </p:nvGrpSpPr>
            <p:grpSpPr>
              <a:xfrm>
                <a:off x="8208754" y="4691557"/>
                <a:ext cx="113920" cy="566243"/>
                <a:chOff x="7916018" y="4691557"/>
                <a:chExt cx="113920" cy="566243"/>
              </a:xfrm>
            </p:grpSpPr>
            <p:sp>
              <p:nvSpPr>
                <p:cNvPr id="285" name="Rectangle 284">
                  <a:extLst>
                    <a:ext uri="{FF2B5EF4-FFF2-40B4-BE49-F238E27FC236}">
                      <a16:creationId xmlns:a16="http://schemas.microsoft.com/office/drawing/2014/main" id="{3FF56FFC-9616-4D9D-9413-B0597172EAB5}"/>
                    </a:ext>
                  </a:extLst>
                </p:cNvPr>
                <p:cNvSpPr/>
                <p:nvPr/>
              </p:nvSpPr>
              <p:spPr>
                <a:xfrm>
                  <a:off x="7916018" y="4691557"/>
                  <a:ext cx="113920" cy="118872"/>
                </a:xfrm>
                <a:prstGeom prst="rect">
                  <a:avLst/>
                </a:prstGeom>
                <a:solidFill>
                  <a:srgbClr val="41817E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fontAlgn="base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>
                    <a:solidFill>
                      <a:srgbClr val="FFFFFF"/>
                    </a:solidFill>
                    <a:latin typeface="Oracle Sans" panose="020B0503020204020204" pitchFamily="34" charset="0"/>
                  </a:endParaRPr>
                </a:p>
              </p:txBody>
            </p:sp>
            <p:sp>
              <p:nvSpPr>
                <p:cNvPr id="286" name="Rectangle 285">
                  <a:extLst>
                    <a:ext uri="{FF2B5EF4-FFF2-40B4-BE49-F238E27FC236}">
                      <a16:creationId xmlns:a16="http://schemas.microsoft.com/office/drawing/2014/main" id="{5ED91072-997A-45EE-A50D-12A160F11487}"/>
                    </a:ext>
                  </a:extLst>
                </p:cNvPr>
                <p:cNvSpPr/>
                <p:nvPr/>
              </p:nvSpPr>
              <p:spPr>
                <a:xfrm>
                  <a:off x="7916018" y="4840681"/>
                  <a:ext cx="113920" cy="118872"/>
                </a:xfrm>
                <a:prstGeom prst="rect">
                  <a:avLst/>
                </a:prstGeom>
                <a:solidFill>
                  <a:srgbClr val="41817E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fontAlgn="base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>
                    <a:solidFill>
                      <a:srgbClr val="FFFFFF"/>
                    </a:solidFill>
                    <a:latin typeface="Oracle Sans" panose="020B0503020204020204" pitchFamily="34" charset="0"/>
                  </a:endParaRPr>
                </a:p>
              </p:txBody>
            </p:sp>
            <p:sp>
              <p:nvSpPr>
                <p:cNvPr id="287" name="Rectangle 286">
                  <a:extLst>
                    <a:ext uri="{FF2B5EF4-FFF2-40B4-BE49-F238E27FC236}">
                      <a16:creationId xmlns:a16="http://schemas.microsoft.com/office/drawing/2014/main" id="{138580BF-3204-44CF-BA6A-C55293949E38}"/>
                    </a:ext>
                  </a:extLst>
                </p:cNvPr>
                <p:cNvSpPr/>
                <p:nvPr/>
              </p:nvSpPr>
              <p:spPr>
                <a:xfrm>
                  <a:off x="7916018" y="4989805"/>
                  <a:ext cx="113920" cy="118872"/>
                </a:xfrm>
                <a:prstGeom prst="rect">
                  <a:avLst/>
                </a:prstGeom>
                <a:solidFill>
                  <a:srgbClr val="41817E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fontAlgn="base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>
                    <a:solidFill>
                      <a:srgbClr val="0070C0"/>
                    </a:solidFill>
                    <a:latin typeface="Oracle Sans" panose="020B0503020204020204" pitchFamily="34" charset="0"/>
                  </a:endParaRPr>
                </a:p>
              </p:txBody>
            </p:sp>
            <p:sp>
              <p:nvSpPr>
                <p:cNvPr id="288" name="Rectangle 287">
                  <a:extLst>
                    <a:ext uri="{FF2B5EF4-FFF2-40B4-BE49-F238E27FC236}">
                      <a16:creationId xmlns:a16="http://schemas.microsoft.com/office/drawing/2014/main" id="{9E528706-A41A-42FF-8923-4C13C4B98F6A}"/>
                    </a:ext>
                  </a:extLst>
                </p:cNvPr>
                <p:cNvSpPr/>
                <p:nvPr/>
              </p:nvSpPr>
              <p:spPr>
                <a:xfrm>
                  <a:off x="7916018" y="5138928"/>
                  <a:ext cx="113920" cy="118872"/>
                </a:xfrm>
                <a:prstGeom prst="rect">
                  <a:avLst/>
                </a:prstGeom>
                <a:solidFill>
                  <a:srgbClr val="41817E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fontAlgn="base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>
                    <a:solidFill>
                      <a:srgbClr val="FFFFFF"/>
                    </a:solidFill>
                    <a:latin typeface="Oracle Sans" panose="020B0503020204020204" pitchFamily="34" charset="0"/>
                  </a:endParaRPr>
                </a:p>
              </p:txBody>
            </p:sp>
          </p:grpSp>
          <p:grpSp>
            <p:nvGrpSpPr>
              <p:cNvPr id="275" name="Group 328">
                <a:extLst>
                  <a:ext uri="{FF2B5EF4-FFF2-40B4-BE49-F238E27FC236}">
                    <a16:creationId xmlns:a16="http://schemas.microsoft.com/office/drawing/2014/main" id="{8083AF52-8AEB-4C1A-9497-7B6B7581B0C6}"/>
                  </a:ext>
                </a:extLst>
              </p:cNvPr>
              <p:cNvGrpSpPr/>
              <p:nvPr/>
            </p:nvGrpSpPr>
            <p:grpSpPr>
              <a:xfrm>
                <a:off x="8355122" y="4691557"/>
                <a:ext cx="113920" cy="566243"/>
                <a:chOff x="7916018" y="4691557"/>
                <a:chExt cx="113920" cy="566243"/>
              </a:xfrm>
            </p:grpSpPr>
            <p:sp>
              <p:nvSpPr>
                <p:cNvPr id="281" name="Rectangle 280">
                  <a:extLst>
                    <a:ext uri="{FF2B5EF4-FFF2-40B4-BE49-F238E27FC236}">
                      <a16:creationId xmlns:a16="http://schemas.microsoft.com/office/drawing/2014/main" id="{4FC2C378-E486-488E-B244-C0B4C40A50B6}"/>
                    </a:ext>
                  </a:extLst>
                </p:cNvPr>
                <p:cNvSpPr/>
                <p:nvPr/>
              </p:nvSpPr>
              <p:spPr>
                <a:xfrm>
                  <a:off x="7916018" y="4691557"/>
                  <a:ext cx="113920" cy="118872"/>
                </a:xfrm>
                <a:prstGeom prst="rect">
                  <a:avLst/>
                </a:prstGeom>
                <a:solidFill>
                  <a:srgbClr val="41817E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fontAlgn="base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>
                    <a:solidFill>
                      <a:srgbClr val="FFFFFF"/>
                    </a:solidFill>
                    <a:latin typeface="Oracle Sans" panose="020B0503020204020204" pitchFamily="34" charset="0"/>
                  </a:endParaRPr>
                </a:p>
              </p:txBody>
            </p:sp>
            <p:sp>
              <p:nvSpPr>
                <p:cNvPr id="282" name="Rectangle 281">
                  <a:extLst>
                    <a:ext uri="{FF2B5EF4-FFF2-40B4-BE49-F238E27FC236}">
                      <a16:creationId xmlns:a16="http://schemas.microsoft.com/office/drawing/2014/main" id="{E04BB1F3-4851-44BE-A1FD-4B687FCF6E0F}"/>
                    </a:ext>
                  </a:extLst>
                </p:cNvPr>
                <p:cNvSpPr/>
                <p:nvPr/>
              </p:nvSpPr>
              <p:spPr>
                <a:xfrm>
                  <a:off x="7916018" y="4840681"/>
                  <a:ext cx="113920" cy="118872"/>
                </a:xfrm>
                <a:prstGeom prst="rect">
                  <a:avLst/>
                </a:prstGeom>
                <a:solidFill>
                  <a:srgbClr val="41817E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fontAlgn="base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>
                    <a:solidFill>
                      <a:srgbClr val="FFFFFF"/>
                    </a:solidFill>
                    <a:latin typeface="Oracle Sans" panose="020B0503020204020204" pitchFamily="34" charset="0"/>
                  </a:endParaRPr>
                </a:p>
              </p:txBody>
            </p:sp>
            <p:sp>
              <p:nvSpPr>
                <p:cNvPr id="283" name="Rectangle 282">
                  <a:extLst>
                    <a:ext uri="{FF2B5EF4-FFF2-40B4-BE49-F238E27FC236}">
                      <a16:creationId xmlns:a16="http://schemas.microsoft.com/office/drawing/2014/main" id="{6936B7E2-F679-4DDC-9425-8998861377B0}"/>
                    </a:ext>
                  </a:extLst>
                </p:cNvPr>
                <p:cNvSpPr/>
                <p:nvPr/>
              </p:nvSpPr>
              <p:spPr>
                <a:xfrm>
                  <a:off x="7916018" y="4989805"/>
                  <a:ext cx="113920" cy="118872"/>
                </a:xfrm>
                <a:prstGeom prst="rect">
                  <a:avLst/>
                </a:prstGeom>
                <a:solidFill>
                  <a:srgbClr val="594564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fontAlgn="base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>
                    <a:solidFill>
                      <a:srgbClr val="0070C0"/>
                    </a:solidFill>
                    <a:latin typeface="Oracle Sans" panose="020B0503020204020204" pitchFamily="34" charset="0"/>
                  </a:endParaRPr>
                </a:p>
              </p:txBody>
            </p:sp>
            <p:sp>
              <p:nvSpPr>
                <p:cNvPr id="284" name="Rectangle 283">
                  <a:extLst>
                    <a:ext uri="{FF2B5EF4-FFF2-40B4-BE49-F238E27FC236}">
                      <a16:creationId xmlns:a16="http://schemas.microsoft.com/office/drawing/2014/main" id="{D99676B4-7BC2-459F-8969-14A560833C4F}"/>
                    </a:ext>
                  </a:extLst>
                </p:cNvPr>
                <p:cNvSpPr/>
                <p:nvPr/>
              </p:nvSpPr>
              <p:spPr>
                <a:xfrm>
                  <a:off x="7916018" y="5138928"/>
                  <a:ext cx="113920" cy="118872"/>
                </a:xfrm>
                <a:prstGeom prst="rect">
                  <a:avLst/>
                </a:prstGeom>
                <a:solidFill>
                  <a:schemeClr val="accent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fontAlgn="base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>
                    <a:solidFill>
                      <a:srgbClr val="FFFFFF"/>
                    </a:solidFill>
                    <a:latin typeface="Oracle Sans" panose="020B0503020204020204" pitchFamily="34" charset="0"/>
                  </a:endParaRPr>
                </a:p>
              </p:txBody>
            </p:sp>
          </p:grpSp>
          <p:grpSp>
            <p:nvGrpSpPr>
              <p:cNvPr id="276" name="Group 329">
                <a:extLst>
                  <a:ext uri="{FF2B5EF4-FFF2-40B4-BE49-F238E27FC236}">
                    <a16:creationId xmlns:a16="http://schemas.microsoft.com/office/drawing/2014/main" id="{DB1C6A36-4B16-4F01-A7FD-E87BD153508F}"/>
                  </a:ext>
                </a:extLst>
              </p:cNvPr>
              <p:cNvGrpSpPr/>
              <p:nvPr/>
            </p:nvGrpSpPr>
            <p:grpSpPr>
              <a:xfrm>
                <a:off x="8501492" y="4691557"/>
                <a:ext cx="113920" cy="566243"/>
                <a:chOff x="7916018" y="4691557"/>
                <a:chExt cx="113920" cy="566243"/>
              </a:xfrm>
            </p:grpSpPr>
            <p:sp>
              <p:nvSpPr>
                <p:cNvPr id="277" name="Rectangle 276">
                  <a:extLst>
                    <a:ext uri="{FF2B5EF4-FFF2-40B4-BE49-F238E27FC236}">
                      <a16:creationId xmlns:a16="http://schemas.microsoft.com/office/drawing/2014/main" id="{2585C907-4A72-45CB-AEFB-848356ECB366}"/>
                    </a:ext>
                  </a:extLst>
                </p:cNvPr>
                <p:cNvSpPr/>
                <p:nvPr/>
              </p:nvSpPr>
              <p:spPr>
                <a:xfrm>
                  <a:off x="7916018" y="4691557"/>
                  <a:ext cx="113920" cy="118872"/>
                </a:xfrm>
                <a:prstGeom prst="rect">
                  <a:avLst/>
                </a:prstGeom>
                <a:solidFill>
                  <a:srgbClr val="41817E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fontAlgn="base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>
                    <a:solidFill>
                      <a:srgbClr val="FFFFFF"/>
                    </a:solidFill>
                    <a:latin typeface="Oracle Sans" panose="020B0503020204020204" pitchFamily="34" charset="0"/>
                  </a:endParaRPr>
                </a:p>
              </p:txBody>
            </p:sp>
            <p:sp>
              <p:nvSpPr>
                <p:cNvPr id="278" name="Rectangle 277">
                  <a:extLst>
                    <a:ext uri="{FF2B5EF4-FFF2-40B4-BE49-F238E27FC236}">
                      <a16:creationId xmlns:a16="http://schemas.microsoft.com/office/drawing/2014/main" id="{CF642506-F4A0-4C4D-8F8B-AE9D3EFF9C22}"/>
                    </a:ext>
                  </a:extLst>
                </p:cNvPr>
                <p:cNvSpPr/>
                <p:nvPr/>
              </p:nvSpPr>
              <p:spPr>
                <a:xfrm>
                  <a:off x="7916018" y="4840681"/>
                  <a:ext cx="113920" cy="118872"/>
                </a:xfrm>
                <a:prstGeom prst="rect">
                  <a:avLst/>
                </a:prstGeom>
                <a:solidFill>
                  <a:srgbClr val="594564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fontAlgn="base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>
                    <a:solidFill>
                      <a:srgbClr val="FFFFFF"/>
                    </a:solidFill>
                    <a:latin typeface="Oracle Sans" panose="020B0503020204020204" pitchFamily="34" charset="0"/>
                  </a:endParaRPr>
                </a:p>
              </p:txBody>
            </p:sp>
            <p:sp>
              <p:nvSpPr>
                <p:cNvPr id="279" name="Rectangle 278">
                  <a:extLst>
                    <a:ext uri="{FF2B5EF4-FFF2-40B4-BE49-F238E27FC236}">
                      <a16:creationId xmlns:a16="http://schemas.microsoft.com/office/drawing/2014/main" id="{DA16A46A-B577-4D81-AD62-60AB5360B6E7}"/>
                    </a:ext>
                  </a:extLst>
                </p:cNvPr>
                <p:cNvSpPr/>
                <p:nvPr/>
              </p:nvSpPr>
              <p:spPr>
                <a:xfrm>
                  <a:off x="7916018" y="4989805"/>
                  <a:ext cx="113920" cy="118872"/>
                </a:xfrm>
                <a:prstGeom prst="rect">
                  <a:avLst/>
                </a:prstGeom>
                <a:solidFill>
                  <a:srgbClr val="41817E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fontAlgn="base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>
                    <a:solidFill>
                      <a:srgbClr val="0070C0"/>
                    </a:solidFill>
                    <a:latin typeface="Oracle Sans" panose="020B0503020204020204" pitchFamily="34" charset="0"/>
                  </a:endParaRPr>
                </a:p>
              </p:txBody>
            </p:sp>
            <p:sp>
              <p:nvSpPr>
                <p:cNvPr id="280" name="Rectangle 279">
                  <a:extLst>
                    <a:ext uri="{FF2B5EF4-FFF2-40B4-BE49-F238E27FC236}">
                      <a16:creationId xmlns:a16="http://schemas.microsoft.com/office/drawing/2014/main" id="{D379244C-95D5-42EB-A100-80B62F7D564E}"/>
                    </a:ext>
                  </a:extLst>
                </p:cNvPr>
                <p:cNvSpPr/>
                <p:nvPr/>
              </p:nvSpPr>
              <p:spPr>
                <a:xfrm>
                  <a:off x="7916018" y="5138928"/>
                  <a:ext cx="113920" cy="118872"/>
                </a:xfrm>
                <a:prstGeom prst="rect">
                  <a:avLst/>
                </a:prstGeom>
                <a:solidFill>
                  <a:schemeClr val="accent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fontAlgn="base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>
                    <a:solidFill>
                      <a:srgbClr val="FFFFFF"/>
                    </a:solidFill>
                    <a:latin typeface="Oracle Sans" panose="020B0503020204020204" pitchFamily="34" charset="0"/>
                  </a:endParaRPr>
                </a:p>
              </p:txBody>
            </p:sp>
          </p:grpSp>
        </p:grpSp>
      </p:grpSp>
      <p:sp>
        <p:nvSpPr>
          <p:cNvPr id="297" name="Trapezoid 296">
            <a:extLst>
              <a:ext uri="{FF2B5EF4-FFF2-40B4-BE49-F238E27FC236}">
                <a16:creationId xmlns:a16="http://schemas.microsoft.com/office/drawing/2014/main" id="{B33C467A-9B60-46AC-BF66-AEBDC2F864F9}"/>
              </a:ext>
            </a:extLst>
          </p:cNvPr>
          <p:cNvSpPr/>
          <p:nvPr/>
        </p:nvSpPr>
        <p:spPr>
          <a:xfrm rot="16200000">
            <a:off x="-549656" y="2955493"/>
            <a:ext cx="4007663" cy="1143000"/>
          </a:xfrm>
          <a:prstGeom prst="trapezoid">
            <a:avLst>
              <a:gd name="adj" fmla="val 135438"/>
            </a:avLst>
          </a:prstGeom>
          <a:gradFill flip="none" rotWithShape="1">
            <a:gsLst>
              <a:gs pos="0">
                <a:schemeClr val="accent6"/>
              </a:gs>
              <a:gs pos="100000">
                <a:schemeClr val="accent4"/>
              </a:gs>
            </a:gsLst>
            <a:lin ang="5400000" scaled="0"/>
          </a:gra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6" tIns="45719" rIns="91436" bIns="4571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>
              <a:solidFill>
                <a:srgbClr val="FFFFFF"/>
              </a:solidFill>
              <a:latin typeface="Oracle Sans" panose="020B0503020204020204" pitchFamily="34" charset="0"/>
            </a:endParaRPr>
          </a:p>
        </p:txBody>
      </p:sp>
      <p:sp>
        <p:nvSpPr>
          <p:cNvPr id="298" name="Oval 297">
            <a:extLst>
              <a:ext uri="{FF2B5EF4-FFF2-40B4-BE49-F238E27FC236}">
                <a16:creationId xmlns:a16="http://schemas.microsoft.com/office/drawing/2014/main" id="{F08B1BE5-C1EA-4E6A-A6DC-6065C6E7B43C}"/>
              </a:ext>
            </a:extLst>
          </p:cNvPr>
          <p:cNvSpPr/>
          <p:nvPr/>
        </p:nvSpPr>
        <p:spPr>
          <a:xfrm>
            <a:off x="223457" y="2940023"/>
            <a:ext cx="1447800" cy="1447800"/>
          </a:xfrm>
          <a:prstGeom prst="ellipse">
            <a:avLst/>
          </a:prstGeom>
          <a:blipFill dpi="0" rotWithShape="1">
            <a:blip r:embed="rId9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 w="19050">
            <a:noFill/>
            <a:miter lim="800000"/>
          </a:ln>
          <a:effectLst>
            <a:outerShdw blurRad="2413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6" tIns="45719" rIns="91436" bIns="4571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>
              <a:solidFill>
                <a:srgbClr val="FFFFFF"/>
              </a:solidFill>
              <a:latin typeface="Oracle Sans" panose="020B0503020204020204" pitchFamily="34" charset="0"/>
            </a:endParaRPr>
          </a:p>
        </p:txBody>
      </p:sp>
      <p:sp>
        <p:nvSpPr>
          <p:cNvPr id="299" name="TextBox 298">
            <a:extLst>
              <a:ext uri="{FF2B5EF4-FFF2-40B4-BE49-F238E27FC236}">
                <a16:creationId xmlns:a16="http://schemas.microsoft.com/office/drawing/2014/main" id="{C6C16C19-0F6B-403C-A9AB-617BBD64B368}"/>
              </a:ext>
            </a:extLst>
          </p:cNvPr>
          <p:cNvSpPr txBox="1"/>
          <p:nvPr/>
        </p:nvSpPr>
        <p:spPr>
          <a:xfrm>
            <a:off x="147258" y="4616423"/>
            <a:ext cx="1600201" cy="5334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b="1">
                <a:solidFill>
                  <a:srgbClr val="5F5F5F"/>
                </a:solidFill>
              </a:rPr>
              <a:t>Time</a:t>
            </a:r>
            <a:br>
              <a:rPr lang="en-US" sz="1600" b="1">
                <a:solidFill>
                  <a:srgbClr val="5F5F5F"/>
                </a:solidFill>
              </a:rPr>
            </a:br>
            <a:r>
              <a:rPr lang="en-US" sz="1600" b="1">
                <a:solidFill>
                  <a:srgbClr val="5F5F5F"/>
                </a:solidFill>
              </a:rPr>
              <a:t>Machine</a:t>
            </a:r>
          </a:p>
        </p:txBody>
      </p:sp>
      <p:sp>
        <p:nvSpPr>
          <p:cNvPr id="300" name="Oval 299">
            <a:extLst>
              <a:ext uri="{FF2B5EF4-FFF2-40B4-BE49-F238E27FC236}">
                <a16:creationId xmlns:a16="http://schemas.microsoft.com/office/drawing/2014/main" id="{D0341D4C-B4DD-4BF4-A5F0-84EF142D142E}"/>
              </a:ext>
            </a:extLst>
          </p:cNvPr>
          <p:cNvSpPr/>
          <p:nvPr/>
        </p:nvSpPr>
        <p:spPr>
          <a:xfrm>
            <a:off x="363455" y="3081790"/>
            <a:ext cx="1143000" cy="1143000"/>
          </a:xfrm>
          <a:prstGeom prst="ellipse">
            <a:avLst/>
          </a:prstGeom>
          <a:solidFill>
            <a:schemeClr val="tx2"/>
          </a:solidFill>
          <a:ln w="19050">
            <a:noFill/>
            <a:miter lim="800000"/>
          </a:ln>
          <a:scene3d>
            <a:camera prst="orthographicFront"/>
            <a:lightRig rig="threePt" dir="t"/>
          </a:scene3d>
          <a:sp3d>
            <a:bevelT w="527050" h="28575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6" tIns="45719" rIns="91436" bIns="4571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>
              <a:solidFill>
                <a:srgbClr val="FFFFFF"/>
              </a:solidFill>
              <a:latin typeface="Oracle Sans" panose="020B0503020204020204" pitchFamily="34" charset="0"/>
            </a:endParaRPr>
          </a:p>
        </p:txBody>
      </p:sp>
      <p:sp>
        <p:nvSpPr>
          <p:cNvPr id="301" name="Oval 300">
            <a:extLst>
              <a:ext uri="{FF2B5EF4-FFF2-40B4-BE49-F238E27FC236}">
                <a16:creationId xmlns:a16="http://schemas.microsoft.com/office/drawing/2014/main" id="{F0DB0BB9-C184-4349-B77C-9EE623F77961}"/>
              </a:ext>
            </a:extLst>
          </p:cNvPr>
          <p:cNvSpPr/>
          <p:nvPr/>
        </p:nvSpPr>
        <p:spPr>
          <a:xfrm>
            <a:off x="363455" y="3081790"/>
            <a:ext cx="1143000" cy="1143000"/>
          </a:xfrm>
          <a:prstGeom prst="ellipse">
            <a:avLst/>
          </a:prstGeom>
          <a:solidFill>
            <a:schemeClr val="tx2"/>
          </a:solidFill>
          <a:ln w="19050">
            <a:noFill/>
            <a:miter lim="800000"/>
          </a:ln>
          <a:effectLst>
            <a:glow rad="241300">
              <a:schemeClr val="bg1">
                <a:alpha val="60000"/>
              </a:schemeClr>
            </a:glow>
          </a:effectLst>
          <a:scene3d>
            <a:camera prst="orthographicFront"/>
            <a:lightRig rig="threePt" dir="t"/>
          </a:scene3d>
          <a:sp3d>
            <a:bevelT w="527050" h="28575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6" tIns="45719" rIns="91436" bIns="4571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>
              <a:solidFill>
                <a:srgbClr val="FFFFFF"/>
              </a:solidFill>
              <a:latin typeface="Oracle Sans" panose="020B0503020204020204" pitchFamily="34" charset="0"/>
            </a:endParaRPr>
          </a:p>
        </p:txBody>
      </p:sp>
      <p:sp>
        <p:nvSpPr>
          <p:cNvPr id="302" name="Arc 301">
            <a:extLst>
              <a:ext uri="{FF2B5EF4-FFF2-40B4-BE49-F238E27FC236}">
                <a16:creationId xmlns:a16="http://schemas.microsoft.com/office/drawing/2014/main" id="{CA8327C6-9CE6-4312-9712-F20ED470549D}"/>
              </a:ext>
            </a:extLst>
          </p:cNvPr>
          <p:cNvSpPr/>
          <p:nvPr/>
        </p:nvSpPr>
        <p:spPr>
          <a:xfrm>
            <a:off x="593823" y="3310390"/>
            <a:ext cx="685800" cy="685800"/>
          </a:xfrm>
          <a:prstGeom prst="arc">
            <a:avLst>
              <a:gd name="adj1" fmla="val 15006169"/>
              <a:gd name="adj2" fmla="val 12876854"/>
            </a:avLst>
          </a:prstGeom>
          <a:ln w="76200">
            <a:solidFill>
              <a:schemeClr val="bg1"/>
            </a:solidFill>
            <a:miter lim="800000"/>
            <a:headEnd type="none" w="med" len="med"/>
            <a:tailEnd type="triangle" w="med" len="med"/>
          </a:ln>
          <a:effectLst>
            <a:glow rad="101600">
              <a:schemeClr val="accent4">
                <a:satMod val="175000"/>
                <a:alpha val="7000"/>
              </a:schemeClr>
            </a:glo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91436" tIns="45719" rIns="91436" bIns="45719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  <a:defRPr/>
            </a:pPr>
            <a:endParaRPr lang="en-US">
              <a:solidFill>
                <a:srgbClr val="5F5F5F"/>
              </a:solidFill>
              <a:latin typeface="Oracle Sans" panose="020B0503020204020204" pitchFamily="34" charset="0"/>
            </a:endParaRPr>
          </a:p>
        </p:txBody>
      </p:sp>
      <p:pic>
        <p:nvPicPr>
          <p:cNvPr id="303" name="Picture 302">
            <a:extLst>
              <a:ext uri="{FF2B5EF4-FFF2-40B4-BE49-F238E27FC236}">
                <a16:creationId xmlns:a16="http://schemas.microsoft.com/office/drawing/2014/main" id="{35AA3C3A-9865-4F19-BF7D-34637559397E}"/>
              </a:ext>
            </a:extLst>
          </p:cNvPr>
          <p:cNvPicPr>
            <a:picLocks noChangeAspect="1"/>
          </p:cNvPicPr>
          <p:nvPr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8386" y="3266090"/>
            <a:ext cx="808070" cy="808071"/>
          </a:xfrm>
          <a:prstGeom prst="rect">
            <a:avLst/>
          </a:prstGeom>
        </p:spPr>
      </p:pic>
      <p:sp>
        <p:nvSpPr>
          <p:cNvPr id="5" name="Slide Number Placeholder 4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345D60D9-5372-5F40-9443-0F9AE5BDC3C8}" type="slidenum">
              <a:rPr lang="en-US" smtClean="0"/>
              <a:t>4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74154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iterate type="lt">
                                    <p:tmAbs val="1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2001"/>
                            </p:stCondLst>
                            <p:childTnLst>
                              <p:par>
                                <p:cTn id="8" presetID="53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0" dur="500" fill="hold"/>
                                        <p:tgtEl>
                                          <p:spTgt spid="26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" dur="500" fill="hold"/>
                                        <p:tgtEl>
                                          <p:spTgt spid="26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26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2501"/>
                            </p:stCondLst>
                            <p:childTnLst>
                              <p:par>
                                <p:cTn id="14" presetID="10" presetClass="entr" presetSubtype="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2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3501"/>
                            </p:stCondLst>
                            <p:childTnLst>
                              <p:par>
                                <p:cTn id="18" presetID="64" presetClass="path" presetSubtype="0" accel="50000" decel="5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1.04167E-6 -4.44444E-6 L 0.00065 -0.28842 " pathEditMode="relative" rAng="0" ptsTypes="AA">
                                      <p:cBhvr>
                                        <p:cTn id="19" dur="2000" fill="hold"/>
                                        <p:tgtEl>
                                          <p:spTgt spid="15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6" y="-14421"/>
                                    </p:animMotion>
                                  </p:childTnLst>
                                </p:cTn>
                              </p:par>
                              <p:par>
                                <p:cTn id="20" presetID="64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11022E-16 -4.44444E-6 L -0.08997 -0.28842 " pathEditMode="relative" rAng="0" ptsTypes="AA">
                                      <p:cBhvr>
                                        <p:cTn id="21" dur="2000" fill="hold"/>
                                        <p:tgtEl>
                                          <p:spTgt spid="18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4505" y="-14421"/>
                                    </p:animMotion>
                                  </p:childTnLst>
                                </p:cTn>
                              </p:par>
                              <p:par>
                                <p:cTn id="22" presetID="64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16667E-7 -4.44444E-6 L 0.09128 -0.28842 " pathEditMode="relative" rAng="0" ptsTypes="AA">
                                      <p:cBhvr>
                                        <p:cTn id="23" dur="2000" fill="hold"/>
                                        <p:tgtEl>
                                          <p:spTgt spid="12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4557" y="-14421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5501"/>
                            </p:stCondLst>
                            <p:childTnLst>
                              <p:par>
                                <p:cTn id="25" presetID="1" presetClass="exit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7" fill="hold">
                            <p:stCondLst>
                              <p:cond delay="5501"/>
                            </p:stCondLst>
                            <p:childTnLst>
                              <p:par>
                                <p:cTn id="28" presetID="1" presetClass="exit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0" fill="hold">
                            <p:stCondLst>
                              <p:cond delay="5501"/>
                            </p:stCondLst>
                            <p:childTnLst>
                              <p:par>
                                <p:cTn id="31" presetID="1" presetClass="exit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3" fill="hold">
                            <p:stCondLst>
                              <p:cond delay="5501"/>
                            </p:stCondLst>
                            <p:childTnLst>
                              <p:par>
                                <p:cTn id="34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10"/>
                                        <p:tgtEl>
                                          <p:spTgt spid="26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7" fill="hold">
                            <p:stCondLst>
                              <p:cond delay="5511"/>
                            </p:stCondLst>
                            <p:childTnLst>
                              <p:par>
                                <p:cTn id="38" presetID="50" presetClass="path" presetSubtype="0" accel="50000" decel="5000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animMotion origin="layout" path="M -4.58333E-6 4.44444E-6 L -0.26809 4.44444E-6 C -0.38841 4.44444E-6 -0.53632 0.0412 -0.53632 0.075 L -0.53632 0.15023 " pathEditMode="relative" rAng="0" ptsTypes="AAAA">
                                      <p:cBhvr>
                                        <p:cTn id="39" dur="2000" fill="hold"/>
                                        <p:tgtEl>
                                          <p:spTgt spid="26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26823" y="750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61" grpId="0" animBg="1"/>
      <p:bldP spid="262" grpId="0"/>
      <p:bldP spid="263" grpId="0"/>
    </p:bld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026A9AB4-22A6-444D-8137-BE719F16AD7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Real-time protection of database changes increases resiliency with point-in-time recovery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3634E940-ED8C-47BF-A6A3-6831EB44C13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covery Service continuously protects Oracle databases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23C090C-8EDA-4141-9356-9EA9C40DBF3C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1127760" y="6418673"/>
            <a:ext cx="5745379" cy="365125"/>
          </a:xfrm>
        </p:spPr>
        <p:txBody>
          <a:bodyPr/>
          <a:lstStyle/>
          <a:p>
            <a:r>
              <a:rPr lang="en-US" dirty="0" smtClean="0"/>
              <a:t>Copyright © 2024, Oracle and/or its affiliates. All rights reserved   </a:t>
            </a:r>
            <a:endParaRPr lang="en-US" dirty="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A1727C4E-CE30-417D-990E-C9A5906B0DE5}"/>
              </a:ext>
            </a:extLst>
          </p:cNvPr>
          <p:cNvSpPr/>
          <p:nvPr/>
        </p:nvSpPr>
        <p:spPr>
          <a:xfrm>
            <a:off x="2039208" y="1523161"/>
            <a:ext cx="4999400" cy="4007662"/>
          </a:xfrm>
          <a:prstGeom prst="rect">
            <a:avLst/>
          </a:prstGeom>
          <a:solidFill>
            <a:schemeClr val="accent2">
              <a:alpha val="26000"/>
            </a:schemeClr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6" tIns="45719" rIns="91436" bIns="4571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b="1" dirty="0">
              <a:solidFill>
                <a:srgbClr val="41817E"/>
              </a:solidFill>
            </a:endParaRPr>
          </a:p>
        </p:txBody>
      </p:sp>
      <p:sp>
        <p:nvSpPr>
          <p:cNvPr id="9" name="Right Arrow 13">
            <a:extLst>
              <a:ext uri="{FF2B5EF4-FFF2-40B4-BE49-F238E27FC236}">
                <a16:creationId xmlns:a16="http://schemas.microsoft.com/office/drawing/2014/main" id="{6B7557C6-C417-4E8D-8B2C-2BC389A85F30}"/>
              </a:ext>
            </a:extLst>
          </p:cNvPr>
          <p:cNvSpPr/>
          <p:nvPr/>
        </p:nvSpPr>
        <p:spPr>
          <a:xfrm>
            <a:off x="3552709" y="4159224"/>
            <a:ext cx="2038100" cy="636523"/>
          </a:xfrm>
          <a:prstGeom prst="rightArrow">
            <a:avLst/>
          </a:prstGeom>
          <a:gradFill>
            <a:gsLst>
              <a:gs pos="0">
                <a:srgbClr val="E5DBBE"/>
              </a:gs>
              <a:gs pos="96000">
                <a:srgbClr val="D39F5D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893" tIns="60947" rIns="121893" bIns="60947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>
              <a:solidFill>
                <a:srgbClr val="FFFFFF"/>
              </a:solidFill>
              <a:latin typeface="Oracle Sans" panose="020B0503020204020204" pitchFamily="34" charset="0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40B6B68F-8232-40BF-B93F-22A6816BA2BD}"/>
              </a:ext>
            </a:extLst>
          </p:cNvPr>
          <p:cNvSpPr txBox="1"/>
          <p:nvPr/>
        </p:nvSpPr>
        <p:spPr>
          <a:xfrm>
            <a:off x="2847607" y="5552089"/>
            <a:ext cx="4164394" cy="338528"/>
          </a:xfrm>
          <a:prstGeom prst="rect">
            <a:avLst/>
          </a:prstGeom>
          <a:noFill/>
        </p:spPr>
        <p:txBody>
          <a:bodyPr wrap="square" lIns="121893" tIns="60947" rIns="121893" bIns="60947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00" b="1">
                <a:solidFill>
                  <a:srgbClr val="FFFFFF"/>
                </a:solidFill>
                <a:ea typeface="ＭＳ Ｐゴシック" pitchFamily="34" charset="-128"/>
              </a:rPr>
              <a:t>Recovery Appliance Delta Push (What it Does)</a:t>
            </a: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AC4D3F40-9750-474A-B267-466167E4507C}"/>
              </a:ext>
            </a:extLst>
          </p:cNvPr>
          <p:cNvGrpSpPr>
            <a:grpSpLocks noChangeAspect="1"/>
          </p:cNvGrpSpPr>
          <p:nvPr/>
        </p:nvGrpSpPr>
        <p:grpSpPr>
          <a:xfrm>
            <a:off x="5114764" y="3413753"/>
            <a:ext cx="1995143" cy="1995143"/>
            <a:chOff x="8428348" y="3608272"/>
            <a:chExt cx="2437447" cy="2437447"/>
          </a:xfrm>
          <a:solidFill>
            <a:schemeClr val="tx1"/>
          </a:solidFill>
        </p:grpSpPr>
        <p:pic>
          <p:nvPicPr>
            <p:cNvPr id="13" name="Picture Placeholder 48">
              <a:extLst>
                <a:ext uri="{FF2B5EF4-FFF2-40B4-BE49-F238E27FC236}">
                  <a16:creationId xmlns:a16="http://schemas.microsoft.com/office/drawing/2014/main" id="{C3F2B807-179E-4E10-A1A3-18B7BB6929C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4"/>
                </a:ext>
              </a:extLst>
            </a:blip>
            <a:srcRect/>
            <a:stretch/>
          </p:blipFill>
          <p:spPr>
            <a:xfrm>
              <a:off x="8428348" y="3608272"/>
              <a:ext cx="2437447" cy="2437447"/>
            </a:xfrm>
            <a:prstGeom prst="rect">
              <a:avLst/>
            </a:prstGeom>
            <a:noFill/>
          </p:spPr>
        </p:pic>
        <p:sp>
          <p:nvSpPr>
            <p:cNvPr id="14" name="Picture Placeholder 39">
              <a:extLst>
                <a:ext uri="{FF2B5EF4-FFF2-40B4-BE49-F238E27FC236}">
                  <a16:creationId xmlns:a16="http://schemas.microsoft.com/office/drawing/2014/main" id="{C4FF9A5B-4CDB-4A99-B862-541592776FAD}"/>
                </a:ext>
              </a:extLst>
            </p:cNvPr>
            <p:cNvSpPr/>
            <p:nvPr/>
          </p:nvSpPr>
          <p:spPr>
            <a:xfrm>
              <a:off x="8766799" y="3782717"/>
              <a:ext cx="1897169" cy="833684"/>
            </a:xfrm>
            <a:custGeom>
              <a:avLst/>
              <a:gdLst>
                <a:gd name="connsiteX0" fmla="*/ 2018699 w 2074600"/>
                <a:gd name="connsiteY0" fmla="*/ 1012775 h 1036171"/>
                <a:gd name="connsiteX1" fmla="*/ 2005998 w 2074600"/>
                <a:gd name="connsiteY1" fmla="*/ 1036172 h 1036171"/>
                <a:gd name="connsiteX2" fmla="*/ 1071686 w 2074600"/>
                <a:gd name="connsiteY2" fmla="*/ 1036172 h 1036171"/>
                <a:gd name="connsiteX3" fmla="*/ 773655 w 2074600"/>
                <a:gd name="connsiteY3" fmla="*/ 735356 h 1036171"/>
                <a:gd name="connsiteX4" fmla="*/ 862785 w 2074600"/>
                <a:gd name="connsiteY4" fmla="*/ 735356 h 1036171"/>
                <a:gd name="connsiteX5" fmla="*/ 1071686 w 2074600"/>
                <a:gd name="connsiteY5" fmla="*/ 947041 h 1036171"/>
                <a:gd name="connsiteX6" fmla="*/ 1951851 w 2074600"/>
                <a:gd name="connsiteY6" fmla="*/ 947041 h 1036171"/>
                <a:gd name="connsiteX7" fmla="*/ 1808574 w 2074600"/>
                <a:gd name="connsiteY7" fmla="*/ 470526 h 1036171"/>
                <a:gd name="connsiteX8" fmla="*/ 1688693 w 2074600"/>
                <a:gd name="connsiteY8" fmla="*/ 421170 h 1036171"/>
                <a:gd name="connsiteX9" fmla="*/ 1523467 w 2074600"/>
                <a:gd name="connsiteY9" fmla="*/ 292710 h 1036171"/>
                <a:gd name="connsiteX10" fmla="*/ 1030329 w 2074600"/>
                <a:gd name="connsiteY10" fmla="*/ 127885 h 1036171"/>
                <a:gd name="connsiteX11" fmla="*/ 924954 w 2074600"/>
                <a:gd name="connsiteY11" fmla="*/ 206810 h 1036171"/>
                <a:gd name="connsiteX12" fmla="*/ 730203 w 2074600"/>
                <a:gd name="connsiteY12" fmla="*/ 279786 h 1036171"/>
                <a:gd name="connsiteX13" fmla="*/ 430613 w 2074600"/>
                <a:gd name="connsiteY13" fmla="*/ 503616 h 1036171"/>
                <a:gd name="connsiteX14" fmla="*/ 306053 w 2074600"/>
                <a:gd name="connsiteY14" fmla="*/ 669733 h 1036171"/>
                <a:gd name="connsiteX15" fmla="*/ 98824 w 2074600"/>
                <a:gd name="connsiteY15" fmla="*/ 947041 h 1036171"/>
                <a:gd name="connsiteX16" fmla="*/ 773655 w 2074600"/>
                <a:gd name="connsiteY16" fmla="*/ 947041 h 1036171"/>
                <a:gd name="connsiteX17" fmla="*/ 862228 w 2074600"/>
                <a:gd name="connsiteY17" fmla="*/ 1036172 h 1036171"/>
                <a:gd name="connsiteX18" fmla="*/ 0 w 2074600"/>
                <a:gd name="connsiteY18" fmla="*/ 1036172 h 1036171"/>
                <a:gd name="connsiteX19" fmla="*/ 3565 w 2074600"/>
                <a:gd name="connsiteY19" fmla="*/ 988264 h 1036171"/>
                <a:gd name="connsiteX20" fmla="*/ 264607 w 2074600"/>
                <a:gd name="connsiteY20" fmla="*/ 590518 h 1036171"/>
                <a:gd name="connsiteX21" fmla="*/ 342596 w 2074600"/>
                <a:gd name="connsiteY21" fmla="*/ 486124 h 1036171"/>
                <a:gd name="connsiteX22" fmla="*/ 737891 w 2074600"/>
                <a:gd name="connsiteY22" fmla="*/ 190655 h 1036171"/>
                <a:gd name="connsiteX23" fmla="*/ 858886 w 2074600"/>
                <a:gd name="connsiteY23" fmla="*/ 146090 h 1036171"/>
                <a:gd name="connsiteX24" fmla="*/ 1504437 w 2074600"/>
                <a:gd name="connsiteY24" fmla="*/ 121947 h 1036171"/>
                <a:gd name="connsiteX25" fmla="*/ 1602459 w 2074600"/>
                <a:gd name="connsiteY25" fmla="*/ 252824 h 1036171"/>
                <a:gd name="connsiteX26" fmla="*/ 1707076 w 2074600"/>
                <a:gd name="connsiteY26" fmla="*/ 334156 h 1036171"/>
                <a:gd name="connsiteX27" fmla="*/ 2063577 w 2074600"/>
                <a:gd name="connsiteY27" fmla="*/ 891680 h 1036171"/>
                <a:gd name="connsiteX28" fmla="*/ 2018699 w 2074600"/>
                <a:gd name="connsiteY28" fmla="*/ 1012775 h 1036171"/>
                <a:gd name="connsiteX0" fmla="*/ 2018699 w 2074600"/>
                <a:gd name="connsiteY0" fmla="*/ 1012775 h 1036172"/>
                <a:gd name="connsiteX1" fmla="*/ 2005998 w 2074600"/>
                <a:gd name="connsiteY1" fmla="*/ 1036172 h 1036172"/>
                <a:gd name="connsiteX2" fmla="*/ 1071686 w 2074600"/>
                <a:gd name="connsiteY2" fmla="*/ 1036172 h 1036172"/>
                <a:gd name="connsiteX3" fmla="*/ 773655 w 2074600"/>
                <a:gd name="connsiteY3" fmla="*/ 735356 h 1036172"/>
                <a:gd name="connsiteX4" fmla="*/ 862785 w 2074600"/>
                <a:gd name="connsiteY4" fmla="*/ 735356 h 1036172"/>
                <a:gd name="connsiteX5" fmla="*/ 1071686 w 2074600"/>
                <a:gd name="connsiteY5" fmla="*/ 947041 h 1036172"/>
                <a:gd name="connsiteX6" fmla="*/ 1951851 w 2074600"/>
                <a:gd name="connsiteY6" fmla="*/ 947041 h 1036172"/>
                <a:gd name="connsiteX7" fmla="*/ 1808574 w 2074600"/>
                <a:gd name="connsiteY7" fmla="*/ 470526 h 1036172"/>
                <a:gd name="connsiteX8" fmla="*/ 1688693 w 2074600"/>
                <a:gd name="connsiteY8" fmla="*/ 421170 h 1036172"/>
                <a:gd name="connsiteX9" fmla="*/ 1523467 w 2074600"/>
                <a:gd name="connsiteY9" fmla="*/ 292710 h 1036172"/>
                <a:gd name="connsiteX10" fmla="*/ 1030329 w 2074600"/>
                <a:gd name="connsiteY10" fmla="*/ 127885 h 1036172"/>
                <a:gd name="connsiteX11" fmla="*/ 924954 w 2074600"/>
                <a:gd name="connsiteY11" fmla="*/ 206810 h 1036172"/>
                <a:gd name="connsiteX12" fmla="*/ 730203 w 2074600"/>
                <a:gd name="connsiteY12" fmla="*/ 279786 h 1036172"/>
                <a:gd name="connsiteX13" fmla="*/ 430613 w 2074600"/>
                <a:gd name="connsiteY13" fmla="*/ 503616 h 1036172"/>
                <a:gd name="connsiteX14" fmla="*/ 306053 w 2074600"/>
                <a:gd name="connsiteY14" fmla="*/ 669733 h 1036172"/>
                <a:gd name="connsiteX15" fmla="*/ 98824 w 2074600"/>
                <a:gd name="connsiteY15" fmla="*/ 947041 h 1036172"/>
                <a:gd name="connsiteX16" fmla="*/ 570455 w 2074600"/>
                <a:gd name="connsiteY16" fmla="*/ 947041 h 1036172"/>
                <a:gd name="connsiteX17" fmla="*/ 862228 w 2074600"/>
                <a:gd name="connsiteY17" fmla="*/ 1036172 h 1036172"/>
                <a:gd name="connsiteX18" fmla="*/ 0 w 2074600"/>
                <a:gd name="connsiteY18" fmla="*/ 1036172 h 1036172"/>
                <a:gd name="connsiteX19" fmla="*/ 3565 w 2074600"/>
                <a:gd name="connsiteY19" fmla="*/ 988264 h 1036172"/>
                <a:gd name="connsiteX20" fmla="*/ 264607 w 2074600"/>
                <a:gd name="connsiteY20" fmla="*/ 590518 h 1036172"/>
                <a:gd name="connsiteX21" fmla="*/ 342596 w 2074600"/>
                <a:gd name="connsiteY21" fmla="*/ 486124 h 1036172"/>
                <a:gd name="connsiteX22" fmla="*/ 737891 w 2074600"/>
                <a:gd name="connsiteY22" fmla="*/ 190655 h 1036172"/>
                <a:gd name="connsiteX23" fmla="*/ 858886 w 2074600"/>
                <a:gd name="connsiteY23" fmla="*/ 146090 h 1036172"/>
                <a:gd name="connsiteX24" fmla="*/ 1504437 w 2074600"/>
                <a:gd name="connsiteY24" fmla="*/ 121947 h 1036172"/>
                <a:gd name="connsiteX25" fmla="*/ 1602459 w 2074600"/>
                <a:gd name="connsiteY25" fmla="*/ 252824 h 1036172"/>
                <a:gd name="connsiteX26" fmla="*/ 1707076 w 2074600"/>
                <a:gd name="connsiteY26" fmla="*/ 334156 h 1036172"/>
                <a:gd name="connsiteX27" fmla="*/ 2063577 w 2074600"/>
                <a:gd name="connsiteY27" fmla="*/ 891680 h 1036172"/>
                <a:gd name="connsiteX28" fmla="*/ 2018699 w 2074600"/>
                <a:gd name="connsiteY28" fmla="*/ 1012775 h 1036172"/>
                <a:gd name="connsiteX0" fmla="*/ 2018699 w 2074600"/>
                <a:gd name="connsiteY0" fmla="*/ 1012775 h 1039251"/>
                <a:gd name="connsiteX1" fmla="*/ 2005998 w 2074600"/>
                <a:gd name="connsiteY1" fmla="*/ 1036172 h 1039251"/>
                <a:gd name="connsiteX2" fmla="*/ 1071686 w 2074600"/>
                <a:gd name="connsiteY2" fmla="*/ 1036172 h 1039251"/>
                <a:gd name="connsiteX3" fmla="*/ 773655 w 2074600"/>
                <a:gd name="connsiteY3" fmla="*/ 735356 h 1039251"/>
                <a:gd name="connsiteX4" fmla="*/ 862785 w 2074600"/>
                <a:gd name="connsiteY4" fmla="*/ 735356 h 1039251"/>
                <a:gd name="connsiteX5" fmla="*/ 1071686 w 2074600"/>
                <a:gd name="connsiteY5" fmla="*/ 947041 h 1039251"/>
                <a:gd name="connsiteX6" fmla="*/ 1951851 w 2074600"/>
                <a:gd name="connsiteY6" fmla="*/ 947041 h 1039251"/>
                <a:gd name="connsiteX7" fmla="*/ 1808574 w 2074600"/>
                <a:gd name="connsiteY7" fmla="*/ 470526 h 1039251"/>
                <a:gd name="connsiteX8" fmla="*/ 1688693 w 2074600"/>
                <a:gd name="connsiteY8" fmla="*/ 421170 h 1039251"/>
                <a:gd name="connsiteX9" fmla="*/ 1523467 w 2074600"/>
                <a:gd name="connsiteY9" fmla="*/ 292710 h 1039251"/>
                <a:gd name="connsiteX10" fmla="*/ 1030329 w 2074600"/>
                <a:gd name="connsiteY10" fmla="*/ 127885 h 1039251"/>
                <a:gd name="connsiteX11" fmla="*/ 924954 w 2074600"/>
                <a:gd name="connsiteY11" fmla="*/ 206810 h 1039251"/>
                <a:gd name="connsiteX12" fmla="*/ 730203 w 2074600"/>
                <a:gd name="connsiteY12" fmla="*/ 279786 h 1039251"/>
                <a:gd name="connsiteX13" fmla="*/ 430613 w 2074600"/>
                <a:gd name="connsiteY13" fmla="*/ 503616 h 1039251"/>
                <a:gd name="connsiteX14" fmla="*/ 306053 w 2074600"/>
                <a:gd name="connsiteY14" fmla="*/ 669733 h 1039251"/>
                <a:gd name="connsiteX15" fmla="*/ 98824 w 2074600"/>
                <a:gd name="connsiteY15" fmla="*/ 947041 h 1039251"/>
                <a:gd name="connsiteX16" fmla="*/ 570455 w 2074600"/>
                <a:gd name="connsiteY16" fmla="*/ 947041 h 1039251"/>
                <a:gd name="connsiteX17" fmla="*/ 588216 w 2074600"/>
                <a:gd name="connsiteY17" fmla="*/ 1039251 h 1039251"/>
                <a:gd name="connsiteX18" fmla="*/ 0 w 2074600"/>
                <a:gd name="connsiteY18" fmla="*/ 1036172 h 1039251"/>
                <a:gd name="connsiteX19" fmla="*/ 3565 w 2074600"/>
                <a:gd name="connsiteY19" fmla="*/ 988264 h 1039251"/>
                <a:gd name="connsiteX20" fmla="*/ 264607 w 2074600"/>
                <a:gd name="connsiteY20" fmla="*/ 590518 h 1039251"/>
                <a:gd name="connsiteX21" fmla="*/ 342596 w 2074600"/>
                <a:gd name="connsiteY21" fmla="*/ 486124 h 1039251"/>
                <a:gd name="connsiteX22" fmla="*/ 737891 w 2074600"/>
                <a:gd name="connsiteY22" fmla="*/ 190655 h 1039251"/>
                <a:gd name="connsiteX23" fmla="*/ 858886 w 2074600"/>
                <a:gd name="connsiteY23" fmla="*/ 146090 h 1039251"/>
                <a:gd name="connsiteX24" fmla="*/ 1504437 w 2074600"/>
                <a:gd name="connsiteY24" fmla="*/ 121947 h 1039251"/>
                <a:gd name="connsiteX25" fmla="*/ 1602459 w 2074600"/>
                <a:gd name="connsiteY25" fmla="*/ 252824 h 1039251"/>
                <a:gd name="connsiteX26" fmla="*/ 1707076 w 2074600"/>
                <a:gd name="connsiteY26" fmla="*/ 334156 h 1039251"/>
                <a:gd name="connsiteX27" fmla="*/ 2063577 w 2074600"/>
                <a:gd name="connsiteY27" fmla="*/ 891680 h 1039251"/>
                <a:gd name="connsiteX28" fmla="*/ 2018699 w 2074600"/>
                <a:gd name="connsiteY28" fmla="*/ 1012775 h 1039251"/>
                <a:gd name="connsiteX0" fmla="*/ 2018699 w 2074600"/>
                <a:gd name="connsiteY0" fmla="*/ 1012775 h 1036172"/>
                <a:gd name="connsiteX1" fmla="*/ 2005998 w 2074600"/>
                <a:gd name="connsiteY1" fmla="*/ 1036172 h 1036172"/>
                <a:gd name="connsiteX2" fmla="*/ 1071686 w 2074600"/>
                <a:gd name="connsiteY2" fmla="*/ 1036172 h 1036172"/>
                <a:gd name="connsiteX3" fmla="*/ 773655 w 2074600"/>
                <a:gd name="connsiteY3" fmla="*/ 735356 h 1036172"/>
                <a:gd name="connsiteX4" fmla="*/ 862785 w 2074600"/>
                <a:gd name="connsiteY4" fmla="*/ 735356 h 1036172"/>
                <a:gd name="connsiteX5" fmla="*/ 1071686 w 2074600"/>
                <a:gd name="connsiteY5" fmla="*/ 947041 h 1036172"/>
                <a:gd name="connsiteX6" fmla="*/ 1951851 w 2074600"/>
                <a:gd name="connsiteY6" fmla="*/ 947041 h 1036172"/>
                <a:gd name="connsiteX7" fmla="*/ 1808574 w 2074600"/>
                <a:gd name="connsiteY7" fmla="*/ 470526 h 1036172"/>
                <a:gd name="connsiteX8" fmla="*/ 1688693 w 2074600"/>
                <a:gd name="connsiteY8" fmla="*/ 421170 h 1036172"/>
                <a:gd name="connsiteX9" fmla="*/ 1523467 w 2074600"/>
                <a:gd name="connsiteY9" fmla="*/ 292710 h 1036172"/>
                <a:gd name="connsiteX10" fmla="*/ 1030329 w 2074600"/>
                <a:gd name="connsiteY10" fmla="*/ 127885 h 1036172"/>
                <a:gd name="connsiteX11" fmla="*/ 924954 w 2074600"/>
                <a:gd name="connsiteY11" fmla="*/ 206810 h 1036172"/>
                <a:gd name="connsiteX12" fmla="*/ 730203 w 2074600"/>
                <a:gd name="connsiteY12" fmla="*/ 279786 h 1036172"/>
                <a:gd name="connsiteX13" fmla="*/ 430613 w 2074600"/>
                <a:gd name="connsiteY13" fmla="*/ 503616 h 1036172"/>
                <a:gd name="connsiteX14" fmla="*/ 306053 w 2074600"/>
                <a:gd name="connsiteY14" fmla="*/ 669733 h 1036172"/>
                <a:gd name="connsiteX15" fmla="*/ 98824 w 2074600"/>
                <a:gd name="connsiteY15" fmla="*/ 947041 h 1036172"/>
                <a:gd name="connsiteX16" fmla="*/ 570455 w 2074600"/>
                <a:gd name="connsiteY16" fmla="*/ 947041 h 1036172"/>
                <a:gd name="connsiteX17" fmla="*/ 582058 w 2074600"/>
                <a:gd name="connsiteY17" fmla="*/ 1033094 h 1036172"/>
                <a:gd name="connsiteX18" fmla="*/ 0 w 2074600"/>
                <a:gd name="connsiteY18" fmla="*/ 1036172 h 1036172"/>
                <a:gd name="connsiteX19" fmla="*/ 3565 w 2074600"/>
                <a:gd name="connsiteY19" fmla="*/ 988264 h 1036172"/>
                <a:gd name="connsiteX20" fmla="*/ 264607 w 2074600"/>
                <a:gd name="connsiteY20" fmla="*/ 590518 h 1036172"/>
                <a:gd name="connsiteX21" fmla="*/ 342596 w 2074600"/>
                <a:gd name="connsiteY21" fmla="*/ 486124 h 1036172"/>
                <a:gd name="connsiteX22" fmla="*/ 737891 w 2074600"/>
                <a:gd name="connsiteY22" fmla="*/ 190655 h 1036172"/>
                <a:gd name="connsiteX23" fmla="*/ 858886 w 2074600"/>
                <a:gd name="connsiteY23" fmla="*/ 146090 h 1036172"/>
                <a:gd name="connsiteX24" fmla="*/ 1504437 w 2074600"/>
                <a:gd name="connsiteY24" fmla="*/ 121947 h 1036172"/>
                <a:gd name="connsiteX25" fmla="*/ 1602459 w 2074600"/>
                <a:gd name="connsiteY25" fmla="*/ 252824 h 1036172"/>
                <a:gd name="connsiteX26" fmla="*/ 1707076 w 2074600"/>
                <a:gd name="connsiteY26" fmla="*/ 334156 h 1036172"/>
                <a:gd name="connsiteX27" fmla="*/ 2063577 w 2074600"/>
                <a:gd name="connsiteY27" fmla="*/ 891680 h 1036172"/>
                <a:gd name="connsiteX28" fmla="*/ 2018699 w 2074600"/>
                <a:gd name="connsiteY28" fmla="*/ 1012775 h 1036172"/>
                <a:gd name="connsiteX0" fmla="*/ 2018699 w 2074600"/>
                <a:gd name="connsiteY0" fmla="*/ 1012775 h 1036172"/>
                <a:gd name="connsiteX1" fmla="*/ 2005998 w 2074600"/>
                <a:gd name="connsiteY1" fmla="*/ 1036172 h 1036172"/>
                <a:gd name="connsiteX2" fmla="*/ 1071686 w 2074600"/>
                <a:gd name="connsiteY2" fmla="*/ 1036172 h 1036172"/>
                <a:gd name="connsiteX3" fmla="*/ 773655 w 2074600"/>
                <a:gd name="connsiteY3" fmla="*/ 735356 h 1036172"/>
                <a:gd name="connsiteX4" fmla="*/ 862785 w 2074600"/>
                <a:gd name="connsiteY4" fmla="*/ 735356 h 1036172"/>
                <a:gd name="connsiteX5" fmla="*/ 1071686 w 2074600"/>
                <a:gd name="connsiteY5" fmla="*/ 947041 h 1036172"/>
                <a:gd name="connsiteX6" fmla="*/ 1951851 w 2074600"/>
                <a:gd name="connsiteY6" fmla="*/ 947041 h 1036172"/>
                <a:gd name="connsiteX7" fmla="*/ 1808574 w 2074600"/>
                <a:gd name="connsiteY7" fmla="*/ 470526 h 1036172"/>
                <a:gd name="connsiteX8" fmla="*/ 1688693 w 2074600"/>
                <a:gd name="connsiteY8" fmla="*/ 421170 h 1036172"/>
                <a:gd name="connsiteX9" fmla="*/ 1523467 w 2074600"/>
                <a:gd name="connsiteY9" fmla="*/ 292710 h 1036172"/>
                <a:gd name="connsiteX10" fmla="*/ 1030329 w 2074600"/>
                <a:gd name="connsiteY10" fmla="*/ 127885 h 1036172"/>
                <a:gd name="connsiteX11" fmla="*/ 924954 w 2074600"/>
                <a:gd name="connsiteY11" fmla="*/ 206810 h 1036172"/>
                <a:gd name="connsiteX12" fmla="*/ 730203 w 2074600"/>
                <a:gd name="connsiteY12" fmla="*/ 279786 h 1036172"/>
                <a:gd name="connsiteX13" fmla="*/ 430613 w 2074600"/>
                <a:gd name="connsiteY13" fmla="*/ 503616 h 1036172"/>
                <a:gd name="connsiteX14" fmla="*/ 306053 w 2074600"/>
                <a:gd name="connsiteY14" fmla="*/ 669733 h 1036172"/>
                <a:gd name="connsiteX15" fmla="*/ 98824 w 2074600"/>
                <a:gd name="connsiteY15" fmla="*/ 947041 h 1036172"/>
                <a:gd name="connsiteX16" fmla="*/ 570455 w 2074600"/>
                <a:gd name="connsiteY16" fmla="*/ 947041 h 1036172"/>
                <a:gd name="connsiteX17" fmla="*/ 582058 w 2074600"/>
                <a:gd name="connsiteY17" fmla="*/ 1033094 h 1036172"/>
                <a:gd name="connsiteX18" fmla="*/ 0 w 2074600"/>
                <a:gd name="connsiteY18" fmla="*/ 1036172 h 1036172"/>
                <a:gd name="connsiteX19" fmla="*/ 3565 w 2074600"/>
                <a:gd name="connsiteY19" fmla="*/ 988264 h 1036172"/>
                <a:gd name="connsiteX20" fmla="*/ 264607 w 2074600"/>
                <a:gd name="connsiteY20" fmla="*/ 590518 h 1036172"/>
                <a:gd name="connsiteX21" fmla="*/ 342596 w 2074600"/>
                <a:gd name="connsiteY21" fmla="*/ 486124 h 1036172"/>
                <a:gd name="connsiteX22" fmla="*/ 737891 w 2074600"/>
                <a:gd name="connsiteY22" fmla="*/ 190655 h 1036172"/>
                <a:gd name="connsiteX23" fmla="*/ 858886 w 2074600"/>
                <a:gd name="connsiteY23" fmla="*/ 146090 h 1036172"/>
                <a:gd name="connsiteX24" fmla="*/ 1504437 w 2074600"/>
                <a:gd name="connsiteY24" fmla="*/ 121947 h 1036172"/>
                <a:gd name="connsiteX25" fmla="*/ 1602459 w 2074600"/>
                <a:gd name="connsiteY25" fmla="*/ 252824 h 1036172"/>
                <a:gd name="connsiteX26" fmla="*/ 1707076 w 2074600"/>
                <a:gd name="connsiteY26" fmla="*/ 334156 h 1036172"/>
                <a:gd name="connsiteX27" fmla="*/ 2063577 w 2074600"/>
                <a:gd name="connsiteY27" fmla="*/ 891680 h 1036172"/>
                <a:gd name="connsiteX28" fmla="*/ 2018699 w 2074600"/>
                <a:gd name="connsiteY28" fmla="*/ 1012775 h 1036172"/>
                <a:gd name="connsiteX0" fmla="*/ 2018699 w 2074600"/>
                <a:gd name="connsiteY0" fmla="*/ 1012775 h 1036172"/>
                <a:gd name="connsiteX1" fmla="*/ 2005998 w 2074600"/>
                <a:gd name="connsiteY1" fmla="*/ 1036172 h 1036172"/>
                <a:gd name="connsiteX2" fmla="*/ 1071686 w 2074600"/>
                <a:gd name="connsiteY2" fmla="*/ 1036172 h 1036172"/>
                <a:gd name="connsiteX3" fmla="*/ 773655 w 2074600"/>
                <a:gd name="connsiteY3" fmla="*/ 735356 h 1036172"/>
                <a:gd name="connsiteX4" fmla="*/ 862785 w 2074600"/>
                <a:gd name="connsiteY4" fmla="*/ 735356 h 1036172"/>
                <a:gd name="connsiteX5" fmla="*/ 1071686 w 2074600"/>
                <a:gd name="connsiteY5" fmla="*/ 947041 h 1036172"/>
                <a:gd name="connsiteX6" fmla="*/ 1951851 w 2074600"/>
                <a:gd name="connsiteY6" fmla="*/ 947041 h 1036172"/>
                <a:gd name="connsiteX7" fmla="*/ 1808574 w 2074600"/>
                <a:gd name="connsiteY7" fmla="*/ 470526 h 1036172"/>
                <a:gd name="connsiteX8" fmla="*/ 1688693 w 2074600"/>
                <a:gd name="connsiteY8" fmla="*/ 421170 h 1036172"/>
                <a:gd name="connsiteX9" fmla="*/ 1523467 w 2074600"/>
                <a:gd name="connsiteY9" fmla="*/ 292710 h 1036172"/>
                <a:gd name="connsiteX10" fmla="*/ 1030329 w 2074600"/>
                <a:gd name="connsiteY10" fmla="*/ 127885 h 1036172"/>
                <a:gd name="connsiteX11" fmla="*/ 924954 w 2074600"/>
                <a:gd name="connsiteY11" fmla="*/ 206810 h 1036172"/>
                <a:gd name="connsiteX12" fmla="*/ 730203 w 2074600"/>
                <a:gd name="connsiteY12" fmla="*/ 279786 h 1036172"/>
                <a:gd name="connsiteX13" fmla="*/ 430613 w 2074600"/>
                <a:gd name="connsiteY13" fmla="*/ 503616 h 1036172"/>
                <a:gd name="connsiteX14" fmla="*/ 306053 w 2074600"/>
                <a:gd name="connsiteY14" fmla="*/ 669733 h 1036172"/>
                <a:gd name="connsiteX15" fmla="*/ 98824 w 2074600"/>
                <a:gd name="connsiteY15" fmla="*/ 947041 h 1036172"/>
                <a:gd name="connsiteX16" fmla="*/ 570455 w 2074600"/>
                <a:gd name="connsiteY16" fmla="*/ 947041 h 1036172"/>
                <a:gd name="connsiteX17" fmla="*/ 557428 w 2074600"/>
                <a:gd name="connsiteY17" fmla="*/ 1033094 h 1036172"/>
                <a:gd name="connsiteX18" fmla="*/ 0 w 2074600"/>
                <a:gd name="connsiteY18" fmla="*/ 1036172 h 1036172"/>
                <a:gd name="connsiteX19" fmla="*/ 3565 w 2074600"/>
                <a:gd name="connsiteY19" fmla="*/ 988264 h 1036172"/>
                <a:gd name="connsiteX20" fmla="*/ 264607 w 2074600"/>
                <a:gd name="connsiteY20" fmla="*/ 590518 h 1036172"/>
                <a:gd name="connsiteX21" fmla="*/ 342596 w 2074600"/>
                <a:gd name="connsiteY21" fmla="*/ 486124 h 1036172"/>
                <a:gd name="connsiteX22" fmla="*/ 737891 w 2074600"/>
                <a:gd name="connsiteY22" fmla="*/ 190655 h 1036172"/>
                <a:gd name="connsiteX23" fmla="*/ 858886 w 2074600"/>
                <a:gd name="connsiteY23" fmla="*/ 146090 h 1036172"/>
                <a:gd name="connsiteX24" fmla="*/ 1504437 w 2074600"/>
                <a:gd name="connsiteY24" fmla="*/ 121947 h 1036172"/>
                <a:gd name="connsiteX25" fmla="*/ 1602459 w 2074600"/>
                <a:gd name="connsiteY25" fmla="*/ 252824 h 1036172"/>
                <a:gd name="connsiteX26" fmla="*/ 1707076 w 2074600"/>
                <a:gd name="connsiteY26" fmla="*/ 334156 h 1036172"/>
                <a:gd name="connsiteX27" fmla="*/ 2063577 w 2074600"/>
                <a:gd name="connsiteY27" fmla="*/ 891680 h 1036172"/>
                <a:gd name="connsiteX28" fmla="*/ 2018699 w 2074600"/>
                <a:gd name="connsiteY28" fmla="*/ 1012775 h 1036172"/>
                <a:gd name="connsiteX0" fmla="*/ 2018699 w 2074600"/>
                <a:gd name="connsiteY0" fmla="*/ 1012775 h 1036172"/>
                <a:gd name="connsiteX1" fmla="*/ 2005998 w 2074600"/>
                <a:gd name="connsiteY1" fmla="*/ 1036172 h 1036172"/>
                <a:gd name="connsiteX2" fmla="*/ 1071686 w 2074600"/>
                <a:gd name="connsiteY2" fmla="*/ 1036172 h 1036172"/>
                <a:gd name="connsiteX3" fmla="*/ 773655 w 2074600"/>
                <a:gd name="connsiteY3" fmla="*/ 735356 h 1036172"/>
                <a:gd name="connsiteX4" fmla="*/ 862785 w 2074600"/>
                <a:gd name="connsiteY4" fmla="*/ 735356 h 1036172"/>
                <a:gd name="connsiteX5" fmla="*/ 1071686 w 2074600"/>
                <a:gd name="connsiteY5" fmla="*/ 947041 h 1036172"/>
                <a:gd name="connsiteX6" fmla="*/ 1951851 w 2074600"/>
                <a:gd name="connsiteY6" fmla="*/ 947041 h 1036172"/>
                <a:gd name="connsiteX7" fmla="*/ 1808574 w 2074600"/>
                <a:gd name="connsiteY7" fmla="*/ 470526 h 1036172"/>
                <a:gd name="connsiteX8" fmla="*/ 1688693 w 2074600"/>
                <a:gd name="connsiteY8" fmla="*/ 421170 h 1036172"/>
                <a:gd name="connsiteX9" fmla="*/ 1523467 w 2074600"/>
                <a:gd name="connsiteY9" fmla="*/ 292710 h 1036172"/>
                <a:gd name="connsiteX10" fmla="*/ 1030329 w 2074600"/>
                <a:gd name="connsiteY10" fmla="*/ 127885 h 1036172"/>
                <a:gd name="connsiteX11" fmla="*/ 924954 w 2074600"/>
                <a:gd name="connsiteY11" fmla="*/ 206810 h 1036172"/>
                <a:gd name="connsiteX12" fmla="*/ 730203 w 2074600"/>
                <a:gd name="connsiteY12" fmla="*/ 279786 h 1036172"/>
                <a:gd name="connsiteX13" fmla="*/ 430613 w 2074600"/>
                <a:gd name="connsiteY13" fmla="*/ 503616 h 1036172"/>
                <a:gd name="connsiteX14" fmla="*/ 306053 w 2074600"/>
                <a:gd name="connsiteY14" fmla="*/ 669733 h 1036172"/>
                <a:gd name="connsiteX15" fmla="*/ 98824 w 2074600"/>
                <a:gd name="connsiteY15" fmla="*/ 947041 h 1036172"/>
                <a:gd name="connsiteX16" fmla="*/ 570455 w 2074600"/>
                <a:gd name="connsiteY16" fmla="*/ 947041 h 1036172"/>
                <a:gd name="connsiteX17" fmla="*/ 566665 w 2074600"/>
                <a:gd name="connsiteY17" fmla="*/ 1033094 h 1036172"/>
                <a:gd name="connsiteX18" fmla="*/ 0 w 2074600"/>
                <a:gd name="connsiteY18" fmla="*/ 1036172 h 1036172"/>
                <a:gd name="connsiteX19" fmla="*/ 3565 w 2074600"/>
                <a:gd name="connsiteY19" fmla="*/ 988264 h 1036172"/>
                <a:gd name="connsiteX20" fmla="*/ 264607 w 2074600"/>
                <a:gd name="connsiteY20" fmla="*/ 590518 h 1036172"/>
                <a:gd name="connsiteX21" fmla="*/ 342596 w 2074600"/>
                <a:gd name="connsiteY21" fmla="*/ 486124 h 1036172"/>
                <a:gd name="connsiteX22" fmla="*/ 737891 w 2074600"/>
                <a:gd name="connsiteY22" fmla="*/ 190655 h 1036172"/>
                <a:gd name="connsiteX23" fmla="*/ 858886 w 2074600"/>
                <a:gd name="connsiteY23" fmla="*/ 146090 h 1036172"/>
                <a:gd name="connsiteX24" fmla="*/ 1504437 w 2074600"/>
                <a:gd name="connsiteY24" fmla="*/ 121947 h 1036172"/>
                <a:gd name="connsiteX25" fmla="*/ 1602459 w 2074600"/>
                <a:gd name="connsiteY25" fmla="*/ 252824 h 1036172"/>
                <a:gd name="connsiteX26" fmla="*/ 1707076 w 2074600"/>
                <a:gd name="connsiteY26" fmla="*/ 334156 h 1036172"/>
                <a:gd name="connsiteX27" fmla="*/ 2063577 w 2074600"/>
                <a:gd name="connsiteY27" fmla="*/ 891680 h 1036172"/>
                <a:gd name="connsiteX28" fmla="*/ 2018699 w 2074600"/>
                <a:gd name="connsiteY28" fmla="*/ 1012775 h 1036172"/>
                <a:gd name="connsiteX0" fmla="*/ 2018699 w 2074600"/>
                <a:gd name="connsiteY0" fmla="*/ 1012775 h 1036172"/>
                <a:gd name="connsiteX1" fmla="*/ 2005998 w 2074600"/>
                <a:gd name="connsiteY1" fmla="*/ 1036172 h 1036172"/>
                <a:gd name="connsiteX2" fmla="*/ 1071686 w 2074600"/>
                <a:gd name="connsiteY2" fmla="*/ 1036172 h 1036172"/>
                <a:gd name="connsiteX3" fmla="*/ 773655 w 2074600"/>
                <a:gd name="connsiteY3" fmla="*/ 735356 h 1036172"/>
                <a:gd name="connsiteX4" fmla="*/ 862785 w 2074600"/>
                <a:gd name="connsiteY4" fmla="*/ 735356 h 1036172"/>
                <a:gd name="connsiteX5" fmla="*/ 1071686 w 2074600"/>
                <a:gd name="connsiteY5" fmla="*/ 947041 h 1036172"/>
                <a:gd name="connsiteX6" fmla="*/ 1951851 w 2074600"/>
                <a:gd name="connsiteY6" fmla="*/ 947041 h 1036172"/>
                <a:gd name="connsiteX7" fmla="*/ 1808574 w 2074600"/>
                <a:gd name="connsiteY7" fmla="*/ 470526 h 1036172"/>
                <a:gd name="connsiteX8" fmla="*/ 1688693 w 2074600"/>
                <a:gd name="connsiteY8" fmla="*/ 421170 h 1036172"/>
                <a:gd name="connsiteX9" fmla="*/ 1523467 w 2074600"/>
                <a:gd name="connsiteY9" fmla="*/ 292710 h 1036172"/>
                <a:gd name="connsiteX10" fmla="*/ 1030329 w 2074600"/>
                <a:gd name="connsiteY10" fmla="*/ 127885 h 1036172"/>
                <a:gd name="connsiteX11" fmla="*/ 924954 w 2074600"/>
                <a:gd name="connsiteY11" fmla="*/ 206810 h 1036172"/>
                <a:gd name="connsiteX12" fmla="*/ 730203 w 2074600"/>
                <a:gd name="connsiteY12" fmla="*/ 279786 h 1036172"/>
                <a:gd name="connsiteX13" fmla="*/ 430613 w 2074600"/>
                <a:gd name="connsiteY13" fmla="*/ 503616 h 1036172"/>
                <a:gd name="connsiteX14" fmla="*/ 306053 w 2074600"/>
                <a:gd name="connsiteY14" fmla="*/ 669733 h 1036172"/>
                <a:gd name="connsiteX15" fmla="*/ 98824 w 2074600"/>
                <a:gd name="connsiteY15" fmla="*/ 947041 h 1036172"/>
                <a:gd name="connsiteX16" fmla="*/ 570455 w 2074600"/>
                <a:gd name="connsiteY16" fmla="*/ 947041 h 1036172"/>
                <a:gd name="connsiteX17" fmla="*/ 572822 w 2074600"/>
                <a:gd name="connsiteY17" fmla="*/ 1033094 h 1036172"/>
                <a:gd name="connsiteX18" fmla="*/ 0 w 2074600"/>
                <a:gd name="connsiteY18" fmla="*/ 1036172 h 1036172"/>
                <a:gd name="connsiteX19" fmla="*/ 3565 w 2074600"/>
                <a:gd name="connsiteY19" fmla="*/ 988264 h 1036172"/>
                <a:gd name="connsiteX20" fmla="*/ 264607 w 2074600"/>
                <a:gd name="connsiteY20" fmla="*/ 590518 h 1036172"/>
                <a:gd name="connsiteX21" fmla="*/ 342596 w 2074600"/>
                <a:gd name="connsiteY21" fmla="*/ 486124 h 1036172"/>
                <a:gd name="connsiteX22" fmla="*/ 737891 w 2074600"/>
                <a:gd name="connsiteY22" fmla="*/ 190655 h 1036172"/>
                <a:gd name="connsiteX23" fmla="*/ 858886 w 2074600"/>
                <a:gd name="connsiteY23" fmla="*/ 146090 h 1036172"/>
                <a:gd name="connsiteX24" fmla="*/ 1504437 w 2074600"/>
                <a:gd name="connsiteY24" fmla="*/ 121947 h 1036172"/>
                <a:gd name="connsiteX25" fmla="*/ 1602459 w 2074600"/>
                <a:gd name="connsiteY25" fmla="*/ 252824 h 1036172"/>
                <a:gd name="connsiteX26" fmla="*/ 1707076 w 2074600"/>
                <a:gd name="connsiteY26" fmla="*/ 334156 h 1036172"/>
                <a:gd name="connsiteX27" fmla="*/ 2063577 w 2074600"/>
                <a:gd name="connsiteY27" fmla="*/ 891680 h 1036172"/>
                <a:gd name="connsiteX28" fmla="*/ 2018699 w 2074600"/>
                <a:gd name="connsiteY28" fmla="*/ 1012775 h 1036172"/>
                <a:gd name="connsiteX0" fmla="*/ 2018699 w 2074600"/>
                <a:gd name="connsiteY0" fmla="*/ 1012775 h 1036172"/>
                <a:gd name="connsiteX1" fmla="*/ 2005998 w 2074600"/>
                <a:gd name="connsiteY1" fmla="*/ 1036172 h 1036172"/>
                <a:gd name="connsiteX2" fmla="*/ 1071686 w 2074600"/>
                <a:gd name="connsiteY2" fmla="*/ 1036172 h 1036172"/>
                <a:gd name="connsiteX3" fmla="*/ 773655 w 2074600"/>
                <a:gd name="connsiteY3" fmla="*/ 735356 h 1036172"/>
                <a:gd name="connsiteX4" fmla="*/ 862785 w 2074600"/>
                <a:gd name="connsiteY4" fmla="*/ 735356 h 1036172"/>
                <a:gd name="connsiteX5" fmla="*/ 1071686 w 2074600"/>
                <a:gd name="connsiteY5" fmla="*/ 947041 h 1036172"/>
                <a:gd name="connsiteX6" fmla="*/ 1951851 w 2074600"/>
                <a:gd name="connsiteY6" fmla="*/ 947041 h 1036172"/>
                <a:gd name="connsiteX7" fmla="*/ 1808574 w 2074600"/>
                <a:gd name="connsiteY7" fmla="*/ 470526 h 1036172"/>
                <a:gd name="connsiteX8" fmla="*/ 1688693 w 2074600"/>
                <a:gd name="connsiteY8" fmla="*/ 421170 h 1036172"/>
                <a:gd name="connsiteX9" fmla="*/ 1523467 w 2074600"/>
                <a:gd name="connsiteY9" fmla="*/ 292710 h 1036172"/>
                <a:gd name="connsiteX10" fmla="*/ 1030329 w 2074600"/>
                <a:gd name="connsiteY10" fmla="*/ 127885 h 1036172"/>
                <a:gd name="connsiteX11" fmla="*/ 924954 w 2074600"/>
                <a:gd name="connsiteY11" fmla="*/ 206810 h 1036172"/>
                <a:gd name="connsiteX12" fmla="*/ 730203 w 2074600"/>
                <a:gd name="connsiteY12" fmla="*/ 279786 h 1036172"/>
                <a:gd name="connsiteX13" fmla="*/ 430613 w 2074600"/>
                <a:gd name="connsiteY13" fmla="*/ 503616 h 1036172"/>
                <a:gd name="connsiteX14" fmla="*/ 306053 w 2074600"/>
                <a:gd name="connsiteY14" fmla="*/ 669733 h 1036172"/>
                <a:gd name="connsiteX15" fmla="*/ 98824 w 2074600"/>
                <a:gd name="connsiteY15" fmla="*/ 947041 h 1036172"/>
                <a:gd name="connsiteX16" fmla="*/ 570455 w 2074600"/>
                <a:gd name="connsiteY16" fmla="*/ 947041 h 1036172"/>
                <a:gd name="connsiteX17" fmla="*/ 572822 w 2074600"/>
                <a:gd name="connsiteY17" fmla="*/ 1033094 h 1036172"/>
                <a:gd name="connsiteX18" fmla="*/ 0 w 2074600"/>
                <a:gd name="connsiteY18" fmla="*/ 1036172 h 1036172"/>
                <a:gd name="connsiteX19" fmla="*/ 3565 w 2074600"/>
                <a:gd name="connsiteY19" fmla="*/ 988264 h 1036172"/>
                <a:gd name="connsiteX20" fmla="*/ 264607 w 2074600"/>
                <a:gd name="connsiteY20" fmla="*/ 590518 h 1036172"/>
                <a:gd name="connsiteX21" fmla="*/ 342596 w 2074600"/>
                <a:gd name="connsiteY21" fmla="*/ 486124 h 1036172"/>
                <a:gd name="connsiteX22" fmla="*/ 737891 w 2074600"/>
                <a:gd name="connsiteY22" fmla="*/ 190655 h 1036172"/>
                <a:gd name="connsiteX23" fmla="*/ 858886 w 2074600"/>
                <a:gd name="connsiteY23" fmla="*/ 146090 h 1036172"/>
                <a:gd name="connsiteX24" fmla="*/ 1504437 w 2074600"/>
                <a:gd name="connsiteY24" fmla="*/ 121947 h 1036172"/>
                <a:gd name="connsiteX25" fmla="*/ 1602459 w 2074600"/>
                <a:gd name="connsiteY25" fmla="*/ 252824 h 1036172"/>
                <a:gd name="connsiteX26" fmla="*/ 1707076 w 2074600"/>
                <a:gd name="connsiteY26" fmla="*/ 334156 h 1036172"/>
                <a:gd name="connsiteX27" fmla="*/ 2063577 w 2074600"/>
                <a:gd name="connsiteY27" fmla="*/ 891680 h 1036172"/>
                <a:gd name="connsiteX28" fmla="*/ 2018699 w 2074600"/>
                <a:gd name="connsiteY28" fmla="*/ 1012775 h 1036172"/>
                <a:gd name="connsiteX0" fmla="*/ 2018699 w 2074600"/>
                <a:gd name="connsiteY0" fmla="*/ 1012775 h 1036172"/>
                <a:gd name="connsiteX1" fmla="*/ 2005998 w 2074600"/>
                <a:gd name="connsiteY1" fmla="*/ 1036172 h 1036172"/>
                <a:gd name="connsiteX2" fmla="*/ 1071686 w 2074600"/>
                <a:gd name="connsiteY2" fmla="*/ 1036172 h 1036172"/>
                <a:gd name="connsiteX3" fmla="*/ 773655 w 2074600"/>
                <a:gd name="connsiteY3" fmla="*/ 735356 h 1036172"/>
                <a:gd name="connsiteX4" fmla="*/ 862785 w 2074600"/>
                <a:gd name="connsiteY4" fmla="*/ 735356 h 1036172"/>
                <a:gd name="connsiteX5" fmla="*/ 1071686 w 2074600"/>
                <a:gd name="connsiteY5" fmla="*/ 947041 h 1036172"/>
                <a:gd name="connsiteX6" fmla="*/ 1951851 w 2074600"/>
                <a:gd name="connsiteY6" fmla="*/ 947041 h 1036172"/>
                <a:gd name="connsiteX7" fmla="*/ 1808574 w 2074600"/>
                <a:gd name="connsiteY7" fmla="*/ 470526 h 1036172"/>
                <a:gd name="connsiteX8" fmla="*/ 1688693 w 2074600"/>
                <a:gd name="connsiteY8" fmla="*/ 421170 h 1036172"/>
                <a:gd name="connsiteX9" fmla="*/ 1523467 w 2074600"/>
                <a:gd name="connsiteY9" fmla="*/ 292710 h 1036172"/>
                <a:gd name="connsiteX10" fmla="*/ 1030329 w 2074600"/>
                <a:gd name="connsiteY10" fmla="*/ 127885 h 1036172"/>
                <a:gd name="connsiteX11" fmla="*/ 924954 w 2074600"/>
                <a:gd name="connsiteY11" fmla="*/ 206810 h 1036172"/>
                <a:gd name="connsiteX12" fmla="*/ 730203 w 2074600"/>
                <a:gd name="connsiteY12" fmla="*/ 279786 h 1036172"/>
                <a:gd name="connsiteX13" fmla="*/ 430613 w 2074600"/>
                <a:gd name="connsiteY13" fmla="*/ 503616 h 1036172"/>
                <a:gd name="connsiteX14" fmla="*/ 306053 w 2074600"/>
                <a:gd name="connsiteY14" fmla="*/ 669733 h 1036172"/>
                <a:gd name="connsiteX15" fmla="*/ 98824 w 2074600"/>
                <a:gd name="connsiteY15" fmla="*/ 947041 h 1036172"/>
                <a:gd name="connsiteX16" fmla="*/ 570455 w 2074600"/>
                <a:gd name="connsiteY16" fmla="*/ 947041 h 1036172"/>
                <a:gd name="connsiteX17" fmla="*/ 572822 w 2074600"/>
                <a:gd name="connsiteY17" fmla="*/ 1035476 h 1036172"/>
                <a:gd name="connsiteX18" fmla="*/ 0 w 2074600"/>
                <a:gd name="connsiteY18" fmla="*/ 1036172 h 1036172"/>
                <a:gd name="connsiteX19" fmla="*/ 3565 w 2074600"/>
                <a:gd name="connsiteY19" fmla="*/ 988264 h 1036172"/>
                <a:gd name="connsiteX20" fmla="*/ 264607 w 2074600"/>
                <a:gd name="connsiteY20" fmla="*/ 590518 h 1036172"/>
                <a:gd name="connsiteX21" fmla="*/ 342596 w 2074600"/>
                <a:gd name="connsiteY21" fmla="*/ 486124 h 1036172"/>
                <a:gd name="connsiteX22" fmla="*/ 737891 w 2074600"/>
                <a:gd name="connsiteY22" fmla="*/ 190655 h 1036172"/>
                <a:gd name="connsiteX23" fmla="*/ 858886 w 2074600"/>
                <a:gd name="connsiteY23" fmla="*/ 146090 h 1036172"/>
                <a:gd name="connsiteX24" fmla="*/ 1504437 w 2074600"/>
                <a:gd name="connsiteY24" fmla="*/ 121947 h 1036172"/>
                <a:gd name="connsiteX25" fmla="*/ 1602459 w 2074600"/>
                <a:gd name="connsiteY25" fmla="*/ 252824 h 1036172"/>
                <a:gd name="connsiteX26" fmla="*/ 1707076 w 2074600"/>
                <a:gd name="connsiteY26" fmla="*/ 334156 h 1036172"/>
                <a:gd name="connsiteX27" fmla="*/ 2063577 w 2074600"/>
                <a:gd name="connsiteY27" fmla="*/ 891680 h 1036172"/>
                <a:gd name="connsiteX28" fmla="*/ 2018699 w 2074600"/>
                <a:gd name="connsiteY28" fmla="*/ 1012775 h 1036172"/>
                <a:gd name="connsiteX0" fmla="*/ 2018699 w 2074600"/>
                <a:gd name="connsiteY0" fmla="*/ 1012775 h 1036172"/>
                <a:gd name="connsiteX1" fmla="*/ 2005998 w 2074600"/>
                <a:gd name="connsiteY1" fmla="*/ 1036172 h 1036172"/>
                <a:gd name="connsiteX2" fmla="*/ 1071686 w 2074600"/>
                <a:gd name="connsiteY2" fmla="*/ 1036172 h 1036172"/>
                <a:gd name="connsiteX3" fmla="*/ 773655 w 2074600"/>
                <a:gd name="connsiteY3" fmla="*/ 735356 h 1036172"/>
                <a:gd name="connsiteX4" fmla="*/ 862785 w 2074600"/>
                <a:gd name="connsiteY4" fmla="*/ 735356 h 1036172"/>
                <a:gd name="connsiteX5" fmla="*/ 1071686 w 2074600"/>
                <a:gd name="connsiteY5" fmla="*/ 947041 h 1036172"/>
                <a:gd name="connsiteX6" fmla="*/ 1951851 w 2074600"/>
                <a:gd name="connsiteY6" fmla="*/ 947041 h 1036172"/>
                <a:gd name="connsiteX7" fmla="*/ 1808574 w 2074600"/>
                <a:gd name="connsiteY7" fmla="*/ 470526 h 1036172"/>
                <a:gd name="connsiteX8" fmla="*/ 1688693 w 2074600"/>
                <a:gd name="connsiteY8" fmla="*/ 421170 h 1036172"/>
                <a:gd name="connsiteX9" fmla="*/ 1523467 w 2074600"/>
                <a:gd name="connsiteY9" fmla="*/ 292710 h 1036172"/>
                <a:gd name="connsiteX10" fmla="*/ 1030329 w 2074600"/>
                <a:gd name="connsiteY10" fmla="*/ 127885 h 1036172"/>
                <a:gd name="connsiteX11" fmla="*/ 924954 w 2074600"/>
                <a:gd name="connsiteY11" fmla="*/ 206810 h 1036172"/>
                <a:gd name="connsiteX12" fmla="*/ 730203 w 2074600"/>
                <a:gd name="connsiteY12" fmla="*/ 279786 h 1036172"/>
                <a:gd name="connsiteX13" fmla="*/ 430613 w 2074600"/>
                <a:gd name="connsiteY13" fmla="*/ 503616 h 1036172"/>
                <a:gd name="connsiteX14" fmla="*/ 306053 w 2074600"/>
                <a:gd name="connsiteY14" fmla="*/ 669733 h 1036172"/>
                <a:gd name="connsiteX15" fmla="*/ 98824 w 2074600"/>
                <a:gd name="connsiteY15" fmla="*/ 947041 h 1036172"/>
                <a:gd name="connsiteX16" fmla="*/ 570455 w 2074600"/>
                <a:gd name="connsiteY16" fmla="*/ 947041 h 1036172"/>
                <a:gd name="connsiteX17" fmla="*/ 572822 w 2074600"/>
                <a:gd name="connsiteY17" fmla="*/ 1035476 h 1036172"/>
                <a:gd name="connsiteX18" fmla="*/ 0 w 2074600"/>
                <a:gd name="connsiteY18" fmla="*/ 1036172 h 1036172"/>
                <a:gd name="connsiteX19" fmla="*/ 3565 w 2074600"/>
                <a:gd name="connsiteY19" fmla="*/ 988264 h 1036172"/>
                <a:gd name="connsiteX20" fmla="*/ 264607 w 2074600"/>
                <a:gd name="connsiteY20" fmla="*/ 590518 h 1036172"/>
                <a:gd name="connsiteX21" fmla="*/ 342596 w 2074600"/>
                <a:gd name="connsiteY21" fmla="*/ 486124 h 1036172"/>
                <a:gd name="connsiteX22" fmla="*/ 737891 w 2074600"/>
                <a:gd name="connsiteY22" fmla="*/ 190655 h 1036172"/>
                <a:gd name="connsiteX23" fmla="*/ 858886 w 2074600"/>
                <a:gd name="connsiteY23" fmla="*/ 146090 h 1036172"/>
                <a:gd name="connsiteX24" fmla="*/ 1504437 w 2074600"/>
                <a:gd name="connsiteY24" fmla="*/ 121947 h 1036172"/>
                <a:gd name="connsiteX25" fmla="*/ 1602459 w 2074600"/>
                <a:gd name="connsiteY25" fmla="*/ 252824 h 1036172"/>
                <a:gd name="connsiteX26" fmla="*/ 1707076 w 2074600"/>
                <a:gd name="connsiteY26" fmla="*/ 334156 h 1036172"/>
                <a:gd name="connsiteX27" fmla="*/ 2063577 w 2074600"/>
                <a:gd name="connsiteY27" fmla="*/ 891680 h 1036172"/>
                <a:gd name="connsiteX28" fmla="*/ 2018699 w 2074600"/>
                <a:gd name="connsiteY28" fmla="*/ 1012775 h 1036172"/>
                <a:gd name="connsiteX0" fmla="*/ 2018699 w 2074600"/>
                <a:gd name="connsiteY0" fmla="*/ 1012775 h 1036172"/>
                <a:gd name="connsiteX1" fmla="*/ 2005998 w 2074600"/>
                <a:gd name="connsiteY1" fmla="*/ 1036172 h 1036172"/>
                <a:gd name="connsiteX2" fmla="*/ 1071686 w 2074600"/>
                <a:gd name="connsiteY2" fmla="*/ 1036172 h 1036172"/>
                <a:gd name="connsiteX3" fmla="*/ 773655 w 2074600"/>
                <a:gd name="connsiteY3" fmla="*/ 735356 h 1036172"/>
                <a:gd name="connsiteX4" fmla="*/ 1071686 w 2074600"/>
                <a:gd name="connsiteY4" fmla="*/ 947041 h 1036172"/>
                <a:gd name="connsiteX5" fmla="*/ 1951851 w 2074600"/>
                <a:gd name="connsiteY5" fmla="*/ 947041 h 1036172"/>
                <a:gd name="connsiteX6" fmla="*/ 1808574 w 2074600"/>
                <a:gd name="connsiteY6" fmla="*/ 470526 h 1036172"/>
                <a:gd name="connsiteX7" fmla="*/ 1688693 w 2074600"/>
                <a:gd name="connsiteY7" fmla="*/ 421170 h 1036172"/>
                <a:gd name="connsiteX8" fmla="*/ 1523467 w 2074600"/>
                <a:gd name="connsiteY8" fmla="*/ 292710 h 1036172"/>
                <a:gd name="connsiteX9" fmla="*/ 1030329 w 2074600"/>
                <a:gd name="connsiteY9" fmla="*/ 127885 h 1036172"/>
                <a:gd name="connsiteX10" fmla="*/ 924954 w 2074600"/>
                <a:gd name="connsiteY10" fmla="*/ 206810 h 1036172"/>
                <a:gd name="connsiteX11" fmla="*/ 730203 w 2074600"/>
                <a:gd name="connsiteY11" fmla="*/ 279786 h 1036172"/>
                <a:gd name="connsiteX12" fmla="*/ 430613 w 2074600"/>
                <a:gd name="connsiteY12" fmla="*/ 503616 h 1036172"/>
                <a:gd name="connsiteX13" fmla="*/ 306053 w 2074600"/>
                <a:gd name="connsiteY13" fmla="*/ 669733 h 1036172"/>
                <a:gd name="connsiteX14" fmla="*/ 98824 w 2074600"/>
                <a:gd name="connsiteY14" fmla="*/ 947041 h 1036172"/>
                <a:gd name="connsiteX15" fmla="*/ 570455 w 2074600"/>
                <a:gd name="connsiteY15" fmla="*/ 947041 h 1036172"/>
                <a:gd name="connsiteX16" fmla="*/ 572822 w 2074600"/>
                <a:gd name="connsiteY16" fmla="*/ 1035476 h 1036172"/>
                <a:gd name="connsiteX17" fmla="*/ 0 w 2074600"/>
                <a:gd name="connsiteY17" fmla="*/ 1036172 h 1036172"/>
                <a:gd name="connsiteX18" fmla="*/ 3565 w 2074600"/>
                <a:gd name="connsiteY18" fmla="*/ 988264 h 1036172"/>
                <a:gd name="connsiteX19" fmla="*/ 264607 w 2074600"/>
                <a:gd name="connsiteY19" fmla="*/ 590518 h 1036172"/>
                <a:gd name="connsiteX20" fmla="*/ 342596 w 2074600"/>
                <a:gd name="connsiteY20" fmla="*/ 486124 h 1036172"/>
                <a:gd name="connsiteX21" fmla="*/ 737891 w 2074600"/>
                <a:gd name="connsiteY21" fmla="*/ 190655 h 1036172"/>
                <a:gd name="connsiteX22" fmla="*/ 858886 w 2074600"/>
                <a:gd name="connsiteY22" fmla="*/ 146090 h 1036172"/>
                <a:gd name="connsiteX23" fmla="*/ 1504437 w 2074600"/>
                <a:gd name="connsiteY23" fmla="*/ 121947 h 1036172"/>
                <a:gd name="connsiteX24" fmla="*/ 1602459 w 2074600"/>
                <a:gd name="connsiteY24" fmla="*/ 252824 h 1036172"/>
                <a:gd name="connsiteX25" fmla="*/ 1707076 w 2074600"/>
                <a:gd name="connsiteY25" fmla="*/ 334156 h 1036172"/>
                <a:gd name="connsiteX26" fmla="*/ 2063577 w 2074600"/>
                <a:gd name="connsiteY26" fmla="*/ 891680 h 1036172"/>
                <a:gd name="connsiteX27" fmla="*/ 2018699 w 2074600"/>
                <a:gd name="connsiteY27" fmla="*/ 1012775 h 1036172"/>
                <a:gd name="connsiteX0" fmla="*/ 2018699 w 2074600"/>
                <a:gd name="connsiteY0" fmla="*/ 1012775 h 1036172"/>
                <a:gd name="connsiteX1" fmla="*/ 2005998 w 2074600"/>
                <a:gd name="connsiteY1" fmla="*/ 1036172 h 1036172"/>
                <a:gd name="connsiteX2" fmla="*/ 1071686 w 2074600"/>
                <a:gd name="connsiteY2" fmla="*/ 1036172 h 1036172"/>
                <a:gd name="connsiteX3" fmla="*/ 1071686 w 2074600"/>
                <a:gd name="connsiteY3" fmla="*/ 947041 h 1036172"/>
                <a:gd name="connsiteX4" fmla="*/ 1951851 w 2074600"/>
                <a:gd name="connsiteY4" fmla="*/ 947041 h 1036172"/>
                <a:gd name="connsiteX5" fmla="*/ 1808574 w 2074600"/>
                <a:gd name="connsiteY5" fmla="*/ 470526 h 1036172"/>
                <a:gd name="connsiteX6" fmla="*/ 1688693 w 2074600"/>
                <a:gd name="connsiteY6" fmla="*/ 421170 h 1036172"/>
                <a:gd name="connsiteX7" fmla="*/ 1523467 w 2074600"/>
                <a:gd name="connsiteY7" fmla="*/ 292710 h 1036172"/>
                <a:gd name="connsiteX8" fmla="*/ 1030329 w 2074600"/>
                <a:gd name="connsiteY8" fmla="*/ 127885 h 1036172"/>
                <a:gd name="connsiteX9" fmla="*/ 924954 w 2074600"/>
                <a:gd name="connsiteY9" fmla="*/ 206810 h 1036172"/>
                <a:gd name="connsiteX10" fmla="*/ 730203 w 2074600"/>
                <a:gd name="connsiteY10" fmla="*/ 279786 h 1036172"/>
                <a:gd name="connsiteX11" fmla="*/ 430613 w 2074600"/>
                <a:gd name="connsiteY11" fmla="*/ 503616 h 1036172"/>
                <a:gd name="connsiteX12" fmla="*/ 306053 w 2074600"/>
                <a:gd name="connsiteY12" fmla="*/ 669733 h 1036172"/>
                <a:gd name="connsiteX13" fmla="*/ 98824 w 2074600"/>
                <a:gd name="connsiteY13" fmla="*/ 947041 h 1036172"/>
                <a:gd name="connsiteX14" fmla="*/ 570455 w 2074600"/>
                <a:gd name="connsiteY14" fmla="*/ 947041 h 1036172"/>
                <a:gd name="connsiteX15" fmla="*/ 572822 w 2074600"/>
                <a:gd name="connsiteY15" fmla="*/ 1035476 h 1036172"/>
                <a:gd name="connsiteX16" fmla="*/ 0 w 2074600"/>
                <a:gd name="connsiteY16" fmla="*/ 1036172 h 1036172"/>
                <a:gd name="connsiteX17" fmla="*/ 3565 w 2074600"/>
                <a:gd name="connsiteY17" fmla="*/ 988264 h 1036172"/>
                <a:gd name="connsiteX18" fmla="*/ 264607 w 2074600"/>
                <a:gd name="connsiteY18" fmla="*/ 590518 h 1036172"/>
                <a:gd name="connsiteX19" fmla="*/ 342596 w 2074600"/>
                <a:gd name="connsiteY19" fmla="*/ 486124 h 1036172"/>
                <a:gd name="connsiteX20" fmla="*/ 737891 w 2074600"/>
                <a:gd name="connsiteY20" fmla="*/ 190655 h 1036172"/>
                <a:gd name="connsiteX21" fmla="*/ 858886 w 2074600"/>
                <a:gd name="connsiteY21" fmla="*/ 146090 h 1036172"/>
                <a:gd name="connsiteX22" fmla="*/ 1504437 w 2074600"/>
                <a:gd name="connsiteY22" fmla="*/ 121947 h 1036172"/>
                <a:gd name="connsiteX23" fmla="*/ 1602459 w 2074600"/>
                <a:gd name="connsiteY23" fmla="*/ 252824 h 1036172"/>
                <a:gd name="connsiteX24" fmla="*/ 1707076 w 2074600"/>
                <a:gd name="connsiteY24" fmla="*/ 334156 h 1036172"/>
                <a:gd name="connsiteX25" fmla="*/ 2063577 w 2074600"/>
                <a:gd name="connsiteY25" fmla="*/ 891680 h 1036172"/>
                <a:gd name="connsiteX26" fmla="*/ 2018699 w 2074600"/>
                <a:gd name="connsiteY26" fmla="*/ 1012775 h 1036172"/>
                <a:gd name="connsiteX0" fmla="*/ 2018699 w 2074600"/>
                <a:gd name="connsiteY0" fmla="*/ 1012775 h 1036172"/>
                <a:gd name="connsiteX1" fmla="*/ 2005998 w 2074600"/>
                <a:gd name="connsiteY1" fmla="*/ 1036172 h 1036172"/>
                <a:gd name="connsiteX2" fmla="*/ 1071686 w 2074600"/>
                <a:gd name="connsiteY2" fmla="*/ 1036172 h 1036172"/>
                <a:gd name="connsiteX3" fmla="*/ 1355055 w 2074600"/>
                <a:gd name="connsiteY3" fmla="*/ 944659 h 1036172"/>
                <a:gd name="connsiteX4" fmla="*/ 1951851 w 2074600"/>
                <a:gd name="connsiteY4" fmla="*/ 947041 h 1036172"/>
                <a:gd name="connsiteX5" fmla="*/ 1808574 w 2074600"/>
                <a:gd name="connsiteY5" fmla="*/ 470526 h 1036172"/>
                <a:gd name="connsiteX6" fmla="*/ 1688693 w 2074600"/>
                <a:gd name="connsiteY6" fmla="*/ 421170 h 1036172"/>
                <a:gd name="connsiteX7" fmla="*/ 1523467 w 2074600"/>
                <a:gd name="connsiteY7" fmla="*/ 292710 h 1036172"/>
                <a:gd name="connsiteX8" fmla="*/ 1030329 w 2074600"/>
                <a:gd name="connsiteY8" fmla="*/ 127885 h 1036172"/>
                <a:gd name="connsiteX9" fmla="*/ 924954 w 2074600"/>
                <a:gd name="connsiteY9" fmla="*/ 206810 h 1036172"/>
                <a:gd name="connsiteX10" fmla="*/ 730203 w 2074600"/>
                <a:gd name="connsiteY10" fmla="*/ 279786 h 1036172"/>
                <a:gd name="connsiteX11" fmla="*/ 430613 w 2074600"/>
                <a:gd name="connsiteY11" fmla="*/ 503616 h 1036172"/>
                <a:gd name="connsiteX12" fmla="*/ 306053 w 2074600"/>
                <a:gd name="connsiteY12" fmla="*/ 669733 h 1036172"/>
                <a:gd name="connsiteX13" fmla="*/ 98824 w 2074600"/>
                <a:gd name="connsiteY13" fmla="*/ 947041 h 1036172"/>
                <a:gd name="connsiteX14" fmla="*/ 570455 w 2074600"/>
                <a:gd name="connsiteY14" fmla="*/ 947041 h 1036172"/>
                <a:gd name="connsiteX15" fmla="*/ 572822 w 2074600"/>
                <a:gd name="connsiteY15" fmla="*/ 1035476 h 1036172"/>
                <a:gd name="connsiteX16" fmla="*/ 0 w 2074600"/>
                <a:gd name="connsiteY16" fmla="*/ 1036172 h 1036172"/>
                <a:gd name="connsiteX17" fmla="*/ 3565 w 2074600"/>
                <a:gd name="connsiteY17" fmla="*/ 988264 h 1036172"/>
                <a:gd name="connsiteX18" fmla="*/ 264607 w 2074600"/>
                <a:gd name="connsiteY18" fmla="*/ 590518 h 1036172"/>
                <a:gd name="connsiteX19" fmla="*/ 342596 w 2074600"/>
                <a:gd name="connsiteY19" fmla="*/ 486124 h 1036172"/>
                <a:gd name="connsiteX20" fmla="*/ 737891 w 2074600"/>
                <a:gd name="connsiteY20" fmla="*/ 190655 h 1036172"/>
                <a:gd name="connsiteX21" fmla="*/ 858886 w 2074600"/>
                <a:gd name="connsiteY21" fmla="*/ 146090 h 1036172"/>
                <a:gd name="connsiteX22" fmla="*/ 1504437 w 2074600"/>
                <a:gd name="connsiteY22" fmla="*/ 121947 h 1036172"/>
                <a:gd name="connsiteX23" fmla="*/ 1602459 w 2074600"/>
                <a:gd name="connsiteY23" fmla="*/ 252824 h 1036172"/>
                <a:gd name="connsiteX24" fmla="*/ 1707076 w 2074600"/>
                <a:gd name="connsiteY24" fmla="*/ 334156 h 1036172"/>
                <a:gd name="connsiteX25" fmla="*/ 2063577 w 2074600"/>
                <a:gd name="connsiteY25" fmla="*/ 891680 h 1036172"/>
                <a:gd name="connsiteX26" fmla="*/ 2018699 w 2074600"/>
                <a:gd name="connsiteY26" fmla="*/ 1012775 h 1036172"/>
                <a:gd name="connsiteX0" fmla="*/ 2018699 w 2074600"/>
                <a:gd name="connsiteY0" fmla="*/ 1012775 h 1040934"/>
                <a:gd name="connsiteX1" fmla="*/ 2005998 w 2074600"/>
                <a:gd name="connsiteY1" fmla="*/ 1036172 h 1040934"/>
                <a:gd name="connsiteX2" fmla="*/ 1355055 w 2074600"/>
                <a:gd name="connsiteY2" fmla="*/ 1040934 h 1040934"/>
                <a:gd name="connsiteX3" fmla="*/ 1355055 w 2074600"/>
                <a:gd name="connsiteY3" fmla="*/ 944659 h 1040934"/>
                <a:gd name="connsiteX4" fmla="*/ 1951851 w 2074600"/>
                <a:gd name="connsiteY4" fmla="*/ 947041 h 1040934"/>
                <a:gd name="connsiteX5" fmla="*/ 1808574 w 2074600"/>
                <a:gd name="connsiteY5" fmla="*/ 470526 h 1040934"/>
                <a:gd name="connsiteX6" fmla="*/ 1688693 w 2074600"/>
                <a:gd name="connsiteY6" fmla="*/ 421170 h 1040934"/>
                <a:gd name="connsiteX7" fmla="*/ 1523467 w 2074600"/>
                <a:gd name="connsiteY7" fmla="*/ 292710 h 1040934"/>
                <a:gd name="connsiteX8" fmla="*/ 1030329 w 2074600"/>
                <a:gd name="connsiteY8" fmla="*/ 127885 h 1040934"/>
                <a:gd name="connsiteX9" fmla="*/ 924954 w 2074600"/>
                <a:gd name="connsiteY9" fmla="*/ 206810 h 1040934"/>
                <a:gd name="connsiteX10" fmla="*/ 730203 w 2074600"/>
                <a:gd name="connsiteY10" fmla="*/ 279786 h 1040934"/>
                <a:gd name="connsiteX11" fmla="*/ 430613 w 2074600"/>
                <a:gd name="connsiteY11" fmla="*/ 503616 h 1040934"/>
                <a:gd name="connsiteX12" fmla="*/ 306053 w 2074600"/>
                <a:gd name="connsiteY12" fmla="*/ 669733 h 1040934"/>
                <a:gd name="connsiteX13" fmla="*/ 98824 w 2074600"/>
                <a:gd name="connsiteY13" fmla="*/ 947041 h 1040934"/>
                <a:gd name="connsiteX14" fmla="*/ 570455 w 2074600"/>
                <a:gd name="connsiteY14" fmla="*/ 947041 h 1040934"/>
                <a:gd name="connsiteX15" fmla="*/ 572822 w 2074600"/>
                <a:gd name="connsiteY15" fmla="*/ 1035476 h 1040934"/>
                <a:gd name="connsiteX16" fmla="*/ 0 w 2074600"/>
                <a:gd name="connsiteY16" fmla="*/ 1036172 h 1040934"/>
                <a:gd name="connsiteX17" fmla="*/ 3565 w 2074600"/>
                <a:gd name="connsiteY17" fmla="*/ 988264 h 1040934"/>
                <a:gd name="connsiteX18" fmla="*/ 264607 w 2074600"/>
                <a:gd name="connsiteY18" fmla="*/ 590518 h 1040934"/>
                <a:gd name="connsiteX19" fmla="*/ 342596 w 2074600"/>
                <a:gd name="connsiteY19" fmla="*/ 486124 h 1040934"/>
                <a:gd name="connsiteX20" fmla="*/ 737891 w 2074600"/>
                <a:gd name="connsiteY20" fmla="*/ 190655 h 1040934"/>
                <a:gd name="connsiteX21" fmla="*/ 858886 w 2074600"/>
                <a:gd name="connsiteY21" fmla="*/ 146090 h 1040934"/>
                <a:gd name="connsiteX22" fmla="*/ 1504437 w 2074600"/>
                <a:gd name="connsiteY22" fmla="*/ 121947 h 1040934"/>
                <a:gd name="connsiteX23" fmla="*/ 1602459 w 2074600"/>
                <a:gd name="connsiteY23" fmla="*/ 252824 h 1040934"/>
                <a:gd name="connsiteX24" fmla="*/ 1707076 w 2074600"/>
                <a:gd name="connsiteY24" fmla="*/ 334156 h 1040934"/>
                <a:gd name="connsiteX25" fmla="*/ 2063577 w 2074600"/>
                <a:gd name="connsiteY25" fmla="*/ 891680 h 1040934"/>
                <a:gd name="connsiteX26" fmla="*/ 2018699 w 2074600"/>
                <a:gd name="connsiteY26" fmla="*/ 1012775 h 1040934"/>
                <a:gd name="connsiteX0" fmla="*/ 2018699 w 2074600"/>
                <a:gd name="connsiteY0" fmla="*/ 1012775 h 1038553"/>
                <a:gd name="connsiteX1" fmla="*/ 2005998 w 2074600"/>
                <a:gd name="connsiteY1" fmla="*/ 1036172 h 1038553"/>
                <a:gd name="connsiteX2" fmla="*/ 1355055 w 2074600"/>
                <a:gd name="connsiteY2" fmla="*/ 1038553 h 1038553"/>
                <a:gd name="connsiteX3" fmla="*/ 1355055 w 2074600"/>
                <a:gd name="connsiteY3" fmla="*/ 944659 h 1038553"/>
                <a:gd name="connsiteX4" fmla="*/ 1951851 w 2074600"/>
                <a:gd name="connsiteY4" fmla="*/ 947041 h 1038553"/>
                <a:gd name="connsiteX5" fmla="*/ 1808574 w 2074600"/>
                <a:gd name="connsiteY5" fmla="*/ 470526 h 1038553"/>
                <a:gd name="connsiteX6" fmla="*/ 1688693 w 2074600"/>
                <a:gd name="connsiteY6" fmla="*/ 421170 h 1038553"/>
                <a:gd name="connsiteX7" fmla="*/ 1523467 w 2074600"/>
                <a:gd name="connsiteY7" fmla="*/ 292710 h 1038553"/>
                <a:gd name="connsiteX8" fmla="*/ 1030329 w 2074600"/>
                <a:gd name="connsiteY8" fmla="*/ 127885 h 1038553"/>
                <a:gd name="connsiteX9" fmla="*/ 924954 w 2074600"/>
                <a:gd name="connsiteY9" fmla="*/ 206810 h 1038553"/>
                <a:gd name="connsiteX10" fmla="*/ 730203 w 2074600"/>
                <a:gd name="connsiteY10" fmla="*/ 279786 h 1038553"/>
                <a:gd name="connsiteX11" fmla="*/ 430613 w 2074600"/>
                <a:gd name="connsiteY11" fmla="*/ 503616 h 1038553"/>
                <a:gd name="connsiteX12" fmla="*/ 306053 w 2074600"/>
                <a:gd name="connsiteY12" fmla="*/ 669733 h 1038553"/>
                <a:gd name="connsiteX13" fmla="*/ 98824 w 2074600"/>
                <a:gd name="connsiteY13" fmla="*/ 947041 h 1038553"/>
                <a:gd name="connsiteX14" fmla="*/ 570455 w 2074600"/>
                <a:gd name="connsiteY14" fmla="*/ 947041 h 1038553"/>
                <a:gd name="connsiteX15" fmla="*/ 572822 w 2074600"/>
                <a:gd name="connsiteY15" fmla="*/ 1035476 h 1038553"/>
                <a:gd name="connsiteX16" fmla="*/ 0 w 2074600"/>
                <a:gd name="connsiteY16" fmla="*/ 1036172 h 1038553"/>
                <a:gd name="connsiteX17" fmla="*/ 3565 w 2074600"/>
                <a:gd name="connsiteY17" fmla="*/ 988264 h 1038553"/>
                <a:gd name="connsiteX18" fmla="*/ 264607 w 2074600"/>
                <a:gd name="connsiteY18" fmla="*/ 590518 h 1038553"/>
                <a:gd name="connsiteX19" fmla="*/ 342596 w 2074600"/>
                <a:gd name="connsiteY19" fmla="*/ 486124 h 1038553"/>
                <a:gd name="connsiteX20" fmla="*/ 737891 w 2074600"/>
                <a:gd name="connsiteY20" fmla="*/ 190655 h 1038553"/>
                <a:gd name="connsiteX21" fmla="*/ 858886 w 2074600"/>
                <a:gd name="connsiteY21" fmla="*/ 146090 h 1038553"/>
                <a:gd name="connsiteX22" fmla="*/ 1504437 w 2074600"/>
                <a:gd name="connsiteY22" fmla="*/ 121947 h 1038553"/>
                <a:gd name="connsiteX23" fmla="*/ 1602459 w 2074600"/>
                <a:gd name="connsiteY23" fmla="*/ 252824 h 1038553"/>
                <a:gd name="connsiteX24" fmla="*/ 1707076 w 2074600"/>
                <a:gd name="connsiteY24" fmla="*/ 334156 h 1038553"/>
                <a:gd name="connsiteX25" fmla="*/ 2063577 w 2074600"/>
                <a:gd name="connsiteY25" fmla="*/ 891680 h 1038553"/>
                <a:gd name="connsiteX26" fmla="*/ 2018699 w 2074600"/>
                <a:gd name="connsiteY26" fmla="*/ 1012775 h 1038553"/>
                <a:gd name="connsiteX0" fmla="*/ 2018699 w 2074600"/>
                <a:gd name="connsiteY0" fmla="*/ 1012775 h 1038553"/>
                <a:gd name="connsiteX1" fmla="*/ 2005998 w 2074600"/>
                <a:gd name="connsiteY1" fmla="*/ 1036172 h 1038553"/>
                <a:gd name="connsiteX2" fmla="*/ 1355055 w 2074600"/>
                <a:gd name="connsiteY2" fmla="*/ 1038553 h 1038553"/>
                <a:gd name="connsiteX3" fmla="*/ 1355055 w 2074600"/>
                <a:gd name="connsiteY3" fmla="*/ 944659 h 1038553"/>
                <a:gd name="connsiteX4" fmla="*/ 1951851 w 2074600"/>
                <a:gd name="connsiteY4" fmla="*/ 947041 h 1038553"/>
                <a:gd name="connsiteX5" fmla="*/ 1808574 w 2074600"/>
                <a:gd name="connsiteY5" fmla="*/ 470526 h 1038553"/>
                <a:gd name="connsiteX6" fmla="*/ 1688693 w 2074600"/>
                <a:gd name="connsiteY6" fmla="*/ 421170 h 1038553"/>
                <a:gd name="connsiteX7" fmla="*/ 1523467 w 2074600"/>
                <a:gd name="connsiteY7" fmla="*/ 292710 h 1038553"/>
                <a:gd name="connsiteX8" fmla="*/ 1030329 w 2074600"/>
                <a:gd name="connsiteY8" fmla="*/ 127885 h 1038553"/>
                <a:gd name="connsiteX9" fmla="*/ 924954 w 2074600"/>
                <a:gd name="connsiteY9" fmla="*/ 206810 h 1038553"/>
                <a:gd name="connsiteX10" fmla="*/ 730203 w 2074600"/>
                <a:gd name="connsiteY10" fmla="*/ 279786 h 1038553"/>
                <a:gd name="connsiteX11" fmla="*/ 430613 w 2074600"/>
                <a:gd name="connsiteY11" fmla="*/ 503616 h 1038553"/>
                <a:gd name="connsiteX12" fmla="*/ 306053 w 2074600"/>
                <a:gd name="connsiteY12" fmla="*/ 669733 h 1038553"/>
                <a:gd name="connsiteX13" fmla="*/ 98824 w 2074600"/>
                <a:gd name="connsiteY13" fmla="*/ 947041 h 1038553"/>
                <a:gd name="connsiteX14" fmla="*/ 570455 w 2074600"/>
                <a:gd name="connsiteY14" fmla="*/ 947041 h 1038553"/>
                <a:gd name="connsiteX15" fmla="*/ 572822 w 2074600"/>
                <a:gd name="connsiteY15" fmla="*/ 1035476 h 1038553"/>
                <a:gd name="connsiteX16" fmla="*/ 0 w 2074600"/>
                <a:gd name="connsiteY16" fmla="*/ 1036172 h 1038553"/>
                <a:gd name="connsiteX17" fmla="*/ 3565 w 2074600"/>
                <a:gd name="connsiteY17" fmla="*/ 988264 h 1038553"/>
                <a:gd name="connsiteX18" fmla="*/ 264607 w 2074600"/>
                <a:gd name="connsiteY18" fmla="*/ 590518 h 1038553"/>
                <a:gd name="connsiteX19" fmla="*/ 342596 w 2074600"/>
                <a:gd name="connsiteY19" fmla="*/ 486124 h 1038553"/>
                <a:gd name="connsiteX20" fmla="*/ 737891 w 2074600"/>
                <a:gd name="connsiteY20" fmla="*/ 190655 h 1038553"/>
                <a:gd name="connsiteX21" fmla="*/ 858886 w 2074600"/>
                <a:gd name="connsiteY21" fmla="*/ 146090 h 1038553"/>
                <a:gd name="connsiteX22" fmla="*/ 1504437 w 2074600"/>
                <a:gd name="connsiteY22" fmla="*/ 121947 h 1038553"/>
                <a:gd name="connsiteX23" fmla="*/ 1602459 w 2074600"/>
                <a:gd name="connsiteY23" fmla="*/ 252824 h 1038553"/>
                <a:gd name="connsiteX24" fmla="*/ 1707076 w 2074600"/>
                <a:gd name="connsiteY24" fmla="*/ 334156 h 1038553"/>
                <a:gd name="connsiteX25" fmla="*/ 2063577 w 2074600"/>
                <a:gd name="connsiteY25" fmla="*/ 891680 h 1038553"/>
                <a:gd name="connsiteX26" fmla="*/ 2018699 w 2074600"/>
                <a:gd name="connsiteY26" fmla="*/ 1012775 h 1038553"/>
                <a:gd name="connsiteX0" fmla="*/ 2018699 w 2074600"/>
                <a:gd name="connsiteY0" fmla="*/ 1012775 h 1038553"/>
                <a:gd name="connsiteX1" fmla="*/ 2005998 w 2074600"/>
                <a:gd name="connsiteY1" fmla="*/ 1036172 h 1038553"/>
                <a:gd name="connsiteX2" fmla="*/ 1355055 w 2074600"/>
                <a:gd name="connsiteY2" fmla="*/ 1038553 h 1038553"/>
                <a:gd name="connsiteX3" fmla="*/ 1355055 w 2074600"/>
                <a:gd name="connsiteY3" fmla="*/ 944659 h 1038553"/>
                <a:gd name="connsiteX4" fmla="*/ 1951851 w 2074600"/>
                <a:gd name="connsiteY4" fmla="*/ 947041 h 1038553"/>
                <a:gd name="connsiteX5" fmla="*/ 1808574 w 2074600"/>
                <a:gd name="connsiteY5" fmla="*/ 470526 h 1038553"/>
                <a:gd name="connsiteX6" fmla="*/ 1688693 w 2074600"/>
                <a:gd name="connsiteY6" fmla="*/ 421170 h 1038553"/>
                <a:gd name="connsiteX7" fmla="*/ 1523467 w 2074600"/>
                <a:gd name="connsiteY7" fmla="*/ 292710 h 1038553"/>
                <a:gd name="connsiteX8" fmla="*/ 1030329 w 2074600"/>
                <a:gd name="connsiteY8" fmla="*/ 127885 h 1038553"/>
                <a:gd name="connsiteX9" fmla="*/ 924954 w 2074600"/>
                <a:gd name="connsiteY9" fmla="*/ 206810 h 1038553"/>
                <a:gd name="connsiteX10" fmla="*/ 730203 w 2074600"/>
                <a:gd name="connsiteY10" fmla="*/ 279786 h 1038553"/>
                <a:gd name="connsiteX11" fmla="*/ 430613 w 2074600"/>
                <a:gd name="connsiteY11" fmla="*/ 503616 h 1038553"/>
                <a:gd name="connsiteX12" fmla="*/ 306053 w 2074600"/>
                <a:gd name="connsiteY12" fmla="*/ 669733 h 1038553"/>
                <a:gd name="connsiteX13" fmla="*/ 98824 w 2074600"/>
                <a:gd name="connsiteY13" fmla="*/ 947041 h 1038553"/>
                <a:gd name="connsiteX14" fmla="*/ 570455 w 2074600"/>
                <a:gd name="connsiteY14" fmla="*/ 947041 h 1038553"/>
                <a:gd name="connsiteX15" fmla="*/ 572822 w 2074600"/>
                <a:gd name="connsiteY15" fmla="*/ 1035476 h 1038553"/>
                <a:gd name="connsiteX16" fmla="*/ 0 w 2074600"/>
                <a:gd name="connsiteY16" fmla="*/ 1036172 h 1038553"/>
                <a:gd name="connsiteX17" fmla="*/ 3565 w 2074600"/>
                <a:gd name="connsiteY17" fmla="*/ 988264 h 1038553"/>
                <a:gd name="connsiteX18" fmla="*/ 264607 w 2074600"/>
                <a:gd name="connsiteY18" fmla="*/ 590518 h 1038553"/>
                <a:gd name="connsiteX19" fmla="*/ 342596 w 2074600"/>
                <a:gd name="connsiteY19" fmla="*/ 486124 h 1038553"/>
                <a:gd name="connsiteX20" fmla="*/ 737891 w 2074600"/>
                <a:gd name="connsiteY20" fmla="*/ 190655 h 1038553"/>
                <a:gd name="connsiteX21" fmla="*/ 858886 w 2074600"/>
                <a:gd name="connsiteY21" fmla="*/ 146090 h 1038553"/>
                <a:gd name="connsiteX22" fmla="*/ 1504437 w 2074600"/>
                <a:gd name="connsiteY22" fmla="*/ 121947 h 1038553"/>
                <a:gd name="connsiteX23" fmla="*/ 1602459 w 2074600"/>
                <a:gd name="connsiteY23" fmla="*/ 252824 h 1038553"/>
                <a:gd name="connsiteX24" fmla="*/ 1707076 w 2074600"/>
                <a:gd name="connsiteY24" fmla="*/ 334156 h 1038553"/>
                <a:gd name="connsiteX25" fmla="*/ 2063577 w 2074600"/>
                <a:gd name="connsiteY25" fmla="*/ 891680 h 1038553"/>
                <a:gd name="connsiteX26" fmla="*/ 2018699 w 2074600"/>
                <a:gd name="connsiteY26" fmla="*/ 1012775 h 1038553"/>
                <a:gd name="connsiteX0" fmla="*/ 2018699 w 2074600"/>
                <a:gd name="connsiteY0" fmla="*/ 1012775 h 1038553"/>
                <a:gd name="connsiteX1" fmla="*/ 2005998 w 2074600"/>
                <a:gd name="connsiteY1" fmla="*/ 1036172 h 1038553"/>
                <a:gd name="connsiteX2" fmla="*/ 1355055 w 2074600"/>
                <a:gd name="connsiteY2" fmla="*/ 1038553 h 1038553"/>
                <a:gd name="connsiteX3" fmla="*/ 1479623 w 2074600"/>
                <a:gd name="connsiteY3" fmla="*/ 946658 h 1038553"/>
                <a:gd name="connsiteX4" fmla="*/ 1951851 w 2074600"/>
                <a:gd name="connsiteY4" fmla="*/ 947041 h 1038553"/>
                <a:gd name="connsiteX5" fmla="*/ 1808574 w 2074600"/>
                <a:gd name="connsiteY5" fmla="*/ 470526 h 1038553"/>
                <a:gd name="connsiteX6" fmla="*/ 1688693 w 2074600"/>
                <a:gd name="connsiteY6" fmla="*/ 421170 h 1038553"/>
                <a:gd name="connsiteX7" fmla="*/ 1523467 w 2074600"/>
                <a:gd name="connsiteY7" fmla="*/ 292710 h 1038553"/>
                <a:gd name="connsiteX8" fmla="*/ 1030329 w 2074600"/>
                <a:gd name="connsiteY8" fmla="*/ 127885 h 1038553"/>
                <a:gd name="connsiteX9" fmla="*/ 924954 w 2074600"/>
                <a:gd name="connsiteY9" fmla="*/ 206810 h 1038553"/>
                <a:gd name="connsiteX10" fmla="*/ 730203 w 2074600"/>
                <a:gd name="connsiteY10" fmla="*/ 279786 h 1038553"/>
                <a:gd name="connsiteX11" fmla="*/ 430613 w 2074600"/>
                <a:gd name="connsiteY11" fmla="*/ 503616 h 1038553"/>
                <a:gd name="connsiteX12" fmla="*/ 306053 w 2074600"/>
                <a:gd name="connsiteY12" fmla="*/ 669733 h 1038553"/>
                <a:gd name="connsiteX13" fmla="*/ 98824 w 2074600"/>
                <a:gd name="connsiteY13" fmla="*/ 947041 h 1038553"/>
                <a:gd name="connsiteX14" fmla="*/ 570455 w 2074600"/>
                <a:gd name="connsiteY14" fmla="*/ 947041 h 1038553"/>
                <a:gd name="connsiteX15" fmla="*/ 572822 w 2074600"/>
                <a:gd name="connsiteY15" fmla="*/ 1035476 h 1038553"/>
                <a:gd name="connsiteX16" fmla="*/ 0 w 2074600"/>
                <a:gd name="connsiteY16" fmla="*/ 1036172 h 1038553"/>
                <a:gd name="connsiteX17" fmla="*/ 3565 w 2074600"/>
                <a:gd name="connsiteY17" fmla="*/ 988264 h 1038553"/>
                <a:gd name="connsiteX18" fmla="*/ 264607 w 2074600"/>
                <a:gd name="connsiteY18" fmla="*/ 590518 h 1038553"/>
                <a:gd name="connsiteX19" fmla="*/ 342596 w 2074600"/>
                <a:gd name="connsiteY19" fmla="*/ 486124 h 1038553"/>
                <a:gd name="connsiteX20" fmla="*/ 737891 w 2074600"/>
                <a:gd name="connsiteY20" fmla="*/ 190655 h 1038553"/>
                <a:gd name="connsiteX21" fmla="*/ 858886 w 2074600"/>
                <a:gd name="connsiteY21" fmla="*/ 146090 h 1038553"/>
                <a:gd name="connsiteX22" fmla="*/ 1504437 w 2074600"/>
                <a:gd name="connsiteY22" fmla="*/ 121947 h 1038553"/>
                <a:gd name="connsiteX23" fmla="*/ 1602459 w 2074600"/>
                <a:gd name="connsiteY23" fmla="*/ 252824 h 1038553"/>
                <a:gd name="connsiteX24" fmla="*/ 1707076 w 2074600"/>
                <a:gd name="connsiteY24" fmla="*/ 334156 h 1038553"/>
                <a:gd name="connsiteX25" fmla="*/ 2063577 w 2074600"/>
                <a:gd name="connsiteY25" fmla="*/ 891680 h 1038553"/>
                <a:gd name="connsiteX26" fmla="*/ 2018699 w 2074600"/>
                <a:gd name="connsiteY26" fmla="*/ 1012775 h 1038553"/>
                <a:gd name="connsiteX0" fmla="*/ 2018699 w 2074600"/>
                <a:gd name="connsiteY0" fmla="*/ 1012775 h 1038553"/>
                <a:gd name="connsiteX1" fmla="*/ 2005998 w 2074600"/>
                <a:gd name="connsiteY1" fmla="*/ 1036172 h 1038553"/>
                <a:gd name="connsiteX2" fmla="*/ 1355055 w 2074600"/>
                <a:gd name="connsiteY2" fmla="*/ 1038553 h 1038553"/>
                <a:gd name="connsiteX3" fmla="*/ 1479623 w 2074600"/>
                <a:gd name="connsiteY3" fmla="*/ 946658 h 1038553"/>
                <a:gd name="connsiteX4" fmla="*/ 1951851 w 2074600"/>
                <a:gd name="connsiteY4" fmla="*/ 947041 h 1038553"/>
                <a:gd name="connsiteX5" fmla="*/ 1808574 w 2074600"/>
                <a:gd name="connsiteY5" fmla="*/ 470526 h 1038553"/>
                <a:gd name="connsiteX6" fmla="*/ 1688693 w 2074600"/>
                <a:gd name="connsiteY6" fmla="*/ 421170 h 1038553"/>
                <a:gd name="connsiteX7" fmla="*/ 1523467 w 2074600"/>
                <a:gd name="connsiteY7" fmla="*/ 292710 h 1038553"/>
                <a:gd name="connsiteX8" fmla="*/ 1030329 w 2074600"/>
                <a:gd name="connsiteY8" fmla="*/ 127885 h 1038553"/>
                <a:gd name="connsiteX9" fmla="*/ 924954 w 2074600"/>
                <a:gd name="connsiteY9" fmla="*/ 206810 h 1038553"/>
                <a:gd name="connsiteX10" fmla="*/ 730203 w 2074600"/>
                <a:gd name="connsiteY10" fmla="*/ 279786 h 1038553"/>
                <a:gd name="connsiteX11" fmla="*/ 430613 w 2074600"/>
                <a:gd name="connsiteY11" fmla="*/ 503616 h 1038553"/>
                <a:gd name="connsiteX12" fmla="*/ 306053 w 2074600"/>
                <a:gd name="connsiteY12" fmla="*/ 669733 h 1038553"/>
                <a:gd name="connsiteX13" fmla="*/ 98824 w 2074600"/>
                <a:gd name="connsiteY13" fmla="*/ 947041 h 1038553"/>
                <a:gd name="connsiteX14" fmla="*/ 570455 w 2074600"/>
                <a:gd name="connsiteY14" fmla="*/ 947041 h 1038553"/>
                <a:gd name="connsiteX15" fmla="*/ 572822 w 2074600"/>
                <a:gd name="connsiteY15" fmla="*/ 1035476 h 1038553"/>
                <a:gd name="connsiteX16" fmla="*/ 0 w 2074600"/>
                <a:gd name="connsiteY16" fmla="*/ 1036172 h 1038553"/>
                <a:gd name="connsiteX17" fmla="*/ 3565 w 2074600"/>
                <a:gd name="connsiteY17" fmla="*/ 988264 h 1038553"/>
                <a:gd name="connsiteX18" fmla="*/ 264607 w 2074600"/>
                <a:gd name="connsiteY18" fmla="*/ 590518 h 1038553"/>
                <a:gd name="connsiteX19" fmla="*/ 342596 w 2074600"/>
                <a:gd name="connsiteY19" fmla="*/ 486124 h 1038553"/>
                <a:gd name="connsiteX20" fmla="*/ 737891 w 2074600"/>
                <a:gd name="connsiteY20" fmla="*/ 190655 h 1038553"/>
                <a:gd name="connsiteX21" fmla="*/ 858886 w 2074600"/>
                <a:gd name="connsiteY21" fmla="*/ 146090 h 1038553"/>
                <a:gd name="connsiteX22" fmla="*/ 1504437 w 2074600"/>
                <a:gd name="connsiteY22" fmla="*/ 121947 h 1038553"/>
                <a:gd name="connsiteX23" fmla="*/ 1602459 w 2074600"/>
                <a:gd name="connsiteY23" fmla="*/ 252824 h 1038553"/>
                <a:gd name="connsiteX24" fmla="*/ 1707076 w 2074600"/>
                <a:gd name="connsiteY24" fmla="*/ 334156 h 1038553"/>
                <a:gd name="connsiteX25" fmla="*/ 2063577 w 2074600"/>
                <a:gd name="connsiteY25" fmla="*/ 891680 h 1038553"/>
                <a:gd name="connsiteX26" fmla="*/ 2018699 w 2074600"/>
                <a:gd name="connsiteY26" fmla="*/ 1012775 h 1038553"/>
                <a:gd name="connsiteX0" fmla="*/ 2018699 w 2074600"/>
                <a:gd name="connsiteY0" fmla="*/ 1012775 h 1038553"/>
                <a:gd name="connsiteX1" fmla="*/ 2005998 w 2074600"/>
                <a:gd name="connsiteY1" fmla="*/ 1036172 h 1038553"/>
                <a:gd name="connsiteX2" fmla="*/ 1355055 w 2074600"/>
                <a:gd name="connsiteY2" fmla="*/ 1038553 h 1038553"/>
                <a:gd name="connsiteX3" fmla="*/ 1479623 w 2074600"/>
                <a:gd name="connsiteY3" fmla="*/ 946658 h 1038553"/>
                <a:gd name="connsiteX4" fmla="*/ 1951851 w 2074600"/>
                <a:gd name="connsiteY4" fmla="*/ 947041 h 1038553"/>
                <a:gd name="connsiteX5" fmla="*/ 1808574 w 2074600"/>
                <a:gd name="connsiteY5" fmla="*/ 470526 h 1038553"/>
                <a:gd name="connsiteX6" fmla="*/ 1688693 w 2074600"/>
                <a:gd name="connsiteY6" fmla="*/ 421170 h 1038553"/>
                <a:gd name="connsiteX7" fmla="*/ 1523467 w 2074600"/>
                <a:gd name="connsiteY7" fmla="*/ 292710 h 1038553"/>
                <a:gd name="connsiteX8" fmla="*/ 1030329 w 2074600"/>
                <a:gd name="connsiteY8" fmla="*/ 127885 h 1038553"/>
                <a:gd name="connsiteX9" fmla="*/ 924954 w 2074600"/>
                <a:gd name="connsiteY9" fmla="*/ 206810 h 1038553"/>
                <a:gd name="connsiteX10" fmla="*/ 730203 w 2074600"/>
                <a:gd name="connsiteY10" fmla="*/ 279786 h 1038553"/>
                <a:gd name="connsiteX11" fmla="*/ 430613 w 2074600"/>
                <a:gd name="connsiteY11" fmla="*/ 503616 h 1038553"/>
                <a:gd name="connsiteX12" fmla="*/ 306053 w 2074600"/>
                <a:gd name="connsiteY12" fmla="*/ 669733 h 1038553"/>
                <a:gd name="connsiteX13" fmla="*/ 98824 w 2074600"/>
                <a:gd name="connsiteY13" fmla="*/ 947041 h 1038553"/>
                <a:gd name="connsiteX14" fmla="*/ 570455 w 2074600"/>
                <a:gd name="connsiteY14" fmla="*/ 947041 h 1038553"/>
                <a:gd name="connsiteX15" fmla="*/ 572822 w 2074600"/>
                <a:gd name="connsiteY15" fmla="*/ 1035476 h 1038553"/>
                <a:gd name="connsiteX16" fmla="*/ 0 w 2074600"/>
                <a:gd name="connsiteY16" fmla="*/ 1036172 h 1038553"/>
                <a:gd name="connsiteX17" fmla="*/ 3565 w 2074600"/>
                <a:gd name="connsiteY17" fmla="*/ 988264 h 1038553"/>
                <a:gd name="connsiteX18" fmla="*/ 264607 w 2074600"/>
                <a:gd name="connsiteY18" fmla="*/ 590518 h 1038553"/>
                <a:gd name="connsiteX19" fmla="*/ 342596 w 2074600"/>
                <a:gd name="connsiteY19" fmla="*/ 486124 h 1038553"/>
                <a:gd name="connsiteX20" fmla="*/ 737891 w 2074600"/>
                <a:gd name="connsiteY20" fmla="*/ 190655 h 1038553"/>
                <a:gd name="connsiteX21" fmla="*/ 858886 w 2074600"/>
                <a:gd name="connsiteY21" fmla="*/ 146090 h 1038553"/>
                <a:gd name="connsiteX22" fmla="*/ 1504437 w 2074600"/>
                <a:gd name="connsiteY22" fmla="*/ 121947 h 1038553"/>
                <a:gd name="connsiteX23" fmla="*/ 1602459 w 2074600"/>
                <a:gd name="connsiteY23" fmla="*/ 252824 h 1038553"/>
                <a:gd name="connsiteX24" fmla="*/ 1707076 w 2074600"/>
                <a:gd name="connsiteY24" fmla="*/ 334156 h 1038553"/>
                <a:gd name="connsiteX25" fmla="*/ 2063577 w 2074600"/>
                <a:gd name="connsiteY25" fmla="*/ 891680 h 1038553"/>
                <a:gd name="connsiteX26" fmla="*/ 2018699 w 2074600"/>
                <a:gd name="connsiteY26" fmla="*/ 1012775 h 1038553"/>
                <a:gd name="connsiteX0" fmla="*/ 2018699 w 2074600"/>
                <a:gd name="connsiteY0" fmla="*/ 1012775 h 1038553"/>
                <a:gd name="connsiteX1" fmla="*/ 2005998 w 2074600"/>
                <a:gd name="connsiteY1" fmla="*/ 1036172 h 1038553"/>
                <a:gd name="connsiteX2" fmla="*/ 1355055 w 2074600"/>
                <a:gd name="connsiteY2" fmla="*/ 1038553 h 1038553"/>
                <a:gd name="connsiteX3" fmla="*/ 1479623 w 2074600"/>
                <a:gd name="connsiteY3" fmla="*/ 946658 h 1038553"/>
                <a:gd name="connsiteX4" fmla="*/ 1951851 w 2074600"/>
                <a:gd name="connsiteY4" fmla="*/ 947041 h 1038553"/>
                <a:gd name="connsiteX5" fmla="*/ 1808574 w 2074600"/>
                <a:gd name="connsiteY5" fmla="*/ 470526 h 1038553"/>
                <a:gd name="connsiteX6" fmla="*/ 1688693 w 2074600"/>
                <a:gd name="connsiteY6" fmla="*/ 421170 h 1038553"/>
                <a:gd name="connsiteX7" fmla="*/ 1523467 w 2074600"/>
                <a:gd name="connsiteY7" fmla="*/ 292710 h 1038553"/>
                <a:gd name="connsiteX8" fmla="*/ 1030329 w 2074600"/>
                <a:gd name="connsiteY8" fmla="*/ 127885 h 1038553"/>
                <a:gd name="connsiteX9" fmla="*/ 924954 w 2074600"/>
                <a:gd name="connsiteY9" fmla="*/ 206810 h 1038553"/>
                <a:gd name="connsiteX10" fmla="*/ 730203 w 2074600"/>
                <a:gd name="connsiteY10" fmla="*/ 279786 h 1038553"/>
                <a:gd name="connsiteX11" fmla="*/ 430613 w 2074600"/>
                <a:gd name="connsiteY11" fmla="*/ 503616 h 1038553"/>
                <a:gd name="connsiteX12" fmla="*/ 306053 w 2074600"/>
                <a:gd name="connsiteY12" fmla="*/ 669733 h 1038553"/>
                <a:gd name="connsiteX13" fmla="*/ 98824 w 2074600"/>
                <a:gd name="connsiteY13" fmla="*/ 947041 h 1038553"/>
                <a:gd name="connsiteX14" fmla="*/ 570455 w 2074600"/>
                <a:gd name="connsiteY14" fmla="*/ 947041 h 1038553"/>
                <a:gd name="connsiteX15" fmla="*/ 572822 w 2074600"/>
                <a:gd name="connsiteY15" fmla="*/ 1035476 h 1038553"/>
                <a:gd name="connsiteX16" fmla="*/ 0 w 2074600"/>
                <a:gd name="connsiteY16" fmla="*/ 1036172 h 1038553"/>
                <a:gd name="connsiteX17" fmla="*/ 3565 w 2074600"/>
                <a:gd name="connsiteY17" fmla="*/ 988264 h 1038553"/>
                <a:gd name="connsiteX18" fmla="*/ 264607 w 2074600"/>
                <a:gd name="connsiteY18" fmla="*/ 590518 h 1038553"/>
                <a:gd name="connsiteX19" fmla="*/ 342596 w 2074600"/>
                <a:gd name="connsiteY19" fmla="*/ 486124 h 1038553"/>
                <a:gd name="connsiteX20" fmla="*/ 737891 w 2074600"/>
                <a:gd name="connsiteY20" fmla="*/ 190655 h 1038553"/>
                <a:gd name="connsiteX21" fmla="*/ 858886 w 2074600"/>
                <a:gd name="connsiteY21" fmla="*/ 146090 h 1038553"/>
                <a:gd name="connsiteX22" fmla="*/ 1504437 w 2074600"/>
                <a:gd name="connsiteY22" fmla="*/ 121947 h 1038553"/>
                <a:gd name="connsiteX23" fmla="*/ 1602459 w 2074600"/>
                <a:gd name="connsiteY23" fmla="*/ 252824 h 1038553"/>
                <a:gd name="connsiteX24" fmla="*/ 1707076 w 2074600"/>
                <a:gd name="connsiteY24" fmla="*/ 334156 h 1038553"/>
                <a:gd name="connsiteX25" fmla="*/ 2063577 w 2074600"/>
                <a:gd name="connsiteY25" fmla="*/ 891680 h 1038553"/>
                <a:gd name="connsiteX26" fmla="*/ 2018699 w 2074600"/>
                <a:gd name="connsiteY26" fmla="*/ 1012775 h 1038553"/>
                <a:gd name="connsiteX0" fmla="*/ 2018699 w 2074600"/>
                <a:gd name="connsiteY0" fmla="*/ 1012775 h 1038553"/>
                <a:gd name="connsiteX1" fmla="*/ 2005998 w 2074600"/>
                <a:gd name="connsiteY1" fmla="*/ 1036172 h 1038553"/>
                <a:gd name="connsiteX2" fmla="*/ 1355055 w 2074600"/>
                <a:gd name="connsiteY2" fmla="*/ 1038553 h 1038553"/>
                <a:gd name="connsiteX3" fmla="*/ 1479623 w 2074600"/>
                <a:gd name="connsiteY3" fmla="*/ 946658 h 1038553"/>
                <a:gd name="connsiteX4" fmla="*/ 1951851 w 2074600"/>
                <a:gd name="connsiteY4" fmla="*/ 947041 h 1038553"/>
                <a:gd name="connsiteX5" fmla="*/ 1808574 w 2074600"/>
                <a:gd name="connsiteY5" fmla="*/ 470526 h 1038553"/>
                <a:gd name="connsiteX6" fmla="*/ 1688693 w 2074600"/>
                <a:gd name="connsiteY6" fmla="*/ 421170 h 1038553"/>
                <a:gd name="connsiteX7" fmla="*/ 1523467 w 2074600"/>
                <a:gd name="connsiteY7" fmla="*/ 292710 h 1038553"/>
                <a:gd name="connsiteX8" fmla="*/ 1030329 w 2074600"/>
                <a:gd name="connsiteY8" fmla="*/ 127885 h 1038553"/>
                <a:gd name="connsiteX9" fmla="*/ 924954 w 2074600"/>
                <a:gd name="connsiteY9" fmla="*/ 206810 h 1038553"/>
                <a:gd name="connsiteX10" fmla="*/ 730203 w 2074600"/>
                <a:gd name="connsiteY10" fmla="*/ 279786 h 1038553"/>
                <a:gd name="connsiteX11" fmla="*/ 430613 w 2074600"/>
                <a:gd name="connsiteY11" fmla="*/ 503616 h 1038553"/>
                <a:gd name="connsiteX12" fmla="*/ 306053 w 2074600"/>
                <a:gd name="connsiteY12" fmla="*/ 669733 h 1038553"/>
                <a:gd name="connsiteX13" fmla="*/ 98824 w 2074600"/>
                <a:gd name="connsiteY13" fmla="*/ 947041 h 1038553"/>
                <a:gd name="connsiteX14" fmla="*/ 570455 w 2074600"/>
                <a:gd name="connsiteY14" fmla="*/ 947041 h 1038553"/>
                <a:gd name="connsiteX15" fmla="*/ 572822 w 2074600"/>
                <a:gd name="connsiteY15" fmla="*/ 1035476 h 1038553"/>
                <a:gd name="connsiteX16" fmla="*/ 0 w 2074600"/>
                <a:gd name="connsiteY16" fmla="*/ 1036172 h 1038553"/>
                <a:gd name="connsiteX17" fmla="*/ 3565 w 2074600"/>
                <a:gd name="connsiteY17" fmla="*/ 988264 h 1038553"/>
                <a:gd name="connsiteX18" fmla="*/ 264607 w 2074600"/>
                <a:gd name="connsiteY18" fmla="*/ 590518 h 1038553"/>
                <a:gd name="connsiteX19" fmla="*/ 342596 w 2074600"/>
                <a:gd name="connsiteY19" fmla="*/ 486124 h 1038553"/>
                <a:gd name="connsiteX20" fmla="*/ 737891 w 2074600"/>
                <a:gd name="connsiteY20" fmla="*/ 190655 h 1038553"/>
                <a:gd name="connsiteX21" fmla="*/ 858886 w 2074600"/>
                <a:gd name="connsiteY21" fmla="*/ 146090 h 1038553"/>
                <a:gd name="connsiteX22" fmla="*/ 1504437 w 2074600"/>
                <a:gd name="connsiteY22" fmla="*/ 121947 h 1038553"/>
                <a:gd name="connsiteX23" fmla="*/ 1602459 w 2074600"/>
                <a:gd name="connsiteY23" fmla="*/ 252824 h 1038553"/>
                <a:gd name="connsiteX24" fmla="*/ 1707076 w 2074600"/>
                <a:gd name="connsiteY24" fmla="*/ 334156 h 1038553"/>
                <a:gd name="connsiteX25" fmla="*/ 2063577 w 2074600"/>
                <a:gd name="connsiteY25" fmla="*/ 891680 h 1038553"/>
                <a:gd name="connsiteX26" fmla="*/ 2018699 w 2074600"/>
                <a:gd name="connsiteY26" fmla="*/ 1012775 h 1038553"/>
                <a:gd name="connsiteX0" fmla="*/ 2018699 w 2074600"/>
                <a:gd name="connsiteY0" fmla="*/ 1012775 h 1038553"/>
                <a:gd name="connsiteX1" fmla="*/ 2005998 w 2074600"/>
                <a:gd name="connsiteY1" fmla="*/ 1036172 h 1038553"/>
                <a:gd name="connsiteX2" fmla="*/ 1364224 w 2074600"/>
                <a:gd name="connsiteY2" fmla="*/ 1034890 h 1038553"/>
                <a:gd name="connsiteX3" fmla="*/ 1355055 w 2074600"/>
                <a:gd name="connsiteY3" fmla="*/ 1038553 h 1038553"/>
                <a:gd name="connsiteX4" fmla="*/ 1479623 w 2074600"/>
                <a:gd name="connsiteY4" fmla="*/ 946658 h 1038553"/>
                <a:gd name="connsiteX5" fmla="*/ 1951851 w 2074600"/>
                <a:gd name="connsiteY5" fmla="*/ 947041 h 1038553"/>
                <a:gd name="connsiteX6" fmla="*/ 1808574 w 2074600"/>
                <a:gd name="connsiteY6" fmla="*/ 470526 h 1038553"/>
                <a:gd name="connsiteX7" fmla="*/ 1688693 w 2074600"/>
                <a:gd name="connsiteY7" fmla="*/ 421170 h 1038553"/>
                <a:gd name="connsiteX8" fmla="*/ 1523467 w 2074600"/>
                <a:gd name="connsiteY8" fmla="*/ 292710 h 1038553"/>
                <a:gd name="connsiteX9" fmla="*/ 1030329 w 2074600"/>
                <a:gd name="connsiteY9" fmla="*/ 127885 h 1038553"/>
                <a:gd name="connsiteX10" fmla="*/ 924954 w 2074600"/>
                <a:gd name="connsiteY10" fmla="*/ 206810 h 1038553"/>
                <a:gd name="connsiteX11" fmla="*/ 730203 w 2074600"/>
                <a:gd name="connsiteY11" fmla="*/ 279786 h 1038553"/>
                <a:gd name="connsiteX12" fmla="*/ 430613 w 2074600"/>
                <a:gd name="connsiteY12" fmla="*/ 503616 h 1038553"/>
                <a:gd name="connsiteX13" fmla="*/ 306053 w 2074600"/>
                <a:gd name="connsiteY13" fmla="*/ 669733 h 1038553"/>
                <a:gd name="connsiteX14" fmla="*/ 98824 w 2074600"/>
                <a:gd name="connsiteY14" fmla="*/ 947041 h 1038553"/>
                <a:gd name="connsiteX15" fmla="*/ 570455 w 2074600"/>
                <a:gd name="connsiteY15" fmla="*/ 947041 h 1038553"/>
                <a:gd name="connsiteX16" fmla="*/ 572822 w 2074600"/>
                <a:gd name="connsiteY16" fmla="*/ 1035476 h 1038553"/>
                <a:gd name="connsiteX17" fmla="*/ 0 w 2074600"/>
                <a:gd name="connsiteY17" fmla="*/ 1036172 h 1038553"/>
                <a:gd name="connsiteX18" fmla="*/ 3565 w 2074600"/>
                <a:gd name="connsiteY18" fmla="*/ 988264 h 1038553"/>
                <a:gd name="connsiteX19" fmla="*/ 264607 w 2074600"/>
                <a:gd name="connsiteY19" fmla="*/ 590518 h 1038553"/>
                <a:gd name="connsiteX20" fmla="*/ 342596 w 2074600"/>
                <a:gd name="connsiteY20" fmla="*/ 486124 h 1038553"/>
                <a:gd name="connsiteX21" fmla="*/ 737891 w 2074600"/>
                <a:gd name="connsiteY21" fmla="*/ 190655 h 1038553"/>
                <a:gd name="connsiteX22" fmla="*/ 858886 w 2074600"/>
                <a:gd name="connsiteY22" fmla="*/ 146090 h 1038553"/>
                <a:gd name="connsiteX23" fmla="*/ 1504437 w 2074600"/>
                <a:gd name="connsiteY23" fmla="*/ 121947 h 1038553"/>
                <a:gd name="connsiteX24" fmla="*/ 1602459 w 2074600"/>
                <a:gd name="connsiteY24" fmla="*/ 252824 h 1038553"/>
                <a:gd name="connsiteX25" fmla="*/ 1707076 w 2074600"/>
                <a:gd name="connsiteY25" fmla="*/ 334156 h 1038553"/>
                <a:gd name="connsiteX26" fmla="*/ 2063577 w 2074600"/>
                <a:gd name="connsiteY26" fmla="*/ 891680 h 1038553"/>
                <a:gd name="connsiteX27" fmla="*/ 2018699 w 2074600"/>
                <a:gd name="connsiteY27" fmla="*/ 1012775 h 1038553"/>
                <a:gd name="connsiteX0" fmla="*/ 2018699 w 2074600"/>
                <a:gd name="connsiteY0" fmla="*/ 1012775 h 1038553"/>
                <a:gd name="connsiteX1" fmla="*/ 2005998 w 2074600"/>
                <a:gd name="connsiteY1" fmla="*/ 1036172 h 1038553"/>
                <a:gd name="connsiteX2" fmla="*/ 1364224 w 2074600"/>
                <a:gd name="connsiteY2" fmla="*/ 1034890 h 1038553"/>
                <a:gd name="connsiteX3" fmla="*/ 1355055 w 2074600"/>
                <a:gd name="connsiteY3" fmla="*/ 1038553 h 1038553"/>
                <a:gd name="connsiteX4" fmla="*/ 1484887 w 2074600"/>
                <a:gd name="connsiteY4" fmla="*/ 950656 h 1038553"/>
                <a:gd name="connsiteX5" fmla="*/ 1951851 w 2074600"/>
                <a:gd name="connsiteY5" fmla="*/ 947041 h 1038553"/>
                <a:gd name="connsiteX6" fmla="*/ 1808574 w 2074600"/>
                <a:gd name="connsiteY6" fmla="*/ 470526 h 1038553"/>
                <a:gd name="connsiteX7" fmla="*/ 1688693 w 2074600"/>
                <a:gd name="connsiteY7" fmla="*/ 421170 h 1038553"/>
                <a:gd name="connsiteX8" fmla="*/ 1523467 w 2074600"/>
                <a:gd name="connsiteY8" fmla="*/ 292710 h 1038553"/>
                <a:gd name="connsiteX9" fmla="*/ 1030329 w 2074600"/>
                <a:gd name="connsiteY9" fmla="*/ 127885 h 1038553"/>
                <a:gd name="connsiteX10" fmla="*/ 924954 w 2074600"/>
                <a:gd name="connsiteY10" fmla="*/ 206810 h 1038553"/>
                <a:gd name="connsiteX11" fmla="*/ 730203 w 2074600"/>
                <a:gd name="connsiteY11" fmla="*/ 279786 h 1038553"/>
                <a:gd name="connsiteX12" fmla="*/ 430613 w 2074600"/>
                <a:gd name="connsiteY12" fmla="*/ 503616 h 1038553"/>
                <a:gd name="connsiteX13" fmla="*/ 306053 w 2074600"/>
                <a:gd name="connsiteY13" fmla="*/ 669733 h 1038553"/>
                <a:gd name="connsiteX14" fmla="*/ 98824 w 2074600"/>
                <a:gd name="connsiteY14" fmla="*/ 947041 h 1038553"/>
                <a:gd name="connsiteX15" fmla="*/ 570455 w 2074600"/>
                <a:gd name="connsiteY15" fmla="*/ 947041 h 1038553"/>
                <a:gd name="connsiteX16" fmla="*/ 572822 w 2074600"/>
                <a:gd name="connsiteY16" fmla="*/ 1035476 h 1038553"/>
                <a:gd name="connsiteX17" fmla="*/ 0 w 2074600"/>
                <a:gd name="connsiteY17" fmla="*/ 1036172 h 1038553"/>
                <a:gd name="connsiteX18" fmla="*/ 3565 w 2074600"/>
                <a:gd name="connsiteY18" fmla="*/ 988264 h 1038553"/>
                <a:gd name="connsiteX19" fmla="*/ 264607 w 2074600"/>
                <a:gd name="connsiteY19" fmla="*/ 590518 h 1038553"/>
                <a:gd name="connsiteX20" fmla="*/ 342596 w 2074600"/>
                <a:gd name="connsiteY20" fmla="*/ 486124 h 1038553"/>
                <a:gd name="connsiteX21" fmla="*/ 737891 w 2074600"/>
                <a:gd name="connsiteY21" fmla="*/ 190655 h 1038553"/>
                <a:gd name="connsiteX22" fmla="*/ 858886 w 2074600"/>
                <a:gd name="connsiteY22" fmla="*/ 146090 h 1038553"/>
                <a:gd name="connsiteX23" fmla="*/ 1504437 w 2074600"/>
                <a:gd name="connsiteY23" fmla="*/ 121947 h 1038553"/>
                <a:gd name="connsiteX24" fmla="*/ 1602459 w 2074600"/>
                <a:gd name="connsiteY24" fmla="*/ 252824 h 1038553"/>
                <a:gd name="connsiteX25" fmla="*/ 1707076 w 2074600"/>
                <a:gd name="connsiteY25" fmla="*/ 334156 h 1038553"/>
                <a:gd name="connsiteX26" fmla="*/ 2063577 w 2074600"/>
                <a:gd name="connsiteY26" fmla="*/ 891680 h 1038553"/>
                <a:gd name="connsiteX27" fmla="*/ 2018699 w 2074600"/>
                <a:gd name="connsiteY27" fmla="*/ 1012775 h 1038553"/>
                <a:gd name="connsiteX0" fmla="*/ 2018699 w 2074600"/>
                <a:gd name="connsiteY0" fmla="*/ 1012775 h 1038553"/>
                <a:gd name="connsiteX1" fmla="*/ 2005998 w 2074600"/>
                <a:gd name="connsiteY1" fmla="*/ 1036172 h 1038553"/>
                <a:gd name="connsiteX2" fmla="*/ 1364224 w 2074600"/>
                <a:gd name="connsiteY2" fmla="*/ 1034890 h 1038553"/>
                <a:gd name="connsiteX3" fmla="*/ 1355055 w 2074600"/>
                <a:gd name="connsiteY3" fmla="*/ 1038553 h 1038553"/>
                <a:gd name="connsiteX4" fmla="*/ 1528748 w 2074600"/>
                <a:gd name="connsiteY4" fmla="*/ 946658 h 1038553"/>
                <a:gd name="connsiteX5" fmla="*/ 1951851 w 2074600"/>
                <a:gd name="connsiteY5" fmla="*/ 947041 h 1038553"/>
                <a:gd name="connsiteX6" fmla="*/ 1808574 w 2074600"/>
                <a:gd name="connsiteY6" fmla="*/ 470526 h 1038553"/>
                <a:gd name="connsiteX7" fmla="*/ 1688693 w 2074600"/>
                <a:gd name="connsiteY7" fmla="*/ 421170 h 1038553"/>
                <a:gd name="connsiteX8" fmla="*/ 1523467 w 2074600"/>
                <a:gd name="connsiteY8" fmla="*/ 292710 h 1038553"/>
                <a:gd name="connsiteX9" fmla="*/ 1030329 w 2074600"/>
                <a:gd name="connsiteY9" fmla="*/ 127885 h 1038553"/>
                <a:gd name="connsiteX10" fmla="*/ 924954 w 2074600"/>
                <a:gd name="connsiteY10" fmla="*/ 206810 h 1038553"/>
                <a:gd name="connsiteX11" fmla="*/ 730203 w 2074600"/>
                <a:gd name="connsiteY11" fmla="*/ 279786 h 1038553"/>
                <a:gd name="connsiteX12" fmla="*/ 430613 w 2074600"/>
                <a:gd name="connsiteY12" fmla="*/ 503616 h 1038553"/>
                <a:gd name="connsiteX13" fmla="*/ 306053 w 2074600"/>
                <a:gd name="connsiteY13" fmla="*/ 669733 h 1038553"/>
                <a:gd name="connsiteX14" fmla="*/ 98824 w 2074600"/>
                <a:gd name="connsiteY14" fmla="*/ 947041 h 1038553"/>
                <a:gd name="connsiteX15" fmla="*/ 570455 w 2074600"/>
                <a:gd name="connsiteY15" fmla="*/ 947041 h 1038553"/>
                <a:gd name="connsiteX16" fmla="*/ 572822 w 2074600"/>
                <a:gd name="connsiteY16" fmla="*/ 1035476 h 1038553"/>
                <a:gd name="connsiteX17" fmla="*/ 0 w 2074600"/>
                <a:gd name="connsiteY17" fmla="*/ 1036172 h 1038553"/>
                <a:gd name="connsiteX18" fmla="*/ 3565 w 2074600"/>
                <a:gd name="connsiteY18" fmla="*/ 988264 h 1038553"/>
                <a:gd name="connsiteX19" fmla="*/ 264607 w 2074600"/>
                <a:gd name="connsiteY19" fmla="*/ 590518 h 1038553"/>
                <a:gd name="connsiteX20" fmla="*/ 342596 w 2074600"/>
                <a:gd name="connsiteY20" fmla="*/ 486124 h 1038553"/>
                <a:gd name="connsiteX21" fmla="*/ 737891 w 2074600"/>
                <a:gd name="connsiteY21" fmla="*/ 190655 h 1038553"/>
                <a:gd name="connsiteX22" fmla="*/ 858886 w 2074600"/>
                <a:gd name="connsiteY22" fmla="*/ 146090 h 1038553"/>
                <a:gd name="connsiteX23" fmla="*/ 1504437 w 2074600"/>
                <a:gd name="connsiteY23" fmla="*/ 121947 h 1038553"/>
                <a:gd name="connsiteX24" fmla="*/ 1602459 w 2074600"/>
                <a:gd name="connsiteY24" fmla="*/ 252824 h 1038553"/>
                <a:gd name="connsiteX25" fmla="*/ 1707076 w 2074600"/>
                <a:gd name="connsiteY25" fmla="*/ 334156 h 1038553"/>
                <a:gd name="connsiteX26" fmla="*/ 2063577 w 2074600"/>
                <a:gd name="connsiteY26" fmla="*/ 891680 h 1038553"/>
                <a:gd name="connsiteX27" fmla="*/ 2018699 w 2074600"/>
                <a:gd name="connsiteY27" fmla="*/ 1012775 h 10385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2074600" h="1038553">
                  <a:moveTo>
                    <a:pt x="2018699" y="1012775"/>
                  </a:moveTo>
                  <a:lnTo>
                    <a:pt x="2005998" y="1036172"/>
                  </a:lnTo>
                  <a:lnTo>
                    <a:pt x="1364224" y="1034890"/>
                  </a:lnTo>
                  <a:lnTo>
                    <a:pt x="1355055" y="1038553"/>
                  </a:lnTo>
                  <a:cubicBezTo>
                    <a:pt x="1429561" y="1005077"/>
                    <a:pt x="1464776" y="1011903"/>
                    <a:pt x="1528748" y="946658"/>
                  </a:cubicBezTo>
                  <a:lnTo>
                    <a:pt x="1951851" y="947041"/>
                  </a:lnTo>
                  <a:cubicBezTo>
                    <a:pt x="2029328" y="774685"/>
                    <a:pt x="1968263" y="571578"/>
                    <a:pt x="1808574" y="470526"/>
                  </a:cubicBezTo>
                  <a:cubicBezTo>
                    <a:pt x="1771774" y="447252"/>
                    <a:pt x="1731208" y="430551"/>
                    <a:pt x="1688693" y="421170"/>
                  </a:cubicBezTo>
                  <a:cubicBezTo>
                    <a:pt x="1616999" y="405594"/>
                    <a:pt x="1556234" y="358355"/>
                    <a:pt x="1523467" y="292710"/>
                  </a:cubicBezTo>
                  <a:cubicBezTo>
                    <a:pt x="1432799" y="111017"/>
                    <a:pt x="1212022" y="37226"/>
                    <a:pt x="1030329" y="127885"/>
                  </a:cubicBezTo>
                  <a:cubicBezTo>
                    <a:pt x="990744" y="147639"/>
                    <a:pt x="955047" y="174378"/>
                    <a:pt x="924954" y="206810"/>
                  </a:cubicBezTo>
                  <a:cubicBezTo>
                    <a:pt x="875007" y="260233"/>
                    <a:pt x="802956" y="287240"/>
                    <a:pt x="730203" y="279786"/>
                  </a:cubicBezTo>
                  <a:cubicBezTo>
                    <a:pt x="587650" y="266294"/>
                    <a:pt x="458099" y="363090"/>
                    <a:pt x="430613" y="503616"/>
                  </a:cubicBezTo>
                  <a:cubicBezTo>
                    <a:pt x="416526" y="575054"/>
                    <a:pt x="370682" y="636198"/>
                    <a:pt x="306053" y="669733"/>
                  </a:cubicBezTo>
                  <a:cubicBezTo>
                    <a:pt x="198372" y="725808"/>
                    <a:pt x="122095" y="827884"/>
                    <a:pt x="98824" y="947041"/>
                  </a:cubicBezTo>
                  <a:lnTo>
                    <a:pt x="570455" y="947041"/>
                  </a:lnTo>
                  <a:cubicBezTo>
                    <a:pt x="570078" y="1003108"/>
                    <a:pt x="570923" y="955831"/>
                    <a:pt x="572822" y="1035476"/>
                  </a:cubicBezTo>
                  <a:lnTo>
                    <a:pt x="0" y="1036172"/>
                  </a:lnTo>
                  <a:lnTo>
                    <a:pt x="3565" y="988264"/>
                  </a:lnTo>
                  <a:cubicBezTo>
                    <a:pt x="15596" y="819339"/>
                    <a:pt x="114420" y="668764"/>
                    <a:pt x="264607" y="590518"/>
                  </a:cubicBezTo>
                  <a:cubicBezTo>
                    <a:pt x="305068" y="569316"/>
                    <a:pt x="333744" y="530934"/>
                    <a:pt x="342596" y="486124"/>
                  </a:cubicBezTo>
                  <a:cubicBezTo>
                    <a:pt x="378866" y="300698"/>
                    <a:pt x="549781" y="172941"/>
                    <a:pt x="737891" y="190655"/>
                  </a:cubicBezTo>
                  <a:cubicBezTo>
                    <a:pt x="782980" y="195558"/>
                    <a:pt x="827757" y="179068"/>
                    <a:pt x="858886" y="146090"/>
                  </a:cubicBezTo>
                  <a:cubicBezTo>
                    <a:pt x="1030485" y="-38841"/>
                    <a:pt x="1319514" y="-49649"/>
                    <a:pt x="1504437" y="121947"/>
                  </a:cubicBezTo>
                  <a:cubicBezTo>
                    <a:pt x="1544713" y="159326"/>
                    <a:pt x="1577926" y="203657"/>
                    <a:pt x="1602459" y="252824"/>
                  </a:cubicBezTo>
                  <a:cubicBezTo>
                    <a:pt x="1623193" y="294392"/>
                    <a:pt x="1661675" y="324307"/>
                    <a:pt x="1707076" y="334156"/>
                  </a:cubicBezTo>
                  <a:cubicBezTo>
                    <a:pt x="1959483" y="389662"/>
                    <a:pt x="2119094" y="639284"/>
                    <a:pt x="2063577" y="891680"/>
                  </a:cubicBezTo>
                  <a:cubicBezTo>
                    <a:pt x="2054285" y="933928"/>
                    <a:pt x="2039188" y="974683"/>
                    <a:pt x="2018699" y="1012775"/>
                  </a:cubicBezTo>
                  <a:close/>
                </a:path>
              </a:pathLst>
            </a:custGeom>
            <a:grpFill/>
            <a:ln w="1111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15" name="Rectangle 14">
            <a:extLst>
              <a:ext uri="{FF2B5EF4-FFF2-40B4-BE49-F238E27FC236}">
                <a16:creationId xmlns:a16="http://schemas.microsoft.com/office/drawing/2014/main" id="{F913022B-A53E-49BF-B034-FD744F8640F8}"/>
              </a:ext>
            </a:extLst>
          </p:cNvPr>
          <p:cNvSpPr/>
          <p:nvPr/>
        </p:nvSpPr>
        <p:spPr>
          <a:xfrm>
            <a:off x="7092774" y="5530823"/>
            <a:ext cx="4727449" cy="604174"/>
          </a:xfrm>
          <a:prstGeom prst="rect">
            <a:avLst/>
          </a:prstGeom>
          <a:solidFill>
            <a:schemeClr val="accent4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6" tIns="45719" rIns="91436" bIns="4571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>
              <a:solidFill>
                <a:srgbClr val="FFFFFF"/>
              </a:solidFill>
              <a:latin typeface="Oracle Sans" panose="020B0503020204020204" pitchFamily="34" charset="0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E3F325CB-F6AF-43CC-909F-4415E9BEF823}"/>
              </a:ext>
            </a:extLst>
          </p:cNvPr>
          <p:cNvSpPr/>
          <p:nvPr/>
        </p:nvSpPr>
        <p:spPr>
          <a:xfrm>
            <a:off x="7092774" y="1523161"/>
            <a:ext cx="4724400" cy="4007662"/>
          </a:xfrm>
          <a:prstGeom prst="rect">
            <a:avLst/>
          </a:prstGeom>
          <a:solidFill>
            <a:schemeClr val="accent2">
              <a:alpha val="26000"/>
            </a:schemeClr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6" tIns="45719" rIns="91436" bIns="4571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24DC12E3-BE1C-41CB-805D-330E77B89039}"/>
              </a:ext>
            </a:extLst>
          </p:cNvPr>
          <p:cNvSpPr txBox="1"/>
          <p:nvPr/>
        </p:nvSpPr>
        <p:spPr>
          <a:xfrm>
            <a:off x="7092774" y="5552089"/>
            <a:ext cx="4724400" cy="553972"/>
          </a:xfrm>
          <a:prstGeom prst="rect">
            <a:avLst/>
          </a:prstGeom>
          <a:noFill/>
        </p:spPr>
        <p:txBody>
          <a:bodyPr wrap="square" lIns="121893" tIns="60947" rIns="121893" bIns="60947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00" b="1" dirty="0">
                <a:solidFill>
                  <a:srgbClr val="FFFFFF"/>
                </a:solidFill>
                <a:ea typeface="ＭＳ Ｐゴシック" pitchFamily="34" charset="-128"/>
              </a:rPr>
              <a:t>Incremental forever backups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00" b="1" dirty="0">
                <a:solidFill>
                  <a:srgbClr val="FFFFFF"/>
                </a:solidFill>
                <a:ea typeface="ＭＳ Ｐゴシック" pitchFamily="34" charset="-128"/>
              </a:rPr>
              <a:t>stored on Recovery Service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614A57B1-36B6-4D84-91F9-62A955EF1B0C}"/>
              </a:ext>
            </a:extLst>
          </p:cNvPr>
          <p:cNvSpPr txBox="1"/>
          <p:nvPr/>
        </p:nvSpPr>
        <p:spPr>
          <a:xfrm>
            <a:off x="8019261" y="3696297"/>
            <a:ext cx="871531" cy="677082"/>
          </a:xfrm>
          <a:prstGeom prst="rect">
            <a:avLst/>
          </a:prstGeom>
          <a:noFill/>
        </p:spPr>
        <p:txBody>
          <a:bodyPr wrap="none" lIns="121893" tIns="60947" rIns="121893" bIns="60947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b="1" dirty="0">
                <a:solidFill>
                  <a:srgbClr val="41817E"/>
                </a:solidFill>
                <a:ea typeface="ＭＳ Ｐゴシック" pitchFamily="34" charset="-128"/>
              </a:rPr>
              <a:t>Day 0</a:t>
            </a:r>
            <a:br>
              <a:rPr lang="en-US" b="1" dirty="0">
                <a:solidFill>
                  <a:srgbClr val="41817E"/>
                </a:solidFill>
                <a:ea typeface="ＭＳ Ｐゴシック" pitchFamily="34" charset="-128"/>
              </a:rPr>
            </a:br>
            <a:r>
              <a:rPr lang="en-US" b="1" dirty="0">
                <a:solidFill>
                  <a:srgbClr val="41817E"/>
                </a:solidFill>
                <a:ea typeface="ＭＳ Ｐゴシック" pitchFamily="34" charset="-128"/>
              </a:rPr>
              <a:t>Full</a:t>
            </a:r>
            <a:endParaRPr lang="en-US" sz="1600" b="1" dirty="0">
              <a:solidFill>
                <a:srgbClr val="41817E"/>
              </a:solidFill>
              <a:ea typeface="ＭＳ Ｐゴシック" pitchFamily="34" charset="-128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1044A164-E7AF-4ACC-BDF1-D87ADD712364}"/>
              </a:ext>
            </a:extLst>
          </p:cNvPr>
          <p:cNvSpPr txBox="1"/>
          <p:nvPr/>
        </p:nvSpPr>
        <p:spPr>
          <a:xfrm>
            <a:off x="9119169" y="3696297"/>
            <a:ext cx="860309" cy="677082"/>
          </a:xfrm>
          <a:prstGeom prst="rect">
            <a:avLst/>
          </a:prstGeom>
          <a:noFill/>
        </p:spPr>
        <p:txBody>
          <a:bodyPr wrap="none" lIns="121893" tIns="60947" rIns="121893" bIns="60947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b="1" dirty="0">
                <a:solidFill>
                  <a:srgbClr val="594564"/>
                </a:solidFill>
                <a:ea typeface="ＭＳ Ｐゴシック" pitchFamily="34" charset="-128"/>
              </a:rPr>
              <a:t>Day 1</a:t>
            </a:r>
            <a:br>
              <a:rPr lang="en-US" b="1" dirty="0">
                <a:solidFill>
                  <a:srgbClr val="594564"/>
                </a:solidFill>
                <a:ea typeface="ＭＳ Ｐゴシック" pitchFamily="34" charset="-128"/>
              </a:rPr>
            </a:br>
            <a:r>
              <a:rPr lang="en-US" b="1" dirty="0">
                <a:solidFill>
                  <a:srgbClr val="594564"/>
                </a:solidFill>
                <a:ea typeface="ＭＳ Ｐゴシック" pitchFamily="34" charset="-128"/>
              </a:rPr>
              <a:t>Incr</a:t>
            </a:r>
            <a:endParaRPr lang="en-US" sz="1600" b="1" dirty="0">
              <a:solidFill>
                <a:srgbClr val="594564"/>
              </a:solidFill>
              <a:ea typeface="ＭＳ Ｐゴシック" pitchFamily="34" charset="-128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E953ED85-8FF1-4DF6-9492-B1A7A1765AA0}"/>
              </a:ext>
            </a:extLst>
          </p:cNvPr>
          <p:cNvSpPr txBox="1"/>
          <p:nvPr/>
        </p:nvSpPr>
        <p:spPr>
          <a:xfrm>
            <a:off x="10213465" y="3696297"/>
            <a:ext cx="897179" cy="677082"/>
          </a:xfrm>
          <a:prstGeom prst="rect">
            <a:avLst/>
          </a:prstGeom>
          <a:noFill/>
        </p:spPr>
        <p:txBody>
          <a:bodyPr wrap="none" lIns="121893" tIns="60947" rIns="121893" bIns="60947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b="1" dirty="0">
                <a:solidFill>
                  <a:srgbClr val="759C6C"/>
                </a:solidFill>
                <a:ea typeface="ＭＳ Ｐゴシック" pitchFamily="34" charset="-128"/>
              </a:rPr>
              <a:t>Day N</a:t>
            </a:r>
            <a:br>
              <a:rPr lang="en-US" b="1" dirty="0">
                <a:solidFill>
                  <a:srgbClr val="759C6C"/>
                </a:solidFill>
                <a:ea typeface="ＭＳ Ｐゴシック" pitchFamily="34" charset="-128"/>
              </a:rPr>
            </a:br>
            <a:r>
              <a:rPr lang="en-US" b="1" dirty="0">
                <a:solidFill>
                  <a:srgbClr val="759C6C"/>
                </a:solidFill>
                <a:ea typeface="ＭＳ Ｐゴシック" pitchFamily="34" charset="-128"/>
              </a:rPr>
              <a:t>Incr</a:t>
            </a:r>
          </a:p>
        </p:txBody>
      </p:sp>
      <p:grpSp>
        <p:nvGrpSpPr>
          <p:cNvPr id="21" name="Group 183">
            <a:extLst>
              <a:ext uri="{FF2B5EF4-FFF2-40B4-BE49-F238E27FC236}">
                <a16:creationId xmlns:a16="http://schemas.microsoft.com/office/drawing/2014/main" id="{1AC5C02F-993D-45A2-902D-D60B901A9EC7}"/>
              </a:ext>
            </a:extLst>
          </p:cNvPr>
          <p:cNvGrpSpPr/>
          <p:nvPr/>
        </p:nvGrpSpPr>
        <p:grpSpPr>
          <a:xfrm>
            <a:off x="8029208" y="4399044"/>
            <a:ext cx="838200" cy="1033140"/>
            <a:chOff x="7923212" y="4278420"/>
            <a:chExt cx="838200" cy="1033140"/>
          </a:xfrm>
        </p:grpSpPr>
        <p:sp>
          <p:nvSpPr>
            <p:cNvPr id="22" name="Can 41">
              <a:extLst>
                <a:ext uri="{FF2B5EF4-FFF2-40B4-BE49-F238E27FC236}">
                  <a16:creationId xmlns:a16="http://schemas.microsoft.com/office/drawing/2014/main" id="{B0DF789A-7A4D-4DD3-AD36-2BD80429C68B}"/>
                </a:ext>
              </a:extLst>
            </p:cNvPr>
            <p:cNvSpPr/>
            <p:nvPr/>
          </p:nvSpPr>
          <p:spPr>
            <a:xfrm>
              <a:off x="7923212" y="4278420"/>
              <a:ext cx="838200" cy="1033140"/>
            </a:xfrm>
            <a:prstGeom prst="can">
              <a:avLst>
                <a:gd name="adj" fmla="val 15901"/>
              </a:avLst>
            </a:prstGeom>
            <a:gradFill flip="none" rotWithShape="1">
              <a:gsLst>
                <a:gs pos="28000">
                  <a:schemeClr val="accent5"/>
                </a:gs>
                <a:gs pos="0">
                  <a:schemeClr val="accent5">
                    <a:lumMod val="40000"/>
                    <a:lumOff val="60000"/>
                  </a:schemeClr>
                </a:gs>
                <a:gs pos="100000">
                  <a:schemeClr val="accent5">
                    <a:lumMod val="60000"/>
                    <a:lumOff val="40000"/>
                  </a:schemeClr>
                </a:gs>
              </a:gsLst>
              <a:lin ang="0" scaled="1"/>
            </a:gradFill>
            <a:ln>
              <a:noFill/>
            </a:ln>
            <a:effectLst>
              <a:outerShdw blurRad="203200" dist="50800" dir="5400000" sx="88000" sy="88000" rotWithShape="0">
                <a:prstClr val="black">
                  <a:alpha val="72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>
                <a:solidFill>
                  <a:srgbClr val="FFFFFF"/>
                </a:solidFill>
                <a:latin typeface="Oracle Sans" panose="020B0503020204020204" pitchFamily="34" charset="0"/>
              </a:endParaRPr>
            </a:p>
          </p:txBody>
        </p:sp>
        <p:grpSp>
          <p:nvGrpSpPr>
            <p:cNvPr id="23" name="Group 181">
              <a:extLst>
                <a:ext uri="{FF2B5EF4-FFF2-40B4-BE49-F238E27FC236}">
                  <a16:creationId xmlns:a16="http://schemas.microsoft.com/office/drawing/2014/main" id="{3C369424-5685-4AA5-819D-D95BF830B588}"/>
                </a:ext>
              </a:extLst>
            </p:cNvPr>
            <p:cNvGrpSpPr/>
            <p:nvPr/>
          </p:nvGrpSpPr>
          <p:grpSpPr>
            <a:xfrm>
              <a:off x="7985818" y="4495800"/>
              <a:ext cx="699394" cy="715367"/>
              <a:chOff x="7916018" y="4542433"/>
              <a:chExt cx="699394" cy="715367"/>
            </a:xfrm>
          </p:grpSpPr>
          <p:sp>
            <p:nvSpPr>
              <p:cNvPr id="24" name="Rectangle 23">
                <a:extLst>
                  <a:ext uri="{FF2B5EF4-FFF2-40B4-BE49-F238E27FC236}">
                    <a16:creationId xmlns:a16="http://schemas.microsoft.com/office/drawing/2014/main" id="{A3FC6E6F-83BD-4B9F-84E1-E3AB3925AA42}"/>
                  </a:ext>
                </a:extLst>
              </p:cNvPr>
              <p:cNvSpPr/>
              <p:nvPr/>
            </p:nvSpPr>
            <p:spPr>
              <a:xfrm>
                <a:off x="8501492" y="4542433"/>
                <a:ext cx="113920" cy="118872"/>
              </a:xfrm>
              <a:prstGeom prst="rect">
                <a:avLst/>
              </a:prstGeom>
              <a:solidFill>
                <a:srgbClr val="41817E"/>
              </a:solidFill>
              <a:ln w="1270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>
                  <a:solidFill>
                    <a:srgbClr val="FFFFFF"/>
                  </a:solidFill>
                  <a:latin typeface="Oracle Sans" panose="020B0503020204020204" pitchFamily="34" charset="0"/>
                </a:endParaRPr>
              </a:p>
            </p:txBody>
          </p:sp>
          <p:sp>
            <p:nvSpPr>
              <p:cNvPr id="25" name="Rectangle 24">
                <a:extLst>
                  <a:ext uri="{FF2B5EF4-FFF2-40B4-BE49-F238E27FC236}">
                    <a16:creationId xmlns:a16="http://schemas.microsoft.com/office/drawing/2014/main" id="{635CDED0-2FA7-47E2-A118-D12ED17CAF49}"/>
                  </a:ext>
                </a:extLst>
              </p:cNvPr>
              <p:cNvSpPr/>
              <p:nvPr/>
            </p:nvSpPr>
            <p:spPr>
              <a:xfrm>
                <a:off x="8208754" y="4542433"/>
                <a:ext cx="113920" cy="118872"/>
              </a:xfrm>
              <a:prstGeom prst="rect">
                <a:avLst/>
              </a:prstGeom>
              <a:solidFill>
                <a:srgbClr val="41817E"/>
              </a:solidFill>
              <a:ln w="1270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>
                  <a:solidFill>
                    <a:srgbClr val="FFFFFF"/>
                  </a:solidFill>
                  <a:latin typeface="Oracle Sans" panose="020B0503020204020204" pitchFamily="34" charset="0"/>
                </a:endParaRPr>
              </a:p>
            </p:txBody>
          </p:sp>
          <p:sp>
            <p:nvSpPr>
              <p:cNvPr id="26" name="Rectangle 25">
                <a:extLst>
                  <a:ext uri="{FF2B5EF4-FFF2-40B4-BE49-F238E27FC236}">
                    <a16:creationId xmlns:a16="http://schemas.microsoft.com/office/drawing/2014/main" id="{299CBF94-ECF4-4284-BBA4-66B903E12F70}"/>
                  </a:ext>
                </a:extLst>
              </p:cNvPr>
              <p:cNvSpPr/>
              <p:nvPr/>
            </p:nvSpPr>
            <p:spPr>
              <a:xfrm>
                <a:off x="7916018" y="4542433"/>
                <a:ext cx="113920" cy="118872"/>
              </a:xfrm>
              <a:prstGeom prst="rect">
                <a:avLst/>
              </a:prstGeom>
              <a:solidFill>
                <a:srgbClr val="41817E"/>
              </a:solidFill>
              <a:ln w="1270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>
                  <a:solidFill>
                    <a:srgbClr val="FFFFFF"/>
                  </a:solidFill>
                  <a:latin typeface="Oracle Sans" panose="020B0503020204020204" pitchFamily="34" charset="0"/>
                </a:endParaRPr>
              </a:p>
            </p:txBody>
          </p:sp>
          <p:sp>
            <p:nvSpPr>
              <p:cNvPr id="27" name="Rectangle 26">
                <a:extLst>
                  <a:ext uri="{FF2B5EF4-FFF2-40B4-BE49-F238E27FC236}">
                    <a16:creationId xmlns:a16="http://schemas.microsoft.com/office/drawing/2014/main" id="{386CF377-8E3F-4EE1-A9B4-74F2C54217AA}"/>
                  </a:ext>
                </a:extLst>
              </p:cNvPr>
              <p:cNvSpPr/>
              <p:nvPr/>
            </p:nvSpPr>
            <p:spPr>
              <a:xfrm>
                <a:off x="8062386" y="4542433"/>
                <a:ext cx="113920" cy="118872"/>
              </a:xfrm>
              <a:prstGeom prst="rect">
                <a:avLst/>
              </a:prstGeom>
              <a:solidFill>
                <a:srgbClr val="41817E"/>
              </a:solidFill>
              <a:ln w="1270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>
                  <a:solidFill>
                    <a:srgbClr val="FFFFFF"/>
                  </a:solidFill>
                  <a:latin typeface="Oracle Sans" panose="020B0503020204020204" pitchFamily="34" charset="0"/>
                </a:endParaRPr>
              </a:p>
            </p:txBody>
          </p:sp>
          <p:sp>
            <p:nvSpPr>
              <p:cNvPr id="28" name="Rectangle 27">
                <a:extLst>
                  <a:ext uri="{FF2B5EF4-FFF2-40B4-BE49-F238E27FC236}">
                    <a16:creationId xmlns:a16="http://schemas.microsoft.com/office/drawing/2014/main" id="{19B2B9B7-ED99-492B-BC4F-51EDDBC02014}"/>
                  </a:ext>
                </a:extLst>
              </p:cNvPr>
              <p:cNvSpPr/>
              <p:nvPr/>
            </p:nvSpPr>
            <p:spPr>
              <a:xfrm>
                <a:off x="8355122" y="4542433"/>
                <a:ext cx="113920" cy="118872"/>
              </a:xfrm>
              <a:prstGeom prst="rect">
                <a:avLst/>
              </a:prstGeom>
              <a:solidFill>
                <a:srgbClr val="41817E"/>
              </a:solidFill>
              <a:ln w="1270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>
                  <a:solidFill>
                    <a:srgbClr val="FFFFFF"/>
                  </a:solidFill>
                  <a:latin typeface="Oracle Sans" panose="020B0503020204020204" pitchFamily="34" charset="0"/>
                </a:endParaRPr>
              </a:p>
            </p:txBody>
          </p:sp>
          <p:grpSp>
            <p:nvGrpSpPr>
              <p:cNvPr id="29" name="Group 160">
                <a:extLst>
                  <a:ext uri="{FF2B5EF4-FFF2-40B4-BE49-F238E27FC236}">
                    <a16:creationId xmlns:a16="http://schemas.microsoft.com/office/drawing/2014/main" id="{6D9C59EA-ECB9-41DD-87EF-5326D7C06F1C}"/>
                  </a:ext>
                </a:extLst>
              </p:cNvPr>
              <p:cNvGrpSpPr/>
              <p:nvPr/>
            </p:nvGrpSpPr>
            <p:grpSpPr>
              <a:xfrm>
                <a:off x="7916018" y="4691557"/>
                <a:ext cx="113920" cy="566243"/>
                <a:chOff x="7916018" y="4691557"/>
                <a:chExt cx="113920" cy="566243"/>
              </a:xfrm>
            </p:grpSpPr>
            <p:sp>
              <p:nvSpPr>
                <p:cNvPr id="50" name="Rectangle 49">
                  <a:extLst>
                    <a:ext uri="{FF2B5EF4-FFF2-40B4-BE49-F238E27FC236}">
                      <a16:creationId xmlns:a16="http://schemas.microsoft.com/office/drawing/2014/main" id="{DF8760CC-361A-4A3A-8F7E-C9A3276F6C5A}"/>
                    </a:ext>
                  </a:extLst>
                </p:cNvPr>
                <p:cNvSpPr/>
                <p:nvPr/>
              </p:nvSpPr>
              <p:spPr>
                <a:xfrm>
                  <a:off x="7916018" y="4691557"/>
                  <a:ext cx="113920" cy="118872"/>
                </a:xfrm>
                <a:prstGeom prst="rect">
                  <a:avLst/>
                </a:prstGeom>
                <a:solidFill>
                  <a:srgbClr val="41817E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fontAlgn="base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>
                    <a:solidFill>
                      <a:srgbClr val="FFFFFF"/>
                    </a:solidFill>
                    <a:latin typeface="Oracle Sans" panose="020B0503020204020204" pitchFamily="34" charset="0"/>
                  </a:endParaRPr>
                </a:p>
              </p:txBody>
            </p:sp>
            <p:sp>
              <p:nvSpPr>
                <p:cNvPr id="51" name="Rectangle 50">
                  <a:extLst>
                    <a:ext uri="{FF2B5EF4-FFF2-40B4-BE49-F238E27FC236}">
                      <a16:creationId xmlns:a16="http://schemas.microsoft.com/office/drawing/2014/main" id="{EA3B2AE4-F594-4BF5-B0C5-45F42DEA92B5}"/>
                    </a:ext>
                  </a:extLst>
                </p:cNvPr>
                <p:cNvSpPr/>
                <p:nvPr/>
              </p:nvSpPr>
              <p:spPr>
                <a:xfrm>
                  <a:off x="7916018" y="4840681"/>
                  <a:ext cx="113920" cy="118872"/>
                </a:xfrm>
                <a:prstGeom prst="rect">
                  <a:avLst/>
                </a:prstGeom>
                <a:solidFill>
                  <a:srgbClr val="41817E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fontAlgn="base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>
                    <a:solidFill>
                      <a:srgbClr val="FFFFFF"/>
                    </a:solidFill>
                    <a:latin typeface="Oracle Sans" panose="020B0503020204020204" pitchFamily="34" charset="0"/>
                  </a:endParaRPr>
                </a:p>
              </p:txBody>
            </p:sp>
            <p:sp>
              <p:nvSpPr>
                <p:cNvPr id="52" name="Rectangle 51">
                  <a:extLst>
                    <a:ext uri="{FF2B5EF4-FFF2-40B4-BE49-F238E27FC236}">
                      <a16:creationId xmlns:a16="http://schemas.microsoft.com/office/drawing/2014/main" id="{A6DC2B0E-000B-404B-A3CD-4A1A1840EB8C}"/>
                    </a:ext>
                  </a:extLst>
                </p:cNvPr>
                <p:cNvSpPr/>
                <p:nvPr/>
              </p:nvSpPr>
              <p:spPr>
                <a:xfrm>
                  <a:off x="7916018" y="4989805"/>
                  <a:ext cx="113920" cy="118872"/>
                </a:xfrm>
                <a:prstGeom prst="rect">
                  <a:avLst/>
                </a:prstGeom>
                <a:solidFill>
                  <a:srgbClr val="41817E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fontAlgn="base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>
                    <a:solidFill>
                      <a:srgbClr val="0070C0"/>
                    </a:solidFill>
                    <a:latin typeface="Oracle Sans" panose="020B0503020204020204" pitchFamily="34" charset="0"/>
                  </a:endParaRPr>
                </a:p>
              </p:txBody>
            </p:sp>
            <p:sp>
              <p:nvSpPr>
                <p:cNvPr id="53" name="Rectangle 52">
                  <a:extLst>
                    <a:ext uri="{FF2B5EF4-FFF2-40B4-BE49-F238E27FC236}">
                      <a16:creationId xmlns:a16="http://schemas.microsoft.com/office/drawing/2014/main" id="{F3030A23-F578-4F77-A343-F609E301E5D8}"/>
                    </a:ext>
                  </a:extLst>
                </p:cNvPr>
                <p:cNvSpPr/>
                <p:nvPr/>
              </p:nvSpPr>
              <p:spPr>
                <a:xfrm>
                  <a:off x="7916018" y="5138928"/>
                  <a:ext cx="113920" cy="118872"/>
                </a:xfrm>
                <a:prstGeom prst="rect">
                  <a:avLst/>
                </a:prstGeom>
                <a:solidFill>
                  <a:srgbClr val="41817E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fontAlgn="base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>
                    <a:solidFill>
                      <a:srgbClr val="FFFFFF"/>
                    </a:solidFill>
                    <a:latin typeface="Oracle Sans" panose="020B0503020204020204" pitchFamily="34" charset="0"/>
                  </a:endParaRPr>
                </a:p>
              </p:txBody>
            </p:sp>
          </p:grpSp>
          <p:grpSp>
            <p:nvGrpSpPr>
              <p:cNvPr id="30" name="Group 161">
                <a:extLst>
                  <a:ext uri="{FF2B5EF4-FFF2-40B4-BE49-F238E27FC236}">
                    <a16:creationId xmlns:a16="http://schemas.microsoft.com/office/drawing/2014/main" id="{415C7711-948D-45A1-849F-2B28ABF014A0}"/>
                  </a:ext>
                </a:extLst>
              </p:cNvPr>
              <p:cNvGrpSpPr/>
              <p:nvPr/>
            </p:nvGrpSpPr>
            <p:grpSpPr>
              <a:xfrm>
                <a:off x="8062386" y="4691557"/>
                <a:ext cx="113920" cy="566243"/>
                <a:chOff x="7916018" y="4691557"/>
                <a:chExt cx="113920" cy="566243"/>
              </a:xfrm>
            </p:grpSpPr>
            <p:sp>
              <p:nvSpPr>
                <p:cNvPr id="46" name="Rectangle 45">
                  <a:extLst>
                    <a:ext uri="{FF2B5EF4-FFF2-40B4-BE49-F238E27FC236}">
                      <a16:creationId xmlns:a16="http://schemas.microsoft.com/office/drawing/2014/main" id="{C41899D1-7ABE-4F44-B5C0-1905161397F1}"/>
                    </a:ext>
                  </a:extLst>
                </p:cNvPr>
                <p:cNvSpPr/>
                <p:nvPr/>
              </p:nvSpPr>
              <p:spPr>
                <a:xfrm>
                  <a:off x="7916018" y="4691557"/>
                  <a:ext cx="113920" cy="118872"/>
                </a:xfrm>
                <a:prstGeom prst="rect">
                  <a:avLst/>
                </a:prstGeom>
                <a:solidFill>
                  <a:srgbClr val="41817E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fontAlgn="base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>
                    <a:solidFill>
                      <a:srgbClr val="FFFFFF"/>
                    </a:solidFill>
                    <a:latin typeface="Oracle Sans" panose="020B0503020204020204" pitchFamily="34" charset="0"/>
                  </a:endParaRPr>
                </a:p>
              </p:txBody>
            </p:sp>
            <p:sp>
              <p:nvSpPr>
                <p:cNvPr id="47" name="Rectangle 46">
                  <a:extLst>
                    <a:ext uri="{FF2B5EF4-FFF2-40B4-BE49-F238E27FC236}">
                      <a16:creationId xmlns:a16="http://schemas.microsoft.com/office/drawing/2014/main" id="{D225F65B-4D67-4839-9A1C-FDB4F80F523E}"/>
                    </a:ext>
                  </a:extLst>
                </p:cNvPr>
                <p:cNvSpPr/>
                <p:nvPr/>
              </p:nvSpPr>
              <p:spPr>
                <a:xfrm>
                  <a:off x="7916018" y="4840681"/>
                  <a:ext cx="113920" cy="118872"/>
                </a:xfrm>
                <a:prstGeom prst="rect">
                  <a:avLst/>
                </a:prstGeom>
                <a:solidFill>
                  <a:srgbClr val="41817E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fontAlgn="base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>
                    <a:solidFill>
                      <a:srgbClr val="FFFFFF"/>
                    </a:solidFill>
                    <a:latin typeface="Oracle Sans" panose="020B0503020204020204" pitchFamily="34" charset="0"/>
                  </a:endParaRPr>
                </a:p>
              </p:txBody>
            </p:sp>
            <p:sp>
              <p:nvSpPr>
                <p:cNvPr id="48" name="Rectangle 47">
                  <a:extLst>
                    <a:ext uri="{FF2B5EF4-FFF2-40B4-BE49-F238E27FC236}">
                      <a16:creationId xmlns:a16="http://schemas.microsoft.com/office/drawing/2014/main" id="{B0DA3ABB-8A5A-4EFE-B08E-7F17C96B2427}"/>
                    </a:ext>
                  </a:extLst>
                </p:cNvPr>
                <p:cNvSpPr/>
                <p:nvPr/>
              </p:nvSpPr>
              <p:spPr>
                <a:xfrm>
                  <a:off x="7916018" y="4989805"/>
                  <a:ext cx="113920" cy="118872"/>
                </a:xfrm>
                <a:prstGeom prst="rect">
                  <a:avLst/>
                </a:prstGeom>
                <a:solidFill>
                  <a:srgbClr val="41817E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fontAlgn="base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>
                    <a:solidFill>
                      <a:srgbClr val="0070C0"/>
                    </a:solidFill>
                    <a:latin typeface="Oracle Sans" panose="020B0503020204020204" pitchFamily="34" charset="0"/>
                  </a:endParaRPr>
                </a:p>
              </p:txBody>
            </p:sp>
            <p:sp>
              <p:nvSpPr>
                <p:cNvPr id="49" name="Rectangle 48">
                  <a:extLst>
                    <a:ext uri="{FF2B5EF4-FFF2-40B4-BE49-F238E27FC236}">
                      <a16:creationId xmlns:a16="http://schemas.microsoft.com/office/drawing/2014/main" id="{5A1515EB-FB70-45DC-8982-FEF0A85834B3}"/>
                    </a:ext>
                  </a:extLst>
                </p:cNvPr>
                <p:cNvSpPr/>
                <p:nvPr/>
              </p:nvSpPr>
              <p:spPr>
                <a:xfrm>
                  <a:off x="7916018" y="5138928"/>
                  <a:ext cx="113920" cy="118872"/>
                </a:xfrm>
                <a:prstGeom prst="rect">
                  <a:avLst/>
                </a:prstGeom>
                <a:solidFill>
                  <a:srgbClr val="41817E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fontAlgn="base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>
                    <a:solidFill>
                      <a:srgbClr val="FFFFFF"/>
                    </a:solidFill>
                    <a:latin typeface="Oracle Sans" panose="020B0503020204020204" pitchFamily="34" charset="0"/>
                  </a:endParaRPr>
                </a:p>
              </p:txBody>
            </p:sp>
          </p:grpSp>
          <p:grpSp>
            <p:nvGrpSpPr>
              <p:cNvPr id="31" name="Group 166">
                <a:extLst>
                  <a:ext uri="{FF2B5EF4-FFF2-40B4-BE49-F238E27FC236}">
                    <a16:creationId xmlns:a16="http://schemas.microsoft.com/office/drawing/2014/main" id="{D8796939-805C-4E1E-8BCF-8950464FFF59}"/>
                  </a:ext>
                </a:extLst>
              </p:cNvPr>
              <p:cNvGrpSpPr/>
              <p:nvPr/>
            </p:nvGrpSpPr>
            <p:grpSpPr>
              <a:xfrm>
                <a:off x="8208754" y="4691557"/>
                <a:ext cx="113920" cy="566243"/>
                <a:chOff x="7916018" y="4691557"/>
                <a:chExt cx="113920" cy="566243"/>
              </a:xfrm>
            </p:grpSpPr>
            <p:sp>
              <p:nvSpPr>
                <p:cNvPr id="42" name="Rectangle 41">
                  <a:extLst>
                    <a:ext uri="{FF2B5EF4-FFF2-40B4-BE49-F238E27FC236}">
                      <a16:creationId xmlns:a16="http://schemas.microsoft.com/office/drawing/2014/main" id="{25CA1E92-8B50-4409-8733-3C20173E380D}"/>
                    </a:ext>
                  </a:extLst>
                </p:cNvPr>
                <p:cNvSpPr/>
                <p:nvPr/>
              </p:nvSpPr>
              <p:spPr>
                <a:xfrm>
                  <a:off x="7916018" y="4691557"/>
                  <a:ext cx="113920" cy="118872"/>
                </a:xfrm>
                <a:prstGeom prst="rect">
                  <a:avLst/>
                </a:prstGeom>
                <a:solidFill>
                  <a:srgbClr val="41817E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fontAlgn="base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>
                    <a:solidFill>
                      <a:srgbClr val="FFFFFF"/>
                    </a:solidFill>
                    <a:latin typeface="Oracle Sans" panose="020B0503020204020204" pitchFamily="34" charset="0"/>
                  </a:endParaRPr>
                </a:p>
              </p:txBody>
            </p:sp>
            <p:sp>
              <p:nvSpPr>
                <p:cNvPr id="43" name="Rectangle 42">
                  <a:extLst>
                    <a:ext uri="{FF2B5EF4-FFF2-40B4-BE49-F238E27FC236}">
                      <a16:creationId xmlns:a16="http://schemas.microsoft.com/office/drawing/2014/main" id="{86B56121-FB24-462C-83FA-4939C87DB77F}"/>
                    </a:ext>
                  </a:extLst>
                </p:cNvPr>
                <p:cNvSpPr/>
                <p:nvPr/>
              </p:nvSpPr>
              <p:spPr>
                <a:xfrm>
                  <a:off x="7916018" y="4840681"/>
                  <a:ext cx="113920" cy="118872"/>
                </a:xfrm>
                <a:prstGeom prst="rect">
                  <a:avLst/>
                </a:prstGeom>
                <a:solidFill>
                  <a:srgbClr val="41817E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fontAlgn="base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>
                    <a:solidFill>
                      <a:srgbClr val="FFFFFF"/>
                    </a:solidFill>
                    <a:latin typeface="Oracle Sans" panose="020B0503020204020204" pitchFamily="34" charset="0"/>
                  </a:endParaRPr>
                </a:p>
              </p:txBody>
            </p:sp>
            <p:sp>
              <p:nvSpPr>
                <p:cNvPr id="44" name="Rectangle 43">
                  <a:extLst>
                    <a:ext uri="{FF2B5EF4-FFF2-40B4-BE49-F238E27FC236}">
                      <a16:creationId xmlns:a16="http://schemas.microsoft.com/office/drawing/2014/main" id="{934C1E69-5B98-4379-AAFB-0ADB578EA403}"/>
                    </a:ext>
                  </a:extLst>
                </p:cNvPr>
                <p:cNvSpPr/>
                <p:nvPr/>
              </p:nvSpPr>
              <p:spPr>
                <a:xfrm>
                  <a:off x="7916018" y="4989805"/>
                  <a:ext cx="113920" cy="118872"/>
                </a:xfrm>
                <a:prstGeom prst="rect">
                  <a:avLst/>
                </a:prstGeom>
                <a:solidFill>
                  <a:srgbClr val="41817E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fontAlgn="base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>
                    <a:solidFill>
                      <a:srgbClr val="0070C0"/>
                    </a:solidFill>
                    <a:latin typeface="Oracle Sans" panose="020B0503020204020204" pitchFamily="34" charset="0"/>
                  </a:endParaRPr>
                </a:p>
              </p:txBody>
            </p:sp>
            <p:sp>
              <p:nvSpPr>
                <p:cNvPr id="45" name="Rectangle 44">
                  <a:extLst>
                    <a:ext uri="{FF2B5EF4-FFF2-40B4-BE49-F238E27FC236}">
                      <a16:creationId xmlns:a16="http://schemas.microsoft.com/office/drawing/2014/main" id="{FBA2E223-9BDA-44A7-A5D1-C576ABCF45C1}"/>
                    </a:ext>
                  </a:extLst>
                </p:cNvPr>
                <p:cNvSpPr/>
                <p:nvPr/>
              </p:nvSpPr>
              <p:spPr>
                <a:xfrm>
                  <a:off x="7916018" y="5138928"/>
                  <a:ext cx="113920" cy="118872"/>
                </a:xfrm>
                <a:prstGeom prst="rect">
                  <a:avLst/>
                </a:prstGeom>
                <a:solidFill>
                  <a:srgbClr val="41817E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fontAlgn="base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>
                    <a:solidFill>
                      <a:srgbClr val="FFFFFF"/>
                    </a:solidFill>
                    <a:latin typeface="Oracle Sans" panose="020B0503020204020204" pitchFamily="34" charset="0"/>
                  </a:endParaRPr>
                </a:p>
              </p:txBody>
            </p:sp>
          </p:grpSp>
          <p:grpSp>
            <p:nvGrpSpPr>
              <p:cNvPr id="32" name="Group 171">
                <a:extLst>
                  <a:ext uri="{FF2B5EF4-FFF2-40B4-BE49-F238E27FC236}">
                    <a16:creationId xmlns:a16="http://schemas.microsoft.com/office/drawing/2014/main" id="{9141FD4D-5F2C-46CB-AFFE-C0AA4337EDCB}"/>
                  </a:ext>
                </a:extLst>
              </p:cNvPr>
              <p:cNvGrpSpPr/>
              <p:nvPr/>
            </p:nvGrpSpPr>
            <p:grpSpPr>
              <a:xfrm>
                <a:off x="8355122" y="4691557"/>
                <a:ext cx="113920" cy="566243"/>
                <a:chOff x="7916018" y="4691557"/>
                <a:chExt cx="113920" cy="566243"/>
              </a:xfrm>
            </p:grpSpPr>
            <p:sp>
              <p:nvSpPr>
                <p:cNvPr id="38" name="Rectangle 37">
                  <a:extLst>
                    <a:ext uri="{FF2B5EF4-FFF2-40B4-BE49-F238E27FC236}">
                      <a16:creationId xmlns:a16="http://schemas.microsoft.com/office/drawing/2014/main" id="{7632C17D-0B05-468D-AFEA-FAECBD1D1703}"/>
                    </a:ext>
                  </a:extLst>
                </p:cNvPr>
                <p:cNvSpPr/>
                <p:nvPr/>
              </p:nvSpPr>
              <p:spPr>
                <a:xfrm>
                  <a:off x="7916018" y="4691557"/>
                  <a:ext cx="113920" cy="118872"/>
                </a:xfrm>
                <a:prstGeom prst="rect">
                  <a:avLst/>
                </a:prstGeom>
                <a:solidFill>
                  <a:srgbClr val="41817E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fontAlgn="base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>
                    <a:solidFill>
                      <a:srgbClr val="FFFFFF"/>
                    </a:solidFill>
                    <a:latin typeface="Oracle Sans" panose="020B0503020204020204" pitchFamily="34" charset="0"/>
                  </a:endParaRPr>
                </a:p>
              </p:txBody>
            </p:sp>
            <p:sp>
              <p:nvSpPr>
                <p:cNvPr id="39" name="Rectangle 38">
                  <a:extLst>
                    <a:ext uri="{FF2B5EF4-FFF2-40B4-BE49-F238E27FC236}">
                      <a16:creationId xmlns:a16="http://schemas.microsoft.com/office/drawing/2014/main" id="{5D772BFB-6520-4A31-9614-F3BED204EFD7}"/>
                    </a:ext>
                  </a:extLst>
                </p:cNvPr>
                <p:cNvSpPr/>
                <p:nvPr/>
              </p:nvSpPr>
              <p:spPr>
                <a:xfrm>
                  <a:off x="7916018" y="4840681"/>
                  <a:ext cx="113920" cy="118872"/>
                </a:xfrm>
                <a:prstGeom prst="rect">
                  <a:avLst/>
                </a:prstGeom>
                <a:solidFill>
                  <a:srgbClr val="41817E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fontAlgn="base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>
                    <a:solidFill>
                      <a:srgbClr val="FFFFFF"/>
                    </a:solidFill>
                    <a:latin typeface="Oracle Sans" panose="020B0503020204020204" pitchFamily="34" charset="0"/>
                  </a:endParaRPr>
                </a:p>
              </p:txBody>
            </p:sp>
            <p:sp>
              <p:nvSpPr>
                <p:cNvPr id="40" name="Rectangle 39">
                  <a:extLst>
                    <a:ext uri="{FF2B5EF4-FFF2-40B4-BE49-F238E27FC236}">
                      <a16:creationId xmlns:a16="http://schemas.microsoft.com/office/drawing/2014/main" id="{CBE5A0F1-3EE0-40C9-83B0-2C029886CA64}"/>
                    </a:ext>
                  </a:extLst>
                </p:cNvPr>
                <p:cNvSpPr/>
                <p:nvPr/>
              </p:nvSpPr>
              <p:spPr>
                <a:xfrm>
                  <a:off x="7916018" y="4989805"/>
                  <a:ext cx="113920" cy="118872"/>
                </a:xfrm>
                <a:prstGeom prst="rect">
                  <a:avLst/>
                </a:prstGeom>
                <a:solidFill>
                  <a:srgbClr val="41817E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fontAlgn="base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>
                    <a:solidFill>
                      <a:srgbClr val="0070C0"/>
                    </a:solidFill>
                    <a:latin typeface="Oracle Sans" panose="020B0503020204020204" pitchFamily="34" charset="0"/>
                  </a:endParaRPr>
                </a:p>
              </p:txBody>
            </p:sp>
            <p:sp>
              <p:nvSpPr>
                <p:cNvPr id="41" name="Rectangle 40">
                  <a:extLst>
                    <a:ext uri="{FF2B5EF4-FFF2-40B4-BE49-F238E27FC236}">
                      <a16:creationId xmlns:a16="http://schemas.microsoft.com/office/drawing/2014/main" id="{527372EA-AE06-4206-A63D-FED381CD84AC}"/>
                    </a:ext>
                  </a:extLst>
                </p:cNvPr>
                <p:cNvSpPr/>
                <p:nvPr/>
              </p:nvSpPr>
              <p:spPr>
                <a:xfrm>
                  <a:off x="7916018" y="5138928"/>
                  <a:ext cx="113920" cy="118872"/>
                </a:xfrm>
                <a:prstGeom prst="rect">
                  <a:avLst/>
                </a:prstGeom>
                <a:solidFill>
                  <a:srgbClr val="41817E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fontAlgn="base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>
                    <a:solidFill>
                      <a:srgbClr val="FFFFFF"/>
                    </a:solidFill>
                    <a:latin typeface="Oracle Sans" panose="020B0503020204020204" pitchFamily="34" charset="0"/>
                  </a:endParaRPr>
                </a:p>
              </p:txBody>
            </p:sp>
          </p:grpSp>
          <p:grpSp>
            <p:nvGrpSpPr>
              <p:cNvPr id="33" name="Group 176">
                <a:extLst>
                  <a:ext uri="{FF2B5EF4-FFF2-40B4-BE49-F238E27FC236}">
                    <a16:creationId xmlns:a16="http://schemas.microsoft.com/office/drawing/2014/main" id="{038F8770-CACD-4014-8DFF-C169845EEC60}"/>
                  </a:ext>
                </a:extLst>
              </p:cNvPr>
              <p:cNvGrpSpPr/>
              <p:nvPr/>
            </p:nvGrpSpPr>
            <p:grpSpPr>
              <a:xfrm>
                <a:off x="8501492" y="4691557"/>
                <a:ext cx="113920" cy="566243"/>
                <a:chOff x="7916018" y="4691557"/>
                <a:chExt cx="113920" cy="566243"/>
              </a:xfrm>
            </p:grpSpPr>
            <p:sp>
              <p:nvSpPr>
                <p:cNvPr id="34" name="Rectangle 33">
                  <a:extLst>
                    <a:ext uri="{FF2B5EF4-FFF2-40B4-BE49-F238E27FC236}">
                      <a16:creationId xmlns:a16="http://schemas.microsoft.com/office/drawing/2014/main" id="{0A912A1D-5AA6-443E-9DCC-7FDC392635EA}"/>
                    </a:ext>
                  </a:extLst>
                </p:cNvPr>
                <p:cNvSpPr/>
                <p:nvPr/>
              </p:nvSpPr>
              <p:spPr>
                <a:xfrm>
                  <a:off x="7916018" y="4691557"/>
                  <a:ext cx="113920" cy="118872"/>
                </a:xfrm>
                <a:prstGeom prst="rect">
                  <a:avLst/>
                </a:prstGeom>
                <a:solidFill>
                  <a:srgbClr val="41817E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fontAlgn="base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>
                    <a:solidFill>
                      <a:srgbClr val="FFFFFF"/>
                    </a:solidFill>
                    <a:latin typeface="Oracle Sans" panose="020B0503020204020204" pitchFamily="34" charset="0"/>
                  </a:endParaRPr>
                </a:p>
              </p:txBody>
            </p:sp>
            <p:sp>
              <p:nvSpPr>
                <p:cNvPr id="35" name="Rectangle 34">
                  <a:extLst>
                    <a:ext uri="{FF2B5EF4-FFF2-40B4-BE49-F238E27FC236}">
                      <a16:creationId xmlns:a16="http://schemas.microsoft.com/office/drawing/2014/main" id="{DEA1C317-1539-48AB-A026-198E9D0F54C0}"/>
                    </a:ext>
                  </a:extLst>
                </p:cNvPr>
                <p:cNvSpPr/>
                <p:nvPr/>
              </p:nvSpPr>
              <p:spPr>
                <a:xfrm>
                  <a:off x="7916018" y="4840681"/>
                  <a:ext cx="113920" cy="118872"/>
                </a:xfrm>
                <a:prstGeom prst="rect">
                  <a:avLst/>
                </a:prstGeom>
                <a:solidFill>
                  <a:srgbClr val="41817E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fontAlgn="base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>
                    <a:solidFill>
                      <a:srgbClr val="FFFFFF"/>
                    </a:solidFill>
                    <a:latin typeface="Oracle Sans" panose="020B0503020204020204" pitchFamily="34" charset="0"/>
                  </a:endParaRPr>
                </a:p>
              </p:txBody>
            </p:sp>
            <p:sp>
              <p:nvSpPr>
                <p:cNvPr id="36" name="Rectangle 35">
                  <a:extLst>
                    <a:ext uri="{FF2B5EF4-FFF2-40B4-BE49-F238E27FC236}">
                      <a16:creationId xmlns:a16="http://schemas.microsoft.com/office/drawing/2014/main" id="{7311197B-FCD1-4085-A916-69A031C41DD9}"/>
                    </a:ext>
                  </a:extLst>
                </p:cNvPr>
                <p:cNvSpPr/>
                <p:nvPr/>
              </p:nvSpPr>
              <p:spPr>
                <a:xfrm>
                  <a:off x="7916018" y="4989805"/>
                  <a:ext cx="113920" cy="118872"/>
                </a:xfrm>
                <a:prstGeom prst="rect">
                  <a:avLst/>
                </a:prstGeom>
                <a:solidFill>
                  <a:srgbClr val="41817E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fontAlgn="base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>
                    <a:solidFill>
                      <a:srgbClr val="0070C0"/>
                    </a:solidFill>
                    <a:latin typeface="Oracle Sans" panose="020B0503020204020204" pitchFamily="34" charset="0"/>
                  </a:endParaRPr>
                </a:p>
              </p:txBody>
            </p:sp>
            <p:sp>
              <p:nvSpPr>
                <p:cNvPr id="37" name="Rectangle 36">
                  <a:extLst>
                    <a:ext uri="{FF2B5EF4-FFF2-40B4-BE49-F238E27FC236}">
                      <a16:creationId xmlns:a16="http://schemas.microsoft.com/office/drawing/2014/main" id="{0A89B23A-3CAC-49DF-98D3-6DAD29F1457E}"/>
                    </a:ext>
                  </a:extLst>
                </p:cNvPr>
                <p:cNvSpPr/>
                <p:nvPr/>
              </p:nvSpPr>
              <p:spPr>
                <a:xfrm>
                  <a:off x="7916018" y="5138928"/>
                  <a:ext cx="113920" cy="118872"/>
                </a:xfrm>
                <a:prstGeom prst="rect">
                  <a:avLst/>
                </a:prstGeom>
                <a:solidFill>
                  <a:srgbClr val="41817E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fontAlgn="base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>
                    <a:solidFill>
                      <a:srgbClr val="FFFFFF"/>
                    </a:solidFill>
                    <a:latin typeface="Oracle Sans" panose="020B0503020204020204" pitchFamily="34" charset="0"/>
                  </a:endParaRPr>
                </a:p>
              </p:txBody>
            </p:sp>
          </p:grpSp>
        </p:grpSp>
      </p:grpSp>
      <p:grpSp>
        <p:nvGrpSpPr>
          <p:cNvPr id="54" name="Group 184">
            <a:extLst>
              <a:ext uri="{FF2B5EF4-FFF2-40B4-BE49-F238E27FC236}">
                <a16:creationId xmlns:a16="http://schemas.microsoft.com/office/drawing/2014/main" id="{7F9F06F1-6AFF-4CAD-9C06-F6783D99F74A}"/>
              </a:ext>
            </a:extLst>
          </p:cNvPr>
          <p:cNvGrpSpPr/>
          <p:nvPr/>
        </p:nvGrpSpPr>
        <p:grpSpPr>
          <a:xfrm>
            <a:off x="9124215" y="4401552"/>
            <a:ext cx="838200" cy="1033140"/>
            <a:chOff x="7923212" y="4278420"/>
            <a:chExt cx="838200" cy="1033140"/>
          </a:xfrm>
        </p:grpSpPr>
        <p:sp>
          <p:nvSpPr>
            <p:cNvPr id="55" name="Can 74">
              <a:extLst>
                <a:ext uri="{FF2B5EF4-FFF2-40B4-BE49-F238E27FC236}">
                  <a16:creationId xmlns:a16="http://schemas.microsoft.com/office/drawing/2014/main" id="{AA8C6553-F66A-4A84-AF06-84205447A161}"/>
                </a:ext>
              </a:extLst>
            </p:cNvPr>
            <p:cNvSpPr/>
            <p:nvPr/>
          </p:nvSpPr>
          <p:spPr>
            <a:xfrm>
              <a:off x="7923212" y="4278420"/>
              <a:ext cx="838200" cy="1033140"/>
            </a:xfrm>
            <a:prstGeom prst="can">
              <a:avLst>
                <a:gd name="adj" fmla="val 15901"/>
              </a:avLst>
            </a:prstGeom>
            <a:gradFill flip="none" rotWithShape="1">
              <a:gsLst>
                <a:gs pos="28000">
                  <a:schemeClr val="accent5"/>
                </a:gs>
                <a:gs pos="0">
                  <a:schemeClr val="accent5">
                    <a:lumMod val="40000"/>
                    <a:lumOff val="60000"/>
                  </a:schemeClr>
                </a:gs>
                <a:gs pos="100000">
                  <a:schemeClr val="accent5">
                    <a:lumMod val="60000"/>
                    <a:lumOff val="40000"/>
                  </a:schemeClr>
                </a:gs>
              </a:gsLst>
              <a:lin ang="0" scaled="1"/>
            </a:gradFill>
            <a:ln>
              <a:noFill/>
            </a:ln>
            <a:effectLst>
              <a:outerShdw blurRad="203200" dist="50800" dir="5400000" sx="88000" sy="88000" rotWithShape="0">
                <a:prstClr val="black">
                  <a:alpha val="72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>
                <a:solidFill>
                  <a:srgbClr val="FFFFFF"/>
                </a:solidFill>
                <a:latin typeface="Oracle Sans" panose="020B0503020204020204" pitchFamily="34" charset="0"/>
              </a:endParaRPr>
            </a:p>
          </p:txBody>
        </p:sp>
        <p:grpSp>
          <p:nvGrpSpPr>
            <p:cNvPr id="56" name="Group 186">
              <a:extLst>
                <a:ext uri="{FF2B5EF4-FFF2-40B4-BE49-F238E27FC236}">
                  <a16:creationId xmlns:a16="http://schemas.microsoft.com/office/drawing/2014/main" id="{4764870C-5B68-425F-B888-03243D382588}"/>
                </a:ext>
              </a:extLst>
            </p:cNvPr>
            <p:cNvGrpSpPr/>
            <p:nvPr/>
          </p:nvGrpSpPr>
          <p:grpSpPr>
            <a:xfrm>
              <a:off x="7985818" y="4495800"/>
              <a:ext cx="699394" cy="715367"/>
              <a:chOff x="7916018" y="4542433"/>
              <a:chExt cx="699394" cy="715367"/>
            </a:xfrm>
          </p:grpSpPr>
          <p:sp>
            <p:nvSpPr>
              <p:cNvPr id="57" name="Rectangle 56">
                <a:extLst>
                  <a:ext uri="{FF2B5EF4-FFF2-40B4-BE49-F238E27FC236}">
                    <a16:creationId xmlns:a16="http://schemas.microsoft.com/office/drawing/2014/main" id="{DACF7B5C-494B-4758-A31F-96E49BCFEFCE}"/>
                  </a:ext>
                </a:extLst>
              </p:cNvPr>
              <p:cNvSpPr/>
              <p:nvPr/>
            </p:nvSpPr>
            <p:spPr>
              <a:xfrm>
                <a:off x="8501492" y="4542433"/>
                <a:ext cx="113920" cy="118872"/>
              </a:xfrm>
              <a:prstGeom prst="rect">
                <a:avLst/>
              </a:prstGeom>
              <a:solidFill>
                <a:schemeClr val="bg2"/>
              </a:solidFill>
              <a:ln w="1270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>
                  <a:solidFill>
                    <a:srgbClr val="FFFFFF"/>
                  </a:solidFill>
                  <a:latin typeface="Oracle Sans" panose="020B0503020204020204" pitchFamily="34" charset="0"/>
                </a:endParaRPr>
              </a:p>
            </p:txBody>
          </p:sp>
          <p:sp>
            <p:nvSpPr>
              <p:cNvPr id="58" name="Rectangle 57">
                <a:extLst>
                  <a:ext uri="{FF2B5EF4-FFF2-40B4-BE49-F238E27FC236}">
                    <a16:creationId xmlns:a16="http://schemas.microsoft.com/office/drawing/2014/main" id="{CDDA7DAD-8DC3-43E7-9CF6-91965DA91C49}"/>
                  </a:ext>
                </a:extLst>
              </p:cNvPr>
              <p:cNvSpPr/>
              <p:nvPr/>
            </p:nvSpPr>
            <p:spPr>
              <a:xfrm>
                <a:off x="8208754" y="4542433"/>
                <a:ext cx="113920" cy="118872"/>
              </a:xfrm>
              <a:prstGeom prst="rect">
                <a:avLst/>
              </a:prstGeom>
              <a:solidFill>
                <a:schemeClr val="bg2"/>
              </a:solidFill>
              <a:ln w="1270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>
                  <a:solidFill>
                    <a:srgbClr val="FFFFFF"/>
                  </a:solidFill>
                  <a:latin typeface="Oracle Sans" panose="020B0503020204020204" pitchFamily="34" charset="0"/>
                </a:endParaRPr>
              </a:p>
            </p:txBody>
          </p:sp>
          <p:sp>
            <p:nvSpPr>
              <p:cNvPr id="59" name="Rectangle 58">
                <a:extLst>
                  <a:ext uri="{FF2B5EF4-FFF2-40B4-BE49-F238E27FC236}">
                    <a16:creationId xmlns:a16="http://schemas.microsoft.com/office/drawing/2014/main" id="{F547541A-05C0-4E05-8ACE-080910E44F13}"/>
                  </a:ext>
                </a:extLst>
              </p:cNvPr>
              <p:cNvSpPr/>
              <p:nvPr/>
            </p:nvSpPr>
            <p:spPr>
              <a:xfrm>
                <a:off x="7916018" y="4542433"/>
                <a:ext cx="113920" cy="118872"/>
              </a:xfrm>
              <a:prstGeom prst="rect">
                <a:avLst/>
              </a:prstGeom>
              <a:solidFill>
                <a:schemeClr val="bg2"/>
              </a:solidFill>
              <a:ln w="1270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>
                  <a:solidFill>
                    <a:srgbClr val="FFFFFF"/>
                  </a:solidFill>
                  <a:latin typeface="Oracle Sans" panose="020B0503020204020204" pitchFamily="34" charset="0"/>
                </a:endParaRPr>
              </a:p>
            </p:txBody>
          </p:sp>
          <p:sp>
            <p:nvSpPr>
              <p:cNvPr id="60" name="Rectangle 59">
                <a:extLst>
                  <a:ext uri="{FF2B5EF4-FFF2-40B4-BE49-F238E27FC236}">
                    <a16:creationId xmlns:a16="http://schemas.microsoft.com/office/drawing/2014/main" id="{99EA82D6-8B2D-4B07-A7B5-1FA2A73D2508}"/>
                  </a:ext>
                </a:extLst>
              </p:cNvPr>
              <p:cNvSpPr/>
              <p:nvPr/>
            </p:nvSpPr>
            <p:spPr>
              <a:xfrm>
                <a:off x="8062386" y="4542433"/>
                <a:ext cx="113920" cy="118872"/>
              </a:xfrm>
              <a:prstGeom prst="rect">
                <a:avLst/>
              </a:prstGeom>
              <a:solidFill>
                <a:schemeClr val="bg2"/>
              </a:solidFill>
              <a:ln w="1270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>
                  <a:solidFill>
                    <a:srgbClr val="FFFFFF"/>
                  </a:solidFill>
                  <a:latin typeface="Oracle Sans" panose="020B0503020204020204" pitchFamily="34" charset="0"/>
                </a:endParaRPr>
              </a:p>
            </p:txBody>
          </p:sp>
          <p:sp>
            <p:nvSpPr>
              <p:cNvPr id="61" name="Rectangle 60">
                <a:extLst>
                  <a:ext uri="{FF2B5EF4-FFF2-40B4-BE49-F238E27FC236}">
                    <a16:creationId xmlns:a16="http://schemas.microsoft.com/office/drawing/2014/main" id="{FC069C99-2CF3-43FC-A82C-CCF783707153}"/>
                  </a:ext>
                </a:extLst>
              </p:cNvPr>
              <p:cNvSpPr/>
              <p:nvPr/>
            </p:nvSpPr>
            <p:spPr>
              <a:xfrm>
                <a:off x="8355122" y="4542433"/>
                <a:ext cx="113920" cy="118872"/>
              </a:xfrm>
              <a:prstGeom prst="rect">
                <a:avLst/>
              </a:prstGeom>
              <a:solidFill>
                <a:schemeClr val="bg2"/>
              </a:solidFill>
              <a:ln w="1270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>
                  <a:solidFill>
                    <a:srgbClr val="FFFFFF"/>
                  </a:solidFill>
                  <a:latin typeface="Oracle Sans" panose="020B0503020204020204" pitchFamily="34" charset="0"/>
                </a:endParaRPr>
              </a:p>
            </p:txBody>
          </p:sp>
          <p:grpSp>
            <p:nvGrpSpPr>
              <p:cNvPr id="62" name="Group 192">
                <a:extLst>
                  <a:ext uri="{FF2B5EF4-FFF2-40B4-BE49-F238E27FC236}">
                    <a16:creationId xmlns:a16="http://schemas.microsoft.com/office/drawing/2014/main" id="{A8AA9DCD-1E20-4890-9BE6-66F4C150082C}"/>
                  </a:ext>
                </a:extLst>
              </p:cNvPr>
              <p:cNvGrpSpPr/>
              <p:nvPr/>
            </p:nvGrpSpPr>
            <p:grpSpPr>
              <a:xfrm>
                <a:off x="7916018" y="4691557"/>
                <a:ext cx="113920" cy="566243"/>
                <a:chOff x="7916018" y="4691557"/>
                <a:chExt cx="113920" cy="566243"/>
              </a:xfrm>
            </p:grpSpPr>
            <p:sp>
              <p:nvSpPr>
                <p:cNvPr id="83" name="Rectangle 82">
                  <a:extLst>
                    <a:ext uri="{FF2B5EF4-FFF2-40B4-BE49-F238E27FC236}">
                      <a16:creationId xmlns:a16="http://schemas.microsoft.com/office/drawing/2014/main" id="{0085AED5-E04E-4A50-9020-E98E829E3ECE}"/>
                    </a:ext>
                  </a:extLst>
                </p:cNvPr>
                <p:cNvSpPr/>
                <p:nvPr/>
              </p:nvSpPr>
              <p:spPr>
                <a:xfrm>
                  <a:off x="7916018" y="4691557"/>
                  <a:ext cx="113920" cy="118872"/>
                </a:xfrm>
                <a:prstGeom prst="rect">
                  <a:avLst/>
                </a:prstGeom>
                <a:solidFill>
                  <a:srgbClr val="594564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fontAlgn="base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>
                    <a:solidFill>
                      <a:srgbClr val="FFFFFF"/>
                    </a:solidFill>
                    <a:latin typeface="Oracle Sans" panose="020B0503020204020204" pitchFamily="34" charset="0"/>
                  </a:endParaRPr>
                </a:p>
              </p:txBody>
            </p:sp>
            <p:sp>
              <p:nvSpPr>
                <p:cNvPr id="84" name="Rectangle 83">
                  <a:extLst>
                    <a:ext uri="{FF2B5EF4-FFF2-40B4-BE49-F238E27FC236}">
                      <a16:creationId xmlns:a16="http://schemas.microsoft.com/office/drawing/2014/main" id="{D6B3A1B9-E69E-4CC1-BB63-02DE0BA8C37E}"/>
                    </a:ext>
                  </a:extLst>
                </p:cNvPr>
                <p:cNvSpPr/>
                <p:nvPr/>
              </p:nvSpPr>
              <p:spPr>
                <a:xfrm>
                  <a:off x="7916018" y="4840681"/>
                  <a:ext cx="113920" cy="118872"/>
                </a:xfrm>
                <a:prstGeom prst="rect">
                  <a:avLst/>
                </a:prstGeom>
                <a:solidFill>
                  <a:schemeClr val="bg2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fontAlgn="base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>
                    <a:solidFill>
                      <a:srgbClr val="FFFFFF"/>
                    </a:solidFill>
                    <a:latin typeface="Oracle Sans" panose="020B0503020204020204" pitchFamily="34" charset="0"/>
                  </a:endParaRPr>
                </a:p>
              </p:txBody>
            </p:sp>
            <p:sp>
              <p:nvSpPr>
                <p:cNvPr id="85" name="Rectangle 84">
                  <a:extLst>
                    <a:ext uri="{FF2B5EF4-FFF2-40B4-BE49-F238E27FC236}">
                      <a16:creationId xmlns:a16="http://schemas.microsoft.com/office/drawing/2014/main" id="{2F36609C-4073-4880-83B2-DF3CEDEB37B6}"/>
                    </a:ext>
                  </a:extLst>
                </p:cNvPr>
                <p:cNvSpPr/>
                <p:nvPr/>
              </p:nvSpPr>
              <p:spPr>
                <a:xfrm>
                  <a:off x="7916018" y="4989805"/>
                  <a:ext cx="113920" cy="118872"/>
                </a:xfrm>
                <a:prstGeom prst="rect">
                  <a:avLst/>
                </a:prstGeom>
                <a:solidFill>
                  <a:schemeClr val="bg2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fontAlgn="base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>
                    <a:solidFill>
                      <a:srgbClr val="0070C0"/>
                    </a:solidFill>
                    <a:latin typeface="Oracle Sans" panose="020B0503020204020204" pitchFamily="34" charset="0"/>
                  </a:endParaRPr>
                </a:p>
              </p:txBody>
            </p:sp>
            <p:sp>
              <p:nvSpPr>
                <p:cNvPr id="86" name="Rectangle 85">
                  <a:extLst>
                    <a:ext uri="{FF2B5EF4-FFF2-40B4-BE49-F238E27FC236}">
                      <a16:creationId xmlns:a16="http://schemas.microsoft.com/office/drawing/2014/main" id="{EC2C152A-93B8-406C-B1C3-93FCA31CB66A}"/>
                    </a:ext>
                  </a:extLst>
                </p:cNvPr>
                <p:cNvSpPr/>
                <p:nvPr/>
              </p:nvSpPr>
              <p:spPr>
                <a:xfrm>
                  <a:off x="7916018" y="5138928"/>
                  <a:ext cx="113920" cy="118872"/>
                </a:xfrm>
                <a:prstGeom prst="rect">
                  <a:avLst/>
                </a:prstGeom>
                <a:solidFill>
                  <a:schemeClr val="bg2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fontAlgn="base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>
                    <a:solidFill>
                      <a:srgbClr val="FFFFFF"/>
                    </a:solidFill>
                    <a:latin typeface="Oracle Sans" panose="020B0503020204020204" pitchFamily="34" charset="0"/>
                  </a:endParaRPr>
                </a:p>
              </p:txBody>
            </p:sp>
          </p:grpSp>
          <p:grpSp>
            <p:nvGrpSpPr>
              <p:cNvPr id="63" name="Group 193">
                <a:extLst>
                  <a:ext uri="{FF2B5EF4-FFF2-40B4-BE49-F238E27FC236}">
                    <a16:creationId xmlns:a16="http://schemas.microsoft.com/office/drawing/2014/main" id="{01234315-188A-4921-84D4-8240EBB73710}"/>
                  </a:ext>
                </a:extLst>
              </p:cNvPr>
              <p:cNvGrpSpPr/>
              <p:nvPr/>
            </p:nvGrpSpPr>
            <p:grpSpPr>
              <a:xfrm>
                <a:off x="8062386" y="4691557"/>
                <a:ext cx="113920" cy="566243"/>
                <a:chOff x="7916018" y="4691557"/>
                <a:chExt cx="113920" cy="566243"/>
              </a:xfrm>
            </p:grpSpPr>
            <p:sp>
              <p:nvSpPr>
                <p:cNvPr id="79" name="Rectangle 78">
                  <a:extLst>
                    <a:ext uri="{FF2B5EF4-FFF2-40B4-BE49-F238E27FC236}">
                      <a16:creationId xmlns:a16="http://schemas.microsoft.com/office/drawing/2014/main" id="{6639373A-EFFB-43E7-A6E0-4DAEF4DAD428}"/>
                    </a:ext>
                  </a:extLst>
                </p:cNvPr>
                <p:cNvSpPr/>
                <p:nvPr/>
              </p:nvSpPr>
              <p:spPr>
                <a:xfrm>
                  <a:off x="7916018" y="4691557"/>
                  <a:ext cx="113920" cy="118872"/>
                </a:xfrm>
                <a:prstGeom prst="rect">
                  <a:avLst/>
                </a:prstGeom>
                <a:solidFill>
                  <a:schemeClr val="bg2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fontAlgn="base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>
                    <a:solidFill>
                      <a:srgbClr val="FFFFFF"/>
                    </a:solidFill>
                    <a:latin typeface="Oracle Sans" panose="020B0503020204020204" pitchFamily="34" charset="0"/>
                  </a:endParaRPr>
                </a:p>
              </p:txBody>
            </p:sp>
            <p:sp>
              <p:nvSpPr>
                <p:cNvPr id="80" name="Rectangle 79">
                  <a:extLst>
                    <a:ext uri="{FF2B5EF4-FFF2-40B4-BE49-F238E27FC236}">
                      <a16:creationId xmlns:a16="http://schemas.microsoft.com/office/drawing/2014/main" id="{EC81C9CF-0679-4056-8D75-B661BA7588F9}"/>
                    </a:ext>
                  </a:extLst>
                </p:cNvPr>
                <p:cNvSpPr/>
                <p:nvPr/>
              </p:nvSpPr>
              <p:spPr>
                <a:xfrm>
                  <a:off x="7916018" y="4840680"/>
                  <a:ext cx="113920" cy="118872"/>
                </a:xfrm>
                <a:prstGeom prst="rect">
                  <a:avLst/>
                </a:prstGeom>
                <a:solidFill>
                  <a:srgbClr val="594564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fontAlgn="base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>
                    <a:solidFill>
                      <a:srgbClr val="FFFFFF"/>
                    </a:solidFill>
                    <a:latin typeface="Oracle Sans" panose="020B0503020204020204" pitchFamily="34" charset="0"/>
                  </a:endParaRPr>
                </a:p>
              </p:txBody>
            </p:sp>
            <p:sp>
              <p:nvSpPr>
                <p:cNvPr id="81" name="Rectangle 80">
                  <a:extLst>
                    <a:ext uri="{FF2B5EF4-FFF2-40B4-BE49-F238E27FC236}">
                      <a16:creationId xmlns:a16="http://schemas.microsoft.com/office/drawing/2014/main" id="{0466756F-C9CA-462D-81E1-0588F57EFC4F}"/>
                    </a:ext>
                  </a:extLst>
                </p:cNvPr>
                <p:cNvSpPr/>
                <p:nvPr/>
              </p:nvSpPr>
              <p:spPr>
                <a:xfrm>
                  <a:off x="7916018" y="4989805"/>
                  <a:ext cx="113920" cy="118872"/>
                </a:xfrm>
                <a:prstGeom prst="rect">
                  <a:avLst/>
                </a:prstGeom>
                <a:solidFill>
                  <a:schemeClr val="bg2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fontAlgn="base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>
                    <a:solidFill>
                      <a:srgbClr val="0070C0"/>
                    </a:solidFill>
                    <a:latin typeface="Oracle Sans" panose="020B0503020204020204" pitchFamily="34" charset="0"/>
                  </a:endParaRPr>
                </a:p>
              </p:txBody>
            </p:sp>
            <p:sp>
              <p:nvSpPr>
                <p:cNvPr id="82" name="Rectangle 81">
                  <a:extLst>
                    <a:ext uri="{FF2B5EF4-FFF2-40B4-BE49-F238E27FC236}">
                      <a16:creationId xmlns:a16="http://schemas.microsoft.com/office/drawing/2014/main" id="{67945EE3-24E0-404C-8245-94EC56AFCA56}"/>
                    </a:ext>
                  </a:extLst>
                </p:cNvPr>
                <p:cNvSpPr/>
                <p:nvPr/>
              </p:nvSpPr>
              <p:spPr>
                <a:xfrm>
                  <a:off x="7916018" y="5138928"/>
                  <a:ext cx="113920" cy="118872"/>
                </a:xfrm>
                <a:prstGeom prst="rect">
                  <a:avLst/>
                </a:prstGeom>
                <a:solidFill>
                  <a:schemeClr val="bg2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fontAlgn="base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>
                    <a:solidFill>
                      <a:srgbClr val="FFFFFF"/>
                    </a:solidFill>
                    <a:latin typeface="Oracle Sans" panose="020B0503020204020204" pitchFamily="34" charset="0"/>
                  </a:endParaRPr>
                </a:p>
              </p:txBody>
            </p:sp>
          </p:grpSp>
          <p:grpSp>
            <p:nvGrpSpPr>
              <p:cNvPr id="64" name="Group 194">
                <a:extLst>
                  <a:ext uri="{FF2B5EF4-FFF2-40B4-BE49-F238E27FC236}">
                    <a16:creationId xmlns:a16="http://schemas.microsoft.com/office/drawing/2014/main" id="{29693BA7-0005-429B-9905-EF310C4D50CE}"/>
                  </a:ext>
                </a:extLst>
              </p:cNvPr>
              <p:cNvGrpSpPr/>
              <p:nvPr/>
            </p:nvGrpSpPr>
            <p:grpSpPr>
              <a:xfrm>
                <a:off x="8208754" y="4691557"/>
                <a:ext cx="113920" cy="566243"/>
                <a:chOff x="7916018" y="4691557"/>
                <a:chExt cx="113920" cy="566243"/>
              </a:xfrm>
            </p:grpSpPr>
            <p:sp>
              <p:nvSpPr>
                <p:cNvPr id="75" name="Rectangle 74">
                  <a:extLst>
                    <a:ext uri="{FF2B5EF4-FFF2-40B4-BE49-F238E27FC236}">
                      <a16:creationId xmlns:a16="http://schemas.microsoft.com/office/drawing/2014/main" id="{A30EFE6B-01D2-4865-A5AC-D3259055F0CD}"/>
                    </a:ext>
                  </a:extLst>
                </p:cNvPr>
                <p:cNvSpPr/>
                <p:nvPr/>
              </p:nvSpPr>
              <p:spPr>
                <a:xfrm>
                  <a:off x="7916018" y="4691557"/>
                  <a:ext cx="113920" cy="118872"/>
                </a:xfrm>
                <a:prstGeom prst="rect">
                  <a:avLst/>
                </a:prstGeom>
                <a:solidFill>
                  <a:schemeClr val="bg2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fontAlgn="base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>
                    <a:solidFill>
                      <a:srgbClr val="FFFFFF"/>
                    </a:solidFill>
                    <a:latin typeface="Oracle Sans" panose="020B0503020204020204" pitchFamily="34" charset="0"/>
                  </a:endParaRPr>
                </a:p>
              </p:txBody>
            </p:sp>
            <p:sp>
              <p:nvSpPr>
                <p:cNvPr id="76" name="Rectangle 75">
                  <a:extLst>
                    <a:ext uri="{FF2B5EF4-FFF2-40B4-BE49-F238E27FC236}">
                      <a16:creationId xmlns:a16="http://schemas.microsoft.com/office/drawing/2014/main" id="{F909E257-7239-4CA4-B257-0AFDC33B3BBC}"/>
                    </a:ext>
                  </a:extLst>
                </p:cNvPr>
                <p:cNvSpPr/>
                <p:nvPr/>
              </p:nvSpPr>
              <p:spPr>
                <a:xfrm>
                  <a:off x="7916018" y="4840681"/>
                  <a:ext cx="113920" cy="118872"/>
                </a:xfrm>
                <a:prstGeom prst="rect">
                  <a:avLst/>
                </a:prstGeom>
                <a:solidFill>
                  <a:schemeClr val="bg2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fontAlgn="base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>
                    <a:solidFill>
                      <a:srgbClr val="FFFFFF"/>
                    </a:solidFill>
                    <a:latin typeface="Oracle Sans" panose="020B0503020204020204" pitchFamily="34" charset="0"/>
                  </a:endParaRPr>
                </a:p>
              </p:txBody>
            </p:sp>
            <p:sp>
              <p:nvSpPr>
                <p:cNvPr id="77" name="Rectangle 76">
                  <a:extLst>
                    <a:ext uri="{FF2B5EF4-FFF2-40B4-BE49-F238E27FC236}">
                      <a16:creationId xmlns:a16="http://schemas.microsoft.com/office/drawing/2014/main" id="{C58006E1-B819-44F4-9F15-699D67BDC452}"/>
                    </a:ext>
                  </a:extLst>
                </p:cNvPr>
                <p:cNvSpPr/>
                <p:nvPr/>
              </p:nvSpPr>
              <p:spPr>
                <a:xfrm>
                  <a:off x="7916018" y="4989805"/>
                  <a:ext cx="113920" cy="118872"/>
                </a:xfrm>
                <a:prstGeom prst="rect">
                  <a:avLst/>
                </a:prstGeom>
                <a:solidFill>
                  <a:schemeClr val="bg2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fontAlgn="base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>
                    <a:solidFill>
                      <a:srgbClr val="0070C0"/>
                    </a:solidFill>
                    <a:latin typeface="Oracle Sans" panose="020B0503020204020204" pitchFamily="34" charset="0"/>
                  </a:endParaRPr>
                </a:p>
              </p:txBody>
            </p:sp>
            <p:sp>
              <p:nvSpPr>
                <p:cNvPr id="78" name="Rectangle 77">
                  <a:extLst>
                    <a:ext uri="{FF2B5EF4-FFF2-40B4-BE49-F238E27FC236}">
                      <a16:creationId xmlns:a16="http://schemas.microsoft.com/office/drawing/2014/main" id="{A254F945-6E90-4148-BFAF-031D061F23AA}"/>
                    </a:ext>
                  </a:extLst>
                </p:cNvPr>
                <p:cNvSpPr/>
                <p:nvPr/>
              </p:nvSpPr>
              <p:spPr>
                <a:xfrm>
                  <a:off x="7916018" y="5138928"/>
                  <a:ext cx="113920" cy="118872"/>
                </a:xfrm>
                <a:prstGeom prst="rect">
                  <a:avLst/>
                </a:prstGeom>
                <a:solidFill>
                  <a:schemeClr val="bg2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fontAlgn="base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>
                    <a:solidFill>
                      <a:srgbClr val="FFFFFF"/>
                    </a:solidFill>
                    <a:latin typeface="Oracle Sans" panose="020B0503020204020204" pitchFamily="34" charset="0"/>
                  </a:endParaRPr>
                </a:p>
              </p:txBody>
            </p:sp>
          </p:grpSp>
          <p:grpSp>
            <p:nvGrpSpPr>
              <p:cNvPr id="65" name="Group 195">
                <a:extLst>
                  <a:ext uri="{FF2B5EF4-FFF2-40B4-BE49-F238E27FC236}">
                    <a16:creationId xmlns:a16="http://schemas.microsoft.com/office/drawing/2014/main" id="{DACF9FCA-6DB7-432E-985B-076E12717F49}"/>
                  </a:ext>
                </a:extLst>
              </p:cNvPr>
              <p:cNvGrpSpPr/>
              <p:nvPr/>
            </p:nvGrpSpPr>
            <p:grpSpPr>
              <a:xfrm>
                <a:off x="8355122" y="4691557"/>
                <a:ext cx="113920" cy="566243"/>
                <a:chOff x="7916018" y="4691557"/>
                <a:chExt cx="113920" cy="566243"/>
              </a:xfrm>
            </p:grpSpPr>
            <p:sp>
              <p:nvSpPr>
                <p:cNvPr id="71" name="Rectangle 70">
                  <a:extLst>
                    <a:ext uri="{FF2B5EF4-FFF2-40B4-BE49-F238E27FC236}">
                      <a16:creationId xmlns:a16="http://schemas.microsoft.com/office/drawing/2014/main" id="{F6CF9CA8-EDB7-42AA-B7D3-3C8323E60CF6}"/>
                    </a:ext>
                  </a:extLst>
                </p:cNvPr>
                <p:cNvSpPr/>
                <p:nvPr/>
              </p:nvSpPr>
              <p:spPr>
                <a:xfrm>
                  <a:off x="7916018" y="4691557"/>
                  <a:ext cx="113920" cy="118872"/>
                </a:xfrm>
                <a:prstGeom prst="rect">
                  <a:avLst/>
                </a:prstGeom>
                <a:solidFill>
                  <a:schemeClr val="bg2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fontAlgn="base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>
                    <a:solidFill>
                      <a:srgbClr val="FFFFFF"/>
                    </a:solidFill>
                    <a:latin typeface="Oracle Sans" panose="020B0503020204020204" pitchFamily="34" charset="0"/>
                  </a:endParaRPr>
                </a:p>
              </p:txBody>
            </p:sp>
            <p:sp>
              <p:nvSpPr>
                <p:cNvPr id="72" name="Rectangle 71">
                  <a:extLst>
                    <a:ext uri="{FF2B5EF4-FFF2-40B4-BE49-F238E27FC236}">
                      <a16:creationId xmlns:a16="http://schemas.microsoft.com/office/drawing/2014/main" id="{771BB4C9-5A85-4F22-AC8A-D32C12F95DAF}"/>
                    </a:ext>
                  </a:extLst>
                </p:cNvPr>
                <p:cNvSpPr/>
                <p:nvPr/>
              </p:nvSpPr>
              <p:spPr>
                <a:xfrm>
                  <a:off x="7916018" y="4840681"/>
                  <a:ext cx="113920" cy="118872"/>
                </a:xfrm>
                <a:prstGeom prst="rect">
                  <a:avLst/>
                </a:prstGeom>
                <a:solidFill>
                  <a:schemeClr val="bg2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fontAlgn="base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>
                    <a:solidFill>
                      <a:srgbClr val="FFFFFF"/>
                    </a:solidFill>
                    <a:latin typeface="Oracle Sans" panose="020B0503020204020204" pitchFamily="34" charset="0"/>
                  </a:endParaRPr>
                </a:p>
              </p:txBody>
            </p:sp>
            <p:sp>
              <p:nvSpPr>
                <p:cNvPr id="73" name="Rectangle 72">
                  <a:extLst>
                    <a:ext uri="{FF2B5EF4-FFF2-40B4-BE49-F238E27FC236}">
                      <a16:creationId xmlns:a16="http://schemas.microsoft.com/office/drawing/2014/main" id="{1DEAD6EB-9449-477C-9E4C-93DE481097FB}"/>
                    </a:ext>
                  </a:extLst>
                </p:cNvPr>
                <p:cNvSpPr/>
                <p:nvPr/>
              </p:nvSpPr>
              <p:spPr>
                <a:xfrm>
                  <a:off x="7916018" y="4989805"/>
                  <a:ext cx="113920" cy="118872"/>
                </a:xfrm>
                <a:prstGeom prst="rect">
                  <a:avLst/>
                </a:prstGeom>
                <a:solidFill>
                  <a:srgbClr val="594564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fontAlgn="base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>
                    <a:solidFill>
                      <a:srgbClr val="0070C0"/>
                    </a:solidFill>
                    <a:latin typeface="Oracle Sans" panose="020B0503020204020204" pitchFamily="34" charset="0"/>
                  </a:endParaRPr>
                </a:p>
              </p:txBody>
            </p:sp>
            <p:sp>
              <p:nvSpPr>
                <p:cNvPr id="74" name="Rectangle 73">
                  <a:extLst>
                    <a:ext uri="{FF2B5EF4-FFF2-40B4-BE49-F238E27FC236}">
                      <a16:creationId xmlns:a16="http://schemas.microsoft.com/office/drawing/2014/main" id="{7F6483CA-4820-4732-BDD3-F4CAC5F40CF7}"/>
                    </a:ext>
                  </a:extLst>
                </p:cNvPr>
                <p:cNvSpPr/>
                <p:nvPr/>
              </p:nvSpPr>
              <p:spPr>
                <a:xfrm>
                  <a:off x="7916018" y="5138928"/>
                  <a:ext cx="113920" cy="118872"/>
                </a:xfrm>
                <a:prstGeom prst="rect">
                  <a:avLst/>
                </a:prstGeom>
                <a:solidFill>
                  <a:schemeClr val="bg2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fontAlgn="base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>
                    <a:solidFill>
                      <a:srgbClr val="FFFFFF"/>
                    </a:solidFill>
                    <a:latin typeface="Oracle Sans" panose="020B0503020204020204" pitchFamily="34" charset="0"/>
                  </a:endParaRPr>
                </a:p>
              </p:txBody>
            </p:sp>
          </p:grpSp>
          <p:grpSp>
            <p:nvGrpSpPr>
              <p:cNvPr id="66" name="Group 196">
                <a:extLst>
                  <a:ext uri="{FF2B5EF4-FFF2-40B4-BE49-F238E27FC236}">
                    <a16:creationId xmlns:a16="http://schemas.microsoft.com/office/drawing/2014/main" id="{B7E8EA70-065A-4D24-A0D1-B91D2D4DC6B0}"/>
                  </a:ext>
                </a:extLst>
              </p:cNvPr>
              <p:cNvGrpSpPr/>
              <p:nvPr/>
            </p:nvGrpSpPr>
            <p:grpSpPr>
              <a:xfrm>
                <a:off x="8501492" y="4691557"/>
                <a:ext cx="113920" cy="566243"/>
                <a:chOff x="7916018" y="4691557"/>
                <a:chExt cx="113920" cy="566243"/>
              </a:xfrm>
            </p:grpSpPr>
            <p:sp>
              <p:nvSpPr>
                <p:cNvPr id="67" name="Rectangle 66">
                  <a:extLst>
                    <a:ext uri="{FF2B5EF4-FFF2-40B4-BE49-F238E27FC236}">
                      <a16:creationId xmlns:a16="http://schemas.microsoft.com/office/drawing/2014/main" id="{69965122-9D91-403F-B779-964B3F8B519D}"/>
                    </a:ext>
                  </a:extLst>
                </p:cNvPr>
                <p:cNvSpPr/>
                <p:nvPr/>
              </p:nvSpPr>
              <p:spPr>
                <a:xfrm>
                  <a:off x="7916018" y="4691557"/>
                  <a:ext cx="113920" cy="118872"/>
                </a:xfrm>
                <a:prstGeom prst="rect">
                  <a:avLst/>
                </a:prstGeom>
                <a:solidFill>
                  <a:schemeClr val="bg2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fontAlgn="base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>
                    <a:solidFill>
                      <a:srgbClr val="FFFFFF"/>
                    </a:solidFill>
                    <a:latin typeface="Oracle Sans" panose="020B0503020204020204" pitchFamily="34" charset="0"/>
                  </a:endParaRPr>
                </a:p>
              </p:txBody>
            </p:sp>
            <p:sp>
              <p:nvSpPr>
                <p:cNvPr id="68" name="Rectangle 67">
                  <a:extLst>
                    <a:ext uri="{FF2B5EF4-FFF2-40B4-BE49-F238E27FC236}">
                      <a16:creationId xmlns:a16="http://schemas.microsoft.com/office/drawing/2014/main" id="{22380946-34C5-4CF2-A5A2-C792A2F4D0F8}"/>
                    </a:ext>
                  </a:extLst>
                </p:cNvPr>
                <p:cNvSpPr/>
                <p:nvPr/>
              </p:nvSpPr>
              <p:spPr>
                <a:xfrm>
                  <a:off x="7916018" y="4840681"/>
                  <a:ext cx="113920" cy="118872"/>
                </a:xfrm>
                <a:prstGeom prst="rect">
                  <a:avLst/>
                </a:prstGeom>
                <a:solidFill>
                  <a:srgbClr val="594564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fontAlgn="base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>
                    <a:solidFill>
                      <a:srgbClr val="FFFFFF"/>
                    </a:solidFill>
                    <a:latin typeface="Oracle Sans" panose="020B0503020204020204" pitchFamily="34" charset="0"/>
                  </a:endParaRPr>
                </a:p>
              </p:txBody>
            </p:sp>
            <p:sp>
              <p:nvSpPr>
                <p:cNvPr id="69" name="Rectangle 68">
                  <a:extLst>
                    <a:ext uri="{FF2B5EF4-FFF2-40B4-BE49-F238E27FC236}">
                      <a16:creationId xmlns:a16="http://schemas.microsoft.com/office/drawing/2014/main" id="{3738502A-5887-430C-9082-AC9DC9FF62D9}"/>
                    </a:ext>
                  </a:extLst>
                </p:cNvPr>
                <p:cNvSpPr/>
                <p:nvPr/>
              </p:nvSpPr>
              <p:spPr>
                <a:xfrm>
                  <a:off x="7916018" y="4989805"/>
                  <a:ext cx="113920" cy="118872"/>
                </a:xfrm>
                <a:prstGeom prst="rect">
                  <a:avLst/>
                </a:prstGeom>
                <a:solidFill>
                  <a:schemeClr val="bg2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fontAlgn="base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>
                    <a:solidFill>
                      <a:srgbClr val="0070C0"/>
                    </a:solidFill>
                    <a:latin typeface="Oracle Sans" panose="020B0503020204020204" pitchFamily="34" charset="0"/>
                  </a:endParaRPr>
                </a:p>
              </p:txBody>
            </p:sp>
            <p:sp>
              <p:nvSpPr>
                <p:cNvPr id="70" name="Rectangle 69">
                  <a:extLst>
                    <a:ext uri="{FF2B5EF4-FFF2-40B4-BE49-F238E27FC236}">
                      <a16:creationId xmlns:a16="http://schemas.microsoft.com/office/drawing/2014/main" id="{B7527D7C-128D-4FE3-A571-E567BCF0C96B}"/>
                    </a:ext>
                  </a:extLst>
                </p:cNvPr>
                <p:cNvSpPr/>
                <p:nvPr/>
              </p:nvSpPr>
              <p:spPr>
                <a:xfrm>
                  <a:off x="7916018" y="5138928"/>
                  <a:ext cx="113920" cy="118872"/>
                </a:xfrm>
                <a:prstGeom prst="rect">
                  <a:avLst/>
                </a:prstGeom>
                <a:solidFill>
                  <a:schemeClr val="bg2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fontAlgn="base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>
                    <a:solidFill>
                      <a:srgbClr val="FFFFFF"/>
                    </a:solidFill>
                    <a:latin typeface="Oracle Sans" panose="020B0503020204020204" pitchFamily="34" charset="0"/>
                  </a:endParaRPr>
                </a:p>
              </p:txBody>
            </p:sp>
          </p:grpSp>
        </p:grpSp>
      </p:grpSp>
      <p:grpSp>
        <p:nvGrpSpPr>
          <p:cNvPr id="87" name="Group 217">
            <a:extLst>
              <a:ext uri="{FF2B5EF4-FFF2-40B4-BE49-F238E27FC236}">
                <a16:creationId xmlns:a16="http://schemas.microsoft.com/office/drawing/2014/main" id="{D36EF2FE-8028-43AA-BE9F-DA5C9B67D888}"/>
              </a:ext>
            </a:extLst>
          </p:cNvPr>
          <p:cNvGrpSpPr/>
          <p:nvPr/>
        </p:nvGrpSpPr>
        <p:grpSpPr>
          <a:xfrm>
            <a:off x="10239007" y="4399044"/>
            <a:ext cx="838200" cy="1033140"/>
            <a:chOff x="7923212" y="4278420"/>
            <a:chExt cx="838200" cy="1033140"/>
          </a:xfrm>
        </p:grpSpPr>
        <p:sp>
          <p:nvSpPr>
            <p:cNvPr id="88" name="Can 107">
              <a:extLst>
                <a:ext uri="{FF2B5EF4-FFF2-40B4-BE49-F238E27FC236}">
                  <a16:creationId xmlns:a16="http://schemas.microsoft.com/office/drawing/2014/main" id="{D8DB4F2C-C561-424E-959D-70BEFE4E70DA}"/>
                </a:ext>
              </a:extLst>
            </p:cNvPr>
            <p:cNvSpPr/>
            <p:nvPr/>
          </p:nvSpPr>
          <p:spPr>
            <a:xfrm>
              <a:off x="7923212" y="4278420"/>
              <a:ext cx="838200" cy="1033140"/>
            </a:xfrm>
            <a:prstGeom prst="can">
              <a:avLst>
                <a:gd name="adj" fmla="val 15901"/>
              </a:avLst>
            </a:prstGeom>
            <a:gradFill flip="none" rotWithShape="1">
              <a:gsLst>
                <a:gs pos="28000">
                  <a:schemeClr val="accent5"/>
                </a:gs>
                <a:gs pos="0">
                  <a:schemeClr val="accent5">
                    <a:lumMod val="40000"/>
                    <a:lumOff val="60000"/>
                  </a:schemeClr>
                </a:gs>
                <a:gs pos="100000">
                  <a:schemeClr val="accent5">
                    <a:lumMod val="60000"/>
                    <a:lumOff val="40000"/>
                  </a:schemeClr>
                </a:gs>
              </a:gsLst>
              <a:lin ang="0" scaled="1"/>
            </a:gradFill>
            <a:ln>
              <a:noFill/>
            </a:ln>
            <a:effectLst>
              <a:outerShdw blurRad="203200" dist="50800" dir="5400000" sx="88000" sy="88000" rotWithShape="0">
                <a:prstClr val="black">
                  <a:alpha val="72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>
                <a:solidFill>
                  <a:srgbClr val="FFFFFF"/>
                </a:solidFill>
                <a:latin typeface="Oracle Sans" panose="020B0503020204020204" pitchFamily="34" charset="0"/>
              </a:endParaRPr>
            </a:p>
          </p:txBody>
        </p:sp>
        <p:grpSp>
          <p:nvGrpSpPr>
            <p:cNvPr id="89" name="Group 219">
              <a:extLst>
                <a:ext uri="{FF2B5EF4-FFF2-40B4-BE49-F238E27FC236}">
                  <a16:creationId xmlns:a16="http://schemas.microsoft.com/office/drawing/2014/main" id="{D65D9E6C-0D0A-4258-A5A8-C1CBA291EE39}"/>
                </a:ext>
              </a:extLst>
            </p:cNvPr>
            <p:cNvGrpSpPr/>
            <p:nvPr/>
          </p:nvGrpSpPr>
          <p:grpSpPr>
            <a:xfrm>
              <a:off x="7985818" y="4495800"/>
              <a:ext cx="699394" cy="715367"/>
              <a:chOff x="7916018" y="4542433"/>
              <a:chExt cx="699394" cy="715367"/>
            </a:xfrm>
          </p:grpSpPr>
          <p:sp>
            <p:nvSpPr>
              <p:cNvPr id="90" name="Rectangle 89">
                <a:extLst>
                  <a:ext uri="{FF2B5EF4-FFF2-40B4-BE49-F238E27FC236}">
                    <a16:creationId xmlns:a16="http://schemas.microsoft.com/office/drawing/2014/main" id="{49799CB1-6DF9-4B86-995F-E353854CF87F}"/>
                  </a:ext>
                </a:extLst>
              </p:cNvPr>
              <p:cNvSpPr/>
              <p:nvPr/>
            </p:nvSpPr>
            <p:spPr>
              <a:xfrm>
                <a:off x="8501492" y="4542433"/>
                <a:ext cx="113920" cy="118872"/>
              </a:xfrm>
              <a:prstGeom prst="rect">
                <a:avLst/>
              </a:prstGeom>
              <a:solidFill>
                <a:schemeClr val="bg2"/>
              </a:solidFill>
              <a:ln w="1270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>
                  <a:solidFill>
                    <a:srgbClr val="FFFFFF"/>
                  </a:solidFill>
                  <a:latin typeface="Oracle Sans" panose="020B0503020204020204" pitchFamily="34" charset="0"/>
                </a:endParaRPr>
              </a:p>
            </p:txBody>
          </p:sp>
          <p:sp>
            <p:nvSpPr>
              <p:cNvPr id="91" name="Rectangle 90">
                <a:extLst>
                  <a:ext uri="{FF2B5EF4-FFF2-40B4-BE49-F238E27FC236}">
                    <a16:creationId xmlns:a16="http://schemas.microsoft.com/office/drawing/2014/main" id="{445DD0A3-83DE-4723-839E-3457AA52F9D6}"/>
                  </a:ext>
                </a:extLst>
              </p:cNvPr>
              <p:cNvSpPr/>
              <p:nvPr/>
            </p:nvSpPr>
            <p:spPr>
              <a:xfrm>
                <a:off x="8208754" y="4542433"/>
                <a:ext cx="113920" cy="118872"/>
              </a:xfrm>
              <a:prstGeom prst="rect">
                <a:avLst/>
              </a:prstGeom>
              <a:solidFill>
                <a:schemeClr val="bg2"/>
              </a:solidFill>
              <a:ln w="1270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>
                  <a:solidFill>
                    <a:srgbClr val="FFFFFF"/>
                  </a:solidFill>
                  <a:latin typeface="Oracle Sans" panose="020B0503020204020204" pitchFamily="34" charset="0"/>
                </a:endParaRPr>
              </a:p>
            </p:txBody>
          </p:sp>
          <p:sp>
            <p:nvSpPr>
              <p:cNvPr id="92" name="Rectangle 91">
                <a:extLst>
                  <a:ext uri="{FF2B5EF4-FFF2-40B4-BE49-F238E27FC236}">
                    <a16:creationId xmlns:a16="http://schemas.microsoft.com/office/drawing/2014/main" id="{DC6B3CDA-3AEB-4DEF-B6D5-394A94451963}"/>
                  </a:ext>
                </a:extLst>
              </p:cNvPr>
              <p:cNvSpPr/>
              <p:nvPr/>
            </p:nvSpPr>
            <p:spPr>
              <a:xfrm>
                <a:off x="7916018" y="4542433"/>
                <a:ext cx="113920" cy="118872"/>
              </a:xfrm>
              <a:prstGeom prst="rect">
                <a:avLst/>
              </a:prstGeom>
              <a:solidFill>
                <a:schemeClr val="bg2"/>
              </a:solidFill>
              <a:ln w="1270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>
                  <a:solidFill>
                    <a:srgbClr val="FFFFFF"/>
                  </a:solidFill>
                  <a:latin typeface="Oracle Sans" panose="020B0503020204020204" pitchFamily="34" charset="0"/>
                </a:endParaRPr>
              </a:p>
            </p:txBody>
          </p:sp>
          <p:sp>
            <p:nvSpPr>
              <p:cNvPr id="93" name="Rectangle 92">
                <a:extLst>
                  <a:ext uri="{FF2B5EF4-FFF2-40B4-BE49-F238E27FC236}">
                    <a16:creationId xmlns:a16="http://schemas.microsoft.com/office/drawing/2014/main" id="{088A9C0A-CA25-4024-8EB2-C97141C0E2A2}"/>
                  </a:ext>
                </a:extLst>
              </p:cNvPr>
              <p:cNvSpPr/>
              <p:nvPr/>
            </p:nvSpPr>
            <p:spPr>
              <a:xfrm>
                <a:off x="8062386" y="4542433"/>
                <a:ext cx="113920" cy="118872"/>
              </a:xfrm>
              <a:prstGeom prst="rect">
                <a:avLst/>
              </a:prstGeom>
              <a:solidFill>
                <a:schemeClr val="bg2"/>
              </a:solidFill>
              <a:ln w="1270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>
                  <a:solidFill>
                    <a:srgbClr val="FFFFFF"/>
                  </a:solidFill>
                  <a:latin typeface="Oracle Sans" panose="020B0503020204020204" pitchFamily="34" charset="0"/>
                </a:endParaRPr>
              </a:p>
            </p:txBody>
          </p:sp>
          <p:sp>
            <p:nvSpPr>
              <p:cNvPr id="94" name="Rectangle 93">
                <a:extLst>
                  <a:ext uri="{FF2B5EF4-FFF2-40B4-BE49-F238E27FC236}">
                    <a16:creationId xmlns:a16="http://schemas.microsoft.com/office/drawing/2014/main" id="{DAEB9D6E-2429-4803-9541-C503F70BF881}"/>
                  </a:ext>
                </a:extLst>
              </p:cNvPr>
              <p:cNvSpPr/>
              <p:nvPr/>
            </p:nvSpPr>
            <p:spPr>
              <a:xfrm>
                <a:off x="8355122" y="4542433"/>
                <a:ext cx="113920" cy="118872"/>
              </a:xfrm>
              <a:prstGeom prst="rect">
                <a:avLst/>
              </a:prstGeom>
              <a:solidFill>
                <a:schemeClr val="bg2"/>
              </a:solidFill>
              <a:ln w="1270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>
                  <a:solidFill>
                    <a:srgbClr val="FFFFFF"/>
                  </a:solidFill>
                  <a:latin typeface="Oracle Sans" panose="020B0503020204020204" pitchFamily="34" charset="0"/>
                </a:endParaRPr>
              </a:p>
            </p:txBody>
          </p:sp>
          <p:grpSp>
            <p:nvGrpSpPr>
              <p:cNvPr id="95" name="Group 225">
                <a:extLst>
                  <a:ext uri="{FF2B5EF4-FFF2-40B4-BE49-F238E27FC236}">
                    <a16:creationId xmlns:a16="http://schemas.microsoft.com/office/drawing/2014/main" id="{F32BEAC4-0233-4368-BE15-E9F5DF974E1E}"/>
                  </a:ext>
                </a:extLst>
              </p:cNvPr>
              <p:cNvGrpSpPr/>
              <p:nvPr/>
            </p:nvGrpSpPr>
            <p:grpSpPr>
              <a:xfrm>
                <a:off x="7916018" y="4691557"/>
                <a:ext cx="113920" cy="566243"/>
                <a:chOff x="7916018" y="4691557"/>
                <a:chExt cx="113920" cy="566243"/>
              </a:xfrm>
            </p:grpSpPr>
            <p:sp>
              <p:nvSpPr>
                <p:cNvPr id="116" name="Rectangle 115">
                  <a:extLst>
                    <a:ext uri="{FF2B5EF4-FFF2-40B4-BE49-F238E27FC236}">
                      <a16:creationId xmlns:a16="http://schemas.microsoft.com/office/drawing/2014/main" id="{86D991B7-61A4-4160-AD5E-2CC8165DB1E9}"/>
                    </a:ext>
                  </a:extLst>
                </p:cNvPr>
                <p:cNvSpPr/>
                <p:nvPr/>
              </p:nvSpPr>
              <p:spPr>
                <a:xfrm>
                  <a:off x="7916018" y="4691557"/>
                  <a:ext cx="113920" cy="118872"/>
                </a:xfrm>
                <a:prstGeom prst="rect">
                  <a:avLst/>
                </a:prstGeom>
                <a:solidFill>
                  <a:schemeClr val="bg2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fontAlgn="base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>
                    <a:solidFill>
                      <a:srgbClr val="FFFFFF"/>
                    </a:solidFill>
                    <a:latin typeface="Oracle Sans" panose="020B0503020204020204" pitchFamily="34" charset="0"/>
                  </a:endParaRPr>
                </a:p>
              </p:txBody>
            </p:sp>
            <p:sp>
              <p:nvSpPr>
                <p:cNvPr id="117" name="Rectangle 116">
                  <a:extLst>
                    <a:ext uri="{FF2B5EF4-FFF2-40B4-BE49-F238E27FC236}">
                      <a16:creationId xmlns:a16="http://schemas.microsoft.com/office/drawing/2014/main" id="{9BA8E739-9FFD-4361-B69A-B441312DCA84}"/>
                    </a:ext>
                  </a:extLst>
                </p:cNvPr>
                <p:cNvSpPr/>
                <p:nvPr/>
              </p:nvSpPr>
              <p:spPr>
                <a:xfrm>
                  <a:off x="7916018" y="4840681"/>
                  <a:ext cx="113920" cy="118872"/>
                </a:xfrm>
                <a:prstGeom prst="rect">
                  <a:avLst/>
                </a:prstGeom>
                <a:solidFill>
                  <a:schemeClr val="bg2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fontAlgn="base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>
                    <a:solidFill>
                      <a:srgbClr val="FFFFFF"/>
                    </a:solidFill>
                    <a:latin typeface="Oracle Sans" panose="020B0503020204020204" pitchFamily="34" charset="0"/>
                  </a:endParaRPr>
                </a:p>
              </p:txBody>
            </p:sp>
            <p:sp>
              <p:nvSpPr>
                <p:cNvPr id="118" name="Rectangle 117">
                  <a:extLst>
                    <a:ext uri="{FF2B5EF4-FFF2-40B4-BE49-F238E27FC236}">
                      <a16:creationId xmlns:a16="http://schemas.microsoft.com/office/drawing/2014/main" id="{C3D97BBD-EB8C-4B47-A110-CF0C559C913B}"/>
                    </a:ext>
                  </a:extLst>
                </p:cNvPr>
                <p:cNvSpPr/>
                <p:nvPr/>
              </p:nvSpPr>
              <p:spPr>
                <a:xfrm>
                  <a:off x="7916018" y="4989805"/>
                  <a:ext cx="113920" cy="118872"/>
                </a:xfrm>
                <a:prstGeom prst="rect">
                  <a:avLst/>
                </a:prstGeom>
                <a:solidFill>
                  <a:schemeClr val="bg2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fontAlgn="base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>
                    <a:solidFill>
                      <a:srgbClr val="0070C0"/>
                    </a:solidFill>
                    <a:latin typeface="Oracle Sans" panose="020B0503020204020204" pitchFamily="34" charset="0"/>
                  </a:endParaRPr>
                </a:p>
              </p:txBody>
            </p:sp>
            <p:sp>
              <p:nvSpPr>
                <p:cNvPr id="119" name="Rectangle 118">
                  <a:extLst>
                    <a:ext uri="{FF2B5EF4-FFF2-40B4-BE49-F238E27FC236}">
                      <a16:creationId xmlns:a16="http://schemas.microsoft.com/office/drawing/2014/main" id="{3B4DE7DB-A9F1-4A7B-A51B-1772C7218E30}"/>
                    </a:ext>
                  </a:extLst>
                </p:cNvPr>
                <p:cNvSpPr/>
                <p:nvPr/>
              </p:nvSpPr>
              <p:spPr>
                <a:xfrm>
                  <a:off x="7916018" y="5138928"/>
                  <a:ext cx="113920" cy="118872"/>
                </a:xfrm>
                <a:prstGeom prst="rect">
                  <a:avLst/>
                </a:prstGeom>
                <a:solidFill>
                  <a:schemeClr val="bg2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fontAlgn="base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>
                    <a:solidFill>
                      <a:srgbClr val="FFFFFF"/>
                    </a:solidFill>
                    <a:latin typeface="Oracle Sans" panose="020B0503020204020204" pitchFamily="34" charset="0"/>
                  </a:endParaRPr>
                </a:p>
              </p:txBody>
            </p:sp>
          </p:grpSp>
          <p:grpSp>
            <p:nvGrpSpPr>
              <p:cNvPr id="96" name="Group 226">
                <a:extLst>
                  <a:ext uri="{FF2B5EF4-FFF2-40B4-BE49-F238E27FC236}">
                    <a16:creationId xmlns:a16="http://schemas.microsoft.com/office/drawing/2014/main" id="{7A4CC796-2704-4B46-93A7-416BCB32D7E8}"/>
                  </a:ext>
                </a:extLst>
              </p:cNvPr>
              <p:cNvGrpSpPr/>
              <p:nvPr/>
            </p:nvGrpSpPr>
            <p:grpSpPr>
              <a:xfrm>
                <a:off x="8062386" y="4691557"/>
                <a:ext cx="113920" cy="566243"/>
                <a:chOff x="7916018" y="4691557"/>
                <a:chExt cx="113920" cy="566243"/>
              </a:xfrm>
            </p:grpSpPr>
            <p:sp>
              <p:nvSpPr>
                <p:cNvPr id="112" name="Rectangle 111">
                  <a:extLst>
                    <a:ext uri="{FF2B5EF4-FFF2-40B4-BE49-F238E27FC236}">
                      <a16:creationId xmlns:a16="http://schemas.microsoft.com/office/drawing/2014/main" id="{A8A2C856-90CC-4609-94A0-CF90B789EA64}"/>
                    </a:ext>
                  </a:extLst>
                </p:cNvPr>
                <p:cNvSpPr/>
                <p:nvPr/>
              </p:nvSpPr>
              <p:spPr>
                <a:xfrm>
                  <a:off x="7916018" y="4691557"/>
                  <a:ext cx="113920" cy="118872"/>
                </a:xfrm>
                <a:prstGeom prst="rect">
                  <a:avLst/>
                </a:prstGeom>
                <a:solidFill>
                  <a:schemeClr val="bg2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fontAlgn="base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>
                    <a:solidFill>
                      <a:srgbClr val="FFFFFF"/>
                    </a:solidFill>
                    <a:latin typeface="Oracle Sans" panose="020B0503020204020204" pitchFamily="34" charset="0"/>
                  </a:endParaRPr>
                </a:p>
              </p:txBody>
            </p:sp>
            <p:sp>
              <p:nvSpPr>
                <p:cNvPr id="113" name="Rectangle 112">
                  <a:extLst>
                    <a:ext uri="{FF2B5EF4-FFF2-40B4-BE49-F238E27FC236}">
                      <a16:creationId xmlns:a16="http://schemas.microsoft.com/office/drawing/2014/main" id="{7D8A5911-CFAC-4E28-AE30-49F79F8497FB}"/>
                    </a:ext>
                  </a:extLst>
                </p:cNvPr>
                <p:cNvSpPr/>
                <p:nvPr/>
              </p:nvSpPr>
              <p:spPr>
                <a:xfrm>
                  <a:off x="7916018" y="4840681"/>
                  <a:ext cx="113920" cy="118872"/>
                </a:xfrm>
                <a:prstGeom prst="rect">
                  <a:avLst/>
                </a:prstGeom>
                <a:solidFill>
                  <a:schemeClr val="accent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fontAlgn="base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>
                    <a:solidFill>
                      <a:srgbClr val="FFFFFF"/>
                    </a:solidFill>
                    <a:latin typeface="Oracle Sans" panose="020B0503020204020204" pitchFamily="34" charset="0"/>
                  </a:endParaRPr>
                </a:p>
              </p:txBody>
            </p:sp>
            <p:sp>
              <p:nvSpPr>
                <p:cNvPr id="114" name="Rectangle 113">
                  <a:extLst>
                    <a:ext uri="{FF2B5EF4-FFF2-40B4-BE49-F238E27FC236}">
                      <a16:creationId xmlns:a16="http://schemas.microsoft.com/office/drawing/2014/main" id="{E71B0CFC-AE86-4AD7-86A2-D7F0EDE944FC}"/>
                    </a:ext>
                  </a:extLst>
                </p:cNvPr>
                <p:cNvSpPr/>
                <p:nvPr/>
              </p:nvSpPr>
              <p:spPr>
                <a:xfrm>
                  <a:off x="7916018" y="4989805"/>
                  <a:ext cx="113920" cy="118872"/>
                </a:xfrm>
                <a:prstGeom prst="rect">
                  <a:avLst/>
                </a:prstGeom>
                <a:solidFill>
                  <a:schemeClr val="accent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fontAlgn="base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>
                    <a:solidFill>
                      <a:srgbClr val="0070C0"/>
                    </a:solidFill>
                    <a:latin typeface="Oracle Sans" panose="020B0503020204020204" pitchFamily="34" charset="0"/>
                  </a:endParaRPr>
                </a:p>
              </p:txBody>
            </p:sp>
            <p:sp>
              <p:nvSpPr>
                <p:cNvPr id="115" name="Rectangle 114">
                  <a:extLst>
                    <a:ext uri="{FF2B5EF4-FFF2-40B4-BE49-F238E27FC236}">
                      <a16:creationId xmlns:a16="http://schemas.microsoft.com/office/drawing/2014/main" id="{5A47ABA5-FDC4-48E0-A84A-2A0304E1A420}"/>
                    </a:ext>
                  </a:extLst>
                </p:cNvPr>
                <p:cNvSpPr/>
                <p:nvPr/>
              </p:nvSpPr>
              <p:spPr>
                <a:xfrm>
                  <a:off x="7916018" y="5138928"/>
                  <a:ext cx="113920" cy="118872"/>
                </a:xfrm>
                <a:prstGeom prst="rect">
                  <a:avLst/>
                </a:prstGeom>
                <a:solidFill>
                  <a:schemeClr val="bg2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fontAlgn="base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>
                    <a:solidFill>
                      <a:srgbClr val="FFFFFF"/>
                    </a:solidFill>
                    <a:latin typeface="Oracle Sans" panose="020B0503020204020204" pitchFamily="34" charset="0"/>
                  </a:endParaRPr>
                </a:p>
              </p:txBody>
            </p:sp>
          </p:grpSp>
          <p:grpSp>
            <p:nvGrpSpPr>
              <p:cNvPr id="97" name="Group 227">
                <a:extLst>
                  <a:ext uri="{FF2B5EF4-FFF2-40B4-BE49-F238E27FC236}">
                    <a16:creationId xmlns:a16="http://schemas.microsoft.com/office/drawing/2014/main" id="{551CE750-8AA2-4262-89A5-ED41E9E7C81D}"/>
                  </a:ext>
                </a:extLst>
              </p:cNvPr>
              <p:cNvGrpSpPr/>
              <p:nvPr/>
            </p:nvGrpSpPr>
            <p:grpSpPr>
              <a:xfrm>
                <a:off x="8208754" y="4691557"/>
                <a:ext cx="113920" cy="566243"/>
                <a:chOff x="7916018" y="4691557"/>
                <a:chExt cx="113920" cy="566243"/>
              </a:xfrm>
            </p:grpSpPr>
            <p:sp>
              <p:nvSpPr>
                <p:cNvPr id="108" name="Rectangle 107">
                  <a:extLst>
                    <a:ext uri="{FF2B5EF4-FFF2-40B4-BE49-F238E27FC236}">
                      <a16:creationId xmlns:a16="http://schemas.microsoft.com/office/drawing/2014/main" id="{8CAD8FC9-4742-4FF2-B26B-E9A3BFB1B3DA}"/>
                    </a:ext>
                  </a:extLst>
                </p:cNvPr>
                <p:cNvSpPr/>
                <p:nvPr/>
              </p:nvSpPr>
              <p:spPr>
                <a:xfrm>
                  <a:off x="7916018" y="4691557"/>
                  <a:ext cx="113920" cy="118872"/>
                </a:xfrm>
                <a:prstGeom prst="rect">
                  <a:avLst/>
                </a:prstGeom>
                <a:solidFill>
                  <a:schemeClr val="bg2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fontAlgn="base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>
                    <a:solidFill>
                      <a:srgbClr val="FFFFFF"/>
                    </a:solidFill>
                    <a:latin typeface="Oracle Sans" panose="020B0503020204020204" pitchFamily="34" charset="0"/>
                  </a:endParaRPr>
                </a:p>
              </p:txBody>
            </p:sp>
            <p:sp>
              <p:nvSpPr>
                <p:cNvPr id="109" name="Rectangle 108">
                  <a:extLst>
                    <a:ext uri="{FF2B5EF4-FFF2-40B4-BE49-F238E27FC236}">
                      <a16:creationId xmlns:a16="http://schemas.microsoft.com/office/drawing/2014/main" id="{83EA07D0-D499-437D-BB70-D573B20584C8}"/>
                    </a:ext>
                  </a:extLst>
                </p:cNvPr>
                <p:cNvSpPr/>
                <p:nvPr/>
              </p:nvSpPr>
              <p:spPr>
                <a:xfrm>
                  <a:off x="7916018" y="4840681"/>
                  <a:ext cx="113920" cy="118872"/>
                </a:xfrm>
                <a:prstGeom prst="rect">
                  <a:avLst/>
                </a:prstGeom>
                <a:solidFill>
                  <a:schemeClr val="bg2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fontAlgn="base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>
                    <a:solidFill>
                      <a:srgbClr val="FFFFFF"/>
                    </a:solidFill>
                    <a:latin typeface="Oracle Sans" panose="020B0503020204020204" pitchFamily="34" charset="0"/>
                  </a:endParaRPr>
                </a:p>
              </p:txBody>
            </p:sp>
            <p:sp>
              <p:nvSpPr>
                <p:cNvPr id="110" name="Rectangle 109">
                  <a:extLst>
                    <a:ext uri="{FF2B5EF4-FFF2-40B4-BE49-F238E27FC236}">
                      <a16:creationId xmlns:a16="http://schemas.microsoft.com/office/drawing/2014/main" id="{894F463D-087C-4214-B993-7014E45AAD87}"/>
                    </a:ext>
                  </a:extLst>
                </p:cNvPr>
                <p:cNvSpPr/>
                <p:nvPr/>
              </p:nvSpPr>
              <p:spPr>
                <a:xfrm>
                  <a:off x="7916018" y="4989805"/>
                  <a:ext cx="113920" cy="118872"/>
                </a:xfrm>
                <a:prstGeom prst="rect">
                  <a:avLst/>
                </a:prstGeom>
                <a:solidFill>
                  <a:schemeClr val="bg2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fontAlgn="base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>
                    <a:solidFill>
                      <a:srgbClr val="0070C0"/>
                    </a:solidFill>
                    <a:latin typeface="Oracle Sans" panose="020B0503020204020204" pitchFamily="34" charset="0"/>
                  </a:endParaRPr>
                </a:p>
              </p:txBody>
            </p:sp>
            <p:sp>
              <p:nvSpPr>
                <p:cNvPr id="111" name="Rectangle 110">
                  <a:extLst>
                    <a:ext uri="{FF2B5EF4-FFF2-40B4-BE49-F238E27FC236}">
                      <a16:creationId xmlns:a16="http://schemas.microsoft.com/office/drawing/2014/main" id="{10500818-AC05-44FF-BCFB-9F7F4754B37E}"/>
                    </a:ext>
                  </a:extLst>
                </p:cNvPr>
                <p:cNvSpPr/>
                <p:nvPr/>
              </p:nvSpPr>
              <p:spPr>
                <a:xfrm>
                  <a:off x="7916018" y="5138928"/>
                  <a:ext cx="113920" cy="118872"/>
                </a:xfrm>
                <a:prstGeom prst="rect">
                  <a:avLst/>
                </a:prstGeom>
                <a:solidFill>
                  <a:schemeClr val="bg2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fontAlgn="base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>
                    <a:solidFill>
                      <a:srgbClr val="FFFFFF"/>
                    </a:solidFill>
                    <a:latin typeface="Oracle Sans" panose="020B0503020204020204" pitchFamily="34" charset="0"/>
                  </a:endParaRPr>
                </a:p>
              </p:txBody>
            </p:sp>
          </p:grpSp>
          <p:grpSp>
            <p:nvGrpSpPr>
              <p:cNvPr id="98" name="Group 228">
                <a:extLst>
                  <a:ext uri="{FF2B5EF4-FFF2-40B4-BE49-F238E27FC236}">
                    <a16:creationId xmlns:a16="http://schemas.microsoft.com/office/drawing/2014/main" id="{87CE925F-DB5D-4788-941B-30C0F96DA58D}"/>
                  </a:ext>
                </a:extLst>
              </p:cNvPr>
              <p:cNvGrpSpPr/>
              <p:nvPr/>
            </p:nvGrpSpPr>
            <p:grpSpPr>
              <a:xfrm>
                <a:off x="8355122" y="4691557"/>
                <a:ext cx="113920" cy="566243"/>
                <a:chOff x="7916018" y="4691557"/>
                <a:chExt cx="113920" cy="566243"/>
              </a:xfrm>
            </p:grpSpPr>
            <p:sp>
              <p:nvSpPr>
                <p:cNvPr id="104" name="Rectangle 103">
                  <a:extLst>
                    <a:ext uri="{FF2B5EF4-FFF2-40B4-BE49-F238E27FC236}">
                      <a16:creationId xmlns:a16="http://schemas.microsoft.com/office/drawing/2014/main" id="{7091E315-BE42-49E0-BDBC-1BCC7C252CD4}"/>
                    </a:ext>
                  </a:extLst>
                </p:cNvPr>
                <p:cNvSpPr/>
                <p:nvPr/>
              </p:nvSpPr>
              <p:spPr>
                <a:xfrm>
                  <a:off x="7916018" y="4691557"/>
                  <a:ext cx="113920" cy="118872"/>
                </a:xfrm>
                <a:prstGeom prst="rect">
                  <a:avLst/>
                </a:prstGeom>
                <a:solidFill>
                  <a:schemeClr val="bg2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fontAlgn="base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>
                    <a:solidFill>
                      <a:srgbClr val="FFFFFF"/>
                    </a:solidFill>
                    <a:latin typeface="Oracle Sans" panose="020B0503020204020204" pitchFamily="34" charset="0"/>
                  </a:endParaRPr>
                </a:p>
              </p:txBody>
            </p:sp>
            <p:sp>
              <p:nvSpPr>
                <p:cNvPr id="105" name="Rectangle 104">
                  <a:extLst>
                    <a:ext uri="{FF2B5EF4-FFF2-40B4-BE49-F238E27FC236}">
                      <a16:creationId xmlns:a16="http://schemas.microsoft.com/office/drawing/2014/main" id="{17115089-6B42-41EE-9C18-F5222F1CD242}"/>
                    </a:ext>
                  </a:extLst>
                </p:cNvPr>
                <p:cNvSpPr/>
                <p:nvPr/>
              </p:nvSpPr>
              <p:spPr>
                <a:xfrm>
                  <a:off x="7916018" y="4840681"/>
                  <a:ext cx="113920" cy="118872"/>
                </a:xfrm>
                <a:prstGeom prst="rect">
                  <a:avLst/>
                </a:prstGeom>
                <a:solidFill>
                  <a:schemeClr val="bg2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fontAlgn="base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>
                    <a:solidFill>
                      <a:srgbClr val="FFFFFF"/>
                    </a:solidFill>
                    <a:latin typeface="Oracle Sans" panose="020B0503020204020204" pitchFamily="34" charset="0"/>
                  </a:endParaRPr>
                </a:p>
              </p:txBody>
            </p:sp>
            <p:sp>
              <p:nvSpPr>
                <p:cNvPr id="106" name="Rectangle 105">
                  <a:extLst>
                    <a:ext uri="{FF2B5EF4-FFF2-40B4-BE49-F238E27FC236}">
                      <a16:creationId xmlns:a16="http://schemas.microsoft.com/office/drawing/2014/main" id="{0BAF7566-A68F-46F9-951B-7FD5DCA112AA}"/>
                    </a:ext>
                  </a:extLst>
                </p:cNvPr>
                <p:cNvSpPr/>
                <p:nvPr/>
              </p:nvSpPr>
              <p:spPr>
                <a:xfrm>
                  <a:off x="7916018" y="4989805"/>
                  <a:ext cx="113920" cy="118872"/>
                </a:xfrm>
                <a:prstGeom prst="rect">
                  <a:avLst/>
                </a:prstGeom>
                <a:solidFill>
                  <a:schemeClr val="bg2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fontAlgn="base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>
                    <a:solidFill>
                      <a:srgbClr val="0070C0"/>
                    </a:solidFill>
                    <a:latin typeface="Oracle Sans" panose="020B0503020204020204" pitchFamily="34" charset="0"/>
                  </a:endParaRPr>
                </a:p>
              </p:txBody>
            </p:sp>
            <p:sp>
              <p:nvSpPr>
                <p:cNvPr id="107" name="Rectangle 106">
                  <a:extLst>
                    <a:ext uri="{FF2B5EF4-FFF2-40B4-BE49-F238E27FC236}">
                      <a16:creationId xmlns:a16="http://schemas.microsoft.com/office/drawing/2014/main" id="{93DAF013-197C-44FE-8700-437C223E1B12}"/>
                    </a:ext>
                  </a:extLst>
                </p:cNvPr>
                <p:cNvSpPr/>
                <p:nvPr/>
              </p:nvSpPr>
              <p:spPr>
                <a:xfrm>
                  <a:off x="7916018" y="5138928"/>
                  <a:ext cx="113920" cy="118872"/>
                </a:xfrm>
                <a:prstGeom prst="rect">
                  <a:avLst/>
                </a:prstGeom>
                <a:solidFill>
                  <a:schemeClr val="accent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fontAlgn="base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>
                    <a:solidFill>
                      <a:srgbClr val="FFFFFF"/>
                    </a:solidFill>
                    <a:latin typeface="Oracle Sans" panose="020B0503020204020204" pitchFamily="34" charset="0"/>
                  </a:endParaRPr>
                </a:p>
              </p:txBody>
            </p:sp>
          </p:grpSp>
          <p:grpSp>
            <p:nvGrpSpPr>
              <p:cNvPr id="99" name="Group 229">
                <a:extLst>
                  <a:ext uri="{FF2B5EF4-FFF2-40B4-BE49-F238E27FC236}">
                    <a16:creationId xmlns:a16="http://schemas.microsoft.com/office/drawing/2014/main" id="{E5356761-6E01-4469-B2B3-32F732CF86A5}"/>
                  </a:ext>
                </a:extLst>
              </p:cNvPr>
              <p:cNvGrpSpPr/>
              <p:nvPr/>
            </p:nvGrpSpPr>
            <p:grpSpPr>
              <a:xfrm>
                <a:off x="8501492" y="4691557"/>
                <a:ext cx="113920" cy="566243"/>
                <a:chOff x="7916018" y="4691557"/>
                <a:chExt cx="113920" cy="566243"/>
              </a:xfrm>
            </p:grpSpPr>
            <p:sp>
              <p:nvSpPr>
                <p:cNvPr id="100" name="Rectangle 99">
                  <a:extLst>
                    <a:ext uri="{FF2B5EF4-FFF2-40B4-BE49-F238E27FC236}">
                      <a16:creationId xmlns:a16="http://schemas.microsoft.com/office/drawing/2014/main" id="{13B2CB45-FCFA-4DE4-A634-E0E2086B06E2}"/>
                    </a:ext>
                  </a:extLst>
                </p:cNvPr>
                <p:cNvSpPr/>
                <p:nvPr/>
              </p:nvSpPr>
              <p:spPr>
                <a:xfrm>
                  <a:off x="7916018" y="4691557"/>
                  <a:ext cx="113920" cy="118872"/>
                </a:xfrm>
                <a:prstGeom prst="rect">
                  <a:avLst/>
                </a:prstGeom>
                <a:solidFill>
                  <a:schemeClr val="bg2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fontAlgn="base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>
                    <a:solidFill>
                      <a:srgbClr val="FFFFFF"/>
                    </a:solidFill>
                    <a:latin typeface="Oracle Sans" panose="020B0503020204020204" pitchFamily="34" charset="0"/>
                  </a:endParaRPr>
                </a:p>
              </p:txBody>
            </p:sp>
            <p:sp>
              <p:nvSpPr>
                <p:cNvPr id="101" name="Rectangle 100">
                  <a:extLst>
                    <a:ext uri="{FF2B5EF4-FFF2-40B4-BE49-F238E27FC236}">
                      <a16:creationId xmlns:a16="http://schemas.microsoft.com/office/drawing/2014/main" id="{94A9D9A0-1A8D-4729-8F23-566BC3A74136}"/>
                    </a:ext>
                  </a:extLst>
                </p:cNvPr>
                <p:cNvSpPr/>
                <p:nvPr/>
              </p:nvSpPr>
              <p:spPr>
                <a:xfrm>
                  <a:off x="7916018" y="4840681"/>
                  <a:ext cx="113920" cy="118872"/>
                </a:xfrm>
                <a:prstGeom prst="rect">
                  <a:avLst/>
                </a:prstGeom>
                <a:solidFill>
                  <a:schemeClr val="bg2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fontAlgn="base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>
                    <a:solidFill>
                      <a:srgbClr val="FFFFFF"/>
                    </a:solidFill>
                    <a:latin typeface="Oracle Sans" panose="020B0503020204020204" pitchFamily="34" charset="0"/>
                  </a:endParaRPr>
                </a:p>
              </p:txBody>
            </p:sp>
            <p:sp>
              <p:nvSpPr>
                <p:cNvPr id="102" name="Rectangle 101">
                  <a:extLst>
                    <a:ext uri="{FF2B5EF4-FFF2-40B4-BE49-F238E27FC236}">
                      <a16:creationId xmlns:a16="http://schemas.microsoft.com/office/drawing/2014/main" id="{70449466-1AA5-40FD-8AEC-B46B356BE0C7}"/>
                    </a:ext>
                  </a:extLst>
                </p:cNvPr>
                <p:cNvSpPr/>
                <p:nvPr/>
              </p:nvSpPr>
              <p:spPr>
                <a:xfrm>
                  <a:off x="7916018" y="4989805"/>
                  <a:ext cx="113920" cy="118872"/>
                </a:xfrm>
                <a:prstGeom prst="rect">
                  <a:avLst/>
                </a:prstGeom>
                <a:solidFill>
                  <a:schemeClr val="bg2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fontAlgn="base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>
                    <a:solidFill>
                      <a:srgbClr val="0070C0"/>
                    </a:solidFill>
                    <a:latin typeface="Oracle Sans" panose="020B0503020204020204" pitchFamily="34" charset="0"/>
                  </a:endParaRPr>
                </a:p>
              </p:txBody>
            </p:sp>
            <p:sp>
              <p:nvSpPr>
                <p:cNvPr id="103" name="Rectangle 102">
                  <a:extLst>
                    <a:ext uri="{FF2B5EF4-FFF2-40B4-BE49-F238E27FC236}">
                      <a16:creationId xmlns:a16="http://schemas.microsoft.com/office/drawing/2014/main" id="{7A5A83FD-71EC-4AFF-8F0F-D10D86029DC3}"/>
                    </a:ext>
                  </a:extLst>
                </p:cNvPr>
                <p:cNvSpPr/>
                <p:nvPr/>
              </p:nvSpPr>
              <p:spPr>
                <a:xfrm>
                  <a:off x="7916018" y="5138928"/>
                  <a:ext cx="113920" cy="118872"/>
                </a:xfrm>
                <a:prstGeom prst="rect">
                  <a:avLst/>
                </a:prstGeom>
                <a:solidFill>
                  <a:schemeClr val="accent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fontAlgn="base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>
                    <a:solidFill>
                      <a:srgbClr val="FFFFFF"/>
                    </a:solidFill>
                    <a:latin typeface="Oracle Sans" panose="020B0503020204020204" pitchFamily="34" charset="0"/>
                  </a:endParaRPr>
                </a:p>
              </p:txBody>
            </p:sp>
          </p:grpSp>
        </p:grpSp>
      </p:grpSp>
      <p:grpSp>
        <p:nvGrpSpPr>
          <p:cNvPr id="120" name="Group 186">
            <a:extLst>
              <a:ext uri="{FF2B5EF4-FFF2-40B4-BE49-F238E27FC236}">
                <a16:creationId xmlns:a16="http://schemas.microsoft.com/office/drawing/2014/main" id="{EB1A2A96-ED5A-4114-B973-53F4040F6F13}"/>
              </a:ext>
            </a:extLst>
          </p:cNvPr>
          <p:cNvGrpSpPr/>
          <p:nvPr/>
        </p:nvGrpSpPr>
        <p:grpSpPr>
          <a:xfrm>
            <a:off x="9195471" y="4619472"/>
            <a:ext cx="699394" cy="715367"/>
            <a:chOff x="7916018" y="4542433"/>
            <a:chExt cx="699394" cy="715367"/>
          </a:xfrm>
        </p:grpSpPr>
        <p:sp>
          <p:nvSpPr>
            <p:cNvPr id="121" name="Rectangle 120">
              <a:extLst>
                <a:ext uri="{FF2B5EF4-FFF2-40B4-BE49-F238E27FC236}">
                  <a16:creationId xmlns:a16="http://schemas.microsoft.com/office/drawing/2014/main" id="{165F816F-0B19-4025-B197-A335A56136E3}"/>
                </a:ext>
              </a:extLst>
            </p:cNvPr>
            <p:cNvSpPr/>
            <p:nvPr/>
          </p:nvSpPr>
          <p:spPr>
            <a:xfrm>
              <a:off x="8501492" y="4542433"/>
              <a:ext cx="113920" cy="118872"/>
            </a:xfrm>
            <a:prstGeom prst="rect">
              <a:avLst/>
            </a:prstGeom>
            <a:noFill/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>
                <a:solidFill>
                  <a:srgbClr val="FFFFFF"/>
                </a:solidFill>
                <a:latin typeface="Oracle Sans" panose="020B0503020204020204" pitchFamily="34" charset="0"/>
              </a:endParaRPr>
            </a:p>
          </p:txBody>
        </p:sp>
        <p:sp>
          <p:nvSpPr>
            <p:cNvPr id="122" name="Rectangle 121">
              <a:extLst>
                <a:ext uri="{FF2B5EF4-FFF2-40B4-BE49-F238E27FC236}">
                  <a16:creationId xmlns:a16="http://schemas.microsoft.com/office/drawing/2014/main" id="{76C1BDEF-DB02-41AF-B7A1-683E8EF80527}"/>
                </a:ext>
              </a:extLst>
            </p:cNvPr>
            <p:cNvSpPr/>
            <p:nvPr/>
          </p:nvSpPr>
          <p:spPr>
            <a:xfrm>
              <a:off x="8208754" y="4542433"/>
              <a:ext cx="113920" cy="118872"/>
            </a:xfrm>
            <a:prstGeom prst="rect">
              <a:avLst/>
            </a:prstGeom>
            <a:noFill/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>
                <a:solidFill>
                  <a:srgbClr val="FFFFFF"/>
                </a:solidFill>
                <a:latin typeface="Oracle Sans" panose="020B0503020204020204" pitchFamily="34" charset="0"/>
              </a:endParaRPr>
            </a:p>
          </p:txBody>
        </p:sp>
        <p:sp>
          <p:nvSpPr>
            <p:cNvPr id="123" name="Rectangle 122">
              <a:extLst>
                <a:ext uri="{FF2B5EF4-FFF2-40B4-BE49-F238E27FC236}">
                  <a16:creationId xmlns:a16="http://schemas.microsoft.com/office/drawing/2014/main" id="{E9DB0EF8-9C7F-4129-90CB-4EFC17697DFA}"/>
                </a:ext>
              </a:extLst>
            </p:cNvPr>
            <p:cNvSpPr/>
            <p:nvPr/>
          </p:nvSpPr>
          <p:spPr>
            <a:xfrm>
              <a:off x="7916018" y="4542433"/>
              <a:ext cx="113920" cy="118872"/>
            </a:xfrm>
            <a:prstGeom prst="rect">
              <a:avLst/>
            </a:prstGeom>
            <a:noFill/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>
                <a:solidFill>
                  <a:srgbClr val="FFFFFF"/>
                </a:solidFill>
                <a:latin typeface="Oracle Sans" panose="020B0503020204020204" pitchFamily="34" charset="0"/>
              </a:endParaRPr>
            </a:p>
          </p:txBody>
        </p:sp>
        <p:sp>
          <p:nvSpPr>
            <p:cNvPr id="124" name="Rectangle 123">
              <a:extLst>
                <a:ext uri="{FF2B5EF4-FFF2-40B4-BE49-F238E27FC236}">
                  <a16:creationId xmlns:a16="http://schemas.microsoft.com/office/drawing/2014/main" id="{D84DE0C6-AC30-4C8F-9F10-EC69B4348FCF}"/>
                </a:ext>
              </a:extLst>
            </p:cNvPr>
            <p:cNvSpPr/>
            <p:nvPr/>
          </p:nvSpPr>
          <p:spPr>
            <a:xfrm>
              <a:off x="8062386" y="4542433"/>
              <a:ext cx="113920" cy="118872"/>
            </a:xfrm>
            <a:prstGeom prst="rect">
              <a:avLst/>
            </a:prstGeom>
            <a:noFill/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>
                <a:solidFill>
                  <a:srgbClr val="FFFFFF"/>
                </a:solidFill>
                <a:latin typeface="Oracle Sans" panose="020B0503020204020204" pitchFamily="34" charset="0"/>
              </a:endParaRPr>
            </a:p>
          </p:txBody>
        </p:sp>
        <p:sp>
          <p:nvSpPr>
            <p:cNvPr id="125" name="Rectangle 124">
              <a:extLst>
                <a:ext uri="{FF2B5EF4-FFF2-40B4-BE49-F238E27FC236}">
                  <a16:creationId xmlns:a16="http://schemas.microsoft.com/office/drawing/2014/main" id="{C134C1CC-0AD2-4C81-A331-35DD4D0823A3}"/>
                </a:ext>
              </a:extLst>
            </p:cNvPr>
            <p:cNvSpPr/>
            <p:nvPr/>
          </p:nvSpPr>
          <p:spPr>
            <a:xfrm>
              <a:off x="8355122" y="4542433"/>
              <a:ext cx="113920" cy="118872"/>
            </a:xfrm>
            <a:prstGeom prst="rect">
              <a:avLst/>
            </a:prstGeom>
            <a:noFill/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>
                <a:solidFill>
                  <a:srgbClr val="FFFFFF"/>
                </a:solidFill>
                <a:latin typeface="Oracle Sans" panose="020B0503020204020204" pitchFamily="34" charset="0"/>
              </a:endParaRPr>
            </a:p>
          </p:txBody>
        </p:sp>
        <p:grpSp>
          <p:nvGrpSpPr>
            <p:cNvPr id="126" name="Group 192">
              <a:extLst>
                <a:ext uri="{FF2B5EF4-FFF2-40B4-BE49-F238E27FC236}">
                  <a16:creationId xmlns:a16="http://schemas.microsoft.com/office/drawing/2014/main" id="{F6E0F787-91FD-4EED-A00B-2E70E0A14E09}"/>
                </a:ext>
              </a:extLst>
            </p:cNvPr>
            <p:cNvGrpSpPr/>
            <p:nvPr/>
          </p:nvGrpSpPr>
          <p:grpSpPr>
            <a:xfrm>
              <a:off x="7916018" y="4840681"/>
              <a:ext cx="113920" cy="417119"/>
              <a:chOff x="7916018" y="4840681"/>
              <a:chExt cx="113920" cy="417119"/>
            </a:xfrm>
          </p:grpSpPr>
          <p:sp>
            <p:nvSpPr>
              <p:cNvPr id="145" name="Rectangle 144">
                <a:extLst>
                  <a:ext uri="{FF2B5EF4-FFF2-40B4-BE49-F238E27FC236}">
                    <a16:creationId xmlns:a16="http://schemas.microsoft.com/office/drawing/2014/main" id="{9D84BE9D-62EA-4AA1-97F4-F71CF6FB9C52}"/>
                  </a:ext>
                </a:extLst>
              </p:cNvPr>
              <p:cNvSpPr/>
              <p:nvPr/>
            </p:nvSpPr>
            <p:spPr>
              <a:xfrm>
                <a:off x="7916018" y="4840681"/>
                <a:ext cx="113920" cy="118872"/>
              </a:xfrm>
              <a:prstGeom prst="rect">
                <a:avLst/>
              </a:prstGeom>
              <a:noFill/>
              <a:ln w="127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>
                  <a:solidFill>
                    <a:srgbClr val="FFFFFF"/>
                  </a:solidFill>
                  <a:latin typeface="Oracle Sans" panose="020B0503020204020204" pitchFamily="34" charset="0"/>
                </a:endParaRPr>
              </a:p>
            </p:txBody>
          </p:sp>
          <p:sp>
            <p:nvSpPr>
              <p:cNvPr id="146" name="Rectangle 145">
                <a:extLst>
                  <a:ext uri="{FF2B5EF4-FFF2-40B4-BE49-F238E27FC236}">
                    <a16:creationId xmlns:a16="http://schemas.microsoft.com/office/drawing/2014/main" id="{87B12F0E-F829-48AB-867B-CEBF81DAE843}"/>
                  </a:ext>
                </a:extLst>
              </p:cNvPr>
              <p:cNvSpPr/>
              <p:nvPr/>
            </p:nvSpPr>
            <p:spPr>
              <a:xfrm>
                <a:off x="7916018" y="4989805"/>
                <a:ext cx="113920" cy="118872"/>
              </a:xfrm>
              <a:prstGeom prst="rect">
                <a:avLst/>
              </a:prstGeom>
              <a:noFill/>
              <a:ln w="127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>
                  <a:solidFill>
                    <a:srgbClr val="0070C0"/>
                  </a:solidFill>
                  <a:latin typeface="Oracle Sans" panose="020B0503020204020204" pitchFamily="34" charset="0"/>
                </a:endParaRPr>
              </a:p>
            </p:txBody>
          </p:sp>
          <p:sp>
            <p:nvSpPr>
              <p:cNvPr id="147" name="Rectangle 146">
                <a:extLst>
                  <a:ext uri="{FF2B5EF4-FFF2-40B4-BE49-F238E27FC236}">
                    <a16:creationId xmlns:a16="http://schemas.microsoft.com/office/drawing/2014/main" id="{98D3D3DE-78DF-4E85-8D7D-06146B337027}"/>
                  </a:ext>
                </a:extLst>
              </p:cNvPr>
              <p:cNvSpPr/>
              <p:nvPr/>
            </p:nvSpPr>
            <p:spPr>
              <a:xfrm>
                <a:off x="7916018" y="5138928"/>
                <a:ext cx="113920" cy="118872"/>
              </a:xfrm>
              <a:prstGeom prst="rect">
                <a:avLst/>
              </a:prstGeom>
              <a:noFill/>
              <a:ln w="127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>
                  <a:solidFill>
                    <a:srgbClr val="FFFFFF"/>
                  </a:solidFill>
                  <a:latin typeface="Oracle Sans" panose="020B0503020204020204" pitchFamily="34" charset="0"/>
                </a:endParaRPr>
              </a:p>
            </p:txBody>
          </p:sp>
        </p:grpSp>
        <p:grpSp>
          <p:nvGrpSpPr>
            <p:cNvPr id="127" name="Group 193">
              <a:extLst>
                <a:ext uri="{FF2B5EF4-FFF2-40B4-BE49-F238E27FC236}">
                  <a16:creationId xmlns:a16="http://schemas.microsoft.com/office/drawing/2014/main" id="{D68523FB-DCF0-4B1E-87ED-518059FF450E}"/>
                </a:ext>
              </a:extLst>
            </p:cNvPr>
            <p:cNvGrpSpPr/>
            <p:nvPr/>
          </p:nvGrpSpPr>
          <p:grpSpPr>
            <a:xfrm>
              <a:off x="8062386" y="4691557"/>
              <a:ext cx="113920" cy="566243"/>
              <a:chOff x="7916018" y="4691557"/>
              <a:chExt cx="113920" cy="566243"/>
            </a:xfrm>
          </p:grpSpPr>
          <p:sp>
            <p:nvSpPr>
              <p:cNvPr id="141" name="Rectangle 140">
                <a:extLst>
                  <a:ext uri="{FF2B5EF4-FFF2-40B4-BE49-F238E27FC236}">
                    <a16:creationId xmlns:a16="http://schemas.microsoft.com/office/drawing/2014/main" id="{4DA95AF9-05A2-478A-B370-3B68D42030BD}"/>
                  </a:ext>
                </a:extLst>
              </p:cNvPr>
              <p:cNvSpPr/>
              <p:nvPr/>
            </p:nvSpPr>
            <p:spPr>
              <a:xfrm>
                <a:off x="7916018" y="4691557"/>
                <a:ext cx="113920" cy="118872"/>
              </a:xfrm>
              <a:prstGeom prst="rect">
                <a:avLst/>
              </a:prstGeom>
              <a:noFill/>
              <a:ln w="127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>
                  <a:solidFill>
                    <a:srgbClr val="FFFFFF"/>
                  </a:solidFill>
                  <a:latin typeface="Oracle Sans" panose="020B0503020204020204" pitchFamily="34" charset="0"/>
                </a:endParaRPr>
              </a:p>
            </p:txBody>
          </p:sp>
          <p:sp>
            <p:nvSpPr>
              <p:cNvPr id="142" name="Rectangle 141">
                <a:extLst>
                  <a:ext uri="{FF2B5EF4-FFF2-40B4-BE49-F238E27FC236}">
                    <a16:creationId xmlns:a16="http://schemas.microsoft.com/office/drawing/2014/main" id="{43C67D8C-AEB1-487A-83D8-C9473B729016}"/>
                  </a:ext>
                </a:extLst>
              </p:cNvPr>
              <p:cNvSpPr/>
              <p:nvPr/>
            </p:nvSpPr>
            <p:spPr>
              <a:xfrm>
                <a:off x="7916018" y="4840681"/>
                <a:ext cx="113920" cy="118872"/>
              </a:xfrm>
              <a:prstGeom prst="rect">
                <a:avLst/>
              </a:prstGeom>
              <a:noFill/>
              <a:ln w="127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>
                  <a:solidFill>
                    <a:srgbClr val="FFFFFF"/>
                  </a:solidFill>
                  <a:latin typeface="Oracle Sans" panose="020B0503020204020204" pitchFamily="34" charset="0"/>
                </a:endParaRPr>
              </a:p>
            </p:txBody>
          </p:sp>
          <p:sp>
            <p:nvSpPr>
              <p:cNvPr id="143" name="Rectangle 142">
                <a:extLst>
                  <a:ext uri="{FF2B5EF4-FFF2-40B4-BE49-F238E27FC236}">
                    <a16:creationId xmlns:a16="http://schemas.microsoft.com/office/drawing/2014/main" id="{2AC9A265-B142-4A6A-9F25-2A08A9C35AE8}"/>
                  </a:ext>
                </a:extLst>
              </p:cNvPr>
              <p:cNvSpPr/>
              <p:nvPr/>
            </p:nvSpPr>
            <p:spPr>
              <a:xfrm>
                <a:off x="7916018" y="4989805"/>
                <a:ext cx="113920" cy="118872"/>
              </a:xfrm>
              <a:prstGeom prst="rect">
                <a:avLst/>
              </a:prstGeom>
              <a:noFill/>
              <a:ln w="127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>
                  <a:solidFill>
                    <a:srgbClr val="0070C0"/>
                  </a:solidFill>
                  <a:latin typeface="Oracle Sans" panose="020B0503020204020204" pitchFamily="34" charset="0"/>
                </a:endParaRPr>
              </a:p>
            </p:txBody>
          </p:sp>
          <p:sp>
            <p:nvSpPr>
              <p:cNvPr id="144" name="Rectangle 143">
                <a:extLst>
                  <a:ext uri="{FF2B5EF4-FFF2-40B4-BE49-F238E27FC236}">
                    <a16:creationId xmlns:a16="http://schemas.microsoft.com/office/drawing/2014/main" id="{D0F2AD6C-3373-47F1-B81E-C88954CFA113}"/>
                  </a:ext>
                </a:extLst>
              </p:cNvPr>
              <p:cNvSpPr/>
              <p:nvPr/>
            </p:nvSpPr>
            <p:spPr>
              <a:xfrm>
                <a:off x="7916018" y="5138928"/>
                <a:ext cx="113920" cy="118872"/>
              </a:xfrm>
              <a:prstGeom prst="rect">
                <a:avLst/>
              </a:prstGeom>
              <a:noFill/>
              <a:ln w="127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>
                  <a:solidFill>
                    <a:srgbClr val="FFFFFF"/>
                  </a:solidFill>
                  <a:latin typeface="Oracle Sans" panose="020B0503020204020204" pitchFamily="34" charset="0"/>
                </a:endParaRPr>
              </a:p>
            </p:txBody>
          </p:sp>
        </p:grpSp>
        <p:grpSp>
          <p:nvGrpSpPr>
            <p:cNvPr id="128" name="Group 194">
              <a:extLst>
                <a:ext uri="{FF2B5EF4-FFF2-40B4-BE49-F238E27FC236}">
                  <a16:creationId xmlns:a16="http://schemas.microsoft.com/office/drawing/2014/main" id="{9A757110-2F24-4DE1-BB42-FB0ACB83DE9B}"/>
                </a:ext>
              </a:extLst>
            </p:cNvPr>
            <p:cNvGrpSpPr/>
            <p:nvPr/>
          </p:nvGrpSpPr>
          <p:grpSpPr>
            <a:xfrm>
              <a:off x="8208754" y="4691557"/>
              <a:ext cx="113920" cy="566243"/>
              <a:chOff x="7916018" y="4691557"/>
              <a:chExt cx="113920" cy="566243"/>
            </a:xfrm>
          </p:grpSpPr>
          <p:sp>
            <p:nvSpPr>
              <p:cNvPr id="137" name="Rectangle 136">
                <a:extLst>
                  <a:ext uri="{FF2B5EF4-FFF2-40B4-BE49-F238E27FC236}">
                    <a16:creationId xmlns:a16="http://schemas.microsoft.com/office/drawing/2014/main" id="{233A0DFC-F8FC-403A-9C8A-2D9AD492E8EC}"/>
                  </a:ext>
                </a:extLst>
              </p:cNvPr>
              <p:cNvSpPr/>
              <p:nvPr/>
            </p:nvSpPr>
            <p:spPr>
              <a:xfrm>
                <a:off x="7916018" y="4691557"/>
                <a:ext cx="113920" cy="118872"/>
              </a:xfrm>
              <a:prstGeom prst="rect">
                <a:avLst/>
              </a:prstGeom>
              <a:noFill/>
              <a:ln w="127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>
                  <a:solidFill>
                    <a:srgbClr val="FFFFFF"/>
                  </a:solidFill>
                  <a:latin typeface="Oracle Sans" panose="020B0503020204020204" pitchFamily="34" charset="0"/>
                </a:endParaRPr>
              </a:p>
            </p:txBody>
          </p:sp>
          <p:sp>
            <p:nvSpPr>
              <p:cNvPr id="138" name="Rectangle 137">
                <a:extLst>
                  <a:ext uri="{FF2B5EF4-FFF2-40B4-BE49-F238E27FC236}">
                    <a16:creationId xmlns:a16="http://schemas.microsoft.com/office/drawing/2014/main" id="{5A9CD7C0-9F9C-4BF3-A005-3B5AEF1F46A2}"/>
                  </a:ext>
                </a:extLst>
              </p:cNvPr>
              <p:cNvSpPr/>
              <p:nvPr/>
            </p:nvSpPr>
            <p:spPr>
              <a:xfrm>
                <a:off x="7916018" y="4840681"/>
                <a:ext cx="113920" cy="118872"/>
              </a:xfrm>
              <a:prstGeom prst="rect">
                <a:avLst/>
              </a:prstGeom>
              <a:noFill/>
              <a:ln w="127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>
                  <a:solidFill>
                    <a:srgbClr val="FFFFFF"/>
                  </a:solidFill>
                  <a:latin typeface="Oracle Sans" panose="020B0503020204020204" pitchFamily="34" charset="0"/>
                </a:endParaRPr>
              </a:p>
            </p:txBody>
          </p:sp>
          <p:sp>
            <p:nvSpPr>
              <p:cNvPr id="139" name="Rectangle 138">
                <a:extLst>
                  <a:ext uri="{FF2B5EF4-FFF2-40B4-BE49-F238E27FC236}">
                    <a16:creationId xmlns:a16="http://schemas.microsoft.com/office/drawing/2014/main" id="{F1DE5DD5-3BD6-46A1-8087-1CCD8482F42D}"/>
                  </a:ext>
                </a:extLst>
              </p:cNvPr>
              <p:cNvSpPr/>
              <p:nvPr/>
            </p:nvSpPr>
            <p:spPr>
              <a:xfrm>
                <a:off x="7916018" y="4989805"/>
                <a:ext cx="113920" cy="118872"/>
              </a:xfrm>
              <a:prstGeom prst="rect">
                <a:avLst/>
              </a:prstGeom>
              <a:noFill/>
              <a:ln w="127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>
                  <a:solidFill>
                    <a:srgbClr val="0070C0"/>
                  </a:solidFill>
                  <a:latin typeface="Oracle Sans" panose="020B0503020204020204" pitchFamily="34" charset="0"/>
                </a:endParaRPr>
              </a:p>
            </p:txBody>
          </p:sp>
          <p:sp>
            <p:nvSpPr>
              <p:cNvPr id="140" name="Rectangle 139">
                <a:extLst>
                  <a:ext uri="{FF2B5EF4-FFF2-40B4-BE49-F238E27FC236}">
                    <a16:creationId xmlns:a16="http://schemas.microsoft.com/office/drawing/2014/main" id="{D8F6FF86-6E4E-44B5-8B51-D8B5950DBB10}"/>
                  </a:ext>
                </a:extLst>
              </p:cNvPr>
              <p:cNvSpPr/>
              <p:nvPr/>
            </p:nvSpPr>
            <p:spPr>
              <a:xfrm>
                <a:off x="7916018" y="5138928"/>
                <a:ext cx="113920" cy="118872"/>
              </a:xfrm>
              <a:prstGeom prst="rect">
                <a:avLst/>
              </a:prstGeom>
              <a:noFill/>
              <a:ln w="127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>
                  <a:solidFill>
                    <a:srgbClr val="FFFFFF"/>
                  </a:solidFill>
                  <a:latin typeface="Oracle Sans" panose="020B0503020204020204" pitchFamily="34" charset="0"/>
                </a:endParaRPr>
              </a:p>
            </p:txBody>
          </p:sp>
        </p:grpSp>
        <p:grpSp>
          <p:nvGrpSpPr>
            <p:cNvPr id="129" name="Group 195">
              <a:extLst>
                <a:ext uri="{FF2B5EF4-FFF2-40B4-BE49-F238E27FC236}">
                  <a16:creationId xmlns:a16="http://schemas.microsoft.com/office/drawing/2014/main" id="{D095E022-03D0-46B5-8FE7-CB717CDE47ED}"/>
                </a:ext>
              </a:extLst>
            </p:cNvPr>
            <p:cNvGrpSpPr/>
            <p:nvPr/>
          </p:nvGrpSpPr>
          <p:grpSpPr>
            <a:xfrm>
              <a:off x="8355122" y="4691557"/>
              <a:ext cx="113920" cy="566243"/>
              <a:chOff x="7916018" y="4691557"/>
              <a:chExt cx="113920" cy="566243"/>
            </a:xfrm>
          </p:grpSpPr>
          <p:sp>
            <p:nvSpPr>
              <p:cNvPr id="134" name="Rectangle 133">
                <a:extLst>
                  <a:ext uri="{FF2B5EF4-FFF2-40B4-BE49-F238E27FC236}">
                    <a16:creationId xmlns:a16="http://schemas.microsoft.com/office/drawing/2014/main" id="{504A224B-9490-4AF5-B53F-2C760E88DC1D}"/>
                  </a:ext>
                </a:extLst>
              </p:cNvPr>
              <p:cNvSpPr/>
              <p:nvPr/>
            </p:nvSpPr>
            <p:spPr>
              <a:xfrm>
                <a:off x="7916018" y="4691557"/>
                <a:ext cx="113920" cy="118872"/>
              </a:xfrm>
              <a:prstGeom prst="rect">
                <a:avLst/>
              </a:prstGeom>
              <a:noFill/>
              <a:ln w="127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>
                  <a:solidFill>
                    <a:srgbClr val="FFFFFF"/>
                  </a:solidFill>
                  <a:latin typeface="Oracle Sans" panose="020B0503020204020204" pitchFamily="34" charset="0"/>
                </a:endParaRPr>
              </a:p>
            </p:txBody>
          </p:sp>
          <p:sp>
            <p:nvSpPr>
              <p:cNvPr id="135" name="Rectangle 134">
                <a:extLst>
                  <a:ext uri="{FF2B5EF4-FFF2-40B4-BE49-F238E27FC236}">
                    <a16:creationId xmlns:a16="http://schemas.microsoft.com/office/drawing/2014/main" id="{33105749-0A95-4B9A-8096-D12343C7D47C}"/>
                  </a:ext>
                </a:extLst>
              </p:cNvPr>
              <p:cNvSpPr/>
              <p:nvPr/>
            </p:nvSpPr>
            <p:spPr>
              <a:xfrm>
                <a:off x="7916018" y="4840681"/>
                <a:ext cx="113920" cy="118872"/>
              </a:xfrm>
              <a:prstGeom prst="rect">
                <a:avLst/>
              </a:prstGeom>
              <a:noFill/>
              <a:ln w="127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>
                  <a:solidFill>
                    <a:srgbClr val="FFFFFF"/>
                  </a:solidFill>
                  <a:latin typeface="Oracle Sans" panose="020B0503020204020204" pitchFamily="34" charset="0"/>
                </a:endParaRPr>
              </a:p>
            </p:txBody>
          </p:sp>
          <p:sp>
            <p:nvSpPr>
              <p:cNvPr id="136" name="Rectangle 135">
                <a:extLst>
                  <a:ext uri="{FF2B5EF4-FFF2-40B4-BE49-F238E27FC236}">
                    <a16:creationId xmlns:a16="http://schemas.microsoft.com/office/drawing/2014/main" id="{041AA141-0A18-43B6-AE77-11C47A6B3201}"/>
                  </a:ext>
                </a:extLst>
              </p:cNvPr>
              <p:cNvSpPr/>
              <p:nvPr/>
            </p:nvSpPr>
            <p:spPr>
              <a:xfrm>
                <a:off x="7916018" y="5138928"/>
                <a:ext cx="113920" cy="118872"/>
              </a:xfrm>
              <a:prstGeom prst="rect">
                <a:avLst/>
              </a:prstGeom>
              <a:noFill/>
              <a:ln w="127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>
                  <a:solidFill>
                    <a:srgbClr val="FFFFFF"/>
                  </a:solidFill>
                  <a:latin typeface="Oracle Sans" panose="020B0503020204020204" pitchFamily="34" charset="0"/>
                </a:endParaRPr>
              </a:p>
            </p:txBody>
          </p:sp>
        </p:grpSp>
        <p:grpSp>
          <p:nvGrpSpPr>
            <p:cNvPr id="130" name="Group 196">
              <a:extLst>
                <a:ext uri="{FF2B5EF4-FFF2-40B4-BE49-F238E27FC236}">
                  <a16:creationId xmlns:a16="http://schemas.microsoft.com/office/drawing/2014/main" id="{6F853496-C20E-459E-AD0A-82203861159F}"/>
                </a:ext>
              </a:extLst>
            </p:cNvPr>
            <p:cNvGrpSpPr/>
            <p:nvPr/>
          </p:nvGrpSpPr>
          <p:grpSpPr>
            <a:xfrm>
              <a:off x="8501492" y="4691557"/>
              <a:ext cx="113920" cy="566243"/>
              <a:chOff x="7916018" y="4691557"/>
              <a:chExt cx="113920" cy="566243"/>
            </a:xfrm>
          </p:grpSpPr>
          <p:sp>
            <p:nvSpPr>
              <p:cNvPr id="131" name="Rectangle 130">
                <a:extLst>
                  <a:ext uri="{FF2B5EF4-FFF2-40B4-BE49-F238E27FC236}">
                    <a16:creationId xmlns:a16="http://schemas.microsoft.com/office/drawing/2014/main" id="{0F9F5E7B-CA77-4271-BB6F-973DC583D92F}"/>
                  </a:ext>
                </a:extLst>
              </p:cNvPr>
              <p:cNvSpPr/>
              <p:nvPr/>
            </p:nvSpPr>
            <p:spPr>
              <a:xfrm>
                <a:off x="7916018" y="4691557"/>
                <a:ext cx="113920" cy="118872"/>
              </a:xfrm>
              <a:prstGeom prst="rect">
                <a:avLst/>
              </a:prstGeom>
              <a:noFill/>
              <a:ln w="127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>
                  <a:solidFill>
                    <a:srgbClr val="FFFFFF"/>
                  </a:solidFill>
                  <a:latin typeface="Oracle Sans" panose="020B0503020204020204" pitchFamily="34" charset="0"/>
                </a:endParaRPr>
              </a:p>
            </p:txBody>
          </p:sp>
          <p:sp>
            <p:nvSpPr>
              <p:cNvPr id="132" name="Rectangle 131">
                <a:extLst>
                  <a:ext uri="{FF2B5EF4-FFF2-40B4-BE49-F238E27FC236}">
                    <a16:creationId xmlns:a16="http://schemas.microsoft.com/office/drawing/2014/main" id="{FED12062-260A-4611-A9C4-9B470AFB8AAF}"/>
                  </a:ext>
                </a:extLst>
              </p:cNvPr>
              <p:cNvSpPr/>
              <p:nvPr/>
            </p:nvSpPr>
            <p:spPr>
              <a:xfrm>
                <a:off x="7916018" y="4989805"/>
                <a:ext cx="113920" cy="118872"/>
              </a:xfrm>
              <a:prstGeom prst="rect">
                <a:avLst/>
              </a:prstGeom>
              <a:noFill/>
              <a:ln w="127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>
                  <a:solidFill>
                    <a:srgbClr val="0070C0"/>
                  </a:solidFill>
                  <a:latin typeface="Oracle Sans" panose="020B0503020204020204" pitchFamily="34" charset="0"/>
                </a:endParaRPr>
              </a:p>
            </p:txBody>
          </p:sp>
          <p:sp>
            <p:nvSpPr>
              <p:cNvPr id="133" name="Rectangle 132">
                <a:extLst>
                  <a:ext uri="{FF2B5EF4-FFF2-40B4-BE49-F238E27FC236}">
                    <a16:creationId xmlns:a16="http://schemas.microsoft.com/office/drawing/2014/main" id="{8E41511B-9BEB-4EC3-AC84-FE005243A464}"/>
                  </a:ext>
                </a:extLst>
              </p:cNvPr>
              <p:cNvSpPr/>
              <p:nvPr/>
            </p:nvSpPr>
            <p:spPr>
              <a:xfrm>
                <a:off x="7916018" y="5138928"/>
                <a:ext cx="113920" cy="118872"/>
              </a:xfrm>
              <a:prstGeom prst="rect">
                <a:avLst/>
              </a:prstGeom>
              <a:noFill/>
              <a:ln w="127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>
                  <a:solidFill>
                    <a:srgbClr val="FFFFFF"/>
                  </a:solidFill>
                  <a:latin typeface="Oracle Sans" panose="020B0503020204020204" pitchFamily="34" charset="0"/>
                </a:endParaRPr>
              </a:p>
            </p:txBody>
          </p:sp>
        </p:grpSp>
      </p:grpSp>
      <p:grpSp>
        <p:nvGrpSpPr>
          <p:cNvPr id="148" name="Group 219">
            <a:extLst>
              <a:ext uri="{FF2B5EF4-FFF2-40B4-BE49-F238E27FC236}">
                <a16:creationId xmlns:a16="http://schemas.microsoft.com/office/drawing/2014/main" id="{FD51FF2A-DA94-43D5-8FE9-168FE769CE87}"/>
              </a:ext>
            </a:extLst>
          </p:cNvPr>
          <p:cNvGrpSpPr/>
          <p:nvPr/>
        </p:nvGrpSpPr>
        <p:grpSpPr>
          <a:xfrm>
            <a:off x="10318948" y="4619472"/>
            <a:ext cx="699394" cy="715367"/>
            <a:chOff x="7916018" y="4542433"/>
            <a:chExt cx="699394" cy="715367"/>
          </a:xfrm>
        </p:grpSpPr>
        <p:sp>
          <p:nvSpPr>
            <p:cNvPr id="149" name="Rectangle 148">
              <a:extLst>
                <a:ext uri="{FF2B5EF4-FFF2-40B4-BE49-F238E27FC236}">
                  <a16:creationId xmlns:a16="http://schemas.microsoft.com/office/drawing/2014/main" id="{B29EDBC0-DCF1-454F-B17F-6DCC30F34A03}"/>
                </a:ext>
              </a:extLst>
            </p:cNvPr>
            <p:cNvSpPr/>
            <p:nvPr/>
          </p:nvSpPr>
          <p:spPr>
            <a:xfrm>
              <a:off x="8501492" y="4542433"/>
              <a:ext cx="113920" cy="118872"/>
            </a:xfrm>
            <a:prstGeom prst="rect">
              <a:avLst/>
            </a:prstGeom>
            <a:noFill/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>
                <a:solidFill>
                  <a:srgbClr val="FFFFFF"/>
                </a:solidFill>
                <a:latin typeface="Oracle Sans" panose="020B0503020204020204" pitchFamily="34" charset="0"/>
              </a:endParaRPr>
            </a:p>
          </p:txBody>
        </p:sp>
        <p:sp>
          <p:nvSpPr>
            <p:cNvPr id="150" name="Rectangle 149">
              <a:extLst>
                <a:ext uri="{FF2B5EF4-FFF2-40B4-BE49-F238E27FC236}">
                  <a16:creationId xmlns:a16="http://schemas.microsoft.com/office/drawing/2014/main" id="{97746DF8-A1B5-4D79-A3B0-1A343C5F02DB}"/>
                </a:ext>
              </a:extLst>
            </p:cNvPr>
            <p:cNvSpPr/>
            <p:nvPr/>
          </p:nvSpPr>
          <p:spPr>
            <a:xfrm>
              <a:off x="8208754" y="4542433"/>
              <a:ext cx="113920" cy="118872"/>
            </a:xfrm>
            <a:prstGeom prst="rect">
              <a:avLst/>
            </a:prstGeom>
            <a:noFill/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>
                <a:solidFill>
                  <a:srgbClr val="FFFFFF"/>
                </a:solidFill>
                <a:latin typeface="Oracle Sans" panose="020B0503020204020204" pitchFamily="34" charset="0"/>
              </a:endParaRPr>
            </a:p>
          </p:txBody>
        </p:sp>
        <p:sp>
          <p:nvSpPr>
            <p:cNvPr id="151" name="Rectangle 150">
              <a:extLst>
                <a:ext uri="{FF2B5EF4-FFF2-40B4-BE49-F238E27FC236}">
                  <a16:creationId xmlns:a16="http://schemas.microsoft.com/office/drawing/2014/main" id="{C7423130-FA0C-4FF1-9BB4-C4202FBBAECD}"/>
                </a:ext>
              </a:extLst>
            </p:cNvPr>
            <p:cNvSpPr/>
            <p:nvPr/>
          </p:nvSpPr>
          <p:spPr>
            <a:xfrm>
              <a:off x="7916018" y="4542433"/>
              <a:ext cx="113920" cy="118872"/>
            </a:xfrm>
            <a:prstGeom prst="rect">
              <a:avLst/>
            </a:prstGeom>
            <a:noFill/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>
                <a:solidFill>
                  <a:srgbClr val="FFFFFF"/>
                </a:solidFill>
                <a:latin typeface="Oracle Sans" panose="020B0503020204020204" pitchFamily="34" charset="0"/>
              </a:endParaRPr>
            </a:p>
          </p:txBody>
        </p:sp>
        <p:sp>
          <p:nvSpPr>
            <p:cNvPr id="152" name="Rectangle 151">
              <a:extLst>
                <a:ext uri="{FF2B5EF4-FFF2-40B4-BE49-F238E27FC236}">
                  <a16:creationId xmlns:a16="http://schemas.microsoft.com/office/drawing/2014/main" id="{9AF119B6-E602-4708-A7AD-DD04BFD66347}"/>
                </a:ext>
              </a:extLst>
            </p:cNvPr>
            <p:cNvSpPr/>
            <p:nvPr/>
          </p:nvSpPr>
          <p:spPr>
            <a:xfrm>
              <a:off x="8062386" y="4542433"/>
              <a:ext cx="113920" cy="118872"/>
            </a:xfrm>
            <a:prstGeom prst="rect">
              <a:avLst/>
            </a:prstGeom>
            <a:noFill/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>
                <a:solidFill>
                  <a:srgbClr val="FFFFFF"/>
                </a:solidFill>
                <a:latin typeface="Oracle Sans" panose="020B0503020204020204" pitchFamily="34" charset="0"/>
              </a:endParaRPr>
            </a:p>
          </p:txBody>
        </p:sp>
        <p:sp>
          <p:nvSpPr>
            <p:cNvPr id="153" name="Rectangle 152">
              <a:extLst>
                <a:ext uri="{FF2B5EF4-FFF2-40B4-BE49-F238E27FC236}">
                  <a16:creationId xmlns:a16="http://schemas.microsoft.com/office/drawing/2014/main" id="{425B5914-0A7D-4745-ADD8-9F5C34A57309}"/>
                </a:ext>
              </a:extLst>
            </p:cNvPr>
            <p:cNvSpPr/>
            <p:nvPr/>
          </p:nvSpPr>
          <p:spPr>
            <a:xfrm>
              <a:off x="8355122" y="4542433"/>
              <a:ext cx="113920" cy="118872"/>
            </a:xfrm>
            <a:prstGeom prst="rect">
              <a:avLst/>
            </a:prstGeom>
            <a:noFill/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>
                <a:solidFill>
                  <a:srgbClr val="FFFFFF"/>
                </a:solidFill>
                <a:latin typeface="Oracle Sans" panose="020B0503020204020204" pitchFamily="34" charset="0"/>
              </a:endParaRPr>
            </a:p>
          </p:txBody>
        </p:sp>
        <p:grpSp>
          <p:nvGrpSpPr>
            <p:cNvPr id="154" name="Group 225">
              <a:extLst>
                <a:ext uri="{FF2B5EF4-FFF2-40B4-BE49-F238E27FC236}">
                  <a16:creationId xmlns:a16="http://schemas.microsoft.com/office/drawing/2014/main" id="{9BA1CA96-DA15-415A-966C-50BDA8C31A6B}"/>
                </a:ext>
              </a:extLst>
            </p:cNvPr>
            <p:cNvGrpSpPr/>
            <p:nvPr/>
          </p:nvGrpSpPr>
          <p:grpSpPr>
            <a:xfrm>
              <a:off x="7916018" y="4691557"/>
              <a:ext cx="113920" cy="566243"/>
              <a:chOff x="7916018" y="4691557"/>
              <a:chExt cx="113920" cy="566243"/>
            </a:xfrm>
          </p:grpSpPr>
          <p:sp>
            <p:nvSpPr>
              <p:cNvPr id="171" name="Rectangle 170">
                <a:extLst>
                  <a:ext uri="{FF2B5EF4-FFF2-40B4-BE49-F238E27FC236}">
                    <a16:creationId xmlns:a16="http://schemas.microsoft.com/office/drawing/2014/main" id="{940CBD14-44F0-418A-9710-132B3539452B}"/>
                  </a:ext>
                </a:extLst>
              </p:cNvPr>
              <p:cNvSpPr/>
              <p:nvPr/>
            </p:nvSpPr>
            <p:spPr>
              <a:xfrm>
                <a:off x="7916018" y="4691557"/>
                <a:ext cx="113920" cy="118872"/>
              </a:xfrm>
              <a:prstGeom prst="rect">
                <a:avLst/>
              </a:prstGeom>
              <a:noFill/>
              <a:ln w="127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>
                  <a:solidFill>
                    <a:srgbClr val="FFFFFF"/>
                  </a:solidFill>
                  <a:latin typeface="Oracle Sans" panose="020B0503020204020204" pitchFamily="34" charset="0"/>
                </a:endParaRPr>
              </a:p>
            </p:txBody>
          </p:sp>
          <p:sp>
            <p:nvSpPr>
              <p:cNvPr id="172" name="Rectangle 171">
                <a:extLst>
                  <a:ext uri="{FF2B5EF4-FFF2-40B4-BE49-F238E27FC236}">
                    <a16:creationId xmlns:a16="http://schemas.microsoft.com/office/drawing/2014/main" id="{AFE80F62-0CA5-4EF0-A412-0B76F25F30F1}"/>
                  </a:ext>
                </a:extLst>
              </p:cNvPr>
              <p:cNvSpPr/>
              <p:nvPr/>
            </p:nvSpPr>
            <p:spPr>
              <a:xfrm>
                <a:off x="7916018" y="4840681"/>
                <a:ext cx="113920" cy="118872"/>
              </a:xfrm>
              <a:prstGeom prst="rect">
                <a:avLst/>
              </a:prstGeom>
              <a:noFill/>
              <a:ln w="127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>
                  <a:solidFill>
                    <a:srgbClr val="FFFFFF"/>
                  </a:solidFill>
                  <a:latin typeface="Oracle Sans" panose="020B0503020204020204" pitchFamily="34" charset="0"/>
                </a:endParaRPr>
              </a:p>
            </p:txBody>
          </p:sp>
          <p:sp>
            <p:nvSpPr>
              <p:cNvPr id="173" name="Rectangle 172">
                <a:extLst>
                  <a:ext uri="{FF2B5EF4-FFF2-40B4-BE49-F238E27FC236}">
                    <a16:creationId xmlns:a16="http://schemas.microsoft.com/office/drawing/2014/main" id="{CBBD6CBE-FDC1-4380-B32D-97215072AC17}"/>
                  </a:ext>
                </a:extLst>
              </p:cNvPr>
              <p:cNvSpPr/>
              <p:nvPr/>
            </p:nvSpPr>
            <p:spPr>
              <a:xfrm>
                <a:off x="7916018" y="4989805"/>
                <a:ext cx="113920" cy="118872"/>
              </a:xfrm>
              <a:prstGeom prst="rect">
                <a:avLst/>
              </a:prstGeom>
              <a:noFill/>
              <a:ln w="127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>
                  <a:solidFill>
                    <a:srgbClr val="0070C0"/>
                  </a:solidFill>
                  <a:latin typeface="Oracle Sans" panose="020B0503020204020204" pitchFamily="34" charset="0"/>
                </a:endParaRPr>
              </a:p>
            </p:txBody>
          </p:sp>
          <p:sp>
            <p:nvSpPr>
              <p:cNvPr id="174" name="Rectangle 173">
                <a:extLst>
                  <a:ext uri="{FF2B5EF4-FFF2-40B4-BE49-F238E27FC236}">
                    <a16:creationId xmlns:a16="http://schemas.microsoft.com/office/drawing/2014/main" id="{A564DCF5-0CF4-4BC8-9BBF-6C5E27FA7D75}"/>
                  </a:ext>
                </a:extLst>
              </p:cNvPr>
              <p:cNvSpPr/>
              <p:nvPr/>
            </p:nvSpPr>
            <p:spPr>
              <a:xfrm>
                <a:off x="7916018" y="5138928"/>
                <a:ext cx="113920" cy="118872"/>
              </a:xfrm>
              <a:prstGeom prst="rect">
                <a:avLst/>
              </a:prstGeom>
              <a:noFill/>
              <a:ln w="127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>
                  <a:solidFill>
                    <a:srgbClr val="FFFFFF"/>
                  </a:solidFill>
                  <a:latin typeface="Oracle Sans" panose="020B0503020204020204" pitchFamily="34" charset="0"/>
                </a:endParaRPr>
              </a:p>
            </p:txBody>
          </p:sp>
        </p:grpSp>
        <p:grpSp>
          <p:nvGrpSpPr>
            <p:cNvPr id="155" name="Group 226">
              <a:extLst>
                <a:ext uri="{FF2B5EF4-FFF2-40B4-BE49-F238E27FC236}">
                  <a16:creationId xmlns:a16="http://schemas.microsoft.com/office/drawing/2014/main" id="{596DAF21-B606-4E02-B2D4-59654585A015}"/>
                </a:ext>
              </a:extLst>
            </p:cNvPr>
            <p:cNvGrpSpPr/>
            <p:nvPr/>
          </p:nvGrpSpPr>
          <p:grpSpPr>
            <a:xfrm>
              <a:off x="8062386" y="4691557"/>
              <a:ext cx="113920" cy="566243"/>
              <a:chOff x="7916018" y="4691557"/>
              <a:chExt cx="113920" cy="566243"/>
            </a:xfrm>
          </p:grpSpPr>
          <p:sp>
            <p:nvSpPr>
              <p:cNvPr id="169" name="Rectangle 168">
                <a:extLst>
                  <a:ext uri="{FF2B5EF4-FFF2-40B4-BE49-F238E27FC236}">
                    <a16:creationId xmlns:a16="http://schemas.microsoft.com/office/drawing/2014/main" id="{60CEF45E-F552-4969-BD80-28362BC15458}"/>
                  </a:ext>
                </a:extLst>
              </p:cNvPr>
              <p:cNvSpPr/>
              <p:nvPr/>
            </p:nvSpPr>
            <p:spPr>
              <a:xfrm>
                <a:off x="7916018" y="4691557"/>
                <a:ext cx="113920" cy="118872"/>
              </a:xfrm>
              <a:prstGeom prst="rect">
                <a:avLst/>
              </a:prstGeom>
              <a:noFill/>
              <a:ln w="127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>
                  <a:solidFill>
                    <a:srgbClr val="FFFFFF"/>
                  </a:solidFill>
                  <a:latin typeface="Oracle Sans" panose="020B0503020204020204" pitchFamily="34" charset="0"/>
                </a:endParaRPr>
              </a:p>
            </p:txBody>
          </p:sp>
          <p:sp>
            <p:nvSpPr>
              <p:cNvPr id="170" name="Rectangle 169">
                <a:extLst>
                  <a:ext uri="{FF2B5EF4-FFF2-40B4-BE49-F238E27FC236}">
                    <a16:creationId xmlns:a16="http://schemas.microsoft.com/office/drawing/2014/main" id="{E44C78AC-B99E-4A8B-91C3-233E3D5F360B}"/>
                  </a:ext>
                </a:extLst>
              </p:cNvPr>
              <p:cNvSpPr/>
              <p:nvPr/>
            </p:nvSpPr>
            <p:spPr>
              <a:xfrm>
                <a:off x="7916018" y="5138928"/>
                <a:ext cx="113920" cy="118872"/>
              </a:xfrm>
              <a:prstGeom prst="rect">
                <a:avLst/>
              </a:prstGeom>
              <a:noFill/>
              <a:ln w="127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>
                  <a:solidFill>
                    <a:srgbClr val="FFFFFF"/>
                  </a:solidFill>
                  <a:latin typeface="Oracle Sans" panose="020B0503020204020204" pitchFamily="34" charset="0"/>
                </a:endParaRPr>
              </a:p>
            </p:txBody>
          </p:sp>
        </p:grpSp>
        <p:grpSp>
          <p:nvGrpSpPr>
            <p:cNvPr id="156" name="Group 227">
              <a:extLst>
                <a:ext uri="{FF2B5EF4-FFF2-40B4-BE49-F238E27FC236}">
                  <a16:creationId xmlns:a16="http://schemas.microsoft.com/office/drawing/2014/main" id="{20978EC4-8252-4B8A-8D43-8C4336D1A433}"/>
                </a:ext>
              </a:extLst>
            </p:cNvPr>
            <p:cNvGrpSpPr/>
            <p:nvPr/>
          </p:nvGrpSpPr>
          <p:grpSpPr>
            <a:xfrm>
              <a:off x="8208754" y="4691557"/>
              <a:ext cx="113920" cy="566243"/>
              <a:chOff x="7916018" y="4691557"/>
              <a:chExt cx="113920" cy="566243"/>
            </a:xfrm>
          </p:grpSpPr>
          <p:sp>
            <p:nvSpPr>
              <p:cNvPr id="165" name="Rectangle 164">
                <a:extLst>
                  <a:ext uri="{FF2B5EF4-FFF2-40B4-BE49-F238E27FC236}">
                    <a16:creationId xmlns:a16="http://schemas.microsoft.com/office/drawing/2014/main" id="{E3975F77-D151-4158-8842-C9C48BD4436E}"/>
                  </a:ext>
                </a:extLst>
              </p:cNvPr>
              <p:cNvSpPr/>
              <p:nvPr/>
            </p:nvSpPr>
            <p:spPr>
              <a:xfrm>
                <a:off x="7916018" y="4691557"/>
                <a:ext cx="113920" cy="118872"/>
              </a:xfrm>
              <a:prstGeom prst="rect">
                <a:avLst/>
              </a:prstGeom>
              <a:noFill/>
              <a:ln w="127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>
                  <a:solidFill>
                    <a:srgbClr val="FFFFFF"/>
                  </a:solidFill>
                  <a:latin typeface="Oracle Sans" panose="020B0503020204020204" pitchFamily="34" charset="0"/>
                </a:endParaRPr>
              </a:p>
            </p:txBody>
          </p:sp>
          <p:sp>
            <p:nvSpPr>
              <p:cNvPr id="166" name="Rectangle 165">
                <a:extLst>
                  <a:ext uri="{FF2B5EF4-FFF2-40B4-BE49-F238E27FC236}">
                    <a16:creationId xmlns:a16="http://schemas.microsoft.com/office/drawing/2014/main" id="{36078810-4BD4-4107-BD76-ECF4344ED0EA}"/>
                  </a:ext>
                </a:extLst>
              </p:cNvPr>
              <p:cNvSpPr/>
              <p:nvPr/>
            </p:nvSpPr>
            <p:spPr>
              <a:xfrm>
                <a:off x="7916018" y="4840681"/>
                <a:ext cx="113920" cy="118872"/>
              </a:xfrm>
              <a:prstGeom prst="rect">
                <a:avLst/>
              </a:prstGeom>
              <a:noFill/>
              <a:ln w="127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>
                  <a:solidFill>
                    <a:srgbClr val="FFFFFF"/>
                  </a:solidFill>
                  <a:latin typeface="Oracle Sans" panose="020B0503020204020204" pitchFamily="34" charset="0"/>
                </a:endParaRPr>
              </a:p>
            </p:txBody>
          </p:sp>
          <p:sp>
            <p:nvSpPr>
              <p:cNvPr id="167" name="Rectangle 166">
                <a:extLst>
                  <a:ext uri="{FF2B5EF4-FFF2-40B4-BE49-F238E27FC236}">
                    <a16:creationId xmlns:a16="http://schemas.microsoft.com/office/drawing/2014/main" id="{3EC5E429-D506-41F2-870D-F9E8DBCDB784}"/>
                  </a:ext>
                </a:extLst>
              </p:cNvPr>
              <p:cNvSpPr/>
              <p:nvPr/>
            </p:nvSpPr>
            <p:spPr>
              <a:xfrm>
                <a:off x="7916018" y="4989805"/>
                <a:ext cx="113920" cy="118872"/>
              </a:xfrm>
              <a:prstGeom prst="rect">
                <a:avLst/>
              </a:prstGeom>
              <a:noFill/>
              <a:ln w="127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>
                  <a:solidFill>
                    <a:srgbClr val="0070C0"/>
                  </a:solidFill>
                  <a:latin typeface="Oracle Sans" panose="020B0503020204020204" pitchFamily="34" charset="0"/>
                </a:endParaRPr>
              </a:p>
            </p:txBody>
          </p:sp>
          <p:sp>
            <p:nvSpPr>
              <p:cNvPr id="168" name="Rectangle 167">
                <a:extLst>
                  <a:ext uri="{FF2B5EF4-FFF2-40B4-BE49-F238E27FC236}">
                    <a16:creationId xmlns:a16="http://schemas.microsoft.com/office/drawing/2014/main" id="{E668C209-2553-46D5-94DC-CC792FD37F4B}"/>
                  </a:ext>
                </a:extLst>
              </p:cNvPr>
              <p:cNvSpPr/>
              <p:nvPr/>
            </p:nvSpPr>
            <p:spPr>
              <a:xfrm>
                <a:off x="7916018" y="5138928"/>
                <a:ext cx="113920" cy="118872"/>
              </a:xfrm>
              <a:prstGeom prst="rect">
                <a:avLst/>
              </a:prstGeom>
              <a:noFill/>
              <a:ln w="127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>
                  <a:solidFill>
                    <a:srgbClr val="FFFFFF"/>
                  </a:solidFill>
                  <a:latin typeface="Oracle Sans" panose="020B0503020204020204" pitchFamily="34" charset="0"/>
                </a:endParaRPr>
              </a:p>
            </p:txBody>
          </p:sp>
        </p:grpSp>
        <p:grpSp>
          <p:nvGrpSpPr>
            <p:cNvPr id="157" name="Group 228">
              <a:extLst>
                <a:ext uri="{FF2B5EF4-FFF2-40B4-BE49-F238E27FC236}">
                  <a16:creationId xmlns:a16="http://schemas.microsoft.com/office/drawing/2014/main" id="{C09A54C2-08B4-40F3-AE7E-EDB2123D6D87}"/>
                </a:ext>
              </a:extLst>
            </p:cNvPr>
            <p:cNvGrpSpPr/>
            <p:nvPr/>
          </p:nvGrpSpPr>
          <p:grpSpPr>
            <a:xfrm>
              <a:off x="8355122" y="4691557"/>
              <a:ext cx="113920" cy="417120"/>
              <a:chOff x="7916018" y="4691557"/>
              <a:chExt cx="113920" cy="417120"/>
            </a:xfrm>
          </p:grpSpPr>
          <p:sp>
            <p:nvSpPr>
              <p:cNvPr id="162" name="Rectangle 161">
                <a:extLst>
                  <a:ext uri="{FF2B5EF4-FFF2-40B4-BE49-F238E27FC236}">
                    <a16:creationId xmlns:a16="http://schemas.microsoft.com/office/drawing/2014/main" id="{9EB2AC49-1D4C-43AD-89BD-3F78669E0A48}"/>
                  </a:ext>
                </a:extLst>
              </p:cNvPr>
              <p:cNvSpPr/>
              <p:nvPr/>
            </p:nvSpPr>
            <p:spPr>
              <a:xfrm>
                <a:off x="7916018" y="4691557"/>
                <a:ext cx="113920" cy="118872"/>
              </a:xfrm>
              <a:prstGeom prst="rect">
                <a:avLst/>
              </a:prstGeom>
              <a:noFill/>
              <a:ln w="127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>
                  <a:solidFill>
                    <a:srgbClr val="FFFFFF"/>
                  </a:solidFill>
                  <a:latin typeface="Oracle Sans" panose="020B0503020204020204" pitchFamily="34" charset="0"/>
                </a:endParaRPr>
              </a:p>
            </p:txBody>
          </p:sp>
          <p:sp>
            <p:nvSpPr>
              <p:cNvPr id="163" name="Rectangle 162">
                <a:extLst>
                  <a:ext uri="{FF2B5EF4-FFF2-40B4-BE49-F238E27FC236}">
                    <a16:creationId xmlns:a16="http://schemas.microsoft.com/office/drawing/2014/main" id="{EA55B035-82E8-4A7E-AB63-58844ACCC5C0}"/>
                  </a:ext>
                </a:extLst>
              </p:cNvPr>
              <p:cNvSpPr/>
              <p:nvPr/>
            </p:nvSpPr>
            <p:spPr>
              <a:xfrm>
                <a:off x="7916018" y="4840681"/>
                <a:ext cx="113920" cy="118872"/>
              </a:xfrm>
              <a:prstGeom prst="rect">
                <a:avLst/>
              </a:prstGeom>
              <a:noFill/>
              <a:ln w="127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>
                  <a:solidFill>
                    <a:srgbClr val="FFFFFF"/>
                  </a:solidFill>
                  <a:latin typeface="Oracle Sans" panose="020B0503020204020204" pitchFamily="34" charset="0"/>
                </a:endParaRPr>
              </a:p>
            </p:txBody>
          </p:sp>
          <p:sp>
            <p:nvSpPr>
              <p:cNvPr id="164" name="Rectangle 163">
                <a:extLst>
                  <a:ext uri="{FF2B5EF4-FFF2-40B4-BE49-F238E27FC236}">
                    <a16:creationId xmlns:a16="http://schemas.microsoft.com/office/drawing/2014/main" id="{8CED7459-2302-4E3F-9F38-B50B71CAE5D7}"/>
                  </a:ext>
                </a:extLst>
              </p:cNvPr>
              <p:cNvSpPr/>
              <p:nvPr/>
            </p:nvSpPr>
            <p:spPr>
              <a:xfrm>
                <a:off x="7916018" y="4989805"/>
                <a:ext cx="113920" cy="118872"/>
              </a:xfrm>
              <a:prstGeom prst="rect">
                <a:avLst/>
              </a:prstGeom>
              <a:noFill/>
              <a:ln w="127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>
                  <a:solidFill>
                    <a:srgbClr val="0070C0"/>
                  </a:solidFill>
                  <a:latin typeface="Oracle Sans" panose="020B0503020204020204" pitchFamily="34" charset="0"/>
                </a:endParaRPr>
              </a:p>
            </p:txBody>
          </p:sp>
        </p:grpSp>
        <p:grpSp>
          <p:nvGrpSpPr>
            <p:cNvPr id="158" name="Group 229">
              <a:extLst>
                <a:ext uri="{FF2B5EF4-FFF2-40B4-BE49-F238E27FC236}">
                  <a16:creationId xmlns:a16="http://schemas.microsoft.com/office/drawing/2014/main" id="{2DEB403A-7C06-44A0-B14A-BBE09144E346}"/>
                </a:ext>
              </a:extLst>
            </p:cNvPr>
            <p:cNvGrpSpPr/>
            <p:nvPr/>
          </p:nvGrpSpPr>
          <p:grpSpPr>
            <a:xfrm>
              <a:off x="8501492" y="4691557"/>
              <a:ext cx="113920" cy="417120"/>
              <a:chOff x="7916018" y="4691557"/>
              <a:chExt cx="113920" cy="417120"/>
            </a:xfrm>
          </p:grpSpPr>
          <p:sp>
            <p:nvSpPr>
              <p:cNvPr id="159" name="Rectangle 158">
                <a:extLst>
                  <a:ext uri="{FF2B5EF4-FFF2-40B4-BE49-F238E27FC236}">
                    <a16:creationId xmlns:a16="http://schemas.microsoft.com/office/drawing/2014/main" id="{CF0C92DB-615E-47CD-B625-DFF5DE6012E7}"/>
                  </a:ext>
                </a:extLst>
              </p:cNvPr>
              <p:cNvSpPr/>
              <p:nvPr/>
            </p:nvSpPr>
            <p:spPr>
              <a:xfrm>
                <a:off x="7916018" y="4691557"/>
                <a:ext cx="113920" cy="118872"/>
              </a:xfrm>
              <a:prstGeom prst="rect">
                <a:avLst/>
              </a:prstGeom>
              <a:noFill/>
              <a:ln w="127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>
                  <a:solidFill>
                    <a:srgbClr val="FFFFFF"/>
                  </a:solidFill>
                  <a:latin typeface="Oracle Sans" panose="020B0503020204020204" pitchFamily="34" charset="0"/>
                </a:endParaRPr>
              </a:p>
            </p:txBody>
          </p:sp>
          <p:sp>
            <p:nvSpPr>
              <p:cNvPr id="160" name="Rectangle 159">
                <a:extLst>
                  <a:ext uri="{FF2B5EF4-FFF2-40B4-BE49-F238E27FC236}">
                    <a16:creationId xmlns:a16="http://schemas.microsoft.com/office/drawing/2014/main" id="{5458B8BA-5854-4E1D-8622-B4608BF148A4}"/>
                  </a:ext>
                </a:extLst>
              </p:cNvPr>
              <p:cNvSpPr/>
              <p:nvPr/>
            </p:nvSpPr>
            <p:spPr>
              <a:xfrm>
                <a:off x="7916018" y="4840681"/>
                <a:ext cx="113920" cy="118872"/>
              </a:xfrm>
              <a:prstGeom prst="rect">
                <a:avLst/>
              </a:prstGeom>
              <a:noFill/>
              <a:ln w="127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>
                  <a:solidFill>
                    <a:srgbClr val="FFFFFF"/>
                  </a:solidFill>
                  <a:latin typeface="Oracle Sans" panose="020B0503020204020204" pitchFamily="34" charset="0"/>
                </a:endParaRPr>
              </a:p>
            </p:txBody>
          </p:sp>
          <p:sp>
            <p:nvSpPr>
              <p:cNvPr id="161" name="Rectangle 160">
                <a:extLst>
                  <a:ext uri="{FF2B5EF4-FFF2-40B4-BE49-F238E27FC236}">
                    <a16:creationId xmlns:a16="http://schemas.microsoft.com/office/drawing/2014/main" id="{4A6568F3-DB42-484E-B6D8-DD1F9662DCBE}"/>
                  </a:ext>
                </a:extLst>
              </p:cNvPr>
              <p:cNvSpPr/>
              <p:nvPr/>
            </p:nvSpPr>
            <p:spPr>
              <a:xfrm>
                <a:off x="7916018" y="4989805"/>
                <a:ext cx="113920" cy="118872"/>
              </a:xfrm>
              <a:prstGeom prst="rect">
                <a:avLst/>
              </a:prstGeom>
              <a:noFill/>
              <a:ln w="127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>
                  <a:solidFill>
                    <a:srgbClr val="0070C0"/>
                  </a:solidFill>
                  <a:latin typeface="Oracle Sans" panose="020B0503020204020204" pitchFamily="34" charset="0"/>
                </a:endParaRPr>
              </a:p>
            </p:txBody>
          </p:sp>
        </p:grpSp>
      </p:grpSp>
      <p:sp>
        <p:nvSpPr>
          <p:cNvPr id="175" name="Rectangle 174">
            <a:extLst>
              <a:ext uri="{FF2B5EF4-FFF2-40B4-BE49-F238E27FC236}">
                <a16:creationId xmlns:a16="http://schemas.microsoft.com/office/drawing/2014/main" id="{F0A4FCDA-76A7-423F-BA76-686E890CE885}"/>
              </a:ext>
            </a:extLst>
          </p:cNvPr>
          <p:cNvSpPr/>
          <p:nvPr/>
        </p:nvSpPr>
        <p:spPr>
          <a:xfrm>
            <a:off x="2034849" y="5526473"/>
            <a:ext cx="4999400" cy="604174"/>
          </a:xfrm>
          <a:prstGeom prst="rect">
            <a:avLst/>
          </a:prstGeom>
          <a:solidFill>
            <a:schemeClr val="accent4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6" tIns="45719" rIns="91436" bIns="4571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>
              <a:solidFill>
                <a:srgbClr val="FFFFFF"/>
              </a:solidFill>
              <a:latin typeface="Oracle Sans" panose="020B0503020204020204" pitchFamily="34" charset="0"/>
            </a:endParaRPr>
          </a:p>
        </p:txBody>
      </p:sp>
      <p:sp>
        <p:nvSpPr>
          <p:cNvPr id="176" name="TextBox 175">
            <a:extLst>
              <a:ext uri="{FF2B5EF4-FFF2-40B4-BE49-F238E27FC236}">
                <a16:creationId xmlns:a16="http://schemas.microsoft.com/office/drawing/2014/main" id="{7CF0DB0F-2C22-429B-8C1D-AF122FDA5004}"/>
              </a:ext>
            </a:extLst>
          </p:cNvPr>
          <p:cNvSpPr txBox="1"/>
          <p:nvPr/>
        </p:nvSpPr>
        <p:spPr>
          <a:xfrm>
            <a:off x="2576124" y="5547739"/>
            <a:ext cx="4164394" cy="553972"/>
          </a:xfrm>
          <a:prstGeom prst="rect">
            <a:avLst/>
          </a:prstGeom>
          <a:noFill/>
        </p:spPr>
        <p:txBody>
          <a:bodyPr wrap="square" lIns="121893" tIns="60947" rIns="121893" bIns="60947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00" b="1" dirty="0">
                <a:solidFill>
                  <a:srgbClr val="FFFFFF"/>
                </a:solidFill>
                <a:ea typeface="ＭＳ Ｐゴシック" pitchFamily="34" charset="-128"/>
              </a:rPr>
              <a:t>Incremental forever backups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00" b="1" dirty="0">
                <a:solidFill>
                  <a:srgbClr val="FFFFFF"/>
                </a:solidFill>
                <a:ea typeface="ＭＳ Ｐゴシック" pitchFamily="34" charset="-128"/>
              </a:rPr>
              <a:t>of protected databases</a:t>
            </a:r>
          </a:p>
        </p:txBody>
      </p:sp>
      <p:grpSp>
        <p:nvGrpSpPr>
          <p:cNvPr id="177" name="Group 176">
            <a:extLst>
              <a:ext uri="{FF2B5EF4-FFF2-40B4-BE49-F238E27FC236}">
                <a16:creationId xmlns:a16="http://schemas.microsoft.com/office/drawing/2014/main" id="{EBC35E15-1839-416A-9335-F36E9E33FDFF}"/>
              </a:ext>
            </a:extLst>
          </p:cNvPr>
          <p:cNvGrpSpPr/>
          <p:nvPr/>
        </p:nvGrpSpPr>
        <p:grpSpPr>
          <a:xfrm>
            <a:off x="2082978" y="2810361"/>
            <a:ext cx="1486212" cy="914400"/>
            <a:chOff x="1723388" y="1286351"/>
            <a:chExt cx="1486212" cy="914400"/>
          </a:xfrm>
        </p:grpSpPr>
        <p:grpSp>
          <p:nvGrpSpPr>
            <p:cNvPr id="178" name="Group 177">
              <a:extLst>
                <a:ext uri="{FF2B5EF4-FFF2-40B4-BE49-F238E27FC236}">
                  <a16:creationId xmlns:a16="http://schemas.microsoft.com/office/drawing/2014/main" id="{55501865-171E-45FD-94E5-6A69CE6BA7A3}"/>
                </a:ext>
              </a:extLst>
            </p:cNvPr>
            <p:cNvGrpSpPr/>
            <p:nvPr/>
          </p:nvGrpSpPr>
          <p:grpSpPr>
            <a:xfrm>
              <a:off x="1785362" y="1312730"/>
              <a:ext cx="1424238" cy="861643"/>
              <a:chOff x="312193" y="1688362"/>
              <a:chExt cx="1424238" cy="861643"/>
            </a:xfrm>
          </p:grpSpPr>
          <p:pic>
            <p:nvPicPr>
              <p:cNvPr id="180" name="Graphic 179">
                <a:extLst>
                  <a:ext uri="{FF2B5EF4-FFF2-40B4-BE49-F238E27FC236}">
                    <a16:creationId xmlns:a16="http://schemas.microsoft.com/office/drawing/2014/main" id="{1105DB71-ABD8-452B-A4B0-49CBAF24F605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5" cstate="screen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="" xmlns:asvg="http://schemas.microsoft.com/office/drawing/2016/SVG/main" r:embed="rId6"/>
                  </a:ext>
                </a:extLst>
              </a:blip>
              <a:srcRect/>
              <a:stretch/>
            </p:blipFill>
            <p:spPr>
              <a:xfrm>
                <a:off x="312193" y="1688362"/>
                <a:ext cx="861643" cy="861643"/>
              </a:xfrm>
              <a:custGeom>
                <a:avLst/>
                <a:gdLst>
                  <a:gd name="connsiteX0" fmla="*/ 207008 w 2397621"/>
                  <a:gd name="connsiteY0" fmla="*/ 1253292 h 2397621"/>
                  <a:gd name="connsiteX1" fmla="*/ 207008 w 2397621"/>
                  <a:gd name="connsiteY1" fmla="*/ 2048031 h 2397621"/>
                  <a:gd name="connsiteX2" fmla="*/ 789732 w 2397621"/>
                  <a:gd name="connsiteY2" fmla="*/ 2048031 h 2397621"/>
                  <a:gd name="connsiteX3" fmla="*/ 789732 w 2397621"/>
                  <a:gd name="connsiteY3" fmla="*/ 1253292 h 2397621"/>
                  <a:gd name="connsiteX4" fmla="*/ 1497125 w 2397621"/>
                  <a:gd name="connsiteY4" fmla="*/ 1017782 h 2397621"/>
                  <a:gd name="connsiteX5" fmla="*/ 1497125 w 2397621"/>
                  <a:gd name="connsiteY5" fmla="*/ 2141732 h 2397621"/>
                  <a:gd name="connsiteX6" fmla="*/ 1965659 w 2397621"/>
                  <a:gd name="connsiteY6" fmla="*/ 2141732 h 2397621"/>
                  <a:gd name="connsiteX7" fmla="*/ 1965659 w 2397621"/>
                  <a:gd name="connsiteY7" fmla="*/ 1017782 h 2397621"/>
                  <a:gd name="connsiteX8" fmla="*/ 0 w 2397621"/>
                  <a:gd name="connsiteY8" fmla="*/ 0 h 2397621"/>
                  <a:gd name="connsiteX9" fmla="*/ 2397621 w 2397621"/>
                  <a:gd name="connsiteY9" fmla="*/ 0 h 2397621"/>
                  <a:gd name="connsiteX10" fmla="*/ 2397621 w 2397621"/>
                  <a:gd name="connsiteY10" fmla="*/ 2397621 h 2397621"/>
                  <a:gd name="connsiteX11" fmla="*/ 0 w 2397621"/>
                  <a:gd name="connsiteY11" fmla="*/ 2397621 h 23976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2397621" h="2397621">
                    <a:moveTo>
                      <a:pt x="207008" y="1253292"/>
                    </a:moveTo>
                    <a:lnTo>
                      <a:pt x="207008" y="2048031"/>
                    </a:lnTo>
                    <a:lnTo>
                      <a:pt x="789732" y="2048031"/>
                    </a:lnTo>
                    <a:lnTo>
                      <a:pt x="789732" y="1253292"/>
                    </a:lnTo>
                    <a:close/>
                    <a:moveTo>
                      <a:pt x="1497125" y="1017782"/>
                    </a:moveTo>
                    <a:lnTo>
                      <a:pt x="1497125" y="2141732"/>
                    </a:lnTo>
                    <a:lnTo>
                      <a:pt x="1965659" y="2141732"/>
                    </a:lnTo>
                    <a:lnTo>
                      <a:pt x="1965659" y="1017782"/>
                    </a:lnTo>
                    <a:close/>
                    <a:moveTo>
                      <a:pt x="0" y="0"/>
                    </a:moveTo>
                    <a:lnTo>
                      <a:pt x="2397621" y="0"/>
                    </a:lnTo>
                    <a:lnTo>
                      <a:pt x="2397621" y="2397621"/>
                    </a:lnTo>
                    <a:lnTo>
                      <a:pt x="0" y="2397621"/>
                    </a:lnTo>
                    <a:close/>
                  </a:path>
                </a:pathLst>
              </a:custGeom>
            </p:spPr>
          </p:pic>
          <p:sp>
            <p:nvSpPr>
              <p:cNvPr id="181" name="TextBox 180">
                <a:extLst>
                  <a:ext uri="{FF2B5EF4-FFF2-40B4-BE49-F238E27FC236}">
                    <a16:creationId xmlns:a16="http://schemas.microsoft.com/office/drawing/2014/main" id="{143FF129-B50D-4834-BDFE-4386C56F8601}"/>
                  </a:ext>
                </a:extLst>
              </p:cNvPr>
              <p:cNvSpPr txBox="1"/>
              <p:nvPr/>
            </p:nvSpPr>
            <p:spPr>
              <a:xfrm>
                <a:off x="781795" y="2016530"/>
                <a:ext cx="954636" cy="461665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800" dirty="0"/>
                  <a:t>Autonomous Database - Dedicated</a:t>
                </a:r>
              </a:p>
            </p:txBody>
          </p:sp>
        </p:grpSp>
        <p:sp>
          <p:nvSpPr>
            <p:cNvPr id="179" name="Rectangle 178">
              <a:extLst>
                <a:ext uri="{FF2B5EF4-FFF2-40B4-BE49-F238E27FC236}">
                  <a16:creationId xmlns:a16="http://schemas.microsoft.com/office/drawing/2014/main" id="{1B5DD184-0B46-40F9-9418-E6F9F2A39D10}"/>
                </a:ext>
              </a:extLst>
            </p:cNvPr>
            <p:cNvSpPr/>
            <p:nvPr/>
          </p:nvSpPr>
          <p:spPr>
            <a:xfrm>
              <a:off x="1723388" y="1286351"/>
              <a:ext cx="1463040" cy="9144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82" name="Group 181">
            <a:extLst>
              <a:ext uri="{FF2B5EF4-FFF2-40B4-BE49-F238E27FC236}">
                <a16:creationId xmlns:a16="http://schemas.microsoft.com/office/drawing/2014/main" id="{401088A6-8E6A-43B2-A950-9DEA594A7F58}"/>
              </a:ext>
            </a:extLst>
          </p:cNvPr>
          <p:cNvGrpSpPr/>
          <p:nvPr/>
        </p:nvGrpSpPr>
        <p:grpSpPr>
          <a:xfrm>
            <a:off x="2082978" y="3470864"/>
            <a:ext cx="1463040" cy="914400"/>
            <a:chOff x="1723388" y="2842028"/>
            <a:chExt cx="1463040" cy="914400"/>
          </a:xfrm>
        </p:grpSpPr>
        <p:grpSp>
          <p:nvGrpSpPr>
            <p:cNvPr id="183" name="Group 182">
              <a:extLst>
                <a:ext uri="{FF2B5EF4-FFF2-40B4-BE49-F238E27FC236}">
                  <a16:creationId xmlns:a16="http://schemas.microsoft.com/office/drawing/2014/main" id="{5C9F35B3-F311-4336-9ED6-EBB33E52CB18}"/>
                </a:ext>
              </a:extLst>
            </p:cNvPr>
            <p:cNvGrpSpPr/>
            <p:nvPr/>
          </p:nvGrpSpPr>
          <p:grpSpPr>
            <a:xfrm>
              <a:off x="1747606" y="2846036"/>
              <a:ext cx="1422483" cy="906385"/>
              <a:chOff x="289822" y="2770933"/>
              <a:chExt cx="1422483" cy="906385"/>
            </a:xfrm>
          </p:grpSpPr>
          <p:pic>
            <p:nvPicPr>
              <p:cNvPr id="185" name="Picture Placeholder 93">
                <a:extLst>
                  <a:ext uri="{FF2B5EF4-FFF2-40B4-BE49-F238E27FC236}">
                    <a16:creationId xmlns:a16="http://schemas.microsoft.com/office/drawing/2014/main" id="{8959D925-42C6-4786-A5FC-4E1A22BF6952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7" cstate="screen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="" xmlns:asvg="http://schemas.microsoft.com/office/drawing/2016/SVG/main" r:embed="rId8"/>
                  </a:ext>
                </a:extLst>
              </a:blip>
              <a:srcRect t="85" b="85"/>
              <a:stretch/>
            </p:blipFill>
            <p:spPr>
              <a:xfrm>
                <a:off x="289822" y="2770933"/>
                <a:ext cx="906384" cy="906385"/>
              </a:xfrm>
              <a:prstGeom prst="rect">
                <a:avLst/>
              </a:prstGeom>
            </p:spPr>
          </p:pic>
          <p:sp>
            <p:nvSpPr>
              <p:cNvPr id="186" name="TextBox 185">
                <a:extLst>
                  <a:ext uri="{FF2B5EF4-FFF2-40B4-BE49-F238E27FC236}">
                    <a16:creationId xmlns:a16="http://schemas.microsoft.com/office/drawing/2014/main" id="{850B3075-7C5C-44A4-B204-8028AA305A88}"/>
                  </a:ext>
                </a:extLst>
              </p:cNvPr>
              <p:cNvSpPr txBox="1"/>
              <p:nvPr/>
            </p:nvSpPr>
            <p:spPr>
              <a:xfrm>
                <a:off x="805921" y="3101464"/>
                <a:ext cx="906384" cy="461665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800" dirty="0"/>
                  <a:t>Exadata Database Service</a:t>
                </a:r>
              </a:p>
            </p:txBody>
          </p:sp>
        </p:grpSp>
        <p:sp>
          <p:nvSpPr>
            <p:cNvPr id="184" name="Rectangle 183">
              <a:extLst>
                <a:ext uri="{FF2B5EF4-FFF2-40B4-BE49-F238E27FC236}">
                  <a16:creationId xmlns:a16="http://schemas.microsoft.com/office/drawing/2014/main" id="{1D955CA0-45B1-4BB7-B235-BCF02462664A}"/>
                </a:ext>
              </a:extLst>
            </p:cNvPr>
            <p:cNvSpPr/>
            <p:nvPr/>
          </p:nvSpPr>
          <p:spPr>
            <a:xfrm>
              <a:off x="1723388" y="2842028"/>
              <a:ext cx="1463040" cy="9144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87" name="Group 186">
            <a:extLst>
              <a:ext uri="{FF2B5EF4-FFF2-40B4-BE49-F238E27FC236}">
                <a16:creationId xmlns:a16="http://schemas.microsoft.com/office/drawing/2014/main" id="{5C695E0E-8950-45F7-8BDD-2BA5E1A24E71}"/>
              </a:ext>
            </a:extLst>
          </p:cNvPr>
          <p:cNvGrpSpPr/>
          <p:nvPr/>
        </p:nvGrpSpPr>
        <p:grpSpPr>
          <a:xfrm>
            <a:off x="2082978" y="4131367"/>
            <a:ext cx="1463040" cy="914400"/>
            <a:chOff x="1723388" y="3855353"/>
            <a:chExt cx="1463040" cy="914400"/>
          </a:xfrm>
        </p:grpSpPr>
        <p:grpSp>
          <p:nvGrpSpPr>
            <p:cNvPr id="188" name="Group 187">
              <a:extLst>
                <a:ext uri="{FF2B5EF4-FFF2-40B4-BE49-F238E27FC236}">
                  <a16:creationId xmlns:a16="http://schemas.microsoft.com/office/drawing/2014/main" id="{F9B46B6B-912B-4547-8986-F406D4BC941F}"/>
                </a:ext>
              </a:extLst>
            </p:cNvPr>
            <p:cNvGrpSpPr/>
            <p:nvPr/>
          </p:nvGrpSpPr>
          <p:grpSpPr>
            <a:xfrm>
              <a:off x="1916503" y="4056457"/>
              <a:ext cx="1198449" cy="512193"/>
              <a:chOff x="470478" y="3632205"/>
              <a:chExt cx="1198449" cy="512193"/>
            </a:xfrm>
          </p:grpSpPr>
          <p:grpSp>
            <p:nvGrpSpPr>
              <p:cNvPr id="190" name="Graphic 70">
                <a:extLst>
                  <a:ext uri="{FF2B5EF4-FFF2-40B4-BE49-F238E27FC236}">
                    <a16:creationId xmlns:a16="http://schemas.microsoft.com/office/drawing/2014/main" id="{3E466281-F3AF-4BFB-94B7-048D4300C460}"/>
                  </a:ext>
                </a:extLst>
              </p:cNvPr>
              <p:cNvGrpSpPr>
                <a:grpSpLocks noChangeAspect="1"/>
              </p:cNvGrpSpPr>
              <p:nvPr/>
            </p:nvGrpSpPr>
            <p:grpSpPr>
              <a:xfrm>
                <a:off x="470478" y="3632205"/>
                <a:ext cx="545072" cy="475782"/>
                <a:chOff x="7162146" y="2961107"/>
                <a:chExt cx="419100" cy="393700"/>
              </a:xfrm>
            </p:grpSpPr>
            <p:sp>
              <p:nvSpPr>
                <p:cNvPr id="192" name="Freeform 11">
                  <a:extLst>
                    <a:ext uri="{FF2B5EF4-FFF2-40B4-BE49-F238E27FC236}">
                      <a16:creationId xmlns:a16="http://schemas.microsoft.com/office/drawing/2014/main" id="{7CFA2617-E730-4714-834E-15564C966C95}"/>
                    </a:ext>
                  </a:extLst>
                </p:cNvPr>
                <p:cNvSpPr/>
                <p:nvPr/>
              </p:nvSpPr>
              <p:spPr>
                <a:xfrm>
                  <a:off x="7167734" y="2965386"/>
                  <a:ext cx="404533" cy="384733"/>
                </a:xfrm>
                <a:custGeom>
                  <a:avLst/>
                  <a:gdLst>
                    <a:gd name="connsiteX0" fmla="*/ 202099 w 404533"/>
                    <a:gd name="connsiteY0" fmla="*/ 384734 h 384733"/>
                    <a:gd name="connsiteX1" fmla="*/ 185335 w 404533"/>
                    <a:gd name="connsiteY1" fmla="*/ 384734 h 384733"/>
                    <a:gd name="connsiteX2" fmla="*/ 128524 w 404533"/>
                    <a:gd name="connsiteY2" fmla="*/ 378172 h 384733"/>
                    <a:gd name="connsiteX3" fmla="*/ 111760 w 404533"/>
                    <a:gd name="connsiteY3" fmla="*/ 373485 h 384733"/>
                    <a:gd name="connsiteX4" fmla="*/ 97790 w 404533"/>
                    <a:gd name="connsiteY4" fmla="*/ 366923 h 384733"/>
                    <a:gd name="connsiteX5" fmla="*/ 83820 w 404533"/>
                    <a:gd name="connsiteY5" fmla="*/ 346301 h 384733"/>
                    <a:gd name="connsiteX6" fmla="*/ 83820 w 404533"/>
                    <a:gd name="connsiteY6" fmla="*/ 208506 h 384733"/>
                    <a:gd name="connsiteX7" fmla="*/ 0 w 404533"/>
                    <a:gd name="connsiteY7" fmla="*/ 208506 h 384733"/>
                    <a:gd name="connsiteX8" fmla="*/ 931 w 404533"/>
                    <a:gd name="connsiteY8" fmla="*/ 194445 h 384733"/>
                    <a:gd name="connsiteX9" fmla="*/ 53086 w 404533"/>
                    <a:gd name="connsiteY9" fmla="*/ 114768 h 384733"/>
                    <a:gd name="connsiteX10" fmla="*/ 65193 w 404533"/>
                    <a:gd name="connsiteY10" fmla="*/ 97895 h 384733"/>
                    <a:gd name="connsiteX11" fmla="*/ 108035 w 404533"/>
                    <a:gd name="connsiteY11" fmla="*/ 43527 h 384733"/>
                    <a:gd name="connsiteX12" fmla="*/ 137837 w 404533"/>
                    <a:gd name="connsiteY12" fmla="*/ 36965 h 384733"/>
                    <a:gd name="connsiteX13" fmla="*/ 145288 w 404533"/>
                    <a:gd name="connsiteY13" fmla="*/ 36965 h 384733"/>
                    <a:gd name="connsiteX14" fmla="*/ 148082 w 404533"/>
                    <a:gd name="connsiteY14" fmla="*/ 36965 h 384733"/>
                    <a:gd name="connsiteX15" fmla="*/ 164846 w 404533"/>
                    <a:gd name="connsiteY15" fmla="*/ 29466 h 384733"/>
                    <a:gd name="connsiteX16" fmla="*/ 294301 w 404533"/>
                    <a:gd name="connsiteY16" fmla="*/ 24779 h 384733"/>
                    <a:gd name="connsiteX17" fmla="*/ 313859 w 404533"/>
                    <a:gd name="connsiteY17" fmla="*/ 51026 h 384733"/>
                    <a:gd name="connsiteX18" fmla="*/ 330623 w 404533"/>
                    <a:gd name="connsiteY18" fmla="*/ 64149 h 384733"/>
                    <a:gd name="connsiteX19" fmla="*/ 402336 w 404533"/>
                    <a:gd name="connsiteY19" fmla="*/ 176635 h 384733"/>
                    <a:gd name="connsiteX20" fmla="*/ 393023 w 404533"/>
                    <a:gd name="connsiteY20" fmla="*/ 201007 h 384733"/>
                    <a:gd name="connsiteX21" fmla="*/ 389297 w 404533"/>
                    <a:gd name="connsiteY21" fmla="*/ 207569 h 384733"/>
                    <a:gd name="connsiteX22" fmla="*/ 319447 w 404533"/>
                    <a:gd name="connsiteY22" fmla="*/ 207569 h 384733"/>
                    <a:gd name="connsiteX23" fmla="*/ 319447 w 404533"/>
                    <a:gd name="connsiteY23" fmla="*/ 346301 h 384733"/>
                    <a:gd name="connsiteX24" fmla="*/ 311065 w 404533"/>
                    <a:gd name="connsiteY24" fmla="*/ 363174 h 384733"/>
                    <a:gd name="connsiteX25" fmla="*/ 305477 w 404533"/>
                    <a:gd name="connsiteY25" fmla="*/ 366923 h 384733"/>
                    <a:gd name="connsiteX26" fmla="*/ 228177 w 404533"/>
                    <a:gd name="connsiteY26" fmla="*/ 383796 h 384733"/>
                    <a:gd name="connsiteX27" fmla="*/ 202099 w 404533"/>
                    <a:gd name="connsiteY27" fmla="*/ 384734 h 3847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</a:cxnLst>
                  <a:rect l="l" t="t" r="r" b="b"/>
                  <a:pathLst>
                    <a:path w="404533" h="384733">
                      <a:moveTo>
                        <a:pt x="202099" y="384734"/>
                      </a:moveTo>
                      <a:lnTo>
                        <a:pt x="185335" y="384734"/>
                      </a:lnTo>
                      <a:cubicBezTo>
                        <a:pt x="166709" y="383796"/>
                        <a:pt x="147151" y="381922"/>
                        <a:pt x="128524" y="378172"/>
                      </a:cubicBezTo>
                      <a:cubicBezTo>
                        <a:pt x="122936" y="377235"/>
                        <a:pt x="117348" y="375360"/>
                        <a:pt x="111760" y="373485"/>
                      </a:cubicBezTo>
                      <a:cubicBezTo>
                        <a:pt x="107103" y="371610"/>
                        <a:pt x="102447" y="369736"/>
                        <a:pt x="97790" y="366923"/>
                      </a:cubicBezTo>
                      <a:cubicBezTo>
                        <a:pt x="89408" y="363174"/>
                        <a:pt x="84751" y="355675"/>
                        <a:pt x="83820" y="346301"/>
                      </a:cubicBezTo>
                      <a:lnTo>
                        <a:pt x="83820" y="208506"/>
                      </a:lnTo>
                      <a:lnTo>
                        <a:pt x="0" y="208506"/>
                      </a:lnTo>
                      <a:lnTo>
                        <a:pt x="931" y="194445"/>
                      </a:lnTo>
                      <a:cubicBezTo>
                        <a:pt x="3725" y="160700"/>
                        <a:pt x="23283" y="129766"/>
                        <a:pt x="53086" y="114768"/>
                      </a:cubicBezTo>
                      <a:cubicBezTo>
                        <a:pt x="59605" y="111018"/>
                        <a:pt x="64262" y="105394"/>
                        <a:pt x="65193" y="97895"/>
                      </a:cubicBezTo>
                      <a:cubicBezTo>
                        <a:pt x="69850" y="73523"/>
                        <a:pt x="85683" y="53838"/>
                        <a:pt x="108035" y="43527"/>
                      </a:cubicBezTo>
                      <a:cubicBezTo>
                        <a:pt x="117348" y="39777"/>
                        <a:pt x="127593" y="36965"/>
                        <a:pt x="137837" y="36965"/>
                      </a:cubicBezTo>
                      <a:cubicBezTo>
                        <a:pt x="139700" y="36965"/>
                        <a:pt x="142494" y="36965"/>
                        <a:pt x="145288" y="36965"/>
                      </a:cubicBezTo>
                      <a:lnTo>
                        <a:pt x="148082" y="36965"/>
                      </a:lnTo>
                      <a:cubicBezTo>
                        <a:pt x="154601" y="36965"/>
                        <a:pt x="160189" y="34153"/>
                        <a:pt x="164846" y="29466"/>
                      </a:cubicBezTo>
                      <a:cubicBezTo>
                        <a:pt x="199305" y="-8029"/>
                        <a:pt x="257048" y="-9904"/>
                        <a:pt x="294301" y="24779"/>
                      </a:cubicBezTo>
                      <a:cubicBezTo>
                        <a:pt x="302683" y="32278"/>
                        <a:pt x="309203" y="40715"/>
                        <a:pt x="313859" y="51026"/>
                      </a:cubicBezTo>
                      <a:cubicBezTo>
                        <a:pt x="317585" y="57588"/>
                        <a:pt x="323173" y="62275"/>
                        <a:pt x="330623" y="64149"/>
                      </a:cubicBezTo>
                      <a:cubicBezTo>
                        <a:pt x="380915" y="75398"/>
                        <a:pt x="413512" y="126016"/>
                        <a:pt x="402336" y="176635"/>
                      </a:cubicBezTo>
                      <a:cubicBezTo>
                        <a:pt x="400473" y="185071"/>
                        <a:pt x="397679" y="193508"/>
                        <a:pt x="393023" y="201007"/>
                      </a:cubicBezTo>
                      <a:lnTo>
                        <a:pt x="389297" y="207569"/>
                      </a:lnTo>
                      <a:lnTo>
                        <a:pt x="319447" y="207569"/>
                      </a:lnTo>
                      <a:lnTo>
                        <a:pt x="319447" y="346301"/>
                      </a:lnTo>
                      <a:cubicBezTo>
                        <a:pt x="319447" y="352863"/>
                        <a:pt x="315722" y="359424"/>
                        <a:pt x="311065" y="363174"/>
                      </a:cubicBezTo>
                      <a:cubicBezTo>
                        <a:pt x="309203" y="364111"/>
                        <a:pt x="307340" y="365986"/>
                        <a:pt x="305477" y="366923"/>
                      </a:cubicBezTo>
                      <a:cubicBezTo>
                        <a:pt x="285919" y="379109"/>
                        <a:pt x="248666" y="382859"/>
                        <a:pt x="228177" y="383796"/>
                      </a:cubicBezTo>
                      <a:cubicBezTo>
                        <a:pt x="218863" y="384734"/>
                        <a:pt x="210481" y="384734"/>
                        <a:pt x="202099" y="384734"/>
                      </a:cubicBezTo>
                      <a:close/>
                    </a:path>
                  </a:pathLst>
                </a:custGeom>
                <a:noFill/>
                <a:ln w="931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sz="800" dirty="0"/>
                </a:p>
              </p:txBody>
            </p:sp>
            <p:sp>
              <p:nvSpPr>
                <p:cNvPr id="193" name="Freeform 12">
                  <a:extLst>
                    <a:ext uri="{FF2B5EF4-FFF2-40B4-BE49-F238E27FC236}">
                      <a16:creationId xmlns:a16="http://schemas.microsoft.com/office/drawing/2014/main" id="{3A873EBC-9A81-4423-8C15-1E348E4F36B0}"/>
                    </a:ext>
                  </a:extLst>
                </p:cNvPr>
                <p:cNvSpPr/>
                <p:nvPr/>
              </p:nvSpPr>
              <p:spPr>
                <a:xfrm>
                  <a:off x="7162146" y="2961107"/>
                  <a:ext cx="415300" cy="393699"/>
                </a:xfrm>
                <a:custGeom>
                  <a:avLst/>
                  <a:gdLst>
                    <a:gd name="connsiteX0" fmla="*/ 237490 w 415300"/>
                    <a:gd name="connsiteY0" fmla="*/ 9374 h 393699"/>
                    <a:gd name="connsiteX1" fmla="*/ 315722 w 415300"/>
                    <a:gd name="connsiteY1" fmla="*/ 58118 h 393699"/>
                    <a:gd name="connsiteX2" fmla="*/ 335280 w 415300"/>
                    <a:gd name="connsiteY2" fmla="*/ 73116 h 393699"/>
                    <a:gd name="connsiteX3" fmla="*/ 363220 w 415300"/>
                    <a:gd name="connsiteY3" fmla="*/ 84364 h 393699"/>
                    <a:gd name="connsiteX4" fmla="*/ 394885 w 415300"/>
                    <a:gd name="connsiteY4" fmla="*/ 202474 h 393699"/>
                    <a:gd name="connsiteX5" fmla="*/ 392091 w 415300"/>
                    <a:gd name="connsiteY5" fmla="*/ 207161 h 393699"/>
                    <a:gd name="connsiteX6" fmla="*/ 320379 w 415300"/>
                    <a:gd name="connsiteY6" fmla="*/ 207161 h 393699"/>
                    <a:gd name="connsiteX7" fmla="*/ 320379 w 415300"/>
                    <a:gd name="connsiteY7" fmla="*/ 350581 h 393699"/>
                    <a:gd name="connsiteX8" fmla="*/ 313859 w 415300"/>
                    <a:gd name="connsiteY8" fmla="*/ 363704 h 393699"/>
                    <a:gd name="connsiteX9" fmla="*/ 309203 w 415300"/>
                    <a:gd name="connsiteY9" fmla="*/ 367453 h 393699"/>
                    <a:gd name="connsiteX10" fmla="*/ 233765 w 415300"/>
                    <a:gd name="connsiteY10" fmla="*/ 383389 h 393699"/>
                    <a:gd name="connsiteX11" fmla="*/ 207687 w 415300"/>
                    <a:gd name="connsiteY11" fmla="*/ 384326 h 393699"/>
                    <a:gd name="connsiteX12" fmla="*/ 190923 w 415300"/>
                    <a:gd name="connsiteY12" fmla="*/ 384326 h 393699"/>
                    <a:gd name="connsiteX13" fmla="*/ 135043 w 415300"/>
                    <a:gd name="connsiteY13" fmla="*/ 377765 h 393699"/>
                    <a:gd name="connsiteX14" fmla="*/ 119211 w 415300"/>
                    <a:gd name="connsiteY14" fmla="*/ 373078 h 393699"/>
                    <a:gd name="connsiteX15" fmla="*/ 106172 w 415300"/>
                    <a:gd name="connsiteY15" fmla="*/ 367453 h 393699"/>
                    <a:gd name="connsiteX16" fmla="*/ 94065 w 415300"/>
                    <a:gd name="connsiteY16" fmla="*/ 351518 h 393699"/>
                    <a:gd name="connsiteX17" fmla="*/ 94065 w 415300"/>
                    <a:gd name="connsiteY17" fmla="*/ 208099 h 393699"/>
                    <a:gd name="connsiteX18" fmla="*/ 9313 w 415300"/>
                    <a:gd name="connsiteY18" fmla="*/ 208099 h 393699"/>
                    <a:gd name="connsiteX19" fmla="*/ 10245 w 415300"/>
                    <a:gd name="connsiteY19" fmla="*/ 198725 h 393699"/>
                    <a:gd name="connsiteX20" fmla="*/ 59605 w 415300"/>
                    <a:gd name="connsiteY20" fmla="*/ 122797 h 393699"/>
                    <a:gd name="connsiteX21" fmla="*/ 74507 w 415300"/>
                    <a:gd name="connsiteY21" fmla="*/ 103112 h 393699"/>
                    <a:gd name="connsiteX22" fmla="*/ 143425 w 415300"/>
                    <a:gd name="connsiteY22" fmla="*/ 45932 h 393699"/>
                    <a:gd name="connsiteX23" fmla="*/ 149945 w 415300"/>
                    <a:gd name="connsiteY23" fmla="*/ 45932 h 393699"/>
                    <a:gd name="connsiteX24" fmla="*/ 152739 w 415300"/>
                    <a:gd name="connsiteY24" fmla="*/ 45932 h 393699"/>
                    <a:gd name="connsiteX25" fmla="*/ 173228 w 415300"/>
                    <a:gd name="connsiteY25" fmla="*/ 37495 h 393699"/>
                    <a:gd name="connsiteX26" fmla="*/ 237490 w 415300"/>
                    <a:gd name="connsiteY26" fmla="*/ 9374 h 393699"/>
                    <a:gd name="connsiteX27" fmla="*/ 237490 w 415300"/>
                    <a:gd name="connsiteY27" fmla="*/ 0 h 393699"/>
                    <a:gd name="connsiteX28" fmla="*/ 166709 w 415300"/>
                    <a:gd name="connsiteY28" fmla="*/ 30934 h 393699"/>
                    <a:gd name="connsiteX29" fmla="*/ 153670 w 415300"/>
                    <a:gd name="connsiteY29" fmla="*/ 36558 h 393699"/>
                    <a:gd name="connsiteX30" fmla="*/ 151807 w 415300"/>
                    <a:gd name="connsiteY30" fmla="*/ 36558 h 393699"/>
                    <a:gd name="connsiteX31" fmla="*/ 144357 w 415300"/>
                    <a:gd name="connsiteY31" fmla="*/ 36558 h 393699"/>
                    <a:gd name="connsiteX32" fmla="*/ 112691 w 415300"/>
                    <a:gd name="connsiteY32" fmla="*/ 43120 h 393699"/>
                    <a:gd name="connsiteX33" fmla="*/ 67056 w 415300"/>
                    <a:gd name="connsiteY33" fmla="*/ 101237 h 393699"/>
                    <a:gd name="connsiteX34" fmla="*/ 55880 w 415300"/>
                    <a:gd name="connsiteY34" fmla="*/ 114360 h 393699"/>
                    <a:gd name="connsiteX35" fmla="*/ 1863 w 415300"/>
                    <a:gd name="connsiteY35" fmla="*/ 197787 h 393699"/>
                    <a:gd name="connsiteX36" fmla="*/ 931 w 415300"/>
                    <a:gd name="connsiteY36" fmla="*/ 207161 h 393699"/>
                    <a:gd name="connsiteX37" fmla="*/ 0 w 415300"/>
                    <a:gd name="connsiteY37" fmla="*/ 217472 h 393699"/>
                    <a:gd name="connsiteX38" fmla="*/ 84751 w 415300"/>
                    <a:gd name="connsiteY38" fmla="*/ 217472 h 393699"/>
                    <a:gd name="connsiteX39" fmla="*/ 84751 w 415300"/>
                    <a:gd name="connsiteY39" fmla="*/ 351518 h 393699"/>
                    <a:gd name="connsiteX40" fmla="*/ 101515 w 415300"/>
                    <a:gd name="connsiteY40" fmla="*/ 375890 h 393699"/>
                    <a:gd name="connsiteX41" fmla="*/ 116417 w 415300"/>
                    <a:gd name="connsiteY41" fmla="*/ 382451 h 393699"/>
                    <a:gd name="connsiteX42" fmla="*/ 134112 w 415300"/>
                    <a:gd name="connsiteY42" fmla="*/ 387138 h 393699"/>
                    <a:gd name="connsiteX43" fmla="*/ 190923 w 415300"/>
                    <a:gd name="connsiteY43" fmla="*/ 393700 h 393699"/>
                    <a:gd name="connsiteX44" fmla="*/ 208619 w 415300"/>
                    <a:gd name="connsiteY44" fmla="*/ 393700 h 393699"/>
                    <a:gd name="connsiteX45" fmla="*/ 235627 w 415300"/>
                    <a:gd name="connsiteY45" fmla="*/ 392763 h 393699"/>
                    <a:gd name="connsiteX46" fmla="*/ 314791 w 415300"/>
                    <a:gd name="connsiteY46" fmla="*/ 374952 h 393699"/>
                    <a:gd name="connsiteX47" fmla="*/ 321310 w 415300"/>
                    <a:gd name="connsiteY47" fmla="*/ 370265 h 393699"/>
                    <a:gd name="connsiteX48" fmla="*/ 331555 w 415300"/>
                    <a:gd name="connsiteY48" fmla="*/ 350581 h 393699"/>
                    <a:gd name="connsiteX49" fmla="*/ 331555 w 415300"/>
                    <a:gd name="connsiteY49" fmla="*/ 217472 h 393699"/>
                    <a:gd name="connsiteX50" fmla="*/ 399542 w 415300"/>
                    <a:gd name="connsiteY50" fmla="*/ 217472 h 393699"/>
                    <a:gd name="connsiteX51" fmla="*/ 402336 w 415300"/>
                    <a:gd name="connsiteY51" fmla="*/ 212785 h 393699"/>
                    <a:gd name="connsiteX52" fmla="*/ 405130 w 415300"/>
                    <a:gd name="connsiteY52" fmla="*/ 208099 h 393699"/>
                    <a:gd name="connsiteX53" fmla="*/ 362289 w 415300"/>
                    <a:gd name="connsiteY53" fmla="*/ 74053 h 393699"/>
                    <a:gd name="connsiteX54" fmla="*/ 337143 w 415300"/>
                    <a:gd name="connsiteY54" fmla="*/ 64679 h 393699"/>
                    <a:gd name="connsiteX55" fmla="*/ 323173 w 415300"/>
                    <a:gd name="connsiteY55" fmla="*/ 54368 h 393699"/>
                    <a:gd name="connsiteX56" fmla="*/ 237490 w 415300"/>
                    <a:gd name="connsiteY56" fmla="*/ 0 h 39369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</a:cxnLst>
                  <a:rect l="l" t="t" r="r" b="b"/>
                  <a:pathLst>
                    <a:path w="415300" h="393699">
                      <a:moveTo>
                        <a:pt x="237490" y="9374"/>
                      </a:moveTo>
                      <a:cubicBezTo>
                        <a:pt x="270087" y="9374"/>
                        <a:pt x="300821" y="28121"/>
                        <a:pt x="315722" y="58118"/>
                      </a:cubicBezTo>
                      <a:cubicBezTo>
                        <a:pt x="319447" y="65617"/>
                        <a:pt x="326898" y="71241"/>
                        <a:pt x="335280" y="73116"/>
                      </a:cubicBezTo>
                      <a:cubicBezTo>
                        <a:pt x="345525" y="74990"/>
                        <a:pt x="354838" y="79677"/>
                        <a:pt x="363220" y="84364"/>
                      </a:cubicBezTo>
                      <a:cubicBezTo>
                        <a:pt x="403267" y="109674"/>
                        <a:pt x="416306" y="161230"/>
                        <a:pt x="394885" y="202474"/>
                      </a:cubicBezTo>
                      <a:lnTo>
                        <a:pt x="392091" y="207161"/>
                      </a:lnTo>
                      <a:lnTo>
                        <a:pt x="320379" y="207161"/>
                      </a:lnTo>
                      <a:lnTo>
                        <a:pt x="320379" y="350581"/>
                      </a:lnTo>
                      <a:cubicBezTo>
                        <a:pt x="320379" y="355267"/>
                        <a:pt x="317585" y="359954"/>
                        <a:pt x="313859" y="363704"/>
                      </a:cubicBezTo>
                      <a:cubicBezTo>
                        <a:pt x="311997" y="364641"/>
                        <a:pt x="311065" y="366516"/>
                        <a:pt x="309203" y="367453"/>
                      </a:cubicBezTo>
                      <a:cubicBezTo>
                        <a:pt x="292439" y="376827"/>
                        <a:pt x="261705" y="381514"/>
                        <a:pt x="233765" y="383389"/>
                      </a:cubicBezTo>
                      <a:cubicBezTo>
                        <a:pt x="224451" y="384326"/>
                        <a:pt x="215138" y="384326"/>
                        <a:pt x="207687" y="384326"/>
                      </a:cubicBezTo>
                      <a:lnTo>
                        <a:pt x="190923" y="384326"/>
                      </a:lnTo>
                      <a:cubicBezTo>
                        <a:pt x="172297" y="383389"/>
                        <a:pt x="153670" y="381514"/>
                        <a:pt x="135043" y="377765"/>
                      </a:cubicBezTo>
                      <a:cubicBezTo>
                        <a:pt x="129455" y="376827"/>
                        <a:pt x="123867" y="374952"/>
                        <a:pt x="119211" y="373078"/>
                      </a:cubicBezTo>
                      <a:cubicBezTo>
                        <a:pt x="114554" y="371203"/>
                        <a:pt x="109897" y="369328"/>
                        <a:pt x="106172" y="367453"/>
                      </a:cubicBezTo>
                      <a:cubicBezTo>
                        <a:pt x="99653" y="364641"/>
                        <a:pt x="94996" y="358080"/>
                        <a:pt x="94065" y="351518"/>
                      </a:cubicBezTo>
                      <a:lnTo>
                        <a:pt x="94065" y="208099"/>
                      </a:lnTo>
                      <a:lnTo>
                        <a:pt x="9313" y="208099"/>
                      </a:lnTo>
                      <a:lnTo>
                        <a:pt x="10245" y="198725"/>
                      </a:lnTo>
                      <a:cubicBezTo>
                        <a:pt x="13039" y="166854"/>
                        <a:pt x="31665" y="137795"/>
                        <a:pt x="59605" y="122797"/>
                      </a:cubicBezTo>
                      <a:cubicBezTo>
                        <a:pt x="67056" y="119047"/>
                        <a:pt x="73575" y="111548"/>
                        <a:pt x="74507" y="103112"/>
                      </a:cubicBezTo>
                      <a:cubicBezTo>
                        <a:pt x="81026" y="70304"/>
                        <a:pt x="109897" y="45932"/>
                        <a:pt x="143425" y="45932"/>
                      </a:cubicBezTo>
                      <a:cubicBezTo>
                        <a:pt x="145288" y="45932"/>
                        <a:pt x="148082" y="45932"/>
                        <a:pt x="149945" y="45932"/>
                      </a:cubicBezTo>
                      <a:lnTo>
                        <a:pt x="152739" y="45932"/>
                      </a:lnTo>
                      <a:cubicBezTo>
                        <a:pt x="160189" y="45932"/>
                        <a:pt x="167640" y="43120"/>
                        <a:pt x="173228" y="37495"/>
                      </a:cubicBezTo>
                      <a:cubicBezTo>
                        <a:pt x="189992" y="19685"/>
                        <a:pt x="213275" y="9374"/>
                        <a:pt x="237490" y="9374"/>
                      </a:cubicBezTo>
                      <a:moveTo>
                        <a:pt x="237490" y="0"/>
                      </a:moveTo>
                      <a:cubicBezTo>
                        <a:pt x="210481" y="0"/>
                        <a:pt x="185335" y="11249"/>
                        <a:pt x="166709" y="30934"/>
                      </a:cubicBezTo>
                      <a:cubicBezTo>
                        <a:pt x="162983" y="34683"/>
                        <a:pt x="158327" y="36558"/>
                        <a:pt x="153670" y="36558"/>
                      </a:cubicBezTo>
                      <a:lnTo>
                        <a:pt x="151807" y="36558"/>
                      </a:lnTo>
                      <a:cubicBezTo>
                        <a:pt x="149013" y="36558"/>
                        <a:pt x="147151" y="36558"/>
                        <a:pt x="144357" y="36558"/>
                      </a:cubicBezTo>
                      <a:cubicBezTo>
                        <a:pt x="133181" y="36558"/>
                        <a:pt x="122936" y="38433"/>
                        <a:pt x="112691" y="43120"/>
                      </a:cubicBezTo>
                      <a:cubicBezTo>
                        <a:pt x="88477" y="53431"/>
                        <a:pt x="71713" y="74990"/>
                        <a:pt x="67056" y="101237"/>
                      </a:cubicBezTo>
                      <a:cubicBezTo>
                        <a:pt x="65193" y="106861"/>
                        <a:pt x="61468" y="111548"/>
                        <a:pt x="55880" y="114360"/>
                      </a:cubicBezTo>
                      <a:cubicBezTo>
                        <a:pt x="24215" y="131233"/>
                        <a:pt x="3725" y="162167"/>
                        <a:pt x="1863" y="197787"/>
                      </a:cubicBezTo>
                      <a:lnTo>
                        <a:pt x="931" y="207161"/>
                      </a:lnTo>
                      <a:lnTo>
                        <a:pt x="0" y="217472"/>
                      </a:lnTo>
                      <a:lnTo>
                        <a:pt x="84751" y="217472"/>
                      </a:lnTo>
                      <a:lnTo>
                        <a:pt x="84751" y="351518"/>
                      </a:lnTo>
                      <a:cubicBezTo>
                        <a:pt x="85683" y="361829"/>
                        <a:pt x="91271" y="371203"/>
                        <a:pt x="101515" y="375890"/>
                      </a:cubicBezTo>
                      <a:cubicBezTo>
                        <a:pt x="106172" y="378702"/>
                        <a:pt x="110829" y="380577"/>
                        <a:pt x="116417" y="382451"/>
                      </a:cubicBezTo>
                      <a:cubicBezTo>
                        <a:pt x="122005" y="384326"/>
                        <a:pt x="127593" y="385264"/>
                        <a:pt x="134112" y="387138"/>
                      </a:cubicBezTo>
                      <a:cubicBezTo>
                        <a:pt x="152739" y="390888"/>
                        <a:pt x="172297" y="392763"/>
                        <a:pt x="190923" y="393700"/>
                      </a:cubicBezTo>
                      <a:cubicBezTo>
                        <a:pt x="196511" y="393700"/>
                        <a:pt x="203031" y="393700"/>
                        <a:pt x="208619" y="393700"/>
                      </a:cubicBezTo>
                      <a:cubicBezTo>
                        <a:pt x="217001" y="393700"/>
                        <a:pt x="226314" y="393700"/>
                        <a:pt x="235627" y="392763"/>
                      </a:cubicBezTo>
                      <a:cubicBezTo>
                        <a:pt x="260773" y="390888"/>
                        <a:pt x="296164" y="387138"/>
                        <a:pt x="314791" y="374952"/>
                      </a:cubicBezTo>
                      <a:cubicBezTo>
                        <a:pt x="316653" y="374015"/>
                        <a:pt x="319447" y="372140"/>
                        <a:pt x="321310" y="370265"/>
                      </a:cubicBezTo>
                      <a:cubicBezTo>
                        <a:pt x="327829" y="365579"/>
                        <a:pt x="331555" y="358080"/>
                        <a:pt x="331555" y="350581"/>
                      </a:cubicBezTo>
                      <a:lnTo>
                        <a:pt x="331555" y="217472"/>
                      </a:lnTo>
                      <a:lnTo>
                        <a:pt x="399542" y="217472"/>
                      </a:lnTo>
                      <a:lnTo>
                        <a:pt x="402336" y="212785"/>
                      </a:lnTo>
                      <a:lnTo>
                        <a:pt x="405130" y="208099"/>
                      </a:lnTo>
                      <a:cubicBezTo>
                        <a:pt x="428413" y="159355"/>
                        <a:pt x="410718" y="99362"/>
                        <a:pt x="362289" y="74053"/>
                      </a:cubicBezTo>
                      <a:cubicBezTo>
                        <a:pt x="354838" y="69366"/>
                        <a:pt x="345525" y="66554"/>
                        <a:pt x="337143" y="64679"/>
                      </a:cubicBezTo>
                      <a:cubicBezTo>
                        <a:pt x="331555" y="63742"/>
                        <a:pt x="325967" y="59055"/>
                        <a:pt x="323173" y="54368"/>
                      </a:cubicBezTo>
                      <a:cubicBezTo>
                        <a:pt x="307340" y="20622"/>
                        <a:pt x="273812" y="0"/>
                        <a:pt x="237490" y="0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931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sz="800"/>
                </a:p>
              </p:txBody>
            </p:sp>
            <p:sp>
              <p:nvSpPr>
                <p:cNvPr id="194" name="Freeform 13">
                  <a:extLst>
                    <a:ext uri="{FF2B5EF4-FFF2-40B4-BE49-F238E27FC236}">
                      <a16:creationId xmlns:a16="http://schemas.microsoft.com/office/drawing/2014/main" id="{C0EFBA80-95B4-42DE-96B4-A6CAAF9F213A}"/>
                    </a:ext>
                  </a:extLst>
                </p:cNvPr>
                <p:cNvSpPr/>
                <p:nvPr/>
              </p:nvSpPr>
              <p:spPr>
                <a:xfrm>
                  <a:off x="7171459" y="2970480"/>
                  <a:ext cx="395230" cy="198724"/>
                </a:xfrm>
                <a:custGeom>
                  <a:avLst/>
                  <a:gdLst>
                    <a:gd name="connsiteX0" fmla="*/ 353907 w 395230"/>
                    <a:gd name="connsiteY0" fmla="*/ 75928 h 198724"/>
                    <a:gd name="connsiteX1" fmla="*/ 325967 w 395230"/>
                    <a:gd name="connsiteY1" fmla="*/ 64679 h 198724"/>
                    <a:gd name="connsiteX2" fmla="*/ 306409 w 395230"/>
                    <a:gd name="connsiteY2" fmla="*/ 48744 h 198724"/>
                    <a:gd name="connsiteX3" fmla="*/ 228177 w 395230"/>
                    <a:gd name="connsiteY3" fmla="*/ 0 h 198724"/>
                    <a:gd name="connsiteX4" fmla="*/ 163915 w 395230"/>
                    <a:gd name="connsiteY4" fmla="*/ 28121 h 198724"/>
                    <a:gd name="connsiteX5" fmla="*/ 140631 w 395230"/>
                    <a:gd name="connsiteY5" fmla="*/ 36558 h 198724"/>
                    <a:gd name="connsiteX6" fmla="*/ 65193 w 395230"/>
                    <a:gd name="connsiteY6" fmla="*/ 92801 h 198724"/>
                    <a:gd name="connsiteX7" fmla="*/ 50292 w 395230"/>
                    <a:gd name="connsiteY7" fmla="*/ 112486 h 198724"/>
                    <a:gd name="connsiteX8" fmla="*/ 931 w 395230"/>
                    <a:gd name="connsiteY8" fmla="*/ 189351 h 198724"/>
                    <a:gd name="connsiteX9" fmla="*/ 0 w 395230"/>
                    <a:gd name="connsiteY9" fmla="*/ 198725 h 198724"/>
                    <a:gd name="connsiteX10" fmla="*/ 74507 w 395230"/>
                    <a:gd name="connsiteY10" fmla="*/ 198725 h 198724"/>
                    <a:gd name="connsiteX11" fmla="*/ 74507 w 395230"/>
                    <a:gd name="connsiteY11" fmla="*/ 181852 h 198724"/>
                    <a:gd name="connsiteX12" fmla="*/ 18627 w 395230"/>
                    <a:gd name="connsiteY12" fmla="*/ 181852 h 198724"/>
                    <a:gd name="connsiteX13" fmla="*/ 57743 w 395230"/>
                    <a:gd name="connsiteY13" fmla="*/ 128421 h 198724"/>
                    <a:gd name="connsiteX14" fmla="*/ 81026 w 395230"/>
                    <a:gd name="connsiteY14" fmla="*/ 96550 h 198724"/>
                    <a:gd name="connsiteX15" fmla="*/ 137837 w 395230"/>
                    <a:gd name="connsiteY15" fmla="*/ 53431 h 198724"/>
                    <a:gd name="connsiteX16" fmla="*/ 175091 w 395230"/>
                    <a:gd name="connsiteY16" fmla="*/ 39370 h 198724"/>
                    <a:gd name="connsiteX17" fmla="*/ 273812 w 395230"/>
                    <a:gd name="connsiteY17" fmla="*/ 35620 h 198724"/>
                    <a:gd name="connsiteX18" fmla="*/ 288713 w 395230"/>
                    <a:gd name="connsiteY18" fmla="*/ 55305 h 198724"/>
                    <a:gd name="connsiteX19" fmla="*/ 320379 w 395230"/>
                    <a:gd name="connsiteY19" fmla="*/ 79677 h 198724"/>
                    <a:gd name="connsiteX20" fmla="*/ 343662 w 395230"/>
                    <a:gd name="connsiteY20" fmla="*/ 89051 h 198724"/>
                    <a:gd name="connsiteX21" fmla="*/ 370671 w 395230"/>
                    <a:gd name="connsiteY21" fmla="*/ 179977 h 198724"/>
                    <a:gd name="connsiteX22" fmla="*/ 318516 w 395230"/>
                    <a:gd name="connsiteY22" fmla="*/ 179977 h 198724"/>
                    <a:gd name="connsiteX23" fmla="*/ 318516 w 395230"/>
                    <a:gd name="connsiteY23" fmla="*/ 196850 h 198724"/>
                    <a:gd name="connsiteX24" fmla="*/ 380915 w 395230"/>
                    <a:gd name="connsiteY24" fmla="*/ 196850 h 198724"/>
                    <a:gd name="connsiteX25" fmla="*/ 383709 w 395230"/>
                    <a:gd name="connsiteY25" fmla="*/ 192163 h 198724"/>
                    <a:gd name="connsiteX26" fmla="*/ 353907 w 395230"/>
                    <a:gd name="connsiteY26" fmla="*/ 75928 h 19872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</a:cxnLst>
                  <a:rect l="l" t="t" r="r" b="b"/>
                  <a:pathLst>
                    <a:path w="395230" h="198724">
                      <a:moveTo>
                        <a:pt x="353907" y="75928"/>
                      </a:moveTo>
                      <a:cubicBezTo>
                        <a:pt x="345525" y="70304"/>
                        <a:pt x="336211" y="66554"/>
                        <a:pt x="325967" y="64679"/>
                      </a:cubicBezTo>
                      <a:cubicBezTo>
                        <a:pt x="317585" y="62805"/>
                        <a:pt x="310134" y="57180"/>
                        <a:pt x="306409" y="48744"/>
                      </a:cubicBezTo>
                      <a:cubicBezTo>
                        <a:pt x="291507" y="18748"/>
                        <a:pt x="260773" y="0"/>
                        <a:pt x="228177" y="0"/>
                      </a:cubicBezTo>
                      <a:cubicBezTo>
                        <a:pt x="203962" y="0"/>
                        <a:pt x="180679" y="10311"/>
                        <a:pt x="163915" y="28121"/>
                      </a:cubicBezTo>
                      <a:cubicBezTo>
                        <a:pt x="158327" y="34683"/>
                        <a:pt x="149013" y="37495"/>
                        <a:pt x="140631" y="36558"/>
                      </a:cubicBezTo>
                      <a:cubicBezTo>
                        <a:pt x="105241" y="32808"/>
                        <a:pt x="72644" y="57180"/>
                        <a:pt x="65193" y="92801"/>
                      </a:cubicBezTo>
                      <a:cubicBezTo>
                        <a:pt x="63331" y="101237"/>
                        <a:pt x="57743" y="108736"/>
                        <a:pt x="50292" y="112486"/>
                      </a:cubicBezTo>
                      <a:cubicBezTo>
                        <a:pt x="21421" y="127484"/>
                        <a:pt x="2794" y="156543"/>
                        <a:pt x="931" y="189351"/>
                      </a:cubicBezTo>
                      <a:lnTo>
                        <a:pt x="0" y="198725"/>
                      </a:lnTo>
                      <a:lnTo>
                        <a:pt x="74507" y="198725"/>
                      </a:lnTo>
                      <a:lnTo>
                        <a:pt x="74507" y="181852"/>
                      </a:lnTo>
                      <a:lnTo>
                        <a:pt x="18627" y="181852"/>
                      </a:lnTo>
                      <a:cubicBezTo>
                        <a:pt x="23283" y="159355"/>
                        <a:pt x="37253" y="139670"/>
                        <a:pt x="57743" y="128421"/>
                      </a:cubicBezTo>
                      <a:cubicBezTo>
                        <a:pt x="69850" y="121860"/>
                        <a:pt x="79163" y="110611"/>
                        <a:pt x="81026" y="96550"/>
                      </a:cubicBezTo>
                      <a:cubicBezTo>
                        <a:pt x="86614" y="69366"/>
                        <a:pt x="110829" y="50619"/>
                        <a:pt x="137837" y="53431"/>
                      </a:cubicBezTo>
                      <a:cubicBezTo>
                        <a:pt x="151807" y="55305"/>
                        <a:pt x="165777" y="49681"/>
                        <a:pt x="175091" y="39370"/>
                      </a:cubicBezTo>
                      <a:cubicBezTo>
                        <a:pt x="201168" y="11249"/>
                        <a:pt x="245872" y="9374"/>
                        <a:pt x="273812" y="35620"/>
                      </a:cubicBezTo>
                      <a:cubicBezTo>
                        <a:pt x="280331" y="41245"/>
                        <a:pt x="284988" y="47806"/>
                        <a:pt x="288713" y="55305"/>
                      </a:cubicBezTo>
                      <a:cubicBezTo>
                        <a:pt x="295233" y="67491"/>
                        <a:pt x="306409" y="76865"/>
                        <a:pt x="320379" y="79677"/>
                      </a:cubicBezTo>
                      <a:cubicBezTo>
                        <a:pt x="328761" y="81552"/>
                        <a:pt x="336211" y="84364"/>
                        <a:pt x="343662" y="89051"/>
                      </a:cubicBezTo>
                      <a:cubicBezTo>
                        <a:pt x="374396" y="108736"/>
                        <a:pt x="385572" y="147169"/>
                        <a:pt x="370671" y="179977"/>
                      </a:cubicBezTo>
                      <a:lnTo>
                        <a:pt x="318516" y="179977"/>
                      </a:lnTo>
                      <a:lnTo>
                        <a:pt x="318516" y="196850"/>
                      </a:lnTo>
                      <a:lnTo>
                        <a:pt x="380915" y="196850"/>
                      </a:lnTo>
                      <a:lnTo>
                        <a:pt x="383709" y="192163"/>
                      </a:lnTo>
                      <a:cubicBezTo>
                        <a:pt x="406993" y="152793"/>
                        <a:pt x="393954" y="100300"/>
                        <a:pt x="353907" y="75928"/>
                      </a:cubicBezTo>
                      <a:close/>
                    </a:path>
                  </a:pathLst>
                </a:custGeom>
                <a:solidFill>
                  <a:schemeClr val="tx1"/>
                </a:solidFill>
                <a:ln w="931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sz="800"/>
                </a:p>
              </p:txBody>
            </p:sp>
            <p:sp>
              <p:nvSpPr>
                <p:cNvPr id="195" name="Freeform 14">
                  <a:extLst>
                    <a:ext uri="{FF2B5EF4-FFF2-40B4-BE49-F238E27FC236}">
                      <a16:creationId xmlns:a16="http://schemas.microsoft.com/office/drawing/2014/main" id="{978EE546-F4FF-473C-9F63-7731BF33C8C8}"/>
                    </a:ext>
                  </a:extLst>
                </p:cNvPr>
                <p:cNvSpPr/>
                <p:nvPr/>
              </p:nvSpPr>
              <p:spPr>
                <a:xfrm>
                  <a:off x="7256210" y="3089528"/>
                  <a:ext cx="226314" cy="254967"/>
                </a:xfrm>
                <a:custGeom>
                  <a:avLst/>
                  <a:gdLst>
                    <a:gd name="connsiteX0" fmla="*/ 226314 w 226314"/>
                    <a:gd name="connsiteY0" fmla="*/ 36558 h 254967"/>
                    <a:gd name="connsiteX1" fmla="*/ 226314 w 226314"/>
                    <a:gd name="connsiteY1" fmla="*/ 36558 h 254967"/>
                    <a:gd name="connsiteX2" fmla="*/ 226314 w 226314"/>
                    <a:gd name="connsiteY2" fmla="*/ 34683 h 254967"/>
                    <a:gd name="connsiteX3" fmla="*/ 219795 w 226314"/>
                    <a:gd name="connsiteY3" fmla="*/ 21560 h 254967"/>
                    <a:gd name="connsiteX4" fmla="*/ 215138 w 226314"/>
                    <a:gd name="connsiteY4" fmla="*/ 17810 h 254967"/>
                    <a:gd name="connsiteX5" fmla="*/ 139700 w 226314"/>
                    <a:gd name="connsiteY5" fmla="*/ 937 h 254967"/>
                    <a:gd name="connsiteX6" fmla="*/ 113623 w 226314"/>
                    <a:gd name="connsiteY6" fmla="*/ 0 h 254967"/>
                    <a:gd name="connsiteX7" fmla="*/ 96859 w 226314"/>
                    <a:gd name="connsiteY7" fmla="*/ 0 h 254967"/>
                    <a:gd name="connsiteX8" fmla="*/ 40979 w 226314"/>
                    <a:gd name="connsiteY8" fmla="*/ 6562 h 254967"/>
                    <a:gd name="connsiteX9" fmla="*/ 25146 w 226314"/>
                    <a:gd name="connsiteY9" fmla="*/ 11249 h 254967"/>
                    <a:gd name="connsiteX10" fmla="*/ 12107 w 226314"/>
                    <a:gd name="connsiteY10" fmla="*/ 16873 h 254967"/>
                    <a:gd name="connsiteX11" fmla="*/ 0 w 226314"/>
                    <a:gd name="connsiteY11" fmla="*/ 33746 h 254967"/>
                    <a:gd name="connsiteX12" fmla="*/ 0 w 226314"/>
                    <a:gd name="connsiteY12" fmla="*/ 34683 h 254967"/>
                    <a:gd name="connsiteX13" fmla="*/ 0 w 226314"/>
                    <a:gd name="connsiteY13" fmla="*/ 35620 h 254967"/>
                    <a:gd name="connsiteX14" fmla="*/ 0 w 226314"/>
                    <a:gd name="connsiteY14" fmla="*/ 222159 h 254967"/>
                    <a:gd name="connsiteX15" fmla="*/ 12107 w 226314"/>
                    <a:gd name="connsiteY15" fmla="*/ 238095 h 254967"/>
                    <a:gd name="connsiteX16" fmla="*/ 25146 w 226314"/>
                    <a:gd name="connsiteY16" fmla="*/ 243719 h 254967"/>
                    <a:gd name="connsiteX17" fmla="*/ 40979 w 226314"/>
                    <a:gd name="connsiteY17" fmla="*/ 248406 h 254967"/>
                    <a:gd name="connsiteX18" fmla="*/ 96859 w 226314"/>
                    <a:gd name="connsiteY18" fmla="*/ 254968 h 254967"/>
                    <a:gd name="connsiteX19" fmla="*/ 113623 w 226314"/>
                    <a:gd name="connsiteY19" fmla="*/ 254968 h 254967"/>
                    <a:gd name="connsiteX20" fmla="*/ 139700 w 226314"/>
                    <a:gd name="connsiteY20" fmla="*/ 254030 h 254967"/>
                    <a:gd name="connsiteX21" fmla="*/ 215138 w 226314"/>
                    <a:gd name="connsiteY21" fmla="*/ 238095 h 254967"/>
                    <a:gd name="connsiteX22" fmla="*/ 219795 w 226314"/>
                    <a:gd name="connsiteY22" fmla="*/ 234345 h 254967"/>
                    <a:gd name="connsiteX23" fmla="*/ 226314 w 226314"/>
                    <a:gd name="connsiteY23" fmla="*/ 221222 h 254967"/>
                    <a:gd name="connsiteX24" fmla="*/ 226314 w 226314"/>
                    <a:gd name="connsiteY24" fmla="*/ 36558 h 254967"/>
                    <a:gd name="connsiteX25" fmla="*/ 113623 w 226314"/>
                    <a:gd name="connsiteY25" fmla="*/ 15935 h 254967"/>
                    <a:gd name="connsiteX26" fmla="*/ 211413 w 226314"/>
                    <a:gd name="connsiteY26" fmla="*/ 34683 h 254967"/>
                    <a:gd name="connsiteX27" fmla="*/ 113623 w 226314"/>
                    <a:gd name="connsiteY27" fmla="*/ 53431 h 254967"/>
                    <a:gd name="connsiteX28" fmla="*/ 15833 w 226314"/>
                    <a:gd name="connsiteY28" fmla="*/ 34683 h 254967"/>
                    <a:gd name="connsiteX29" fmla="*/ 113623 w 226314"/>
                    <a:gd name="connsiteY29" fmla="*/ 15935 h 254967"/>
                    <a:gd name="connsiteX30" fmla="*/ 14901 w 226314"/>
                    <a:gd name="connsiteY30" fmla="*/ 53431 h 254967"/>
                    <a:gd name="connsiteX31" fmla="*/ 113623 w 226314"/>
                    <a:gd name="connsiteY31" fmla="*/ 68429 h 254967"/>
                    <a:gd name="connsiteX32" fmla="*/ 211413 w 226314"/>
                    <a:gd name="connsiteY32" fmla="*/ 53431 h 254967"/>
                    <a:gd name="connsiteX33" fmla="*/ 211413 w 226314"/>
                    <a:gd name="connsiteY33" fmla="*/ 98425 h 254967"/>
                    <a:gd name="connsiteX34" fmla="*/ 113623 w 226314"/>
                    <a:gd name="connsiteY34" fmla="*/ 116235 h 254967"/>
                    <a:gd name="connsiteX35" fmla="*/ 14901 w 226314"/>
                    <a:gd name="connsiteY35" fmla="*/ 98425 h 254967"/>
                    <a:gd name="connsiteX36" fmla="*/ 14901 w 226314"/>
                    <a:gd name="connsiteY36" fmla="*/ 53431 h 254967"/>
                    <a:gd name="connsiteX37" fmla="*/ 211413 w 226314"/>
                    <a:gd name="connsiteY37" fmla="*/ 117173 h 254967"/>
                    <a:gd name="connsiteX38" fmla="*/ 211413 w 226314"/>
                    <a:gd name="connsiteY38" fmla="*/ 160292 h 254967"/>
                    <a:gd name="connsiteX39" fmla="*/ 113623 w 226314"/>
                    <a:gd name="connsiteY39" fmla="*/ 178102 h 254967"/>
                    <a:gd name="connsiteX40" fmla="*/ 15833 w 226314"/>
                    <a:gd name="connsiteY40" fmla="*/ 159355 h 254967"/>
                    <a:gd name="connsiteX41" fmla="*/ 15833 w 226314"/>
                    <a:gd name="connsiteY41" fmla="*/ 116235 h 254967"/>
                    <a:gd name="connsiteX42" fmla="*/ 113623 w 226314"/>
                    <a:gd name="connsiteY42" fmla="*/ 131233 h 254967"/>
                    <a:gd name="connsiteX43" fmla="*/ 211413 w 226314"/>
                    <a:gd name="connsiteY43" fmla="*/ 117173 h 254967"/>
                    <a:gd name="connsiteX44" fmla="*/ 211413 w 226314"/>
                    <a:gd name="connsiteY44" fmla="*/ 117173 h 254967"/>
                    <a:gd name="connsiteX45" fmla="*/ 113623 w 226314"/>
                    <a:gd name="connsiteY45" fmla="*/ 240907 h 254967"/>
                    <a:gd name="connsiteX46" fmla="*/ 15833 w 226314"/>
                    <a:gd name="connsiteY46" fmla="*/ 223097 h 254967"/>
                    <a:gd name="connsiteX47" fmla="*/ 15833 w 226314"/>
                    <a:gd name="connsiteY47" fmla="*/ 179040 h 254967"/>
                    <a:gd name="connsiteX48" fmla="*/ 113623 w 226314"/>
                    <a:gd name="connsiteY48" fmla="*/ 194038 h 254967"/>
                    <a:gd name="connsiteX49" fmla="*/ 211413 w 226314"/>
                    <a:gd name="connsiteY49" fmla="*/ 179040 h 254967"/>
                    <a:gd name="connsiteX50" fmla="*/ 211413 w 226314"/>
                    <a:gd name="connsiteY50" fmla="*/ 223097 h 254967"/>
                    <a:gd name="connsiteX51" fmla="*/ 113623 w 226314"/>
                    <a:gd name="connsiteY51" fmla="*/ 240907 h 25496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</a:cxnLst>
                  <a:rect l="l" t="t" r="r" b="b"/>
                  <a:pathLst>
                    <a:path w="226314" h="254967">
                      <a:moveTo>
                        <a:pt x="226314" y="36558"/>
                      </a:moveTo>
                      <a:cubicBezTo>
                        <a:pt x="226314" y="36558"/>
                        <a:pt x="226314" y="35620"/>
                        <a:pt x="226314" y="36558"/>
                      </a:cubicBezTo>
                      <a:cubicBezTo>
                        <a:pt x="226314" y="35620"/>
                        <a:pt x="226314" y="34683"/>
                        <a:pt x="226314" y="34683"/>
                      </a:cubicBezTo>
                      <a:cubicBezTo>
                        <a:pt x="226314" y="29059"/>
                        <a:pt x="223520" y="24372"/>
                        <a:pt x="219795" y="21560"/>
                      </a:cubicBezTo>
                      <a:cubicBezTo>
                        <a:pt x="217932" y="20622"/>
                        <a:pt x="217001" y="18748"/>
                        <a:pt x="215138" y="17810"/>
                      </a:cubicBezTo>
                      <a:cubicBezTo>
                        <a:pt x="198374" y="7499"/>
                        <a:pt x="167640" y="2812"/>
                        <a:pt x="139700" y="937"/>
                      </a:cubicBezTo>
                      <a:cubicBezTo>
                        <a:pt x="130387" y="0"/>
                        <a:pt x="121073" y="0"/>
                        <a:pt x="113623" y="0"/>
                      </a:cubicBezTo>
                      <a:cubicBezTo>
                        <a:pt x="108035" y="0"/>
                        <a:pt x="102447" y="0"/>
                        <a:pt x="96859" y="0"/>
                      </a:cubicBezTo>
                      <a:cubicBezTo>
                        <a:pt x="78232" y="937"/>
                        <a:pt x="59605" y="2812"/>
                        <a:pt x="40979" y="6562"/>
                      </a:cubicBezTo>
                      <a:cubicBezTo>
                        <a:pt x="35391" y="7499"/>
                        <a:pt x="29803" y="9374"/>
                        <a:pt x="25146" y="11249"/>
                      </a:cubicBezTo>
                      <a:cubicBezTo>
                        <a:pt x="20489" y="13123"/>
                        <a:pt x="15833" y="14998"/>
                        <a:pt x="12107" y="16873"/>
                      </a:cubicBezTo>
                      <a:cubicBezTo>
                        <a:pt x="5588" y="19685"/>
                        <a:pt x="931" y="26247"/>
                        <a:pt x="0" y="33746"/>
                      </a:cubicBezTo>
                      <a:cubicBezTo>
                        <a:pt x="0" y="33746"/>
                        <a:pt x="0" y="34683"/>
                        <a:pt x="0" y="34683"/>
                      </a:cubicBezTo>
                      <a:cubicBezTo>
                        <a:pt x="0" y="34683"/>
                        <a:pt x="0" y="35620"/>
                        <a:pt x="0" y="35620"/>
                      </a:cubicBezTo>
                      <a:lnTo>
                        <a:pt x="0" y="222159"/>
                      </a:lnTo>
                      <a:cubicBezTo>
                        <a:pt x="931" y="229658"/>
                        <a:pt x="5588" y="235283"/>
                        <a:pt x="12107" y="238095"/>
                      </a:cubicBezTo>
                      <a:cubicBezTo>
                        <a:pt x="15833" y="240907"/>
                        <a:pt x="20489" y="242782"/>
                        <a:pt x="25146" y="243719"/>
                      </a:cubicBezTo>
                      <a:cubicBezTo>
                        <a:pt x="30734" y="245594"/>
                        <a:pt x="35391" y="246531"/>
                        <a:pt x="40979" y="248406"/>
                      </a:cubicBezTo>
                      <a:cubicBezTo>
                        <a:pt x="59605" y="252155"/>
                        <a:pt x="78232" y="254030"/>
                        <a:pt x="96859" y="254968"/>
                      </a:cubicBezTo>
                      <a:lnTo>
                        <a:pt x="113623" y="254968"/>
                      </a:lnTo>
                      <a:cubicBezTo>
                        <a:pt x="122005" y="254968"/>
                        <a:pt x="130387" y="254968"/>
                        <a:pt x="139700" y="254030"/>
                      </a:cubicBezTo>
                      <a:cubicBezTo>
                        <a:pt x="167640" y="252155"/>
                        <a:pt x="198374" y="247469"/>
                        <a:pt x="215138" y="238095"/>
                      </a:cubicBezTo>
                      <a:cubicBezTo>
                        <a:pt x="217001" y="237157"/>
                        <a:pt x="218863" y="236220"/>
                        <a:pt x="219795" y="234345"/>
                      </a:cubicBezTo>
                      <a:cubicBezTo>
                        <a:pt x="223520" y="231533"/>
                        <a:pt x="226314" y="226846"/>
                        <a:pt x="226314" y="221222"/>
                      </a:cubicBezTo>
                      <a:lnTo>
                        <a:pt x="226314" y="36558"/>
                      </a:lnTo>
                      <a:close/>
                      <a:moveTo>
                        <a:pt x="113623" y="15935"/>
                      </a:moveTo>
                      <a:cubicBezTo>
                        <a:pt x="173228" y="15935"/>
                        <a:pt x="208619" y="28121"/>
                        <a:pt x="211413" y="34683"/>
                      </a:cubicBezTo>
                      <a:cubicBezTo>
                        <a:pt x="208619" y="41245"/>
                        <a:pt x="173228" y="53431"/>
                        <a:pt x="113623" y="53431"/>
                      </a:cubicBezTo>
                      <a:cubicBezTo>
                        <a:pt x="54017" y="53431"/>
                        <a:pt x="18627" y="41245"/>
                        <a:pt x="15833" y="34683"/>
                      </a:cubicBezTo>
                      <a:cubicBezTo>
                        <a:pt x="18627" y="28121"/>
                        <a:pt x="54017" y="15935"/>
                        <a:pt x="113623" y="15935"/>
                      </a:cubicBezTo>
                      <a:close/>
                      <a:moveTo>
                        <a:pt x="14901" y="53431"/>
                      </a:moveTo>
                      <a:cubicBezTo>
                        <a:pt x="38185" y="64679"/>
                        <a:pt x="82889" y="68429"/>
                        <a:pt x="113623" y="68429"/>
                      </a:cubicBezTo>
                      <a:cubicBezTo>
                        <a:pt x="144357" y="68429"/>
                        <a:pt x="188129" y="64679"/>
                        <a:pt x="211413" y="53431"/>
                      </a:cubicBezTo>
                      <a:lnTo>
                        <a:pt x="211413" y="98425"/>
                      </a:lnTo>
                      <a:cubicBezTo>
                        <a:pt x="209550" y="102175"/>
                        <a:pt x="181610" y="116235"/>
                        <a:pt x="113623" y="116235"/>
                      </a:cubicBezTo>
                      <a:cubicBezTo>
                        <a:pt x="45635" y="116235"/>
                        <a:pt x="17695" y="103112"/>
                        <a:pt x="14901" y="98425"/>
                      </a:cubicBezTo>
                      <a:lnTo>
                        <a:pt x="14901" y="53431"/>
                      </a:lnTo>
                      <a:close/>
                      <a:moveTo>
                        <a:pt x="211413" y="117173"/>
                      </a:moveTo>
                      <a:lnTo>
                        <a:pt x="211413" y="160292"/>
                      </a:lnTo>
                      <a:cubicBezTo>
                        <a:pt x="209550" y="164979"/>
                        <a:pt x="181610" y="178102"/>
                        <a:pt x="113623" y="178102"/>
                      </a:cubicBezTo>
                      <a:cubicBezTo>
                        <a:pt x="45635" y="178102"/>
                        <a:pt x="17695" y="164042"/>
                        <a:pt x="15833" y="159355"/>
                      </a:cubicBezTo>
                      <a:lnTo>
                        <a:pt x="15833" y="116235"/>
                      </a:lnTo>
                      <a:cubicBezTo>
                        <a:pt x="39116" y="127484"/>
                        <a:pt x="83820" y="131233"/>
                        <a:pt x="113623" y="131233"/>
                      </a:cubicBezTo>
                      <a:cubicBezTo>
                        <a:pt x="143425" y="131233"/>
                        <a:pt x="188129" y="128421"/>
                        <a:pt x="211413" y="117173"/>
                      </a:cubicBezTo>
                      <a:lnTo>
                        <a:pt x="211413" y="117173"/>
                      </a:lnTo>
                      <a:close/>
                      <a:moveTo>
                        <a:pt x="113623" y="240907"/>
                      </a:moveTo>
                      <a:cubicBezTo>
                        <a:pt x="45635" y="240907"/>
                        <a:pt x="17695" y="226846"/>
                        <a:pt x="15833" y="223097"/>
                      </a:cubicBezTo>
                      <a:lnTo>
                        <a:pt x="15833" y="179040"/>
                      </a:lnTo>
                      <a:cubicBezTo>
                        <a:pt x="39116" y="190288"/>
                        <a:pt x="83820" y="194038"/>
                        <a:pt x="113623" y="194038"/>
                      </a:cubicBezTo>
                      <a:cubicBezTo>
                        <a:pt x="143425" y="194038"/>
                        <a:pt x="188129" y="190288"/>
                        <a:pt x="211413" y="179040"/>
                      </a:cubicBezTo>
                      <a:lnTo>
                        <a:pt x="211413" y="223097"/>
                      </a:lnTo>
                      <a:cubicBezTo>
                        <a:pt x="208619" y="226846"/>
                        <a:pt x="181610" y="240907"/>
                        <a:pt x="113623" y="240907"/>
                      </a:cubicBezTo>
                      <a:close/>
                    </a:path>
                  </a:pathLst>
                </a:custGeom>
                <a:solidFill>
                  <a:schemeClr val="tx1"/>
                </a:solidFill>
                <a:ln w="931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sz="800"/>
                </a:p>
              </p:txBody>
            </p:sp>
          </p:grpSp>
          <p:sp>
            <p:nvSpPr>
              <p:cNvPr id="191" name="TextBox 190">
                <a:extLst>
                  <a:ext uri="{FF2B5EF4-FFF2-40B4-BE49-F238E27FC236}">
                    <a16:creationId xmlns:a16="http://schemas.microsoft.com/office/drawing/2014/main" id="{B61BDE31-A5E5-4BFD-BC98-EBC949656D9E}"/>
                  </a:ext>
                </a:extLst>
              </p:cNvPr>
              <p:cNvSpPr txBox="1"/>
              <p:nvPr/>
            </p:nvSpPr>
            <p:spPr>
              <a:xfrm>
                <a:off x="849300" y="3682734"/>
                <a:ext cx="819627" cy="461664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800" dirty="0"/>
                  <a:t>Enterprise Database Service</a:t>
                </a:r>
              </a:p>
            </p:txBody>
          </p:sp>
        </p:grpSp>
        <p:sp>
          <p:nvSpPr>
            <p:cNvPr id="189" name="Rectangle 188">
              <a:extLst>
                <a:ext uri="{FF2B5EF4-FFF2-40B4-BE49-F238E27FC236}">
                  <a16:creationId xmlns:a16="http://schemas.microsoft.com/office/drawing/2014/main" id="{E93FFD9A-5670-450C-B7CE-5831DB75EB00}"/>
                </a:ext>
              </a:extLst>
            </p:cNvPr>
            <p:cNvSpPr/>
            <p:nvPr/>
          </p:nvSpPr>
          <p:spPr>
            <a:xfrm>
              <a:off x="1723388" y="3855353"/>
              <a:ext cx="1463040" cy="9144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96" name="Group 195">
            <a:extLst>
              <a:ext uri="{FF2B5EF4-FFF2-40B4-BE49-F238E27FC236}">
                <a16:creationId xmlns:a16="http://schemas.microsoft.com/office/drawing/2014/main" id="{CF5B48E2-4A82-454C-BF2D-5DEF722B057F}"/>
              </a:ext>
            </a:extLst>
          </p:cNvPr>
          <p:cNvGrpSpPr/>
          <p:nvPr/>
        </p:nvGrpSpPr>
        <p:grpSpPr>
          <a:xfrm>
            <a:off x="2082978" y="4791869"/>
            <a:ext cx="1463040" cy="914400"/>
            <a:chOff x="1723388" y="4774451"/>
            <a:chExt cx="1463040" cy="914400"/>
          </a:xfrm>
        </p:grpSpPr>
        <p:grpSp>
          <p:nvGrpSpPr>
            <p:cNvPr id="197" name="Group 196">
              <a:extLst>
                <a:ext uri="{FF2B5EF4-FFF2-40B4-BE49-F238E27FC236}">
                  <a16:creationId xmlns:a16="http://schemas.microsoft.com/office/drawing/2014/main" id="{61659932-D116-4F80-8FF2-052C3ACCE39A}"/>
                </a:ext>
              </a:extLst>
            </p:cNvPr>
            <p:cNvGrpSpPr/>
            <p:nvPr/>
          </p:nvGrpSpPr>
          <p:grpSpPr>
            <a:xfrm>
              <a:off x="1894885" y="4975456"/>
              <a:ext cx="1182586" cy="512391"/>
              <a:chOff x="476814" y="4675860"/>
              <a:chExt cx="1182586" cy="512391"/>
            </a:xfrm>
          </p:grpSpPr>
          <p:grpSp>
            <p:nvGrpSpPr>
              <p:cNvPr id="199" name="Graphic 70">
                <a:extLst>
                  <a:ext uri="{FF2B5EF4-FFF2-40B4-BE49-F238E27FC236}">
                    <a16:creationId xmlns:a16="http://schemas.microsoft.com/office/drawing/2014/main" id="{D504E1A1-70CE-4BF0-A0DD-A81B6FF2F25C}"/>
                  </a:ext>
                </a:extLst>
              </p:cNvPr>
              <p:cNvGrpSpPr>
                <a:grpSpLocks noChangeAspect="1"/>
              </p:cNvGrpSpPr>
              <p:nvPr/>
            </p:nvGrpSpPr>
            <p:grpSpPr>
              <a:xfrm>
                <a:off x="476814" y="4675860"/>
                <a:ext cx="532401" cy="464723"/>
                <a:chOff x="7162146" y="2961107"/>
                <a:chExt cx="419100" cy="393700"/>
              </a:xfrm>
            </p:grpSpPr>
            <p:sp>
              <p:nvSpPr>
                <p:cNvPr id="201" name="Freeform 18">
                  <a:extLst>
                    <a:ext uri="{FF2B5EF4-FFF2-40B4-BE49-F238E27FC236}">
                      <a16:creationId xmlns:a16="http://schemas.microsoft.com/office/drawing/2014/main" id="{1B2302A3-56EE-47B7-AB18-54D4AA2F5643}"/>
                    </a:ext>
                  </a:extLst>
                </p:cNvPr>
                <p:cNvSpPr/>
                <p:nvPr/>
              </p:nvSpPr>
              <p:spPr>
                <a:xfrm>
                  <a:off x="7167734" y="2965386"/>
                  <a:ext cx="404533" cy="384733"/>
                </a:xfrm>
                <a:custGeom>
                  <a:avLst/>
                  <a:gdLst>
                    <a:gd name="connsiteX0" fmla="*/ 202099 w 404533"/>
                    <a:gd name="connsiteY0" fmla="*/ 384734 h 384733"/>
                    <a:gd name="connsiteX1" fmla="*/ 185335 w 404533"/>
                    <a:gd name="connsiteY1" fmla="*/ 384734 h 384733"/>
                    <a:gd name="connsiteX2" fmla="*/ 128524 w 404533"/>
                    <a:gd name="connsiteY2" fmla="*/ 378172 h 384733"/>
                    <a:gd name="connsiteX3" fmla="*/ 111760 w 404533"/>
                    <a:gd name="connsiteY3" fmla="*/ 373485 h 384733"/>
                    <a:gd name="connsiteX4" fmla="*/ 97790 w 404533"/>
                    <a:gd name="connsiteY4" fmla="*/ 366923 h 384733"/>
                    <a:gd name="connsiteX5" fmla="*/ 83820 w 404533"/>
                    <a:gd name="connsiteY5" fmla="*/ 346301 h 384733"/>
                    <a:gd name="connsiteX6" fmla="*/ 83820 w 404533"/>
                    <a:gd name="connsiteY6" fmla="*/ 208506 h 384733"/>
                    <a:gd name="connsiteX7" fmla="*/ 0 w 404533"/>
                    <a:gd name="connsiteY7" fmla="*/ 208506 h 384733"/>
                    <a:gd name="connsiteX8" fmla="*/ 931 w 404533"/>
                    <a:gd name="connsiteY8" fmla="*/ 194445 h 384733"/>
                    <a:gd name="connsiteX9" fmla="*/ 53086 w 404533"/>
                    <a:gd name="connsiteY9" fmla="*/ 114768 h 384733"/>
                    <a:gd name="connsiteX10" fmla="*/ 65193 w 404533"/>
                    <a:gd name="connsiteY10" fmla="*/ 97895 h 384733"/>
                    <a:gd name="connsiteX11" fmla="*/ 108035 w 404533"/>
                    <a:gd name="connsiteY11" fmla="*/ 43527 h 384733"/>
                    <a:gd name="connsiteX12" fmla="*/ 137837 w 404533"/>
                    <a:gd name="connsiteY12" fmla="*/ 36965 h 384733"/>
                    <a:gd name="connsiteX13" fmla="*/ 145288 w 404533"/>
                    <a:gd name="connsiteY13" fmla="*/ 36965 h 384733"/>
                    <a:gd name="connsiteX14" fmla="*/ 148082 w 404533"/>
                    <a:gd name="connsiteY14" fmla="*/ 36965 h 384733"/>
                    <a:gd name="connsiteX15" fmla="*/ 164846 w 404533"/>
                    <a:gd name="connsiteY15" fmla="*/ 29466 h 384733"/>
                    <a:gd name="connsiteX16" fmla="*/ 294301 w 404533"/>
                    <a:gd name="connsiteY16" fmla="*/ 24779 h 384733"/>
                    <a:gd name="connsiteX17" fmla="*/ 313859 w 404533"/>
                    <a:gd name="connsiteY17" fmla="*/ 51026 h 384733"/>
                    <a:gd name="connsiteX18" fmla="*/ 330623 w 404533"/>
                    <a:gd name="connsiteY18" fmla="*/ 64149 h 384733"/>
                    <a:gd name="connsiteX19" fmla="*/ 402336 w 404533"/>
                    <a:gd name="connsiteY19" fmla="*/ 176635 h 384733"/>
                    <a:gd name="connsiteX20" fmla="*/ 393023 w 404533"/>
                    <a:gd name="connsiteY20" fmla="*/ 201007 h 384733"/>
                    <a:gd name="connsiteX21" fmla="*/ 389297 w 404533"/>
                    <a:gd name="connsiteY21" fmla="*/ 207569 h 384733"/>
                    <a:gd name="connsiteX22" fmla="*/ 319447 w 404533"/>
                    <a:gd name="connsiteY22" fmla="*/ 207569 h 384733"/>
                    <a:gd name="connsiteX23" fmla="*/ 319447 w 404533"/>
                    <a:gd name="connsiteY23" fmla="*/ 346301 h 384733"/>
                    <a:gd name="connsiteX24" fmla="*/ 311065 w 404533"/>
                    <a:gd name="connsiteY24" fmla="*/ 363174 h 384733"/>
                    <a:gd name="connsiteX25" fmla="*/ 305477 w 404533"/>
                    <a:gd name="connsiteY25" fmla="*/ 366923 h 384733"/>
                    <a:gd name="connsiteX26" fmla="*/ 228177 w 404533"/>
                    <a:gd name="connsiteY26" fmla="*/ 383796 h 384733"/>
                    <a:gd name="connsiteX27" fmla="*/ 202099 w 404533"/>
                    <a:gd name="connsiteY27" fmla="*/ 384734 h 3847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</a:cxnLst>
                  <a:rect l="l" t="t" r="r" b="b"/>
                  <a:pathLst>
                    <a:path w="404533" h="384733">
                      <a:moveTo>
                        <a:pt x="202099" y="384734"/>
                      </a:moveTo>
                      <a:lnTo>
                        <a:pt x="185335" y="384734"/>
                      </a:lnTo>
                      <a:cubicBezTo>
                        <a:pt x="166709" y="383796"/>
                        <a:pt x="147151" y="381922"/>
                        <a:pt x="128524" y="378172"/>
                      </a:cubicBezTo>
                      <a:cubicBezTo>
                        <a:pt x="122936" y="377235"/>
                        <a:pt x="117348" y="375360"/>
                        <a:pt x="111760" y="373485"/>
                      </a:cubicBezTo>
                      <a:cubicBezTo>
                        <a:pt x="107103" y="371610"/>
                        <a:pt x="102447" y="369736"/>
                        <a:pt x="97790" y="366923"/>
                      </a:cubicBezTo>
                      <a:cubicBezTo>
                        <a:pt x="89408" y="363174"/>
                        <a:pt x="84751" y="355675"/>
                        <a:pt x="83820" y="346301"/>
                      </a:cubicBezTo>
                      <a:lnTo>
                        <a:pt x="83820" y="208506"/>
                      </a:lnTo>
                      <a:lnTo>
                        <a:pt x="0" y="208506"/>
                      </a:lnTo>
                      <a:lnTo>
                        <a:pt x="931" y="194445"/>
                      </a:lnTo>
                      <a:cubicBezTo>
                        <a:pt x="3725" y="160700"/>
                        <a:pt x="23283" y="129766"/>
                        <a:pt x="53086" y="114768"/>
                      </a:cubicBezTo>
                      <a:cubicBezTo>
                        <a:pt x="59605" y="111018"/>
                        <a:pt x="64262" y="105394"/>
                        <a:pt x="65193" y="97895"/>
                      </a:cubicBezTo>
                      <a:cubicBezTo>
                        <a:pt x="69850" y="73523"/>
                        <a:pt x="85683" y="53838"/>
                        <a:pt x="108035" y="43527"/>
                      </a:cubicBezTo>
                      <a:cubicBezTo>
                        <a:pt x="117348" y="39777"/>
                        <a:pt x="127593" y="36965"/>
                        <a:pt x="137837" y="36965"/>
                      </a:cubicBezTo>
                      <a:cubicBezTo>
                        <a:pt x="139700" y="36965"/>
                        <a:pt x="142494" y="36965"/>
                        <a:pt x="145288" y="36965"/>
                      </a:cubicBezTo>
                      <a:lnTo>
                        <a:pt x="148082" y="36965"/>
                      </a:lnTo>
                      <a:cubicBezTo>
                        <a:pt x="154601" y="36965"/>
                        <a:pt x="160189" y="34153"/>
                        <a:pt x="164846" y="29466"/>
                      </a:cubicBezTo>
                      <a:cubicBezTo>
                        <a:pt x="199305" y="-8029"/>
                        <a:pt x="257048" y="-9904"/>
                        <a:pt x="294301" y="24779"/>
                      </a:cubicBezTo>
                      <a:cubicBezTo>
                        <a:pt x="302683" y="32278"/>
                        <a:pt x="309203" y="40715"/>
                        <a:pt x="313859" y="51026"/>
                      </a:cubicBezTo>
                      <a:cubicBezTo>
                        <a:pt x="317585" y="57588"/>
                        <a:pt x="323173" y="62275"/>
                        <a:pt x="330623" y="64149"/>
                      </a:cubicBezTo>
                      <a:cubicBezTo>
                        <a:pt x="380915" y="75398"/>
                        <a:pt x="413512" y="126016"/>
                        <a:pt x="402336" y="176635"/>
                      </a:cubicBezTo>
                      <a:cubicBezTo>
                        <a:pt x="400473" y="185071"/>
                        <a:pt x="397679" y="193508"/>
                        <a:pt x="393023" y="201007"/>
                      </a:cubicBezTo>
                      <a:lnTo>
                        <a:pt x="389297" y="207569"/>
                      </a:lnTo>
                      <a:lnTo>
                        <a:pt x="319447" y="207569"/>
                      </a:lnTo>
                      <a:lnTo>
                        <a:pt x="319447" y="346301"/>
                      </a:lnTo>
                      <a:cubicBezTo>
                        <a:pt x="319447" y="352863"/>
                        <a:pt x="315722" y="359424"/>
                        <a:pt x="311065" y="363174"/>
                      </a:cubicBezTo>
                      <a:cubicBezTo>
                        <a:pt x="309203" y="364111"/>
                        <a:pt x="307340" y="365986"/>
                        <a:pt x="305477" y="366923"/>
                      </a:cubicBezTo>
                      <a:cubicBezTo>
                        <a:pt x="285919" y="379109"/>
                        <a:pt x="248666" y="382859"/>
                        <a:pt x="228177" y="383796"/>
                      </a:cubicBezTo>
                      <a:cubicBezTo>
                        <a:pt x="218863" y="384734"/>
                        <a:pt x="210481" y="384734"/>
                        <a:pt x="202099" y="384734"/>
                      </a:cubicBezTo>
                      <a:close/>
                    </a:path>
                  </a:pathLst>
                </a:custGeom>
                <a:noFill/>
                <a:ln w="931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sz="800" dirty="0"/>
                </a:p>
              </p:txBody>
            </p:sp>
            <p:sp>
              <p:nvSpPr>
                <p:cNvPr id="202" name="Freeform 19">
                  <a:extLst>
                    <a:ext uri="{FF2B5EF4-FFF2-40B4-BE49-F238E27FC236}">
                      <a16:creationId xmlns:a16="http://schemas.microsoft.com/office/drawing/2014/main" id="{A1E6FAE0-D27B-439A-8F83-75E74E6442C5}"/>
                    </a:ext>
                  </a:extLst>
                </p:cNvPr>
                <p:cNvSpPr/>
                <p:nvPr/>
              </p:nvSpPr>
              <p:spPr>
                <a:xfrm>
                  <a:off x="7162146" y="2961107"/>
                  <a:ext cx="415300" cy="393699"/>
                </a:xfrm>
                <a:custGeom>
                  <a:avLst/>
                  <a:gdLst>
                    <a:gd name="connsiteX0" fmla="*/ 237490 w 415300"/>
                    <a:gd name="connsiteY0" fmla="*/ 9374 h 393699"/>
                    <a:gd name="connsiteX1" fmla="*/ 315722 w 415300"/>
                    <a:gd name="connsiteY1" fmla="*/ 58118 h 393699"/>
                    <a:gd name="connsiteX2" fmla="*/ 335280 w 415300"/>
                    <a:gd name="connsiteY2" fmla="*/ 73116 h 393699"/>
                    <a:gd name="connsiteX3" fmla="*/ 363220 w 415300"/>
                    <a:gd name="connsiteY3" fmla="*/ 84364 h 393699"/>
                    <a:gd name="connsiteX4" fmla="*/ 394885 w 415300"/>
                    <a:gd name="connsiteY4" fmla="*/ 202474 h 393699"/>
                    <a:gd name="connsiteX5" fmla="*/ 392091 w 415300"/>
                    <a:gd name="connsiteY5" fmla="*/ 207161 h 393699"/>
                    <a:gd name="connsiteX6" fmla="*/ 320379 w 415300"/>
                    <a:gd name="connsiteY6" fmla="*/ 207161 h 393699"/>
                    <a:gd name="connsiteX7" fmla="*/ 320379 w 415300"/>
                    <a:gd name="connsiteY7" fmla="*/ 350581 h 393699"/>
                    <a:gd name="connsiteX8" fmla="*/ 313859 w 415300"/>
                    <a:gd name="connsiteY8" fmla="*/ 363704 h 393699"/>
                    <a:gd name="connsiteX9" fmla="*/ 309203 w 415300"/>
                    <a:gd name="connsiteY9" fmla="*/ 367453 h 393699"/>
                    <a:gd name="connsiteX10" fmla="*/ 233765 w 415300"/>
                    <a:gd name="connsiteY10" fmla="*/ 383389 h 393699"/>
                    <a:gd name="connsiteX11" fmla="*/ 207687 w 415300"/>
                    <a:gd name="connsiteY11" fmla="*/ 384326 h 393699"/>
                    <a:gd name="connsiteX12" fmla="*/ 190923 w 415300"/>
                    <a:gd name="connsiteY12" fmla="*/ 384326 h 393699"/>
                    <a:gd name="connsiteX13" fmla="*/ 135043 w 415300"/>
                    <a:gd name="connsiteY13" fmla="*/ 377765 h 393699"/>
                    <a:gd name="connsiteX14" fmla="*/ 119211 w 415300"/>
                    <a:gd name="connsiteY14" fmla="*/ 373078 h 393699"/>
                    <a:gd name="connsiteX15" fmla="*/ 106172 w 415300"/>
                    <a:gd name="connsiteY15" fmla="*/ 367453 h 393699"/>
                    <a:gd name="connsiteX16" fmla="*/ 94065 w 415300"/>
                    <a:gd name="connsiteY16" fmla="*/ 351518 h 393699"/>
                    <a:gd name="connsiteX17" fmla="*/ 94065 w 415300"/>
                    <a:gd name="connsiteY17" fmla="*/ 208099 h 393699"/>
                    <a:gd name="connsiteX18" fmla="*/ 9313 w 415300"/>
                    <a:gd name="connsiteY18" fmla="*/ 208099 h 393699"/>
                    <a:gd name="connsiteX19" fmla="*/ 10245 w 415300"/>
                    <a:gd name="connsiteY19" fmla="*/ 198725 h 393699"/>
                    <a:gd name="connsiteX20" fmla="*/ 59605 w 415300"/>
                    <a:gd name="connsiteY20" fmla="*/ 122797 h 393699"/>
                    <a:gd name="connsiteX21" fmla="*/ 74507 w 415300"/>
                    <a:gd name="connsiteY21" fmla="*/ 103112 h 393699"/>
                    <a:gd name="connsiteX22" fmla="*/ 143425 w 415300"/>
                    <a:gd name="connsiteY22" fmla="*/ 45932 h 393699"/>
                    <a:gd name="connsiteX23" fmla="*/ 149945 w 415300"/>
                    <a:gd name="connsiteY23" fmla="*/ 45932 h 393699"/>
                    <a:gd name="connsiteX24" fmla="*/ 152739 w 415300"/>
                    <a:gd name="connsiteY24" fmla="*/ 45932 h 393699"/>
                    <a:gd name="connsiteX25" fmla="*/ 173228 w 415300"/>
                    <a:gd name="connsiteY25" fmla="*/ 37495 h 393699"/>
                    <a:gd name="connsiteX26" fmla="*/ 237490 w 415300"/>
                    <a:gd name="connsiteY26" fmla="*/ 9374 h 393699"/>
                    <a:gd name="connsiteX27" fmla="*/ 237490 w 415300"/>
                    <a:gd name="connsiteY27" fmla="*/ 0 h 393699"/>
                    <a:gd name="connsiteX28" fmla="*/ 166709 w 415300"/>
                    <a:gd name="connsiteY28" fmla="*/ 30934 h 393699"/>
                    <a:gd name="connsiteX29" fmla="*/ 153670 w 415300"/>
                    <a:gd name="connsiteY29" fmla="*/ 36558 h 393699"/>
                    <a:gd name="connsiteX30" fmla="*/ 151807 w 415300"/>
                    <a:gd name="connsiteY30" fmla="*/ 36558 h 393699"/>
                    <a:gd name="connsiteX31" fmla="*/ 144357 w 415300"/>
                    <a:gd name="connsiteY31" fmla="*/ 36558 h 393699"/>
                    <a:gd name="connsiteX32" fmla="*/ 112691 w 415300"/>
                    <a:gd name="connsiteY32" fmla="*/ 43120 h 393699"/>
                    <a:gd name="connsiteX33" fmla="*/ 67056 w 415300"/>
                    <a:gd name="connsiteY33" fmla="*/ 101237 h 393699"/>
                    <a:gd name="connsiteX34" fmla="*/ 55880 w 415300"/>
                    <a:gd name="connsiteY34" fmla="*/ 114360 h 393699"/>
                    <a:gd name="connsiteX35" fmla="*/ 1863 w 415300"/>
                    <a:gd name="connsiteY35" fmla="*/ 197787 h 393699"/>
                    <a:gd name="connsiteX36" fmla="*/ 931 w 415300"/>
                    <a:gd name="connsiteY36" fmla="*/ 207161 h 393699"/>
                    <a:gd name="connsiteX37" fmla="*/ 0 w 415300"/>
                    <a:gd name="connsiteY37" fmla="*/ 217472 h 393699"/>
                    <a:gd name="connsiteX38" fmla="*/ 84751 w 415300"/>
                    <a:gd name="connsiteY38" fmla="*/ 217472 h 393699"/>
                    <a:gd name="connsiteX39" fmla="*/ 84751 w 415300"/>
                    <a:gd name="connsiteY39" fmla="*/ 351518 h 393699"/>
                    <a:gd name="connsiteX40" fmla="*/ 101515 w 415300"/>
                    <a:gd name="connsiteY40" fmla="*/ 375890 h 393699"/>
                    <a:gd name="connsiteX41" fmla="*/ 116417 w 415300"/>
                    <a:gd name="connsiteY41" fmla="*/ 382451 h 393699"/>
                    <a:gd name="connsiteX42" fmla="*/ 134112 w 415300"/>
                    <a:gd name="connsiteY42" fmla="*/ 387138 h 393699"/>
                    <a:gd name="connsiteX43" fmla="*/ 190923 w 415300"/>
                    <a:gd name="connsiteY43" fmla="*/ 393700 h 393699"/>
                    <a:gd name="connsiteX44" fmla="*/ 208619 w 415300"/>
                    <a:gd name="connsiteY44" fmla="*/ 393700 h 393699"/>
                    <a:gd name="connsiteX45" fmla="*/ 235627 w 415300"/>
                    <a:gd name="connsiteY45" fmla="*/ 392763 h 393699"/>
                    <a:gd name="connsiteX46" fmla="*/ 314791 w 415300"/>
                    <a:gd name="connsiteY46" fmla="*/ 374952 h 393699"/>
                    <a:gd name="connsiteX47" fmla="*/ 321310 w 415300"/>
                    <a:gd name="connsiteY47" fmla="*/ 370265 h 393699"/>
                    <a:gd name="connsiteX48" fmla="*/ 331555 w 415300"/>
                    <a:gd name="connsiteY48" fmla="*/ 350581 h 393699"/>
                    <a:gd name="connsiteX49" fmla="*/ 331555 w 415300"/>
                    <a:gd name="connsiteY49" fmla="*/ 217472 h 393699"/>
                    <a:gd name="connsiteX50" fmla="*/ 399542 w 415300"/>
                    <a:gd name="connsiteY50" fmla="*/ 217472 h 393699"/>
                    <a:gd name="connsiteX51" fmla="*/ 402336 w 415300"/>
                    <a:gd name="connsiteY51" fmla="*/ 212785 h 393699"/>
                    <a:gd name="connsiteX52" fmla="*/ 405130 w 415300"/>
                    <a:gd name="connsiteY52" fmla="*/ 208099 h 393699"/>
                    <a:gd name="connsiteX53" fmla="*/ 362289 w 415300"/>
                    <a:gd name="connsiteY53" fmla="*/ 74053 h 393699"/>
                    <a:gd name="connsiteX54" fmla="*/ 337143 w 415300"/>
                    <a:gd name="connsiteY54" fmla="*/ 64679 h 393699"/>
                    <a:gd name="connsiteX55" fmla="*/ 323173 w 415300"/>
                    <a:gd name="connsiteY55" fmla="*/ 54368 h 393699"/>
                    <a:gd name="connsiteX56" fmla="*/ 237490 w 415300"/>
                    <a:gd name="connsiteY56" fmla="*/ 0 h 39369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</a:cxnLst>
                  <a:rect l="l" t="t" r="r" b="b"/>
                  <a:pathLst>
                    <a:path w="415300" h="393699">
                      <a:moveTo>
                        <a:pt x="237490" y="9374"/>
                      </a:moveTo>
                      <a:cubicBezTo>
                        <a:pt x="270087" y="9374"/>
                        <a:pt x="300821" y="28121"/>
                        <a:pt x="315722" y="58118"/>
                      </a:cubicBezTo>
                      <a:cubicBezTo>
                        <a:pt x="319447" y="65617"/>
                        <a:pt x="326898" y="71241"/>
                        <a:pt x="335280" y="73116"/>
                      </a:cubicBezTo>
                      <a:cubicBezTo>
                        <a:pt x="345525" y="74990"/>
                        <a:pt x="354838" y="79677"/>
                        <a:pt x="363220" y="84364"/>
                      </a:cubicBezTo>
                      <a:cubicBezTo>
                        <a:pt x="403267" y="109674"/>
                        <a:pt x="416306" y="161230"/>
                        <a:pt x="394885" y="202474"/>
                      </a:cubicBezTo>
                      <a:lnTo>
                        <a:pt x="392091" y="207161"/>
                      </a:lnTo>
                      <a:lnTo>
                        <a:pt x="320379" y="207161"/>
                      </a:lnTo>
                      <a:lnTo>
                        <a:pt x="320379" y="350581"/>
                      </a:lnTo>
                      <a:cubicBezTo>
                        <a:pt x="320379" y="355267"/>
                        <a:pt x="317585" y="359954"/>
                        <a:pt x="313859" y="363704"/>
                      </a:cubicBezTo>
                      <a:cubicBezTo>
                        <a:pt x="311997" y="364641"/>
                        <a:pt x="311065" y="366516"/>
                        <a:pt x="309203" y="367453"/>
                      </a:cubicBezTo>
                      <a:cubicBezTo>
                        <a:pt x="292439" y="376827"/>
                        <a:pt x="261705" y="381514"/>
                        <a:pt x="233765" y="383389"/>
                      </a:cubicBezTo>
                      <a:cubicBezTo>
                        <a:pt x="224451" y="384326"/>
                        <a:pt x="215138" y="384326"/>
                        <a:pt x="207687" y="384326"/>
                      </a:cubicBezTo>
                      <a:lnTo>
                        <a:pt x="190923" y="384326"/>
                      </a:lnTo>
                      <a:cubicBezTo>
                        <a:pt x="172297" y="383389"/>
                        <a:pt x="153670" y="381514"/>
                        <a:pt x="135043" y="377765"/>
                      </a:cubicBezTo>
                      <a:cubicBezTo>
                        <a:pt x="129455" y="376827"/>
                        <a:pt x="123867" y="374952"/>
                        <a:pt x="119211" y="373078"/>
                      </a:cubicBezTo>
                      <a:cubicBezTo>
                        <a:pt x="114554" y="371203"/>
                        <a:pt x="109897" y="369328"/>
                        <a:pt x="106172" y="367453"/>
                      </a:cubicBezTo>
                      <a:cubicBezTo>
                        <a:pt x="99653" y="364641"/>
                        <a:pt x="94996" y="358080"/>
                        <a:pt x="94065" y="351518"/>
                      </a:cubicBezTo>
                      <a:lnTo>
                        <a:pt x="94065" y="208099"/>
                      </a:lnTo>
                      <a:lnTo>
                        <a:pt x="9313" y="208099"/>
                      </a:lnTo>
                      <a:lnTo>
                        <a:pt x="10245" y="198725"/>
                      </a:lnTo>
                      <a:cubicBezTo>
                        <a:pt x="13039" y="166854"/>
                        <a:pt x="31665" y="137795"/>
                        <a:pt x="59605" y="122797"/>
                      </a:cubicBezTo>
                      <a:cubicBezTo>
                        <a:pt x="67056" y="119047"/>
                        <a:pt x="73575" y="111548"/>
                        <a:pt x="74507" y="103112"/>
                      </a:cubicBezTo>
                      <a:cubicBezTo>
                        <a:pt x="81026" y="70304"/>
                        <a:pt x="109897" y="45932"/>
                        <a:pt x="143425" y="45932"/>
                      </a:cubicBezTo>
                      <a:cubicBezTo>
                        <a:pt x="145288" y="45932"/>
                        <a:pt x="148082" y="45932"/>
                        <a:pt x="149945" y="45932"/>
                      </a:cubicBezTo>
                      <a:lnTo>
                        <a:pt x="152739" y="45932"/>
                      </a:lnTo>
                      <a:cubicBezTo>
                        <a:pt x="160189" y="45932"/>
                        <a:pt x="167640" y="43120"/>
                        <a:pt x="173228" y="37495"/>
                      </a:cubicBezTo>
                      <a:cubicBezTo>
                        <a:pt x="189992" y="19685"/>
                        <a:pt x="213275" y="9374"/>
                        <a:pt x="237490" y="9374"/>
                      </a:cubicBezTo>
                      <a:moveTo>
                        <a:pt x="237490" y="0"/>
                      </a:moveTo>
                      <a:cubicBezTo>
                        <a:pt x="210481" y="0"/>
                        <a:pt x="185335" y="11249"/>
                        <a:pt x="166709" y="30934"/>
                      </a:cubicBezTo>
                      <a:cubicBezTo>
                        <a:pt x="162983" y="34683"/>
                        <a:pt x="158327" y="36558"/>
                        <a:pt x="153670" y="36558"/>
                      </a:cubicBezTo>
                      <a:lnTo>
                        <a:pt x="151807" y="36558"/>
                      </a:lnTo>
                      <a:cubicBezTo>
                        <a:pt x="149013" y="36558"/>
                        <a:pt x="147151" y="36558"/>
                        <a:pt x="144357" y="36558"/>
                      </a:cubicBezTo>
                      <a:cubicBezTo>
                        <a:pt x="133181" y="36558"/>
                        <a:pt x="122936" y="38433"/>
                        <a:pt x="112691" y="43120"/>
                      </a:cubicBezTo>
                      <a:cubicBezTo>
                        <a:pt x="88477" y="53431"/>
                        <a:pt x="71713" y="74990"/>
                        <a:pt x="67056" y="101237"/>
                      </a:cubicBezTo>
                      <a:cubicBezTo>
                        <a:pt x="65193" y="106861"/>
                        <a:pt x="61468" y="111548"/>
                        <a:pt x="55880" y="114360"/>
                      </a:cubicBezTo>
                      <a:cubicBezTo>
                        <a:pt x="24215" y="131233"/>
                        <a:pt x="3725" y="162167"/>
                        <a:pt x="1863" y="197787"/>
                      </a:cubicBezTo>
                      <a:lnTo>
                        <a:pt x="931" y="207161"/>
                      </a:lnTo>
                      <a:lnTo>
                        <a:pt x="0" y="217472"/>
                      </a:lnTo>
                      <a:lnTo>
                        <a:pt x="84751" y="217472"/>
                      </a:lnTo>
                      <a:lnTo>
                        <a:pt x="84751" y="351518"/>
                      </a:lnTo>
                      <a:cubicBezTo>
                        <a:pt x="85683" y="361829"/>
                        <a:pt x="91271" y="371203"/>
                        <a:pt x="101515" y="375890"/>
                      </a:cubicBezTo>
                      <a:cubicBezTo>
                        <a:pt x="106172" y="378702"/>
                        <a:pt x="110829" y="380577"/>
                        <a:pt x="116417" y="382451"/>
                      </a:cubicBezTo>
                      <a:cubicBezTo>
                        <a:pt x="122005" y="384326"/>
                        <a:pt x="127593" y="385264"/>
                        <a:pt x="134112" y="387138"/>
                      </a:cubicBezTo>
                      <a:cubicBezTo>
                        <a:pt x="152739" y="390888"/>
                        <a:pt x="172297" y="392763"/>
                        <a:pt x="190923" y="393700"/>
                      </a:cubicBezTo>
                      <a:cubicBezTo>
                        <a:pt x="196511" y="393700"/>
                        <a:pt x="203031" y="393700"/>
                        <a:pt x="208619" y="393700"/>
                      </a:cubicBezTo>
                      <a:cubicBezTo>
                        <a:pt x="217001" y="393700"/>
                        <a:pt x="226314" y="393700"/>
                        <a:pt x="235627" y="392763"/>
                      </a:cubicBezTo>
                      <a:cubicBezTo>
                        <a:pt x="260773" y="390888"/>
                        <a:pt x="296164" y="387138"/>
                        <a:pt x="314791" y="374952"/>
                      </a:cubicBezTo>
                      <a:cubicBezTo>
                        <a:pt x="316653" y="374015"/>
                        <a:pt x="319447" y="372140"/>
                        <a:pt x="321310" y="370265"/>
                      </a:cubicBezTo>
                      <a:cubicBezTo>
                        <a:pt x="327829" y="365579"/>
                        <a:pt x="331555" y="358080"/>
                        <a:pt x="331555" y="350581"/>
                      </a:cubicBezTo>
                      <a:lnTo>
                        <a:pt x="331555" y="217472"/>
                      </a:lnTo>
                      <a:lnTo>
                        <a:pt x="399542" y="217472"/>
                      </a:lnTo>
                      <a:lnTo>
                        <a:pt x="402336" y="212785"/>
                      </a:lnTo>
                      <a:lnTo>
                        <a:pt x="405130" y="208099"/>
                      </a:lnTo>
                      <a:cubicBezTo>
                        <a:pt x="428413" y="159355"/>
                        <a:pt x="410718" y="99362"/>
                        <a:pt x="362289" y="74053"/>
                      </a:cubicBezTo>
                      <a:cubicBezTo>
                        <a:pt x="354838" y="69366"/>
                        <a:pt x="345525" y="66554"/>
                        <a:pt x="337143" y="64679"/>
                      </a:cubicBezTo>
                      <a:cubicBezTo>
                        <a:pt x="331555" y="63742"/>
                        <a:pt x="325967" y="59055"/>
                        <a:pt x="323173" y="54368"/>
                      </a:cubicBezTo>
                      <a:cubicBezTo>
                        <a:pt x="307340" y="20622"/>
                        <a:pt x="273812" y="0"/>
                        <a:pt x="237490" y="0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931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sz="800"/>
                </a:p>
              </p:txBody>
            </p:sp>
            <p:sp>
              <p:nvSpPr>
                <p:cNvPr id="203" name="Freeform 20">
                  <a:extLst>
                    <a:ext uri="{FF2B5EF4-FFF2-40B4-BE49-F238E27FC236}">
                      <a16:creationId xmlns:a16="http://schemas.microsoft.com/office/drawing/2014/main" id="{19149C36-1312-4018-AB60-7B93F9E94E0D}"/>
                    </a:ext>
                  </a:extLst>
                </p:cNvPr>
                <p:cNvSpPr/>
                <p:nvPr/>
              </p:nvSpPr>
              <p:spPr>
                <a:xfrm>
                  <a:off x="7171459" y="2970480"/>
                  <a:ext cx="395230" cy="198724"/>
                </a:xfrm>
                <a:custGeom>
                  <a:avLst/>
                  <a:gdLst>
                    <a:gd name="connsiteX0" fmla="*/ 353907 w 395230"/>
                    <a:gd name="connsiteY0" fmla="*/ 75928 h 198724"/>
                    <a:gd name="connsiteX1" fmla="*/ 325967 w 395230"/>
                    <a:gd name="connsiteY1" fmla="*/ 64679 h 198724"/>
                    <a:gd name="connsiteX2" fmla="*/ 306409 w 395230"/>
                    <a:gd name="connsiteY2" fmla="*/ 48744 h 198724"/>
                    <a:gd name="connsiteX3" fmla="*/ 228177 w 395230"/>
                    <a:gd name="connsiteY3" fmla="*/ 0 h 198724"/>
                    <a:gd name="connsiteX4" fmla="*/ 163915 w 395230"/>
                    <a:gd name="connsiteY4" fmla="*/ 28121 h 198724"/>
                    <a:gd name="connsiteX5" fmla="*/ 140631 w 395230"/>
                    <a:gd name="connsiteY5" fmla="*/ 36558 h 198724"/>
                    <a:gd name="connsiteX6" fmla="*/ 65193 w 395230"/>
                    <a:gd name="connsiteY6" fmla="*/ 92801 h 198724"/>
                    <a:gd name="connsiteX7" fmla="*/ 50292 w 395230"/>
                    <a:gd name="connsiteY7" fmla="*/ 112486 h 198724"/>
                    <a:gd name="connsiteX8" fmla="*/ 931 w 395230"/>
                    <a:gd name="connsiteY8" fmla="*/ 189351 h 198724"/>
                    <a:gd name="connsiteX9" fmla="*/ 0 w 395230"/>
                    <a:gd name="connsiteY9" fmla="*/ 198725 h 198724"/>
                    <a:gd name="connsiteX10" fmla="*/ 74507 w 395230"/>
                    <a:gd name="connsiteY10" fmla="*/ 198725 h 198724"/>
                    <a:gd name="connsiteX11" fmla="*/ 74507 w 395230"/>
                    <a:gd name="connsiteY11" fmla="*/ 181852 h 198724"/>
                    <a:gd name="connsiteX12" fmla="*/ 18627 w 395230"/>
                    <a:gd name="connsiteY12" fmla="*/ 181852 h 198724"/>
                    <a:gd name="connsiteX13" fmla="*/ 57743 w 395230"/>
                    <a:gd name="connsiteY13" fmla="*/ 128421 h 198724"/>
                    <a:gd name="connsiteX14" fmla="*/ 81026 w 395230"/>
                    <a:gd name="connsiteY14" fmla="*/ 96550 h 198724"/>
                    <a:gd name="connsiteX15" fmla="*/ 137837 w 395230"/>
                    <a:gd name="connsiteY15" fmla="*/ 53431 h 198724"/>
                    <a:gd name="connsiteX16" fmla="*/ 175091 w 395230"/>
                    <a:gd name="connsiteY16" fmla="*/ 39370 h 198724"/>
                    <a:gd name="connsiteX17" fmla="*/ 273812 w 395230"/>
                    <a:gd name="connsiteY17" fmla="*/ 35620 h 198724"/>
                    <a:gd name="connsiteX18" fmla="*/ 288713 w 395230"/>
                    <a:gd name="connsiteY18" fmla="*/ 55305 h 198724"/>
                    <a:gd name="connsiteX19" fmla="*/ 320379 w 395230"/>
                    <a:gd name="connsiteY19" fmla="*/ 79677 h 198724"/>
                    <a:gd name="connsiteX20" fmla="*/ 343662 w 395230"/>
                    <a:gd name="connsiteY20" fmla="*/ 89051 h 198724"/>
                    <a:gd name="connsiteX21" fmla="*/ 370671 w 395230"/>
                    <a:gd name="connsiteY21" fmla="*/ 179977 h 198724"/>
                    <a:gd name="connsiteX22" fmla="*/ 318516 w 395230"/>
                    <a:gd name="connsiteY22" fmla="*/ 179977 h 198724"/>
                    <a:gd name="connsiteX23" fmla="*/ 318516 w 395230"/>
                    <a:gd name="connsiteY23" fmla="*/ 196850 h 198724"/>
                    <a:gd name="connsiteX24" fmla="*/ 380915 w 395230"/>
                    <a:gd name="connsiteY24" fmla="*/ 196850 h 198724"/>
                    <a:gd name="connsiteX25" fmla="*/ 383709 w 395230"/>
                    <a:gd name="connsiteY25" fmla="*/ 192163 h 198724"/>
                    <a:gd name="connsiteX26" fmla="*/ 353907 w 395230"/>
                    <a:gd name="connsiteY26" fmla="*/ 75928 h 19872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</a:cxnLst>
                  <a:rect l="l" t="t" r="r" b="b"/>
                  <a:pathLst>
                    <a:path w="395230" h="198724">
                      <a:moveTo>
                        <a:pt x="353907" y="75928"/>
                      </a:moveTo>
                      <a:cubicBezTo>
                        <a:pt x="345525" y="70304"/>
                        <a:pt x="336211" y="66554"/>
                        <a:pt x="325967" y="64679"/>
                      </a:cubicBezTo>
                      <a:cubicBezTo>
                        <a:pt x="317585" y="62805"/>
                        <a:pt x="310134" y="57180"/>
                        <a:pt x="306409" y="48744"/>
                      </a:cubicBezTo>
                      <a:cubicBezTo>
                        <a:pt x="291507" y="18748"/>
                        <a:pt x="260773" y="0"/>
                        <a:pt x="228177" y="0"/>
                      </a:cubicBezTo>
                      <a:cubicBezTo>
                        <a:pt x="203962" y="0"/>
                        <a:pt x="180679" y="10311"/>
                        <a:pt x="163915" y="28121"/>
                      </a:cubicBezTo>
                      <a:cubicBezTo>
                        <a:pt x="158327" y="34683"/>
                        <a:pt x="149013" y="37495"/>
                        <a:pt x="140631" y="36558"/>
                      </a:cubicBezTo>
                      <a:cubicBezTo>
                        <a:pt x="105241" y="32808"/>
                        <a:pt x="72644" y="57180"/>
                        <a:pt x="65193" y="92801"/>
                      </a:cubicBezTo>
                      <a:cubicBezTo>
                        <a:pt x="63331" y="101237"/>
                        <a:pt x="57743" y="108736"/>
                        <a:pt x="50292" y="112486"/>
                      </a:cubicBezTo>
                      <a:cubicBezTo>
                        <a:pt x="21421" y="127484"/>
                        <a:pt x="2794" y="156543"/>
                        <a:pt x="931" y="189351"/>
                      </a:cubicBezTo>
                      <a:lnTo>
                        <a:pt x="0" y="198725"/>
                      </a:lnTo>
                      <a:lnTo>
                        <a:pt x="74507" y="198725"/>
                      </a:lnTo>
                      <a:lnTo>
                        <a:pt x="74507" y="181852"/>
                      </a:lnTo>
                      <a:lnTo>
                        <a:pt x="18627" y="181852"/>
                      </a:lnTo>
                      <a:cubicBezTo>
                        <a:pt x="23283" y="159355"/>
                        <a:pt x="37253" y="139670"/>
                        <a:pt x="57743" y="128421"/>
                      </a:cubicBezTo>
                      <a:cubicBezTo>
                        <a:pt x="69850" y="121860"/>
                        <a:pt x="79163" y="110611"/>
                        <a:pt x="81026" y="96550"/>
                      </a:cubicBezTo>
                      <a:cubicBezTo>
                        <a:pt x="86614" y="69366"/>
                        <a:pt x="110829" y="50619"/>
                        <a:pt x="137837" y="53431"/>
                      </a:cubicBezTo>
                      <a:cubicBezTo>
                        <a:pt x="151807" y="55305"/>
                        <a:pt x="165777" y="49681"/>
                        <a:pt x="175091" y="39370"/>
                      </a:cubicBezTo>
                      <a:cubicBezTo>
                        <a:pt x="201168" y="11249"/>
                        <a:pt x="245872" y="9374"/>
                        <a:pt x="273812" y="35620"/>
                      </a:cubicBezTo>
                      <a:cubicBezTo>
                        <a:pt x="280331" y="41245"/>
                        <a:pt x="284988" y="47806"/>
                        <a:pt x="288713" y="55305"/>
                      </a:cubicBezTo>
                      <a:cubicBezTo>
                        <a:pt x="295233" y="67491"/>
                        <a:pt x="306409" y="76865"/>
                        <a:pt x="320379" y="79677"/>
                      </a:cubicBezTo>
                      <a:cubicBezTo>
                        <a:pt x="328761" y="81552"/>
                        <a:pt x="336211" y="84364"/>
                        <a:pt x="343662" y="89051"/>
                      </a:cubicBezTo>
                      <a:cubicBezTo>
                        <a:pt x="374396" y="108736"/>
                        <a:pt x="385572" y="147169"/>
                        <a:pt x="370671" y="179977"/>
                      </a:cubicBezTo>
                      <a:lnTo>
                        <a:pt x="318516" y="179977"/>
                      </a:lnTo>
                      <a:lnTo>
                        <a:pt x="318516" y="196850"/>
                      </a:lnTo>
                      <a:lnTo>
                        <a:pt x="380915" y="196850"/>
                      </a:lnTo>
                      <a:lnTo>
                        <a:pt x="383709" y="192163"/>
                      </a:lnTo>
                      <a:cubicBezTo>
                        <a:pt x="406993" y="152793"/>
                        <a:pt x="393954" y="100300"/>
                        <a:pt x="353907" y="75928"/>
                      </a:cubicBezTo>
                      <a:close/>
                    </a:path>
                  </a:pathLst>
                </a:custGeom>
                <a:solidFill>
                  <a:schemeClr val="tx1"/>
                </a:solidFill>
                <a:ln w="931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sz="800"/>
                </a:p>
              </p:txBody>
            </p:sp>
            <p:sp>
              <p:nvSpPr>
                <p:cNvPr id="204" name="Freeform 21">
                  <a:extLst>
                    <a:ext uri="{FF2B5EF4-FFF2-40B4-BE49-F238E27FC236}">
                      <a16:creationId xmlns:a16="http://schemas.microsoft.com/office/drawing/2014/main" id="{9F3EA9D0-B7E9-495C-867A-B6D69AF5AD23}"/>
                    </a:ext>
                  </a:extLst>
                </p:cNvPr>
                <p:cNvSpPr/>
                <p:nvPr/>
              </p:nvSpPr>
              <p:spPr>
                <a:xfrm>
                  <a:off x="7256210" y="3089528"/>
                  <a:ext cx="226314" cy="254967"/>
                </a:xfrm>
                <a:custGeom>
                  <a:avLst/>
                  <a:gdLst>
                    <a:gd name="connsiteX0" fmla="*/ 226314 w 226314"/>
                    <a:gd name="connsiteY0" fmla="*/ 36558 h 254967"/>
                    <a:gd name="connsiteX1" fmla="*/ 226314 w 226314"/>
                    <a:gd name="connsiteY1" fmla="*/ 36558 h 254967"/>
                    <a:gd name="connsiteX2" fmla="*/ 226314 w 226314"/>
                    <a:gd name="connsiteY2" fmla="*/ 34683 h 254967"/>
                    <a:gd name="connsiteX3" fmla="*/ 219795 w 226314"/>
                    <a:gd name="connsiteY3" fmla="*/ 21560 h 254967"/>
                    <a:gd name="connsiteX4" fmla="*/ 215138 w 226314"/>
                    <a:gd name="connsiteY4" fmla="*/ 17810 h 254967"/>
                    <a:gd name="connsiteX5" fmla="*/ 139700 w 226314"/>
                    <a:gd name="connsiteY5" fmla="*/ 937 h 254967"/>
                    <a:gd name="connsiteX6" fmla="*/ 113623 w 226314"/>
                    <a:gd name="connsiteY6" fmla="*/ 0 h 254967"/>
                    <a:gd name="connsiteX7" fmla="*/ 96859 w 226314"/>
                    <a:gd name="connsiteY7" fmla="*/ 0 h 254967"/>
                    <a:gd name="connsiteX8" fmla="*/ 40979 w 226314"/>
                    <a:gd name="connsiteY8" fmla="*/ 6562 h 254967"/>
                    <a:gd name="connsiteX9" fmla="*/ 25146 w 226314"/>
                    <a:gd name="connsiteY9" fmla="*/ 11249 h 254967"/>
                    <a:gd name="connsiteX10" fmla="*/ 12107 w 226314"/>
                    <a:gd name="connsiteY10" fmla="*/ 16873 h 254967"/>
                    <a:gd name="connsiteX11" fmla="*/ 0 w 226314"/>
                    <a:gd name="connsiteY11" fmla="*/ 33746 h 254967"/>
                    <a:gd name="connsiteX12" fmla="*/ 0 w 226314"/>
                    <a:gd name="connsiteY12" fmla="*/ 34683 h 254967"/>
                    <a:gd name="connsiteX13" fmla="*/ 0 w 226314"/>
                    <a:gd name="connsiteY13" fmla="*/ 35620 h 254967"/>
                    <a:gd name="connsiteX14" fmla="*/ 0 w 226314"/>
                    <a:gd name="connsiteY14" fmla="*/ 222159 h 254967"/>
                    <a:gd name="connsiteX15" fmla="*/ 12107 w 226314"/>
                    <a:gd name="connsiteY15" fmla="*/ 238095 h 254967"/>
                    <a:gd name="connsiteX16" fmla="*/ 25146 w 226314"/>
                    <a:gd name="connsiteY16" fmla="*/ 243719 h 254967"/>
                    <a:gd name="connsiteX17" fmla="*/ 40979 w 226314"/>
                    <a:gd name="connsiteY17" fmla="*/ 248406 h 254967"/>
                    <a:gd name="connsiteX18" fmla="*/ 96859 w 226314"/>
                    <a:gd name="connsiteY18" fmla="*/ 254968 h 254967"/>
                    <a:gd name="connsiteX19" fmla="*/ 113623 w 226314"/>
                    <a:gd name="connsiteY19" fmla="*/ 254968 h 254967"/>
                    <a:gd name="connsiteX20" fmla="*/ 139700 w 226314"/>
                    <a:gd name="connsiteY20" fmla="*/ 254030 h 254967"/>
                    <a:gd name="connsiteX21" fmla="*/ 215138 w 226314"/>
                    <a:gd name="connsiteY21" fmla="*/ 238095 h 254967"/>
                    <a:gd name="connsiteX22" fmla="*/ 219795 w 226314"/>
                    <a:gd name="connsiteY22" fmla="*/ 234345 h 254967"/>
                    <a:gd name="connsiteX23" fmla="*/ 226314 w 226314"/>
                    <a:gd name="connsiteY23" fmla="*/ 221222 h 254967"/>
                    <a:gd name="connsiteX24" fmla="*/ 226314 w 226314"/>
                    <a:gd name="connsiteY24" fmla="*/ 36558 h 254967"/>
                    <a:gd name="connsiteX25" fmla="*/ 113623 w 226314"/>
                    <a:gd name="connsiteY25" fmla="*/ 15935 h 254967"/>
                    <a:gd name="connsiteX26" fmla="*/ 211413 w 226314"/>
                    <a:gd name="connsiteY26" fmla="*/ 34683 h 254967"/>
                    <a:gd name="connsiteX27" fmla="*/ 113623 w 226314"/>
                    <a:gd name="connsiteY27" fmla="*/ 53431 h 254967"/>
                    <a:gd name="connsiteX28" fmla="*/ 15833 w 226314"/>
                    <a:gd name="connsiteY28" fmla="*/ 34683 h 254967"/>
                    <a:gd name="connsiteX29" fmla="*/ 113623 w 226314"/>
                    <a:gd name="connsiteY29" fmla="*/ 15935 h 254967"/>
                    <a:gd name="connsiteX30" fmla="*/ 14901 w 226314"/>
                    <a:gd name="connsiteY30" fmla="*/ 53431 h 254967"/>
                    <a:gd name="connsiteX31" fmla="*/ 113623 w 226314"/>
                    <a:gd name="connsiteY31" fmla="*/ 68429 h 254967"/>
                    <a:gd name="connsiteX32" fmla="*/ 211413 w 226314"/>
                    <a:gd name="connsiteY32" fmla="*/ 53431 h 254967"/>
                    <a:gd name="connsiteX33" fmla="*/ 211413 w 226314"/>
                    <a:gd name="connsiteY33" fmla="*/ 98425 h 254967"/>
                    <a:gd name="connsiteX34" fmla="*/ 113623 w 226314"/>
                    <a:gd name="connsiteY34" fmla="*/ 116235 h 254967"/>
                    <a:gd name="connsiteX35" fmla="*/ 14901 w 226314"/>
                    <a:gd name="connsiteY35" fmla="*/ 98425 h 254967"/>
                    <a:gd name="connsiteX36" fmla="*/ 14901 w 226314"/>
                    <a:gd name="connsiteY36" fmla="*/ 53431 h 254967"/>
                    <a:gd name="connsiteX37" fmla="*/ 211413 w 226314"/>
                    <a:gd name="connsiteY37" fmla="*/ 117173 h 254967"/>
                    <a:gd name="connsiteX38" fmla="*/ 211413 w 226314"/>
                    <a:gd name="connsiteY38" fmla="*/ 160292 h 254967"/>
                    <a:gd name="connsiteX39" fmla="*/ 113623 w 226314"/>
                    <a:gd name="connsiteY39" fmla="*/ 178102 h 254967"/>
                    <a:gd name="connsiteX40" fmla="*/ 15833 w 226314"/>
                    <a:gd name="connsiteY40" fmla="*/ 159355 h 254967"/>
                    <a:gd name="connsiteX41" fmla="*/ 15833 w 226314"/>
                    <a:gd name="connsiteY41" fmla="*/ 116235 h 254967"/>
                    <a:gd name="connsiteX42" fmla="*/ 113623 w 226314"/>
                    <a:gd name="connsiteY42" fmla="*/ 131233 h 254967"/>
                    <a:gd name="connsiteX43" fmla="*/ 211413 w 226314"/>
                    <a:gd name="connsiteY43" fmla="*/ 117173 h 254967"/>
                    <a:gd name="connsiteX44" fmla="*/ 211413 w 226314"/>
                    <a:gd name="connsiteY44" fmla="*/ 117173 h 254967"/>
                    <a:gd name="connsiteX45" fmla="*/ 113623 w 226314"/>
                    <a:gd name="connsiteY45" fmla="*/ 240907 h 254967"/>
                    <a:gd name="connsiteX46" fmla="*/ 15833 w 226314"/>
                    <a:gd name="connsiteY46" fmla="*/ 223097 h 254967"/>
                    <a:gd name="connsiteX47" fmla="*/ 15833 w 226314"/>
                    <a:gd name="connsiteY47" fmla="*/ 179040 h 254967"/>
                    <a:gd name="connsiteX48" fmla="*/ 113623 w 226314"/>
                    <a:gd name="connsiteY48" fmla="*/ 194038 h 254967"/>
                    <a:gd name="connsiteX49" fmla="*/ 211413 w 226314"/>
                    <a:gd name="connsiteY49" fmla="*/ 179040 h 254967"/>
                    <a:gd name="connsiteX50" fmla="*/ 211413 w 226314"/>
                    <a:gd name="connsiteY50" fmla="*/ 223097 h 254967"/>
                    <a:gd name="connsiteX51" fmla="*/ 113623 w 226314"/>
                    <a:gd name="connsiteY51" fmla="*/ 240907 h 25496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</a:cxnLst>
                  <a:rect l="l" t="t" r="r" b="b"/>
                  <a:pathLst>
                    <a:path w="226314" h="254967">
                      <a:moveTo>
                        <a:pt x="226314" y="36558"/>
                      </a:moveTo>
                      <a:cubicBezTo>
                        <a:pt x="226314" y="36558"/>
                        <a:pt x="226314" y="35620"/>
                        <a:pt x="226314" y="36558"/>
                      </a:cubicBezTo>
                      <a:cubicBezTo>
                        <a:pt x="226314" y="35620"/>
                        <a:pt x="226314" y="34683"/>
                        <a:pt x="226314" y="34683"/>
                      </a:cubicBezTo>
                      <a:cubicBezTo>
                        <a:pt x="226314" y="29059"/>
                        <a:pt x="223520" y="24372"/>
                        <a:pt x="219795" y="21560"/>
                      </a:cubicBezTo>
                      <a:cubicBezTo>
                        <a:pt x="217932" y="20622"/>
                        <a:pt x="217001" y="18748"/>
                        <a:pt x="215138" y="17810"/>
                      </a:cubicBezTo>
                      <a:cubicBezTo>
                        <a:pt x="198374" y="7499"/>
                        <a:pt x="167640" y="2812"/>
                        <a:pt x="139700" y="937"/>
                      </a:cubicBezTo>
                      <a:cubicBezTo>
                        <a:pt x="130387" y="0"/>
                        <a:pt x="121073" y="0"/>
                        <a:pt x="113623" y="0"/>
                      </a:cubicBezTo>
                      <a:cubicBezTo>
                        <a:pt x="108035" y="0"/>
                        <a:pt x="102447" y="0"/>
                        <a:pt x="96859" y="0"/>
                      </a:cubicBezTo>
                      <a:cubicBezTo>
                        <a:pt x="78232" y="937"/>
                        <a:pt x="59605" y="2812"/>
                        <a:pt x="40979" y="6562"/>
                      </a:cubicBezTo>
                      <a:cubicBezTo>
                        <a:pt x="35391" y="7499"/>
                        <a:pt x="29803" y="9374"/>
                        <a:pt x="25146" y="11249"/>
                      </a:cubicBezTo>
                      <a:cubicBezTo>
                        <a:pt x="20489" y="13123"/>
                        <a:pt x="15833" y="14998"/>
                        <a:pt x="12107" y="16873"/>
                      </a:cubicBezTo>
                      <a:cubicBezTo>
                        <a:pt x="5588" y="19685"/>
                        <a:pt x="931" y="26247"/>
                        <a:pt x="0" y="33746"/>
                      </a:cubicBezTo>
                      <a:cubicBezTo>
                        <a:pt x="0" y="33746"/>
                        <a:pt x="0" y="34683"/>
                        <a:pt x="0" y="34683"/>
                      </a:cubicBezTo>
                      <a:cubicBezTo>
                        <a:pt x="0" y="34683"/>
                        <a:pt x="0" y="35620"/>
                        <a:pt x="0" y="35620"/>
                      </a:cubicBezTo>
                      <a:lnTo>
                        <a:pt x="0" y="222159"/>
                      </a:lnTo>
                      <a:cubicBezTo>
                        <a:pt x="931" y="229658"/>
                        <a:pt x="5588" y="235283"/>
                        <a:pt x="12107" y="238095"/>
                      </a:cubicBezTo>
                      <a:cubicBezTo>
                        <a:pt x="15833" y="240907"/>
                        <a:pt x="20489" y="242782"/>
                        <a:pt x="25146" y="243719"/>
                      </a:cubicBezTo>
                      <a:cubicBezTo>
                        <a:pt x="30734" y="245594"/>
                        <a:pt x="35391" y="246531"/>
                        <a:pt x="40979" y="248406"/>
                      </a:cubicBezTo>
                      <a:cubicBezTo>
                        <a:pt x="59605" y="252155"/>
                        <a:pt x="78232" y="254030"/>
                        <a:pt x="96859" y="254968"/>
                      </a:cubicBezTo>
                      <a:lnTo>
                        <a:pt x="113623" y="254968"/>
                      </a:lnTo>
                      <a:cubicBezTo>
                        <a:pt x="122005" y="254968"/>
                        <a:pt x="130387" y="254968"/>
                        <a:pt x="139700" y="254030"/>
                      </a:cubicBezTo>
                      <a:cubicBezTo>
                        <a:pt x="167640" y="252155"/>
                        <a:pt x="198374" y="247469"/>
                        <a:pt x="215138" y="238095"/>
                      </a:cubicBezTo>
                      <a:cubicBezTo>
                        <a:pt x="217001" y="237157"/>
                        <a:pt x="218863" y="236220"/>
                        <a:pt x="219795" y="234345"/>
                      </a:cubicBezTo>
                      <a:cubicBezTo>
                        <a:pt x="223520" y="231533"/>
                        <a:pt x="226314" y="226846"/>
                        <a:pt x="226314" y="221222"/>
                      </a:cubicBezTo>
                      <a:lnTo>
                        <a:pt x="226314" y="36558"/>
                      </a:lnTo>
                      <a:close/>
                      <a:moveTo>
                        <a:pt x="113623" y="15935"/>
                      </a:moveTo>
                      <a:cubicBezTo>
                        <a:pt x="173228" y="15935"/>
                        <a:pt x="208619" y="28121"/>
                        <a:pt x="211413" y="34683"/>
                      </a:cubicBezTo>
                      <a:cubicBezTo>
                        <a:pt x="208619" y="41245"/>
                        <a:pt x="173228" y="53431"/>
                        <a:pt x="113623" y="53431"/>
                      </a:cubicBezTo>
                      <a:cubicBezTo>
                        <a:pt x="54017" y="53431"/>
                        <a:pt x="18627" y="41245"/>
                        <a:pt x="15833" y="34683"/>
                      </a:cubicBezTo>
                      <a:cubicBezTo>
                        <a:pt x="18627" y="28121"/>
                        <a:pt x="54017" y="15935"/>
                        <a:pt x="113623" y="15935"/>
                      </a:cubicBezTo>
                      <a:close/>
                      <a:moveTo>
                        <a:pt x="14901" y="53431"/>
                      </a:moveTo>
                      <a:cubicBezTo>
                        <a:pt x="38185" y="64679"/>
                        <a:pt x="82889" y="68429"/>
                        <a:pt x="113623" y="68429"/>
                      </a:cubicBezTo>
                      <a:cubicBezTo>
                        <a:pt x="144357" y="68429"/>
                        <a:pt x="188129" y="64679"/>
                        <a:pt x="211413" y="53431"/>
                      </a:cubicBezTo>
                      <a:lnTo>
                        <a:pt x="211413" y="98425"/>
                      </a:lnTo>
                      <a:cubicBezTo>
                        <a:pt x="209550" y="102175"/>
                        <a:pt x="181610" y="116235"/>
                        <a:pt x="113623" y="116235"/>
                      </a:cubicBezTo>
                      <a:cubicBezTo>
                        <a:pt x="45635" y="116235"/>
                        <a:pt x="17695" y="103112"/>
                        <a:pt x="14901" y="98425"/>
                      </a:cubicBezTo>
                      <a:lnTo>
                        <a:pt x="14901" y="53431"/>
                      </a:lnTo>
                      <a:close/>
                      <a:moveTo>
                        <a:pt x="211413" y="117173"/>
                      </a:moveTo>
                      <a:lnTo>
                        <a:pt x="211413" y="160292"/>
                      </a:lnTo>
                      <a:cubicBezTo>
                        <a:pt x="209550" y="164979"/>
                        <a:pt x="181610" y="178102"/>
                        <a:pt x="113623" y="178102"/>
                      </a:cubicBezTo>
                      <a:cubicBezTo>
                        <a:pt x="45635" y="178102"/>
                        <a:pt x="17695" y="164042"/>
                        <a:pt x="15833" y="159355"/>
                      </a:cubicBezTo>
                      <a:lnTo>
                        <a:pt x="15833" y="116235"/>
                      </a:lnTo>
                      <a:cubicBezTo>
                        <a:pt x="39116" y="127484"/>
                        <a:pt x="83820" y="131233"/>
                        <a:pt x="113623" y="131233"/>
                      </a:cubicBezTo>
                      <a:cubicBezTo>
                        <a:pt x="143425" y="131233"/>
                        <a:pt x="188129" y="128421"/>
                        <a:pt x="211413" y="117173"/>
                      </a:cubicBezTo>
                      <a:lnTo>
                        <a:pt x="211413" y="117173"/>
                      </a:lnTo>
                      <a:close/>
                      <a:moveTo>
                        <a:pt x="113623" y="240907"/>
                      </a:moveTo>
                      <a:cubicBezTo>
                        <a:pt x="45635" y="240907"/>
                        <a:pt x="17695" y="226846"/>
                        <a:pt x="15833" y="223097"/>
                      </a:cubicBezTo>
                      <a:lnTo>
                        <a:pt x="15833" y="179040"/>
                      </a:lnTo>
                      <a:cubicBezTo>
                        <a:pt x="39116" y="190288"/>
                        <a:pt x="83820" y="194038"/>
                        <a:pt x="113623" y="194038"/>
                      </a:cubicBezTo>
                      <a:cubicBezTo>
                        <a:pt x="143425" y="194038"/>
                        <a:pt x="188129" y="190288"/>
                        <a:pt x="211413" y="179040"/>
                      </a:cubicBezTo>
                      <a:lnTo>
                        <a:pt x="211413" y="223097"/>
                      </a:lnTo>
                      <a:cubicBezTo>
                        <a:pt x="208619" y="226846"/>
                        <a:pt x="181610" y="240907"/>
                        <a:pt x="113623" y="240907"/>
                      </a:cubicBezTo>
                      <a:close/>
                    </a:path>
                  </a:pathLst>
                </a:custGeom>
                <a:solidFill>
                  <a:schemeClr val="tx1"/>
                </a:solidFill>
                <a:ln w="931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sz="800"/>
                </a:p>
              </p:txBody>
            </p:sp>
          </p:grpSp>
          <p:sp>
            <p:nvSpPr>
              <p:cNvPr id="200" name="TextBox 199">
                <a:extLst>
                  <a:ext uri="{FF2B5EF4-FFF2-40B4-BE49-F238E27FC236}">
                    <a16:creationId xmlns:a16="http://schemas.microsoft.com/office/drawing/2014/main" id="{01FEFC50-11D4-4AEE-86B6-83A8EC823D58}"/>
                  </a:ext>
                </a:extLst>
              </p:cNvPr>
              <p:cNvSpPr txBox="1"/>
              <p:nvPr/>
            </p:nvSpPr>
            <p:spPr>
              <a:xfrm>
                <a:off x="858826" y="4726587"/>
                <a:ext cx="800574" cy="461664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800" dirty="0"/>
                  <a:t>Standard Database Service</a:t>
                </a:r>
              </a:p>
            </p:txBody>
          </p:sp>
        </p:grpSp>
        <p:sp>
          <p:nvSpPr>
            <p:cNvPr id="198" name="Rectangle 197">
              <a:extLst>
                <a:ext uri="{FF2B5EF4-FFF2-40B4-BE49-F238E27FC236}">
                  <a16:creationId xmlns:a16="http://schemas.microsoft.com/office/drawing/2014/main" id="{523E7CF3-D5A0-45FC-9772-30897AA3D8CA}"/>
                </a:ext>
              </a:extLst>
            </p:cNvPr>
            <p:cNvSpPr/>
            <p:nvPr/>
          </p:nvSpPr>
          <p:spPr>
            <a:xfrm>
              <a:off x="1723388" y="4774451"/>
              <a:ext cx="1463040" cy="9144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330" name="Group 329">
            <a:extLst>
              <a:ext uri="{FF2B5EF4-FFF2-40B4-BE49-F238E27FC236}">
                <a16:creationId xmlns:a16="http://schemas.microsoft.com/office/drawing/2014/main" id="{A7B95D91-C9DA-454F-A72A-5D2DF8B49422}"/>
              </a:ext>
            </a:extLst>
          </p:cNvPr>
          <p:cNvGrpSpPr/>
          <p:nvPr/>
        </p:nvGrpSpPr>
        <p:grpSpPr>
          <a:xfrm>
            <a:off x="2191560" y="1919566"/>
            <a:ext cx="1029449" cy="712826"/>
            <a:chOff x="555438" y="2298417"/>
            <a:chExt cx="1029449" cy="712826"/>
          </a:xfrm>
        </p:grpSpPr>
        <p:pic>
          <p:nvPicPr>
            <p:cNvPr id="207" name="Picture Placeholder 23">
              <a:extLst>
                <a:ext uri="{FF2B5EF4-FFF2-40B4-BE49-F238E27FC236}">
                  <a16:creationId xmlns:a16="http://schemas.microsoft.com/office/drawing/2014/main" id="{AF971509-6C06-4DEA-8A0C-7C1EAF832A9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9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="" xmlns:asvg="http://schemas.microsoft.com/office/drawing/2016/SVG/main" r:embed="rId10"/>
                </a:ext>
              </a:extLst>
            </a:blip>
            <a:srcRect/>
            <a:stretch/>
          </p:blipFill>
          <p:spPr>
            <a:xfrm>
              <a:off x="777473" y="2298417"/>
              <a:ext cx="585379" cy="585379"/>
            </a:xfrm>
            <a:prstGeom prst="rect">
              <a:avLst/>
            </a:prstGeom>
          </p:spPr>
        </p:pic>
        <p:sp>
          <p:nvSpPr>
            <p:cNvPr id="213" name="TextBox 212">
              <a:extLst>
                <a:ext uri="{FF2B5EF4-FFF2-40B4-BE49-F238E27FC236}">
                  <a16:creationId xmlns:a16="http://schemas.microsoft.com/office/drawing/2014/main" id="{39B78CB4-170E-465D-8411-7D18ABBB2482}"/>
                </a:ext>
              </a:extLst>
            </p:cNvPr>
            <p:cNvSpPr txBox="1"/>
            <p:nvPr/>
          </p:nvSpPr>
          <p:spPr>
            <a:xfrm>
              <a:off x="555438" y="2765022"/>
              <a:ext cx="1029449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000" dirty="0">
                  <a:solidFill>
                    <a:srgbClr val="594564"/>
                  </a:solidFill>
                </a:rPr>
                <a:t>Purchase/Sale</a:t>
              </a:r>
            </a:p>
          </p:txBody>
        </p:sp>
      </p:grpSp>
      <p:grpSp>
        <p:nvGrpSpPr>
          <p:cNvPr id="331" name="Group 330">
            <a:extLst>
              <a:ext uri="{FF2B5EF4-FFF2-40B4-BE49-F238E27FC236}">
                <a16:creationId xmlns:a16="http://schemas.microsoft.com/office/drawing/2014/main" id="{F24854DC-A574-4DF8-939A-F2F1F901E1BE}"/>
              </a:ext>
            </a:extLst>
          </p:cNvPr>
          <p:cNvGrpSpPr/>
          <p:nvPr/>
        </p:nvGrpSpPr>
        <p:grpSpPr>
          <a:xfrm>
            <a:off x="3263297" y="1949945"/>
            <a:ext cx="930063" cy="685672"/>
            <a:chOff x="605131" y="2998209"/>
            <a:chExt cx="930063" cy="685672"/>
          </a:xfrm>
        </p:grpSpPr>
        <p:pic>
          <p:nvPicPr>
            <p:cNvPr id="210" name="Picture Placeholder 34">
              <a:extLst>
                <a:ext uri="{FF2B5EF4-FFF2-40B4-BE49-F238E27FC236}">
                  <a16:creationId xmlns:a16="http://schemas.microsoft.com/office/drawing/2014/main" id="{8EDE9D3B-241D-428A-BBFC-985CFCCB246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1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="" xmlns:asvg="http://schemas.microsoft.com/office/drawing/2016/SVG/main" r:embed="rId12"/>
                </a:ext>
              </a:extLst>
            </a:blip>
            <a:srcRect/>
            <a:stretch/>
          </p:blipFill>
          <p:spPr>
            <a:xfrm>
              <a:off x="777376" y="2998209"/>
              <a:ext cx="585572" cy="585572"/>
            </a:xfrm>
            <a:prstGeom prst="rect">
              <a:avLst/>
            </a:prstGeom>
          </p:spPr>
        </p:pic>
        <p:sp>
          <p:nvSpPr>
            <p:cNvPr id="214" name="TextBox 213">
              <a:extLst>
                <a:ext uri="{FF2B5EF4-FFF2-40B4-BE49-F238E27FC236}">
                  <a16:creationId xmlns:a16="http://schemas.microsoft.com/office/drawing/2014/main" id="{77945AAF-575E-4281-8C6C-8C46B2350CA7}"/>
                </a:ext>
              </a:extLst>
            </p:cNvPr>
            <p:cNvSpPr txBox="1"/>
            <p:nvPr/>
          </p:nvSpPr>
          <p:spPr>
            <a:xfrm>
              <a:off x="605131" y="3437660"/>
              <a:ext cx="930063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000" dirty="0">
                  <a:solidFill>
                    <a:srgbClr val="6C3F49"/>
                  </a:solidFill>
                </a:rPr>
                <a:t>Supply chain</a:t>
              </a:r>
            </a:p>
          </p:txBody>
        </p:sp>
      </p:grpSp>
      <p:grpSp>
        <p:nvGrpSpPr>
          <p:cNvPr id="332" name="Group 331">
            <a:extLst>
              <a:ext uri="{FF2B5EF4-FFF2-40B4-BE49-F238E27FC236}">
                <a16:creationId xmlns:a16="http://schemas.microsoft.com/office/drawing/2014/main" id="{97C58A61-E743-46C6-8542-E12689280DEA}"/>
              </a:ext>
            </a:extLst>
          </p:cNvPr>
          <p:cNvGrpSpPr/>
          <p:nvPr/>
        </p:nvGrpSpPr>
        <p:grpSpPr>
          <a:xfrm>
            <a:off x="4297291" y="1964810"/>
            <a:ext cx="655949" cy="672210"/>
            <a:chOff x="742188" y="3670847"/>
            <a:chExt cx="655949" cy="672210"/>
          </a:xfrm>
        </p:grpSpPr>
        <p:pic>
          <p:nvPicPr>
            <p:cNvPr id="208" name="Picture Placeholder 56">
              <a:extLst>
                <a:ext uri="{FF2B5EF4-FFF2-40B4-BE49-F238E27FC236}">
                  <a16:creationId xmlns:a16="http://schemas.microsoft.com/office/drawing/2014/main" id="{A2F44375-9BE0-4066-89B5-8529AD43D5D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3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14"/>
                </a:ext>
              </a:extLst>
            </a:blip>
            <a:srcRect/>
            <a:stretch/>
          </p:blipFill>
          <p:spPr>
            <a:xfrm flipH="1">
              <a:off x="777473" y="3670847"/>
              <a:ext cx="585378" cy="607328"/>
            </a:xfrm>
            <a:prstGeom prst="rect">
              <a:avLst/>
            </a:prstGeom>
          </p:spPr>
        </p:pic>
        <p:sp>
          <p:nvSpPr>
            <p:cNvPr id="215" name="TextBox 214">
              <a:extLst>
                <a:ext uri="{FF2B5EF4-FFF2-40B4-BE49-F238E27FC236}">
                  <a16:creationId xmlns:a16="http://schemas.microsoft.com/office/drawing/2014/main" id="{260324D3-A285-4F4C-AAB1-B851F70735EA}"/>
                </a:ext>
              </a:extLst>
            </p:cNvPr>
            <p:cNvSpPr txBox="1"/>
            <p:nvPr/>
          </p:nvSpPr>
          <p:spPr>
            <a:xfrm>
              <a:off x="742188" y="4096836"/>
              <a:ext cx="655949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000" dirty="0">
                  <a:solidFill>
                    <a:srgbClr val="41817E"/>
                  </a:solidFill>
                </a:rPr>
                <a:t>Delivery</a:t>
              </a:r>
            </a:p>
          </p:txBody>
        </p:sp>
      </p:grpSp>
      <p:grpSp>
        <p:nvGrpSpPr>
          <p:cNvPr id="333" name="Group 332">
            <a:extLst>
              <a:ext uri="{FF2B5EF4-FFF2-40B4-BE49-F238E27FC236}">
                <a16:creationId xmlns:a16="http://schemas.microsoft.com/office/drawing/2014/main" id="{0A0E4A26-A2CA-4EF5-BC77-74ACE6F2DE18}"/>
              </a:ext>
            </a:extLst>
          </p:cNvPr>
          <p:cNvGrpSpPr/>
          <p:nvPr/>
        </p:nvGrpSpPr>
        <p:grpSpPr>
          <a:xfrm>
            <a:off x="5134166" y="1916722"/>
            <a:ext cx="609182" cy="721100"/>
            <a:chOff x="765571" y="4360845"/>
            <a:chExt cx="609182" cy="721100"/>
          </a:xfrm>
        </p:grpSpPr>
        <p:pic>
          <p:nvPicPr>
            <p:cNvPr id="211" name="Picture Placeholder 86">
              <a:extLst>
                <a:ext uri="{FF2B5EF4-FFF2-40B4-BE49-F238E27FC236}">
                  <a16:creationId xmlns:a16="http://schemas.microsoft.com/office/drawing/2014/main" id="{ED0FF391-60DD-4C53-AA50-CA5975D8DCB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5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16"/>
                </a:ext>
              </a:extLst>
            </a:blip>
            <a:srcRect/>
            <a:stretch/>
          </p:blipFill>
          <p:spPr>
            <a:xfrm>
              <a:off x="765571" y="4360845"/>
              <a:ext cx="609182" cy="609181"/>
            </a:xfrm>
            <a:prstGeom prst="rect">
              <a:avLst/>
            </a:prstGeom>
          </p:spPr>
        </p:pic>
        <p:sp>
          <p:nvSpPr>
            <p:cNvPr id="216" name="TextBox 215">
              <a:extLst>
                <a:ext uri="{FF2B5EF4-FFF2-40B4-BE49-F238E27FC236}">
                  <a16:creationId xmlns:a16="http://schemas.microsoft.com/office/drawing/2014/main" id="{E4113886-11B1-454F-8E38-2ECE94878CD2}"/>
                </a:ext>
              </a:extLst>
            </p:cNvPr>
            <p:cNvSpPr txBox="1"/>
            <p:nvPr/>
          </p:nvSpPr>
          <p:spPr>
            <a:xfrm>
              <a:off x="779858" y="4835724"/>
              <a:ext cx="580608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000" dirty="0">
                  <a:solidFill>
                    <a:srgbClr val="464F4F"/>
                  </a:solidFill>
                </a:rPr>
                <a:t>Payroll</a:t>
              </a:r>
            </a:p>
          </p:txBody>
        </p:sp>
      </p:grpSp>
      <p:grpSp>
        <p:nvGrpSpPr>
          <p:cNvPr id="334" name="Group 333">
            <a:extLst>
              <a:ext uri="{FF2B5EF4-FFF2-40B4-BE49-F238E27FC236}">
                <a16:creationId xmlns:a16="http://schemas.microsoft.com/office/drawing/2014/main" id="{AA5DC6F2-589C-41BA-93CB-D77DC5AC5066}"/>
              </a:ext>
            </a:extLst>
          </p:cNvPr>
          <p:cNvGrpSpPr/>
          <p:nvPr/>
        </p:nvGrpSpPr>
        <p:grpSpPr>
          <a:xfrm>
            <a:off x="5949759" y="1903656"/>
            <a:ext cx="797014" cy="727284"/>
            <a:chOff x="671656" y="5068910"/>
            <a:chExt cx="797014" cy="727284"/>
          </a:xfrm>
        </p:grpSpPr>
        <p:pic>
          <p:nvPicPr>
            <p:cNvPr id="212" name="Picture Placeholder 64">
              <a:extLst>
                <a:ext uri="{FF2B5EF4-FFF2-40B4-BE49-F238E27FC236}">
                  <a16:creationId xmlns:a16="http://schemas.microsoft.com/office/drawing/2014/main" id="{967C91EF-2D4E-4EC0-A13F-76A2C77FCAC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7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18"/>
                </a:ext>
              </a:extLst>
            </a:blip>
            <a:srcRect t="85" b="85"/>
            <a:stretch/>
          </p:blipFill>
          <p:spPr>
            <a:xfrm>
              <a:off x="768075" y="5068910"/>
              <a:ext cx="604174" cy="604174"/>
            </a:xfrm>
            <a:prstGeom prst="rect">
              <a:avLst/>
            </a:prstGeom>
          </p:spPr>
        </p:pic>
        <p:sp>
          <p:nvSpPr>
            <p:cNvPr id="217" name="TextBox 216">
              <a:extLst>
                <a:ext uri="{FF2B5EF4-FFF2-40B4-BE49-F238E27FC236}">
                  <a16:creationId xmlns:a16="http://schemas.microsoft.com/office/drawing/2014/main" id="{6A6968FE-A298-4E1E-8A42-498FDB7469AE}"/>
                </a:ext>
              </a:extLst>
            </p:cNvPr>
            <p:cNvSpPr txBox="1"/>
            <p:nvPr/>
          </p:nvSpPr>
          <p:spPr>
            <a:xfrm>
              <a:off x="671656" y="5549973"/>
              <a:ext cx="797014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000" dirty="0">
                  <a:solidFill>
                    <a:srgbClr val="00688C"/>
                  </a:solidFill>
                </a:rPr>
                <a:t>HR update</a:t>
              </a:r>
            </a:p>
          </p:txBody>
        </p:sp>
      </p:grpSp>
      <p:sp>
        <p:nvSpPr>
          <p:cNvPr id="223" name="TextBox 222">
            <a:extLst>
              <a:ext uri="{FF2B5EF4-FFF2-40B4-BE49-F238E27FC236}">
                <a16:creationId xmlns:a16="http://schemas.microsoft.com/office/drawing/2014/main" id="{0520A188-AAF1-4863-B627-D1DD5DFA4E0A}"/>
              </a:ext>
            </a:extLst>
          </p:cNvPr>
          <p:cNvSpPr txBox="1"/>
          <p:nvPr/>
        </p:nvSpPr>
        <p:spPr>
          <a:xfrm>
            <a:off x="3561193" y="1655445"/>
            <a:ext cx="192982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b="1" dirty="0"/>
              <a:t>Protected databases</a:t>
            </a:r>
          </a:p>
        </p:txBody>
      </p:sp>
      <p:pic>
        <p:nvPicPr>
          <p:cNvPr id="224" name="Picture Placeholder 23">
            <a:extLst>
              <a:ext uri="{FF2B5EF4-FFF2-40B4-BE49-F238E27FC236}">
                <a16:creationId xmlns:a16="http://schemas.microsoft.com/office/drawing/2014/main" id="{EE9584A2-87EC-40EF-BE8F-05C2FD7FDDDB}"/>
              </a:ext>
            </a:extLst>
          </p:cNvPr>
          <p:cNvPicPr>
            <a:picLocks noChangeAspect="1"/>
          </p:cNvPicPr>
          <p:nvPr/>
        </p:nvPicPr>
        <p:blipFill rotWithShape="1">
          <a:blip r:embed="rId9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10"/>
              </a:ext>
            </a:extLst>
          </a:blip>
          <a:srcRect/>
          <a:stretch/>
        </p:blipFill>
        <p:spPr>
          <a:xfrm>
            <a:off x="3466687" y="4304828"/>
            <a:ext cx="363949" cy="363949"/>
          </a:xfrm>
          <a:prstGeom prst="rect">
            <a:avLst/>
          </a:prstGeom>
        </p:spPr>
      </p:pic>
      <p:pic>
        <p:nvPicPr>
          <p:cNvPr id="225" name="Picture Placeholder 34">
            <a:extLst>
              <a:ext uri="{FF2B5EF4-FFF2-40B4-BE49-F238E27FC236}">
                <a16:creationId xmlns:a16="http://schemas.microsoft.com/office/drawing/2014/main" id="{2C69DE94-CB77-4AFC-9827-C57800072B2D}"/>
              </a:ext>
            </a:extLst>
          </p:cNvPr>
          <p:cNvPicPr>
            <a:picLocks noChangeAspect="1"/>
          </p:cNvPicPr>
          <p:nvPr/>
        </p:nvPicPr>
        <p:blipFill rotWithShape="1">
          <a:blip r:embed="rId11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12"/>
              </a:ext>
            </a:extLst>
          </a:blip>
          <a:srcRect/>
          <a:stretch/>
        </p:blipFill>
        <p:spPr>
          <a:xfrm>
            <a:off x="3502280" y="4305636"/>
            <a:ext cx="364069" cy="364069"/>
          </a:xfrm>
          <a:prstGeom prst="rect">
            <a:avLst/>
          </a:prstGeom>
        </p:spPr>
      </p:pic>
      <p:pic>
        <p:nvPicPr>
          <p:cNvPr id="226" name="Picture Placeholder 56">
            <a:extLst>
              <a:ext uri="{FF2B5EF4-FFF2-40B4-BE49-F238E27FC236}">
                <a16:creationId xmlns:a16="http://schemas.microsoft.com/office/drawing/2014/main" id="{2A00D2A7-5EEA-468F-83EA-AB46EE5B72F9}"/>
              </a:ext>
            </a:extLst>
          </p:cNvPr>
          <p:cNvPicPr>
            <a:picLocks noChangeAspect="1"/>
          </p:cNvPicPr>
          <p:nvPr/>
        </p:nvPicPr>
        <p:blipFill rotWithShape="1"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14"/>
              </a:ext>
            </a:extLst>
          </a:blip>
          <a:srcRect/>
          <a:stretch/>
        </p:blipFill>
        <p:spPr>
          <a:xfrm flipH="1">
            <a:off x="3478587" y="4290459"/>
            <a:ext cx="363948" cy="377595"/>
          </a:xfrm>
          <a:prstGeom prst="rect">
            <a:avLst/>
          </a:prstGeom>
        </p:spPr>
      </p:pic>
      <p:pic>
        <p:nvPicPr>
          <p:cNvPr id="227" name="Picture Placeholder 86">
            <a:extLst>
              <a:ext uri="{FF2B5EF4-FFF2-40B4-BE49-F238E27FC236}">
                <a16:creationId xmlns:a16="http://schemas.microsoft.com/office/drawing/2014/main" id="{9BCEAA63-91EB-4810-841B-5AD714754EB8}"/>
              </a:ext>
            </a:extLst>
          </p:cNvPr>
          <p:cNvPicPr>
            <a:picLocks noChangeAspect="1"/>
          </p:cNvPicPr>
          <p:nvPr/>
        </p:nvPicPr>
        <p:blipFill rotWithShape="1"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21"/>
              </a:ext>
            </a:extLst>
          </a:blip>
          <a:srcRect/>
          <a:stretch/>
        </p:blipFill>
        <p:spPr>
          <a:xfrm>
            <a:off x="3487586" y="4318048"/>
            <a:ext cx="378747" cy="378746"/>
          </a:xfrm>
          <a:prstGeom prst="rect">
            <a:avLst/>
          </a:prstGeom>
        </p:spPr>
      </p:pic>
      <p:pic>
        <p:nvPicPr>
          <p:cNvPr id="230" name="Picture Placeholder 64">
            <a:extLst>
              <a:ext uri="{FF2B5EF4-FFF2-40B4-BE49-F238E27FC236}">
                <a16:creationId xmlns:a16="http://schemas.microsoft.com/office/drawing/2014/main" id="{E288F0FB-55D1-40E0-A400-DDC55260F473}"/>
              </a:ext>
            </a:extLst>
          </p:cNvPr>
          <p:cNvPicPr>
            <a:picLocks noChangeAspect="1"/>
          </p:cNvPicPr>
          <p:nvPr/>
        </p:nvPicPr>
        <p:blipFill rotWithShape="1"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18"/>
              </a:ext>
            </a:extLst>
          </a:blip>
          <a:srcRect t="85" b="85"/>
          <a:stretch/>
        </p:blipFill>
        <p:spPr>
          <a:xfrm>
            <a:off x="3487570" y="4276655"/>
            <a:ext cx="375635" cy="375635"/>
          </a:xfrm>
          <a:prstGeom prst="rect">
            <a:avLst/>
          </a:prstGeom>
        </p:spPr>
      </p:pic>
      <p:sp>
        <p:nvSpPr>
          <p:cNvPr id="256" name="TextBox 255">
            <a:extLst>
              <a:ext uri="{FF2B5EF4-FFF2-40B4-BE49-F238E27FC236}">
                <a16:creationId xmlns:a16="http://schemas.microsoft.com/office/drawing/2014/main" id="{A06860D5-9D93-478C-9871-F357F23F4152}"/>
              </a:ext>
            </a:extLst>
          </p:cNvPr>
          <p:cNvSpPr txBox="1"/>
          <p:nvPr/>
        </p:nvSpPr>
        <p:spPr>
          <a:xfrm>
            <a:off x="10303663" y="2044553"/>
            <a:ext cx="142288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b="1" dirty="0"/>
              <a:t>Real-time logs</a:t>
            </a:r>
          </a:p>
        </p:txBody>
      </p:sp>
      <p:sp>
        <p:nvSpPr>
          <p:cNvPr id="339" name="Trapezoid 338">
            <a:extLst>
              <a:ext uri="{FF2B5EF4-FFF2-40B4-BE49-F238E27FC236}">
                <a16:creationId xmlns:a16="http://schemas.microsoft.com/office/drawing/2014/main" id="{E4CCD533-705A-4AFA-A4DB-E813ADC30FCA}"/>
              </a:ext>
            </a:extLst>
          </p:cNvPr>
          <p:cNvSpPr/>
          <p:nvPr/>
        </p:nvSpPr>
        <p:spPr>
          <a:xfrm rot="16200000">
            <a:off x="-549656" y="2955493"/>
            <a:ext cx="4007663" cy="1143000"/>
          </a:xfrm>
          <a:prstGeom prst="trapezoid">
            <a:avLst>
              <a:gd name="adj" fmla="val 135438"/>
            </a:avLst>
          </a:prstGeom>
          <a:gradFill flip="none" rotWithShape="1">
            <a:gsLst>
              <a:gs pos="0">
                <a:schemeClr val="accent6"/>
              </a:gs>
              <a:gs pos="100000">
                <a:schemeClr val="accent4"/>
              </a:gs>
            </a:gsLst>
            <a:lin ang="5400000" scaled="0"/>
          </a:gra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6" tIns="45719" rIns="91436" bIns="4571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>
              <a:solidFill>
                <a:srgbClr val="FFFFFF"/>
              </a:solidFill>
              <a:latin typeface="Oracle Sans" panose="020B0503020204020204" pitchFamily="34" charset="0"/>
            </a:endParaRPr>
          </a:p>
        </p:txBody>
      </p:sp>
      <p:sp>
        <p:nvSpPr>
          <p:cNvPr id="340" name="Oval 339">
            <a:extLst>
              <a:ext uri="{FF2B5EF4-FFF2-40B4-BE49-F238E27FC236}">
                <a16:creationId xmlns:a16="http://schemas.microsoft.com/office/drawing/2014/main" id="{A14641AB-99C5-482C-9C60-0E69A10DB07F}"/>
              </a:ext>
            </a:extLst>
          </p:cNvPr>
          <p:cNvSpPr/>
          <p:nvPr/>
        </p:nvSpPr>
        <p:spPr>
          <a:xfrm>
            <a:off x="223457" y="2940023"/>
            <a:ext cx="1447800" cy="1447800"/>
          </a:xfrm>
          <a:prstGeom prst="ellipse">
            <a:avLst/>
          </a:prstGeom>
          <a:blipFill dpi="0" rotWithShape="1">
            <a:blip r:embed="rId2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 w="19050">
            <a:noFill/>
            <a:miter lim="800000"/>
          </a:ln>
          <a:effectLst>
            <a:outerShdw blurRad="2413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6" tIns="45719" rIns="91436" bIns="4571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>
              <a:solidFill>
                <a:srgbClr val="FFFFFF"/>
              </a:solidFill>
              <a:latin typeface="Oracle Sans" panose="020B0503020204020204" pitchFamily="34" charset="0"/>
            </a:endParaRPr>
          </a:p>
        </p:txBody>
      </p:sp>
      <p:sp>
        <p:nvSpPr>
          <p:cNvPr id="341" name="TextBox 340">
            <a:extLst>
              <a:ext uri="{FF2B5EF4-FFF2-40B4-BE49-F238E27FC236}">
                <a16:creationId xmlns:a16="http://schemas.microsoft.com/office/drawing/2014/main" id="{CDD3FCC7-3199-4243-988C-49B2A217E451}"/>
              </a:ext>
            </a:extLst>
          </p:cNvPr>
          <p:cNvSpPr txBox="1"/>
          <p:nvPr/>
        </p:nvSpPr>
        <p:spPr>
          <a:xfrm>
            <a:off x="147258" y="4616423"/>
            <a:ext cx="1600201" cy="5334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b="1">
                <a:solidFill>
                  <a:srgbClr val="5F5F5F"/>
                </a:solidFill>
              </a:rPr>
              <a:t>Time</a:t>
            </a:r>
            <a:br>
              <a:rPr lang="en-US" sz="1600" b="1">
                <a:solidFill>
                  <a:srgbClr val="5F5F5F"/>
                </a:solidFill>
              </a:rPr>
            </a:br>
            <a:r>
              <a:rPr lang="en-US" sz="1600" b="1">
                <a:solidFill>
                  <a:srgbClr val="5F5F5F"/>
                </a:solidFill>
              </a:rPr>
              <a:t>Machine</a:t>
            </a:r>
          </a:p>
        </p:txBody>
      </p:sp>
      <p:sp>
        <p:nvSpPr>
          <p:cNvPr id="342" name="Oval 341">
            <a:extLst>
              <a:ext uri="{FF2B5EF4-FFF2-40B4-BE49-F238E27FC236}">
                <a16:creationId xmlns:a16="http://schemas.microsoft.com/office/drawing/2014/main" id="{E740A391-542E-4ED2-890C-B1038C5752DD}"/>
              </a:ext>
            </a:extLst>
          </p:cNvPr>
          <p:cNvSpPr/>
          <p:nvPr/>
        </p:nvSpPr>
        <p:spPr>
          <a:xfrm>
            <a:off x="363455" y="3081790"/>
            <a:ext cx="1143000" cy="1143000"/>
          </a:xfrm>
          <a:prstGeom prst="ellipse">
            <a:avLst/>
          </a:prstGeom>
          <a:solidFill>
            <a:schemeClr val="tx2"/>
          </a:solidFill>
          <a:ln w="19050">
            <a:noFill/>
            <a:miter lim="800000"/>
          </a:ln>
          <a:scene3d>
            <a:camera prst="orthographicFront"/>
            <a:lightRig rig="threePt" dir="t"/>
          </a:scene3d>
          <a:sp3d>
            <a:bevelT w="527050" h="28575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6" tIns="45719" rIns="91436" bIns="4571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>
              <a:solidFill>
                <a:srgbClr val="FFFFFF"/>
              </a:solidFill>
              <a:latin typeface="Oracle Sans" panose="020B0503020204020204" pitchFamily="34" charset="0"/>
            </a:endParaRPr>
          </a:p>
        </p:txBody>
      </p:sp>
      <p:sp>
        <p:nvSpPr>
          <p:cNvPr id="343" name="Oval 342">
            <a:extLst>
              <a:ext uri="{FF2B5EF4-FFF2-40B4-BE49-F238E27FC236}">
                <a16:creationId xmlns:a16="http://schemas.microsoft.com/office/drawing/2014/main" id="{6B0EEF78-5A09-4011-AABF-7704A31BDFF1}"/>
              </a:ext>
            </a:extLst>
          </p:cNvPr>
          <p:cNvSpPr/>
          <p:nvPr/>
        </p:nvSpPr>
        <p:spPr>
          <a:xfrm>
            <a:off x="363455" y="3081790"/>
            <a:ext cx="1143000" cy="1143000"/>
          </a:xfrm>
          <a:prstGeom prst="ellipse">
            <a:avLst/>
          </a:prstGeom>
          <a:solidFill>
            <a:schemeClr val="tx2"/>
          </a:solidFill>
          <a:ln w="19050">
            <a:noFill/>
            <a:miter lim="800000"/>
          </a:ln>
          <a:effectLst>
            <a:glow rad="241300">
              <a:schemeClr val="bg1">
                <a:alpha val="60000"/>
              </a:schemeClr>
            </a:glow>
          </a:effectLst>
          <a:scene3d>
            <a:camera prst="orthographicFront"/>
            <a:lightRig rig="threePt" dir="t"/>
          </a:scene3d>
          <a:sp3d>
            <a:bevelT w="527050" h="28575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6" tIns="45719" rIns="91436" bIns="4571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>
              <a:solidFill>
                <a:srgbClr val="FFFFFF"/>
              </a:solidFill>
              <a:latin typeface="Oracle Sans" panose="020B0503020204020204" pitchFamily="34" charset="0"/>
            </a:endParaRPr>
          </a:p>
        </p:txBody>
      </p:sp>
      <p:sp>
        <p:nvSpPr>
          <p:cNvPr id="344" name="Arc 343">
            <a:extLst>
              <a:ext uri="{FF2B5EF4-FFF2-40B4-BE49-F238E27FC236}">
                <a16:creationId xmlns:a16="http://schemas.microsoft.com/office/drawing/2014/main" id="{12669A1F-A203-4DBD-9716-737F265659DB}"/>
              </a:ext>
            </a:extLst>
          </p:cNvPr>
          <p:cNvSpPr/>
          <p:nvPr/>
        </p:nvSpPr>
        <p:spPr>
          <a:xfrm>
            <a:off x="593823" y="3310390"/>
            <a:ext cx="685800" cy="685800"/>
          </a:xfrm>
          <a:prstGeom prst="arc">
            <a:avLst>
              <a:gd name="adj1" fmla="val 15006169"/>
              <a:gd name="adj2" fmla="val 12876854"/>
            </a:avLst>
          </a:prstGeom>
          <a:ln w="76200">
            <a:solidFill>
              <a:schemeClr val="bg1"/>
            </a:solidFill>
            <a:miter lim="800000"/>
            <a:headEnd type="none" w="med" len="med"/>
            <a:tailEnd type="triangle" w="med" len="med"/>
          </a:ln>
          <a:effectLst>
            <a:glow rad="101600">
              <a:schemeClr val="accent4">
                <a:satMod val="175000"/>
                <a:alpha val="7000"/>
              </a:schemeClr>
            </a:glo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91436" tIns="45719" rIns="91436" bIns="45719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  <a:defRPr/>
            </a:pPr>
            <a:endParaRPr lang="en-US">
              <a:solidFill>
                <a:srgbClr val="5F5F5F"/>
              </a:solidFill>
              <a:latin typeface="Oracle Sans" panose="020B0503020204020204" pitchFamily="34" charset="0"/>
            </a:endParaRPr>
          </a:p>
        </p:txBody>
      </p:sp>
      <p:pic>
        <p:nvPicPr>
          <p:cNvPr id="345" name="Picture 344">
            <a:extLst>
              <a:ext uri="{FF2B5EF4-FFF2-40B4-BE49-F238E27FC236}">
                <a16:creationId xmlns:a16="http://schemas.microsoft.com/office/drawing/2014/main" id="{60339563-12EF-405B-8919-D532D17FAEBF}"/>
              </a:ext>
            </a:extLst>
          </p:cNvPr>
          <p:cNvPicPr>
            <a:picLocks noChangeAspect="1"/>
          </p:cNvPicPr>
          <p:nvPr/>
        </p:nvPicPr>
        <p:blipFill>
          <a:blip r:embed="rId2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8386" y="3266090"/>
            <a:ext cx="808070" cy="808071"/>
          </a:xfrm>
          <a:prstGeom prst="rect">
            <a:avLst/>
          </a:prstGeom>
        </p:spPr>
      </p:pic>
      <p:pic>
        <p:nvPicPr>
          <p:cNvPr id="244" name="Picture Placeholder 23">
            <a:extLst>
              <a:ext uri="{FF2B5EF4-FFF2-40B4-BE49-F238E27FC236}">
                <a16:creationId xmlns:a16="http://schemas.microsoft.com/office/drawing/2014/main" id="{B596DA53-E4BC-444A-B4CC-5DF65B6B766C}"/>
              </a:ext>
            </a:extLst>
          </p:cNvPr>
          <p:cNvPicPr>
            <a:picLocks noChangeAspect="1"/>
          </p:cNvPicPr>
          <p:nvPr/>
        </p:nvPicPr>
        <p:blipFill rotWithShape="1">
          <a:blip r:embed="rId9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10"/>
              </a:ext>
            </a:extLst>
          </a:blip>
          <a:srcRect/>
          <a:stretch/>
        </p:blipFill>
        <p:spPr>
          <a:xfrm>
            <a:off x="3435299" y="4302635"/>
            <a:ext cx="363949" cy="363949"/>
          </a:xfrm>
          <a:prstGeom prst="rect">
            <a:avLst/>
          </a:prstGeom>
        </p:spPr>
      </p:pic>
      <p:pic>
        <p:nvPicPr>
          <p:cNvPr id="250" name="Picture Placeholder 34">
            <a:extLst>
              <a:ext uri="{FF2B5EF4-FFF2-40B4-BE49-F238E27FC236}">
                <a16:creationId xmlns:a16="http://schemas.microsoft.com/office/drawing/2014/main" id="{A6604420-AE83-4D88-9966-09803CA56A8E}"/>
              </a:ext>
            </a:extLst>
          </p:cNvPr>
          <p:cNvPicPr>
            <a:picLocks noChangeAspect="1"/>
          </p:cNvPicPr>
          <p:nvPr/>
        </p:nvPicPr>
        <p:blipFill rotWithShape="1">
          <a:blip r:embed="rId11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12"/>
              </a:ext>
            </a:extLst>
          </a:blip>
          <a:srcRect/>
          <a:stretch/>
        </p:blipFill>
        <p:spPr>
          <a:xfrm>
            <a:off x="10572446" y="2280984"/>
            <a:ext cx="364069" cy="364069"/>
          </a:xfrm>
          <a:prstGeom prst="rect">
            <a:avLst/>
          </a:prstGeom>
        </p:spPr>
      </p:pic>
      <p:pic>
        <p:nvPicPr>
          <p:cNvPr id="251" name="Picture Placeholder 56">
            <a:extLst>
              <a:ext uri="{FF2B5EF4-FFF2-40B4-BE49-F238E27FC236}">
                <a16:creationId xmlns:a16="http://schemas.microsoft.com/office/drawing/2014/main" id="{AFF23997-4210-4CBE-B1B8-2FFCF20E641D}"/>
              </a:ext>
            </a:extLst>
          </p:cNvPr>
          <p:cNvPicPr>
            <a:picLocks noChangeAspect="1"/>
          </p:cNvPicPr>
          <p:nvPr/>
        </p:nvPicPr>
        <p:blipFill rotWithShape="1"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14"/>
              </a:ext>
            </a:extLst>
          </a:blip>
          <a:srcRect/>
          <a:stretch/>
        </p:blipFill>
        <p:spPr>
          <a:xfrm flipH="1">
            <a:off x="10871972" y="2286767"/>
            <a:ext cx="363948" cy="377595"/>
          </a:xfrm>
          <a:prstGeom prst="rect">
            <a:avLst/>
          </a:prstGeom>
        </p:spPr>
      </p:pic>
      <p:pic>
        <p:nvPicPr>
          <p:cNvPr id="252" name="Picture Placeholder 86">
            <a:extLst>
              <a:ext uri="{FF2B5EF4-FFF2-40B4-BE49-F238E27FC236}">
                <a16:creationId xmlns:a16="http://schemas.microsoft.com/office/drawing/2014/main" id="{6A44F35D-E0FB-4F2B-A7C0-5C5C16D6B2DB}"/>
              </a:ext>
            </a:extLst>
          </p:cNvPr>
          <p:cNvPicPr>
            <a:picLocks noChangeAspect="1"/>
          </p:cNvPicPr>
          <p:nvPr/>
        </p:nvPicPr>
        <p:blipFill rotWithShape="1"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21"/>
              </a:ext>
            </a:extLst>
          </a:blip>
          <a:srcRect/>
          <a:stretch/>
        </p:blipFill>
        <p:spPr>
          <a:xfrm>
            <a:off x="11159956" y="2292448"/>
            <a:ext cx="378747" cy="378746"/>
          </a:xfrm>
          <a:prstGeom prst="rect">
            <a:avLst/>
          </a:prstGeom>
        </p:spPr>
      </p:pic>
      <p:pic>
        <p:nvPicPr>
          <p:cNvPr id="253" name="Picture Placeholder 64">
            <a:extLst>
              <a:ext uri="{FF2B5EF4-FFF2-40B4-BE49-F238E27FC236}">
                <a16:creationId xmlns:a16="http://schemas.microsoft.com/office/drawing/2014/main" id="{B722106E-591F-4474-B397-16818F9E58FA}"/>
              </a:ext>
            </a:extLst>
          </p:cNvPr>
          <p:cNvPicPr>
            <a:picLocks noChangeAspect="1"/>
          </p:cNvPicPr>
          <p:nvPr/>
        </p:nvPicPr>
        <p:blipFill rotWithShape="1"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18"/>
              </a:ext>
            </a:extLst>
          </a:blip>
          <a:srcRect t="85" b="85"/>
          <a:stretch/>
        </p:blipFill>
        <p:spPr>
          <a:xfrm>
            <a:off x="11462637" y="2242731"/>
            <a:ext cx="375635" cy="375635"/>
          </a:xfrm>
          <a:prstGeom prst="rect">
            <a:avLst/>
          </a:prstGeom>
        </p:spPr>
      </p:pic>
      <p:pic>
        <p:nvPicPr>
          <p:cNvPr id="254" name="Picture Placeholder 23">
            <a:extLst>
              <a:ext uri="{FF2B5EF4-FFF2-40B4-BE49-F238E27FC236}">
                <a16:creationId xmlns:a16="http://schemas.microsoft.com/office/drawing/2014/main" id="{A1FC664A-1968-4627-9F3C-C390C83FB18F}"/>
              </a:ext>
            </a:extLst>
          </p:cNvPr>
          <p:cNvPicPr>
            <a:picLocks noChangeAspect="1"/>
          </p:cNvPicPr>
          <p:nvPr/>
        </p:nvPicPr>
        <p:blipFill rotWithShape="1">
          <a:blip r:embed="rId9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10"/>
              </a:ext>
            </a:extLst>
          </a:blip>
          <a:srcRect/>
          <a:stretch/>
        </p:blipFill>
        <p:spPr>
          <a:xfrm>
            <a:off x="10247735" y="2292448"/>
            <a:ext cx="363949" cy="363949"/>
          </a:xfrm>
          <a:prstGeom prst="rect">
            <a:avLst/>
          </a:prstGeom>
        </p:spPr>
      </p:pic>
      <p:sp>
        <p:nvSpPr>
          <p:cNvPr id="5" name="Slide Number Placeholder 4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345D60D9-5372-5F40-9443-0F9AE5BDC3C8}" type="slidenum">
              <a:rPr lang="en-US" smtClean="0"/>
              <a:t>4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282833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0"/>
                            </p:stCondLst>
                            <p:childTnLst>
                              <p:par>
                                <p:cTn id="8" presetID="50" presetClass="path" presetSubtype="0" accel="50000" decel="5000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animMotion origin="layout" path="M 1.25E-6 3.33333E-6 L 0.27825 3.33333E-6 C 0.40273 3.33333E-6 0.55651 -0.08125 0.55651 -0.14699 L 0.55651 -0.29398 " pathEditMode="relative" rAng="0" ptsTypes="AAAA">
                                      <p:cBhvr>
                                        <p:cTn id="9" dur="500" fill="hold"/>
                                        <p:tgtEl>
                                          <p:spTgt spid="22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7826" y="-14699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50" presetClass="path" presetSubtype="0" repeatCount="indefinite" accel="50000" decel="50000" fill="hold" nodeType="afterEffect">
                                  <p:stCondLst>
                                    <p:cond delay="200"/>
                                  </p:stCondLst>
                                  <p:childTnLst>
                                    <p:animMotion origin="layout" path="M -3.33333E-6 1.85185E-6 L 0.29011 1.85185E-6 C 0.42006 1.85185E-6 0.58034 -0.08171 0.58034 -0.14792 L 0.58034 -0.29421 " pathEditMode="relative" rAng="0" ptsTypes="AAAA">
                                      <p:cBhvr>
                                        <p:cTn id="16" dur="500" fill="hold"/>
                                        <p:tgtEl>
                                          <p:spTgt spid="22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9010" y="-14722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700"/>
                            </p:stCondLst>
                            <p:childTnLst>
                              <p:par>
                                <p:cTn id="18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700"/>
                            </p:stCondLst>
                            <p:childTnLst>
                              <p:par>
                                <p:cTn id="21" presetID="50" presetClass="path" presetSubtype="0" repeatCount="indefinite" accel="50000" decel="50000" fill="hold" nodeType="afterEffect">
                                  <p:stCondLst>
                                    <p:cond delay="250"/>
                                  </p:stCondLst>
                                  <p:childTnLst>
                                    <p:animMotion origin="layout" path="M -2.08333E-7 -7.40741E-7 L 0.30404 -7.40741E-7 C 0.44036 -7.40741E-7 0.60846 -0.08125 0.60846 -0.14722 L 0.60846 -0.29305 " pathEditMode="relative" rAng="0" ptsTypes="AAAA">
                                      <p:cBhvr>
                                        <p:cTn id="22" dur="450" fill="hold"/>
                                        <p:tgtEl>
                                          <p:spTgt spid="22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0417" y="-14653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3" fill="hold">
                            <p:stCondLst>
                              <p:cond delay="1400"/>
                            </p:stCondLst>
                            <p:childTnLst>
                              <p:par>
                                <p:cTn id="24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1400"/>
                            </p:stCondLst>
                            <p:childTnLst>
                              <p:par>
                                <p:cTn id="27" presetID="50" presetClass="path" presetSubtype="0" repeatCount="indefinite" accel="50000" decel="50000" fill="hold" nodeType="afterEffect">
                                  <p:stCondLst>
                                    <p:cond delay="350"/>
                                  </p:stCondLst>
                                  <p:childTnLst>
                                    <p:animMotion origin="layout" path="M -2.5E-6 4.07407E-6 L 0.3142 4.07407E-6 C 0.45495 4.07407E-6 0.62878 -0.08149 0.62878 -0.14769 L 0.62878 -0.29468 " pathEditMode="relative" rAng="0" ptsTypes="AAAA">
                                      <p:cBhvr>
                                        <p:cTn id="28" dur="650" fill="hold"/>
                                        <p:tgtEl>
                                          <p:spTgt spid="22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1432" y="-14745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9" fill="hold">
                            <p:stCondLst>
                              <p:cond delay="2400"/>
                            </p:stCondLst>
                            <p:childTnLst>
                              <p:par>
                                <p:cTn id="30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2400"/>
                            </p:stCondLst>
                            <p:childTnLst>
                              <p:par>
                                <p:cTn id="33" presetID="50" presetClass="path" presetSubtype="0" repeatCount="indefinite" accel="50000" decel="5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29167E-6 4.07407E-6 L 0.32617 4.07407E-6 C 0.47227 4.07407E-6 0.65248 -0.0801 0.65248 -0.14491 L 0.65248 -0.28936 " pathEditMode="relative" rAng="0" ptsTypes="AAAA">
                                      <p:cBhvr>
                                        <p:cTn id="34" dur="500" fill="hold"/>
                                        <p:tgtEl>
                                          <p:spTgt spid="23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2617" y="-14468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5" fill="hold">
                            <p:stCondLst>
                              <p:cond delay="2900"/>
                            </p:stCondLst>
                            <p:childTnLst>
                              <p:par>
                                <p:cTn id="36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8" fill="hold">
                            <p:stCondLst>
                              <p:cond delay="2900"/>
                            </p:stCondLst>
                            <p:childTnLst>
                              <p:par>
                                <p:cTn id="39" presetID="50" presetClass="path" presetSubtype="0" repeatCount="indefinite" accel="50000" decel="5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58333E-6 4.81481E-6 L 0.27826 4.81481E-6 C 0.40274 4.81481E-6 0.55652 -0.08125 0.55652 -0.147 L 0.55652 -0.29399 " pathEditMode="relative" rAng="0" ptsTypes="AAAA">
                                      <p:cBhvr>
                                        <p:cTn id="40" dur="500" fill="hold"/>
                                        <p:tgtEl>
                                          <p:spTgt spid="24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7826" y="-14699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6" name="Group 35">
            <a:extLst>
              <a:ext uri="{FF2B5EF4-FFF2-40B4-BE49-F238E27FC236}">
                <a16:creationId xmlns:a16="http://schemas.microsoft.com/office/drawing/2014/main" id="{6DF33EF0-2D96-4143-8D7F-4EB74A5DC484}"/>
              </a:ext>
            </a:extLst>
          </p:cNvPr>
          <p:cNvGrpSpPr/>
          <p:nvPr/>
        </p:nvGrpSpPr>
        <p:grpSpPr>
          <a:xfrm>
            <a:off x="5163009" y="1969735"/>
            <a:ext cx="1962364" cy="3394413"/>
            <a:chOff x="5163009" y="2215535"/>
            <a:chExt cx="1962364" cy="3394413"/>
          </a:xfrm>
        </p:grpSpPr>
        <p:sp>
          <p:nvSpPr>
            <p:cNvPr id="37" name="Rectangle: Rounded Corners 36">
              <a:extLst>
                <a:ext uri="{FF2B5EF4-FFF2-40B4-BE49-F238E27FC236}">
                  <a16:creationId xmlns:a16="http://schemas.microsoft.com/office/drawing/2014/main" id="{3C6AE12A-480E-403F-8FD3-A91A9B20D3EE}"/>
                </a:ext>
              </a:extLst>
            </p:cNvPr>
            <p:cNvSpPr/>
            <p:nvPr/>
          </p:nvSpPr>
          <p:spPr>
            <a:xfrm>
              <a:off x="5163009" y="2915518"/>
              <a:ext cx="1962364" cy="796999"/>
            </a:xfrm>
            <a:prstGeom prst="roundRect">
              <a:avLst/>
            </a:prstGeom>
            <a:solidFill>
              <a:srgbClr val="2C596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600" dirty="0"/>
                <a:t>Production Database Service</a:t>
              </a:r>
            </a:p>
          </p:txBody>
        </p:sp>
        <p:grpSp>
          <p:nvGrpSpPr>
            <p:cNvPr id="38" name="Group 37">
              <a:extLst>
                <a:ext uri="{FF2B5EF4-FFF2-40B4-BE49-F238E27FC236}">
                  <a16:creationId xmlns:a16="http://schemas.microsoft.com/office/drawing/2014/main" id="{8AE28592-E501-4788-8052-6766E3847354}"/>
                </a:ext>
              </a:extLst>
            </p:cNvPr>
            <p:cNvGrpSpPr/>
            <p:nvPr/>
          </p:nvGrpSpPr>
          <p:grpSpPr>
            <a:xfrm>
              <a:off x="5704934" y="2215535"/>
              <a:ext cx="881468" cy="855847"/>
              <a:chOff x="5704934" y="2292867"/>
              <a:chExt cx="881468" cy="855847"/>
            </a:xfrm>
          </p:grpSpPr>
          <p:sp>
            <p:nvSpPr>
              <p:cNvPr id="50" name="Cylinder 49">
                <a:extLst>
                  <a:ext uri="{FF2B5EF4-FFF2-40B4-BE49-F238E27FC236}">
                    <a16:creationId xmlns:a16="http://schemas.microsoft.com/office/drawing/2014/main" id="{0163911A-CFE9-4DD3-A127-21AF0CA92040}"/>
                  </a:ext>
                </a:extLst>
              </p:cNvPr>
              <p:cNvSpPr/>
              <p:nvPr/>
            </p:nvSpPr>
            <p:spPr>
              <a:xfrm>
                <a:off x="5704934" y="2292867"/>
                <a:ext cx="881468" cy="855847"/>
              </a:xfrm>
              <a:prstGeom prst="can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51" name="Picture Placeholder 21">
                <a:extLst>
                  <a:ext uri="{FF2B5EF4-FFF2-40B4-BE49-F238E27FC236}">
                    <a16:creationId xmlns:a16="http://schemas.microsoft.com/office/drawing/2014/main" id="{88F38849-F15E-49CE-BA2A-6C9F27933788}"/>
                  </a:ext>
                </a:extLst>
              </p:cNvPr>
              <p:cNvSpPr/>
              <p:nvPr/>
            </p:nvSpPr>
            <p:spPr>
              <a:xfrm>
                <a:off x="5704934" y="2292867"/>
                <a:ext cx="881468" cy="855847"/>
              </a:xfrm>
              <a:custGeom>
                <a:avLst/>
                <a:gdLst>
                  <a:gd name="connsiteX0" fmla="*/ 881469 w 881468"/>
                  <a:gd name="connsiteY0" fmla="*/ 110321 h 855847"/>
                  <a:gd name="connsiteX1" fmla="*/ 440734 w 881468"/>
                  <a:gd name="connsiteY1" fmla="*/ 0 h 855847"/>
                  <a:gd name="connsiteX2" fmla="*/ 0 w 881468"/>
                  <a:gd name="connsiteY2" fmla="*/ 110321 h 855847"/>
                  <a:gd name="connsiteX3" fmla="*/ 0 w 881468"/>
                  <a:gd name="connsiteY3" fmla="*/ 114704 h 855847"/>
                  <a:gd name="connsiteX4" fmla="*/ 0 w 881468"/>
                  <a:gd name="connsiteY4" fmla="*/ 116896 h 855847"/>
                  <a:gd name="connsiteX5" fmla="*/ 0 w 881468"/>
                  <a:gd name="connsiteY5" fmla="*/ 748344 h 855847"/>
                  <a:gd name="connsiteX6" fmla="*/ 440734 w 881468"/>
                  <a:gd name="connsiteY6" fmla="*/ 855847 h 855847"/>
                  <a:gd name="connsiteX7" fmla="*/ 881469 w 881468"/>
                  <a:gd name="connsiteY7" fmla="*/ 748553 h 855847"/>
                  <a:gd name="connsiteX8" fmla="*/ 881469 w 881468"/>
                  <a:gd name="connsiteY8" fmla="*/ 116896 h 855847"/>
                  <a:gd name="connsiteX9" fmla="*/ 881469 w 881468"/>
                  <a:gd name="connsiteY9" fmla="*/ 114704 h 855847"/>
                  <a:gd name="connsiteX10" fmla="*/ 881469 w 881468"/>
                  <a:gd name="connsiteY10" fmla="*/ 110321 h 855847"/>
                  <a:gd name="connsiteX11" fmla="*/ 833169 w 881468"/>
                  <a:gd name="connsiteY11" fmla="*/ 537931 h 855847"/>
                  <a:gd name="connsiteX12" fmla="*/ 729687 w 881468"/>
                  <a:gd name="connsiteY12" fmla="*/ 578741 h 855847"/>
                  <a:gd name="connsiteX13" fmla="*/ 440734 w 881468"/>
                  <a:gd name="connsiteY13" fmla="*/ 603477 h 855847"/>
                  <a:gd name="connsiteX14" fmla="*/ 151782 w 881468"/>
                  <a:gd name="connsiteY14" fmla="*/ 578741 h 855847"/>
                  <a:gd name="connsiteX15" fmla="*/ 48300 w 881468"/>
                  <a:gd name="connsiteY15" fmla="*/ 537931 h 855847"/>
                  <a:gd name="connsiteX16" fmla="*/ 48300 w 881468"/>
                  <a:gd name="connsiteY16" fmla="*/ 380956 h 855847"/>
                  <a:gd name="connsiteX17" fmla="*/ 440734 w 881468"/>
                  <a:gd name="connsiteY17" fmla="*/ 435282 h 855847"/>
                  <a:gd name="connsiteX18" fmla="*/ 833169 w 881468"/>
                  <a:gd name="connsiteY18" fmla="*/ 380956 h 855847"/>
                  <a:gd name="connsiteX19" fmla="*/ 833169 w 881468"/>
                  <a:gd name="connsiteY19" fmla="*/ 327831 h 855847"/>
                  <a:gd name="connsiteX20" fmla="*/ 729687 w 881468"/>
                  <a:gd name="connsiteY20" fmla="*/ 368640 h 855847"/>
                  <a:gd name="connsiteX21" fmla="*/ 440734 w 881468"/>
                  <a:gd name="connsiteY21" fmla="*/ 393377 h 855847"/>
                  <a:gd name="connsiteX22" fmla="*/ 151782 w 881468"/>
                  <a:gd name="connsiteY22" fmla="*/ 368640 h 855847"/>
                  <a:gd name="connsiteX23" fmla="*/ 48300 w 881468"/>
                  <a:gd name="connsiteY23" fmla="*/ 327831 h 855847"/>
                  <a:gd name="connsiteX24" fmla="*/ 48300 w 881468"/>
                  <a:gd name="connsiteY24" fmla="*/ 164803 h 855847"/>
                  <a:gd name="connsiteX25" fmla="*/ 440734 w 881468"/>
                  <a:gd name="connsiteY25" fmla="*/ 220642 h 855847"/>
                  <a:gd name="connsiteX26" fmla="*/ 833169 w 881468"/>
                  <a:gd name="connsiteY26" fmla="*/ 164803 h 855847"/>
                  <a:gd name="connsiteX27" fmla="*/ 151963 w 881468"/>
                  <a:gd name="connsiteY27" fmla="*/ 67320 h 855847"/>
                  <a:gd name="connsiteX28" fmla="*/ 440734 w 881468"/>
                  <a:gd name="connsiteY28" fmla="*/ 41749 h 855847"/>
                  <a:gd name="connsiteX29" fmla="*/ 729506 w 881468"/>
                  <a:gd name="connsiteY29" fmla="*/ 67320 h 855847"/>
                  <a:gd name="connsiteX30" fmla="*/ 833169 w 881468"/>
                  <a:gd name="connsiteY30" fmla="*/ 110321 h 855847"/>
                  <a:gd name="connsiteX31" fmla="*/ 729506 w 881468"/>
                  <a:gd name="connsiteY31" fmla="*/ 153322 h 855847"/>
                  <a:gd name="connsiteX32" fmla="*/ 440734 w 881468"/>
                  <a:gd name="connsiteY32" fmla="*/ 178893 h 855847"/>
                  <a:gd name="connsiteX33" fmla="*/ 151963 w 881468"/>
                  <a:gd name="connsiteY33" fmla="*/ 153322 h 855847"/>
                  <a:gd name="connsiteX34" fmla="*/ 48300 w 881468"/>
                  <a:gd name="connsiteY34" fmla="*/ 110321 h 855847"/>
                  <a:gd name="connsiteX35" fmla="*/ 151963 w 881468"/>
                  <a:gd name="connsiteY35" fmla="*/ 67320 h 855847"/>
                  <a:gd name="connsiteX36" fmla="*/ 729687 w 881468"/>
                  <a:gd name="connsiteY36" fmla="*/ 789362 h 855847"/>
                  <a:gd name="connsiteX37" fmla="*/ 440734 w 881468"/>
                  <a:gd name="connsiteY37" fmla="*/ 814098 h 855847"/>
                  <a:gd name="connsiteX38" fmla="*/ 151782 w 881468"/>
                  <a:gd name="connsiteY38" fmla="*/ 789362 h 855847"/>
                  <a:gd name="connsiteX39" fmla="*/ 48300 w 881468"/>
                  <a:gd name="connsiteY39" fmla="*/ 748553 h 855847"/>
                  <a:gd name="connsiteX40" fmla="*/ 48300 w 881468"/>
                  <a:gd name="connsiteY40" fmla="*/ 590900 h 855847"/>
                  <a:gd name="connsiteX41" fmla="*/ 440734 w 881468"/>
                  <a:gd name="connsiteY41" fmla="*/ 645225 h 855847"/>
                  <a:gd name="connsiteX42" fmla="*/ 833169 w 881468"/>
                  <a:gd name="connsiteY42" fmla="*/ 590900 h 855847"/>
                  <a:gd name="connsiteX43" fmla="*/ 833169 w 881468"/>
                  <a:gd name="connsiteY43" fmla="*/ 748553 h 855847"/>
                  <a:gd name="connsiteX44" fmla="*/ 729687 w 881468"/>
                  <a:gd name="connsiteY44" fmla="*/ 789362 h 8558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</a:cxnLst>
                <a:rect l="l" t="t" r="r" b="b"/>
                <a:pathLst>
                  <a:path w="881468" h="855847">
                    <a:moveTo>
                      <a:pt x="881469" y="110321"/>
                    </a:moveTo>
                    <a:cubicBezTo>
                      <a:pt x="881469" y="23066"/>
                      <a:pt x="593180" y="0"/>
                      <a:pt x="440734" y="0"/>
                    </a:cubicBezTo>
                    <a:cubicBezTo>
                      <a:pt x="288289" y="0"/>
                      <a:pt x="0" y="23066"/>
                      <a:pt x="0" y="110321"/>
                    </a:cubicBezTo>
                    <a:cubicBezTo>
                      <a:pt x="0" y="111782"/>
                      <a:pt x="0" y="113243"/>
                      <a:pt x="0" y="114704"/>
                    </a:cubicBezTo>
                    <a:cubicBezTo>
                      <a:pt x="0" y="116166"/>
                      <a:pt x="0" y="116113"/>
                      <a:pt x="0" y="116896"/>
                    </a:cubicBezTo>
                    <a:lnTo>
                      <a:pt x="0" y="748344"/>
                    </a:lnTo>
                    <a:cubicBezTo>
                      <a:pt x="0" y="833407"/>
                      <a:pt x="288289" y="855847"/>
                      <a:pt x="440734" y="855847"/>
                    </a:cubicBezTo>
                    <a:cubicBezTo>
                      <a:pt x="593180" y="855847"/>
                      <a:pt x="881469" y="833407"/>
                      <a:pt x="881469" y="748553"/>
                    </a:cubicBezTo>
                    <a:lnTo>
                      <a:pt x="881469" y="116896"/>
                    </a:lnTo>
                    <a:cubicBezTo>
                      <a:pt x="881469" y="116113"/>
                      <a:pt x="881469" y="115435"/>
                      <a:pt x="881469" y="114704"/>
                    </a:cubicBezTo>
                    <a:cubicBezTo>
                      <a:pt x="881469" y="113974"/>
                      <a:pt x="881469" y="111782"/>
                      <a:pt x="881469" y="110321"/>
                    </a:cubicBezTo>
                    <a:close/>
                    <a:moveTo>
                      <a:pt x="833169" y="537931"/>
                    </a:moveTo>
                    <a:cubicBezTo>
                      <a:pt x="833169" y="541793"/>
                      <a:pt x="814755" y="561102"/>
                      <a:pt x="729687" y="578741"/>
                    </a:cubicBezTo>
                    <a:cubicBezTo>
                      <a:pt x="652770" y="594709"/>
                      <a:pt x="550133" y="603477"/>
                      <a:pt x="440734" y="603477"/>
                    </a:cubicBezTo>
                    <a:cubicBezTo>
                      <a:pt x="331336" y="603477"/>
                      <a:pt x="228699" y="594918"/>
                      <a:pt x="151782" y="578741"/>
                    </a:cubicBezTo>
                    <a:cubicBezTo>
                      <a:pt x="66714" y="561102"/>
                      <a:pt x="48300" y="541793"/>
                      <a:pt x="48300" y="537931"/>
                    </a:cubicBezTo>
                    <a:lnTo>
                      <a:pt x="48300" y="380956"/>
                    </a:lnTo>
                    <a:cubicBezTo>
                      <a:pt x="136930" y="422705"/>
                      <a:pt x="326747" y="435282"/>
                      <a:pt x="440734" y="435282"/>
                    </a:cubicBezTo>
                    <a:cubicBezTo>
                      <a:pt x="554722" y="435282"/>
                      <a:pt x="744539" y="422705"/>
                      <a:pt x="833169" y="380956"/>
                    </a:cubicBezTo>
                    <a:close/>
                    <a:moveTo>
                      <a:pt x="833169" y="327831"/>
                    </a:moveTo>
                    <a:cubicBezTo>
                      <a:pt x="833169" y="331693"/>
                      <a:pt x="814755" y="351002"/>
                      <a:pt x="729687" y="368640"/>
                    </a:cubicBezTo>
                    <a:cubicBezTo>
                      <a:pt x="652770" y="384609"/>
                      <a:pt x="550133" y="393377"/>
                      <a:pt x="440734" y="393377"/>
                    </a:cubicBezTo>
                    <a:cubicBezTo>
                      <a:pt x="331336" y="393377"/>
                      <a:pt x="228699" y="384609"/>
                      <a:pt x="151782" y="368640"/>
                    </a:cubicBezTo>
                    <a:cubicBezTo>
                      <a:pt x="66714" y="351002"/>
                      <a:pt x="48300" y="331693"/>
                      <a:pt x="48300" y="327831"/>
                    </a:cubicBezTo>
                    <a:lnTo>
                      <a:pt x="48300" y="164803"/>
                    </a:lnTo>
                    <a:cubicBezTo>
                      <a:pt x="136930" y="207752"/>
                      <a:pt x="326747" y="220642"/>
                      <a:pt x="440734" y="220642"/>
                    </a:cubicBezTo>
                    <a:cubicBezTo>
                      <a:pt x="554722" y="220642"/>
                      <a:pt x="744539" y="207752"/>
                      <a:pt x="833169" y="164803"/>
                    </a:cubicBezTo>
                    <a:close/>
                    <a:moveTo>
                      <a:pt x="151963" y="67320"/>
                    </a:moveTo>
                    <a:cubicBezTo>
                      <a:pt x="228820" y="50829"/>
                      <a:pt x="331336" y="41749"/>
                      <a:pt x="440734" y="41749"/>
                    </a:cubicBezTo>
                    <a:cubicBezTo>
                      <a:pt x="550133" y="41749"/>
                      <a:pt x="652649" y="50829"/>
                      <a:pt x="729506" y="67320"/>
                    </a:cubicBezTo>
                    <a:cubicBezTo>
                      <a:pt x="815540" y="85793"/>
                      <a:pt x="833169" y="105937"/>
                      <a:pt x="833169" y="110321"/>
                    </a:cubicBezTo>
                    <a:cubicBezTo>
                      <a:pt x="833169" y="114704"/>
                      <a:pt x="815540" y="134848"/>
                      <a:pt x="729506" y="153322"/>
                    </a:cubicBezTo>
                    <a:cubicBezTo>
                      <a:pt x="652649" y="169813"/>
                      <a:pt x="550133" y="178893"/>
                      <a:pt x="440734" y="178893"/>
                    </a:cubicBezTo>
                    <a:cubicBezTo>
                      <a:pt x="331336" y="178893"/>
                      <a:pt x="228820" y="169813"/>
                      <a:pt x="151963" y="153322"/>
                    </a:cubicBezTo>
                    <a:cubicBezTo>
                      <a:pt x="65929" y="134848"/>
                      <a:pt x="48300" y="114809"/>
                      <a:pt x="48300" y="110321"/>
                    </a:cubicBezTo>
                    <a:cubicBezTo>
                      <a:pt x="48300" y="105833"/>
                      <a:pt x="65929" y="85793"/>
                      <a:pt x="151963" y="67320"/>
                    </a:cubicBezTo>
                    <a:close/>
                    <a:moveTo>
                      <a:pt x="729687" y="789362"/>
                    </a:moveTo>
                    <a:cubicBezTo>
                      <a:pt x="652770" y="805331"/>
                      <a:pt x="550133" y="814098"/>
                      <a:pt x="440734" y="814098"/>
                    </a:cubicBezTo>
                    <a:cubicBezTo>
                      <a:pt x="331336" y="814098"/>
                      <a:pt x="228699" y="805331"/>
                      <a:pt x="151782" y="789362"/>
                    </a:cubicBezTo>
                    <a:cubicBezTo>
                      <a:pt x="66714" y="771724"/>
                      <a:pt x="48300" y="752363"/>
                      <a:pt x="48300" y="748553"/>
                    </a:cubicBezTo>
                    <a:lnTo>
                      <a:pt x="48300" y="590900"/>
                    </a:lnTo>
                    <a:cubicBezTo>
                      <a:pt x="136930" y="632648"/>
                      <a:pt x="326747" y="645225"/>
                      <a:pt x="440734" y="645225"/>
                    </a:cubicBezTo>
                    <a:cubicBezTo>
                      <a:pt x="554722" y="645225"/>
                      <a:pt x="744539" y="632701"/>
                      <a:pt x="833169" y="590900"/>
                    </a:cubicBezTo>
                    <a:lnTo>
                      <a:pt x="833169" y="748553"/>
                    </a:lnTo>
                    <a:cubicBezTo>
                      <a:pt x="833169" y="752363"/>
                      <a:pt x="815057" y="771724"/>
                      <a:pt x="729687" y="789362"/>
                    </a:cubicBezTo>
                    <a:close/>
                  </a:path>
                </a:pathLst>
              </a:custGeom>
              <a:solidFill>
                <a:schemeClr val="tx1"/>
              </a:solidFill>
              <a:ln w="601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sp>
          <p:nvSpPr>
            <p:cNvPr id="39" name="Freeform: Shape 38">
              <a:extLst>
                <a:ext uri="{FF2B5EF4-FFF2-40B4-BE49-F238E27FC236}">
                  <a16:creationId xmlns:a16="http://schemas.microsoft.com/office/drawing/2014/main" id="{1E8E8E6B-D41F-4536-A176-1EDF4DBD9EB3}"/>
                </a:ext>
              </a:extLst>
            </p:cNvPr>
            <p:cNvSpPr/>
            <p:nvPr/>
          </p:nvSpPr>
          <p:spPr>
            <a:xfrm>
              <a:off x="5434828" y="3699263"/>
              <a:ext cx="103498" cy="976045"/>
            </a:xfrm>
            <a:custGeom>
              <a:avLst/>
              <a:gdLst>
                <a:gd name="connsiteX0" fmla="*/ 82193 w 123289"/>
                <a:gd name="connsiteY0" fmla="*/ 0 h 976045"/>
                <a:gd name="connsiteX1" fmla="*/ 0 w 123289"/>
                <a:gd name="connsiteY1" fmla="*/ 441788 h 976045"/>
                <a:gd name="connsiteX2" fmla="*/ 123289 w 123289"/>
                <a:gd name="connsiteY2" fmla="*/ 976045 h 976045"/>
                <a:gd name="connsiteX0" fmla="*/ 82720 w 123816"/>
                <a:gd name="connsiteY0" fmla="*/ 0 h 976045"/>
                <a:gd name="connsiteX1" fmla="*/ 527 w 123816"/>
                <a:gd name="connsiteY1" fmla="*/ 441788 h 976045"/>
                <a:gd name="connsiteX2" fmla="*/ 123816 w 123816"/>
                <a:gd name="connsiteY2" fmla="*/ 976045 h 976045"/>
                <a:gd name="connsiteX0" fmla="*/ 62402 w 103498"/>
                <a:gd name="connsiteY0" fmla="*/ 0 h 976045"/>
                <a:gd name="connsiteX1" fmla="*/ 758 w 103498"/>
                <a:gd name="connsiteY1" fmla="*/ 482885 h 976045"/>
                <a:gd name="connsiteX2" fmla="*/ 103498 w 103498"/>
                <a:gd name="connsiteY2" fmla="*/ 976045 h 9760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03498" h="976045">
                  <a:moveTo>
                    <a:pt x="62402" y="0"/>
                  </a:moveTo>
                  <a:cubicBezTo>
                    <a:pt x="35004" y="147263"/>
                    <a:pt x="-6091" y="320211"/>
                    <a:pt x="758" y="482885"/>
                  </a:cubicBezTo>
                  <a:cubicBezTo>
                    <a:pt x="7607" y="645559"/>
                    <a:pt x="62402" y="797959"/>
                    <a:pt x="103498" y="976045"/>
                  </a:cubicBezTo>
                </a:path>
              </a:pathLst>
            </a:custGeom>
            <a:ln w="28575">
              <a:solidFill>
                <a:srgbClr val="AE562C"/>
              </a:solidFill>
              <a:headEnd type="none" w="med" len="med"/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1" name="Rectangle: Rounded Corners 40">
              <a:extLst>
                <a:ext uri="{FF2B5EF4-FFF2-40B4-BE49-F238E27FC236}">
                  <a16:creationId xmlns:a16="http://schemas.microsoft.com/office/drawing/2014/main" id="{4B3D738B-9DDE-47CB-822A-3B43D252B0A9}"/>
                </a:ext>
              </a:extLst>
            </p:cNvPr>
            <p:cNvSpPr/>
            <p:nvPr/>
          </p:nvSpPr>
          <p:spPr>
            <a:xfrm>
              <a:off x="5163009" y="4675308"/>
              <a:ext cx="1962364" cy="934640"/>
            </a:xfrm>
            <a:prstGeom prst="round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600" dirty="0"/>
                <a:t>Recovery </a:t>
              </a:r>
            </a:p>
            <a:p>
              <a:pPr algn="ctr"/>
              <a:r>
                <a:rPr lang="en-US" sz="1600" dirty="0"/>
                <a:t>Service</a:t>
              </a:r>
            </a:p>
          </p:txBody>
        </p:sp>
      </p:grp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026A9AB4-22A6-444D-8137-BE719F16AD7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All backups are checked for recoverability, reducing database service overhead</a:t>
            </a:r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87BE4995-7B65-419B-8765-C8775BAB9A90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606175" y="1558354"/>
            <a:ext cx="3482120" cy="4507992"/>
          </a:xfrm>
        </p:spPr>
        <p:txBody>
          <a:bodyPr/>
          <a:lstStyle/>
          <a:p>
            <a:pPr algn="ctr">
              <a:spcBef>
                <a:spcPts val="0"/>
              </a:spcBef>
              <a:spcAft>
                <a:spcPts val="600"/>
              </a:spcAft>
            </a:pPr>
            <a:r>
              <a:rPr lang="en-US" sz="2000" b="1" dirty="0">
                <a:solidFill>
                  <a:srgbClr val="2C5967"/>
                </a:solidFill>
              </a:rPr>
              <a:t>Traditional cloud backup</a:t>
            </a:r>
          </a:p>
          <a:p>
            <a:pPr marL="342900" indent="-342900">
              <a:spcAft>
                <a:spcPts val="600"/>
              </a:spcAft>
              <a:buFont typeface="+mj-lt"/>
              <a:buAutoNum type="arabicPeriod"/>
            </a:pPr>
            <a:r>
              <a:rPr lang="en-US" sz="1400" dirty="0"/>
              <a:t>Backup (full or incremental) is created on the production database service and stored in object storage</a:t>
            </a:r>
          </a:p>
          <a:p>
            <a:pPr marL="342900" indent="-342900">
              <a:spcAft>
                <a:spcPts val="600"/>
              </a:spcAft>
              <a:buFont typeface="+mj-lt"/>
              <a:buAutoNum type="arabicPeriod"/>
            </a:pPr>
            <a:r>
              <a:rPr lang="en-US" sz="1400" dirty="0"/>
              <a:t>Production service reads the backup from object store, validates it, and fixes issues </a:t>
            </a:r>
            <a:r>
              <a:rPr lang="en-US" sz="1400" b="1" dirty="0">
                <a:solidFill>
                  <a:srgbClr val="2C5967"/>
                </a:solidFill>
              </a:rPr>
              <a:t>doubling the impact on production database services</a:t>
            </a:r>
          </a:p>
          <a:p>
            <a:pPr marL="342900" indent="-342900">
              <a:spcAft>
                <a:spcPts val="600"/>
              </a:spcAft>
              <a:buFont typeface="+mj-lt"/>
              <a:buAutoNum type="arabicPeriod"/>
            </a:pPr>
            <a:r>
              <a:rPr lang="en-US" sz="1400" dirty="0"/>
              <a:t>Periodic revalidation </a:t>
            </a:r>
            <a:r>
              <a:rPr lang="en-US" sz="1400" b="1" dirty="0">
                <a:solidFill>
                  <a:srgbClr val="2C5967"/>
                </a:solidFill>
              </a:rPr>
              <a:t>increases production database consumption </a:t>
            </a:r>
          </a:p>
          <a:p>
            <a:pPr marL="342900" indent="-342900">
              <a:spcAft>
                <a:spcPts val="600"/>
              </a:spcAft>
              <a:buFont typeface="+mj-lt"/>
              <a:buAutoNum type="arabicPeriod"/>
            </a:pPr>
            <a:r>
              <a:rPr lang="en-US" sz="1400" dirty="0"/>
              <a:t>Resulting in:</a:t>
            </a:r>
          </a:p>
          <a:p>
            <a:pPr marL="708660" lvl="1" indent="-342900">
              <a:spcBef>
                <a:spcPts val="0"/>
              </a:spcBef>
              <a:spcAft>
                <a:spcPts val="600"/>
              </a:spcAft>
              <a:buFont typeface="+mj-lt"/>
              <a:buAutoNum type="alphaLcPeriod"/>
            </a:pPr>
            <a:r>
              <a:rPr lang="en-US" sz="1400" dirty="0"/>
              <a:t>Lower production performance if resource constrained, or</a:t>
            </a:r>
          </a:p>
          <a:p>
            <a:pPr marL="708660" lvl="1" indent="-342900">
              <a:spcBef>
                <a:spcPts val="0"/>
              </a:spcBef>
              <a:spcAft>
                <a:spcPts val="600"/>
              </a:spcAft>
              <a:buFont typeface="+mj-lt"/>
              <a:buAutoNum type="alphaLcPeriod"/>
            </a:pPr>
            <a:r>
              <a:rPr lang="en-US" sz="1400" dirty="0"/>
              <a:t>Higher consumption costs if resources are unconstrained, or</a:t>
            </a:r>
          </a:p>
          <a:p>
            <a:pPr marL="708660" lvl="1" indent="-342900">
              <a:spcBef>
                <a:spcPts val="0"/>
              </a:spcBef>
              <a:spcAft>
                <a:spcPts val="600"/>
              </a:spcAft>
              <a:buFont typeface="+mj-lt"/>
              <a:buAutoNum type="alphaLcPeriod"/>
            </a:pPr>
            <a:r>
              <a:rPr lang="en-US" sz="1400" dirty="0"/>
              <a:t>Decision to not validate backups or revalidate them, increasing risk</a:t>
            </a:r>
          </a:p>
        </p:txBody>
      </p:sp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B3738AEF-1325-483A-8B03-936962629D1D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8152142" y="1558354"/>
            <a:ext cx="3774385" cy="4507992"/>
          </a:xfrm>
        </p:spPr>
        <p:txBody>
          <a:bodyPr/>
          <a:lstStyle/>
          <a:p>
            <a:pPr algn="ctr">
              <a:spcBef>
                <a:spcPts val="0"/>
              </a:spcBef>
              <a:spcAft>
                <a:spcPts val="600"/>
              </a:spcAft>
            </a:pPr>
            <a:r>
              <a:rPr lang="en-US" sz="2000" b="1" dirty="0">
                <a:solidFill>
                  <a:srgbClr val="41817E"/>
                </a:solidFill>
              </a:rPr>
              <a:t>Recovery Service backup</a:t>
            </a:r>
          </a:p>
          <a:p>
            <a:pPr marL="342900" indent="-342900">
              <a:spcAft>
                <a:spcPts val="600"/>
              </a:spcAft>
              <a:buFont typeface="+mj-lt"/>
              <a:buAutoNum type="arabicPeriod"/>
            </a:pPr>
            <a:r>
              <a:rPr lang="en-US" sz="1400" dirty="0"/>
              <a:t>Incremental forever backup is created on the production database service and stored in the Recovery Service</a:t>
            </a:r>
          </a:p>
          <a:p>
            <a:pPr marL="342900" indent="-342900">
              <a:spcAft>
                <a:spcPts val="600"/>
              </a:spcAft>
              <a:buFont typeface="+mj-lt"/>
              <a:buAutoNum type="arabicPeriod"/>
            </a:pPr>
            <a:r>
              <a:rPr lang="en-US" sz="1400" dirty="0"/>
              <a:t>The Recovery Service uses</a:t>
            </a:r>
            <a:r>
              <a:rPr lang="en-US" sz="1400" b="1" dirty="0">
                <a:solidFill>
                  <a:srgbClr val="41817E"/>
                </a:solidFill>
              </a:rPr>
              <a:t> internal Oracle Database knowledge </a:t>
            </a:r>
            <a:r>
              <a:rPr lang="en-US" sz="1400" dirty="0"/>
              <a:t>to check examine and fix backups when ingested, with </a:t>
            </a:r>
            <a:r>
              <a:rPr lang="en-US" sz="1400" b="1" dirty="0">
                <a:solidFill>
                  <a:srgbClr val="41817E"/>
                </a:solidFill>
              </a:rPr>
              <a:t>no impact on production databases</a:t>
            </a:r>
          </a:p>
          <a:p>
            <a:pPr marL="342900" indent="-342900">
              <a:spcAft>
                <a:spcPts val="600"/>
              </a:spcAft>
              <a:buFont typeface="+mj-lt"/>
              <a:buAutoNum type="arabicPeriod"/>
            </a:pPr>
            <a:r>
              <a:rPr lang="en-US" sz="1400" dirty="0"/>
              <a:t>The Recovery Service periodically revalidates backups with </a:t>
            </a:r>
            <a:r>
              <a:rPr lang="en-US" sz="1400" b="1" dirty="0">
                <a:solidFill>
                  <a:srgbClr val="41817E"/>
                </a:solidFill>
              </a:rPr>
              <a:t>no production database consumption</a:t>
            </a:r>
          </a:p>
          <a:p>
            <a:pPr marL="342900" indent="-342900">
              <a:spcAft>
                <a:spcPts val="600"/>
              </a:spcAft>
              <a:buClr>
                <a:schemeClr val="tx1"/>
              </a:buClr>
              <a:buFont typeface="+mj-lt"/>
              <a:buAutoNum type="arabicPeriod"/>
            </a:pPr>
            <a:r>
              <a:rPr lang="en-US" sz="1400" dirty="0"/>
              <a:t>Resulting in:</a:t>
            </a:r>
          </a:p>
          <a:p>
            <a:pPr marL="627063" lvl="1" indent="-227013">
              <a:spcBef>
                <a:spcPts val="0"/>
              </a:spcBef>
              <a:buClr>
                <a:schemeClr val="tx1"/>
              </a:buClr>
              <a:buFont typeface="+mj-lt"/>
              <a:buAutoNum type="alphaLcPeriod"/>
            </a:pPr>
            <a:r>
              <a:rPr lang="en-US" sz="1400" dirty="0">
                <a:solidFill>
                  <a:srgbClr val="41817E"/>
                </a:solidFill>
              </a:rPr>
              <a:t> </a:t>
            </a:r>
            <a:r>
              <a:rPr lang="en-US" sz="1400" b="1" dirty="0">
                <a:solidFill>
                  <a:srgbClr val="41817E"/>
                </a:solidFill>
              </a:rPr>
              <a:t>Minimal backup impact on </a:t>
            </a:r>
          </a:p>
          <a:p>
            <a:pPr marL="688975" lvl="1" indent="0"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None/>
            </a:pPr>
            <a:r>
              <a:rPr lang="en-US" sz="1400" b="1" dirty="0">
                <a:solidFill>
                  <a:srgbClr val="41817E"/>
                </a:solidFill>
              </a:rPr>
              <a:t>production databases</a:t>
            </a:r>
          </a:p>
          <a:p>
            <a:pPr marL="627063" lvl="1" indent="-227013">
              <a:spcBef>
                <a:spcPts val="0"/>
              </a:spcBef>
              <a:buClr>
                <a:schemeClr val="tx1"/>
              </a:buClr>
              <a:buFont typeface="+mj-lt"/>
              <a:buAutoNum type="alphaLcPeriod" startAt="2"/>
            </a:pPr>
            <a:r>
              <a:rPr lang="en-US" sz="1400" dirty="0">
                <a:solidFill>
                  <a:srgbClr val="41817E"/>
                </a:solidFill>
              </a:rPr>
              <a:t> </a:t>
            </a:r>
            <a:r>
              <a:rPr lang="en-US" sz="1400" b="1" dirty="0">
                <a:solidFill>
                  <a:srgbClr val="41817E"/>
                </a:solidFill>
              </a:rPr>
              <a:t>No additional production </a:t>
            </a:r>
          </a:p>
          <a:p>
            <a:pPr marL="688975" lvl="1" indent="0"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None/>
            </a:pPr>
            <a:r>
              <a:rPr lang="en-US" sz="1400" b="1" dirty="0">
                <a:solidFill>
                  <a:srgbClr val="41817E"/>
                </a:solidFill>
              </a:rPr>
              <a:t>database service costs</a:t>
            </a:r>
          </a:p>
          <a:p>
            <a:pPr marL="627063" lvl="1" indent="-227013"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+mj-lt"/>
              <a:buAutoNum type="alphaLcPeriod" startAt="3"/>
            </a:pPr>
            <a:r>
              <a:rPr lang="en-US" sz="1400" dirty="0">
                <a:solidFill>
                  <a:srgbClr val="41817E"/>
                </a:solidFill>
              </a:rPr>
              <a:t> </a:t>
            </a:r>
            <a:r>
              <a:rPr lang="en-US" sz="1400" b="1" dirty="0">
                <a:solidFill>
                  <a:srgbClr val="41817E"/>
                </a:solidFill>
              </a:rPr>
              <a:t>Higher recoverability &amp; lower risk</a:t>
            </a:r>
          </a:p>
          <a:p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3634E940-ED8C-47BF-A6A3-6831EB44C13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covery Service offloads backup validation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23C090C-8EDA-4141-9356-9EA9C40DBF3C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1215605" y="6408419"/>
            <a:ext cx="5745379" cy="365125"/>
          </a:xfrm>
        </p:spPr>
        <p:txBody>
          <a:bodyPr/>
          <a:lstStyle/>
          <a:p>
            <a:r>
              <a:rPr lang="en-US" dirty="0" smtClean="0"/>
              <a:t>Copyright © 2024, Oracle and/or its affiliates. All rights reserved   </a:t>
            </a:r>
            <a:endParaRPr lang="en-US" dirty="0"/>
          </a:p>
        </p:txBody>
      </p:sp>
      <p:grpSp>
        <p:nvGrpSpPr>
          <p:cNvPr id="52" name="Group 51">
            <a:extLst>
              <a:ext uri="{FF2B5EF4-FFF2-40B4-BE49-F238E27FC236}">
                <a16:creationId xmlns:a16="http://schemas.microsoft.com/office/drawing/2014/main" id="{ECA841C2-7B7E-471D-8788-E2F3AB3F6F7A}"/>
              </a:ext>
            </a:extLst>
          </p:cNvPr>
          <p:cNvGrpSpPr/>
          <p:nvPr/>
        </p:nvGrpSpPr>
        <p:grpSpPr>
          <a:xfrm>
            <a:off x="5122153" y="3266432"/>
            <a:ext cx="329184" cy="329184"/>
            <a:chOff x="8701640" y="3423261"/>
            <a:chExt cx="329184" cy="329184"/>
          </a:xfrm>
        </p:grpSpPr>
        <p:grpSp>
          <p:nvGrpSpPr>
            <p:cNvPr id="53" name="Group 52">
              <a:extLst>
                <a:ext uri="{FF2B5EF4-FFF2-40B4-BE49-F238E27FC236}">
                  <a16:creationId xmlns:a16="http://schemas.microsoft.com/office/drawing/2014/main" id="{E1C6ECC7-4A55-428D-B0BA-AF6E34D7AA38}"/>
                </a:ext>
              </a:extLst>
            </p:cNvPr>
            <p:cNvGrpSpPr/>
            <p:nvPr/>
          </p:nvGrpSpPr>
          <p:grpSpPr>
            <a:xfrm>
              <a:off x="8701640" y="3423261"/>
              <a:ext cx="329184" cy="329184"/>
              <a:chOff x="8701640" y="3423261"/>
              <a:chExt cx="329184" cy="329184"/>
            </a:xfrm>
          </p:grpSpPr>
          <p:grpSp>
            <p:nvGrpSpPr>
              <p:cNvPr id="55" name="Group 54">
                <a:extLst>
                  <a:ext uri="{FF2B5EF4-FFF2-40B4-BE49-F238E27FC236}">
                    <a16:creationId xmlns:a16="http://schemas.microsoft.com/office/drawing/2014/main" id="{1240AA23-AEAF-4F96-A4BB-662EBDD701D4}"/>
                  </a:ext>
                </a:extLst>
              </p:cNvPr>
              <p:cNvGrpSpPr>
                <a:grpSpLocks noChangeAspect="1"/>
              </p:cNvGrpSpPr>
              <p:nvPr/>
            </p:nvGrpSpPr>
            <p:grpSpPr>
              <a:xfrm>
                <a:off x="8701640" y="3423261"/>
                <a:ext cx="329184" cy="329184"/>
                <a:chOff x="8681599" y="3408231"/>
                <a:chExt cx="365760" cy="365760"/>
              </a:xfrm>
            </p:grpSpPr>
            <p:cxnSp>
              <p:nvCxnSpPr>
                <p:cNvPr id="57" name="Straight Connector 56">
                  <a:extLst>
                    <a:ext uri="{FF2B5EF4-FFF2-40B4-BE49-F238E27FC236}">
                      <a16:creationId xmlns:a16="http://schemas.microsoft.com/office/drawing/2014/main" id="{0EAC5ACB-BE6D-47CC-895D-15317FC8C456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8681599" y="3591111"/>
                  <a:ext cx="365760" cy="0"/>
                </a:xfrm>
                <a:prstGeom prst="line">
                  <a:avLst/>
                </a:prstGeom>
                <a:ln w="38100" cap="rnd">
                  <a:solidFill>
                    <a:schemeClr val="accent5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8" name="Straight Connector 57">
                  <a:extLst>
                    <a:ext uri="{FF2B5EF4-FFF2-40B4-BE49-F238E27FC236}">
                      <a16:creationId xmlns:a16="http://schemas.microsoft.com/office/drawing/2014/main" id="{6638020E-0C86-4F29-8932-8F76FC4501C4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rot="1800000">
                  <a:off x="8681599" y="3591111"/>
                  <a:ext cx="365760" cy="0"/>
                </a:xfrm>
                <a:prstGeom prst="line">
                  <a:avLst/>
                </a:prstGeom>
                <a:ln w="38100" cap="rnd">
                  <a:solidFill>
                    <a:schemeClr val="accent5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9" name="Straight Connector 58">
                  <a:extLst>
                    <a:ext uri="{FF2B5EF4-FFF2-40B4-BE49-F238E27FC236}">
                      <a16:creationId xmlns:a16="http://schemas.microsoft.com/office/drawing/2014/main" id="{B131C5BB-6C60-4BCE-BD2C-9666C4613C19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rot="3600000">
                  <a:off x="8681599" y="3591111"/>
                  <a:ext cx="365760" cy="0"/>
                </a:xfrm>
                <a:prstGeom prst="line">
                  <a:avLst/>
                </a:prstGeom>
                <a:ln w="38100" cap="rnd">
                  <a:solidFill>
                    <a:schemeClr val="accent5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0" name="Straight Connector 59">
                  <a:extLst>
                    <a:ext uri="{FF2B5EF4-FFF2-40B4-BE49-F238E27FC236}">
                      <a16:creationId xmlns:a16="http://schemas.microsoft.com/office/drawing/2014/main" id="{7A263C11-B170-430E-A833-788D3954621F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rot="5400000">
                  <a:off x="8681599" y="3591111"/>
                  <a:ext cx="365760" cy="0"/>
                </a:xfrm>
                <a:prstGeom prst="line">
                  <a:avLst/>
                </a:prstGeom>
                <a:ln w="38100" cap="rnd">
                  <a:solidFill>
                    <a:schemeClr val="accent5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1" name="Straight Connector 60">
                  <a:extLst>
                    <a:ext uri="{FF2B5EF4-FFF2-40B4-BE49-F238E27FC236}">
                      <a16:creationId xmlns:a16="http://schemas.microsoft.com/office/drawing/2014/main" id="{7914DF8C-AF12-4131-BD5F-199486A53339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rot="7200000">
                  <a:off x="8681599" y="3591111"/>
                  <a:ext cx="365760" cy="0"/>
                </a:xfrm>
                <a:prstGeom prst="line">
                  <a:avLst/>
                </a:prstGeom>
                <a:ln w="38100" cap="rnd">
                  <a:solidFill>
                    <a:schemeClr val="accent5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2" name="Straight Connector 61">
                  <a:extLst>
                    <a:ext uri="{FF2B5EF4-FFF2-40B4-BE49-F238E27FC236}">
                      <a16:creationId xmlns:a16="http://schemas.microsoft.com/office/drawing/2014/main" id="{5AC19C2F-5E64-4896-9856-0D733201C4F4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rot="9000000">
                  <a:off x="8681599" y="3591111"/>
                  <a:ext cx="365760" cy="0"/>
                </a:xfrm>
                <a:prstGeom prst="line">
                  <a:avLst/>
                </a:prstGeom>
                <a:ln w="38100" cap="rnd">
                  <a:solidFill>
                    <a:schemeClr val="accent5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sp>
            <p:nvSpPr>
              <p:cNvPr id="56" name="Oval 55">
                <a:extLst>
                  <a:ext uri="{FF2B5EF4-FFF2-40B4-BE49-F238E27FC236}">
                    <a16:creationId xmlns:a16="http://schemas.microsoft.com/office/drawing/2014/main" id="{E2146EF7-1C3A-4F31-8040-F4C653BA8E9F}"/>
                  </a:ext>
                </a:extLst>
              </p:cNvPr>
              <p:cNvSpPr/>
              <p:nvPr/>
            </p:nvSpPr>
            <p:spPr>
              <a:xfrm>
                <a:off x="8727319" y="3453951"/>
                <a:ext cx="274320" cy="274320"/>
              </a:xfrm>
              <a:prstGeom prst="ellipse">
                <a:avLst/>
              </a:prstGeom>
              <a:solidFill>
                <a:schemeClr val="bg1"/>
              </a:solidFill>
              <a:ln w="28575" cap="rnd">
                <a:solidFill>
                  <a:srgbClr val="AE562C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54" name="TextBox 53">
              <a:extLst>
                <a:ext uri="{FF2B5EF4-FFF2-40B4-BE49-F238E27FC236}">
                  <a16:creationId xmlns:a16="http://schemas.microsoft.com/office/drawing/2014/main" id="{FDFAD67D-F13A-45F8-89F7-763784D7776D}"/>
                </a:ext>
              </a:extLst>
            </p:cNvPr>
            <p:cNvSpPr txBox="1"/>
            <p:nvPr/>
          </p:nvSpPr>
          <p:spPr>
            <a:xfrm>
              <a:off x="8711207" y="3442579"/>
              <a:ext cx="292068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400" b="1" dirty="0"/>
                <a:t>1</a:t>
              </a:r>
            </a:p>
          </p:txBody>
        </p:sp>
      </p:grpSp>
      <p:grpSp>
        <p:nvGrpSpPr>
          <p:cNvPr id="63" name="Group 62">
            <a:extLst>
              <a:ext uri="{FF2B5EF4-FFF2-40B4-BE49-F238E27FC236}">
                <a16:creationId xmlns:a16="http://schemas.microsoft.com/office/drawing/2014/main" id="{394440CF-316D-4D9D-862E-29CCDEB99F74}"/>
              </a:ext>
            </a:extLst>
          </p:cNvPr>
          <p:cNvGrpSpPr/>
          <p:nvPr/>
        </p:nvGrpSpPr>
        <p:grpSpPr>
          <a:xfrm>
            <a:off x="5772726" y="4279173"/>
            <a:ext cx="329184" cy="329184"/>
            <a:chOff x="9259936" y="3423261"/>
            <a:chExt cx="329184" cy="329184"/>
          </a:xfrm>
        </p:grpSpPr>
        <p:grpSp>
          <p:nvGrpSpPr>
            <p:cNvPr id="64" name="Group 63">
              <a:extLst>
                <a:ext uri="{FF2B5EF4-FFF2-40B4-BE49-F238E27FC236}">
                  <a16:creationId xmlns:a16="http://schemas.microsoft.com/office/drawing/2014/main" id="{DADF58E5-8E49-4CA8-AC8B-C7563EEE16B3}"/>
                </a:ext>
              </a:extLst>
            </p:cNvPr>
            <p:cNvGrpSpPr/>
            <p:nvPr/>
          </p:nvGrpSpPr>
          <p:grpSpPr>
            <a:xfrm>
              <a:off x="9259936" y="3423261"/>
              <a:ext cx="329184" cy="329184"/>
              <a:chOff x="8701640" y="3423261"/>
              <a:chExt cx="329184" cy="329184"/>
            </a:xfrm>
          </p:grpSpPr>
          <p:grpSp>
            <p:nvGrpSpPr>
              <p:cNvPr id="66" name="Group 65">
                <a:extLst>
                  <a:ext uri="{FF2B5EF4-FFF2-40B4-BE49-F238E27FC236}">
                    <a16:creationId xmlns:a16="http://schemas.microsoft.com/office/drawing/2014/main" id="{10DF31F5-E6BC-4E3A-BC4D-ABD86108A5D8}"/>
                  </a:ext>
                </a:extLst>
              </p:cNvPr>
              <p:cNvGrpSpPr>
                <a:grpSpLocks noChangeAspect="1"/>
              </p:cNvGrpSpPr>
              <p:nvPr/>
            </p:nvGrpSpPr>
            <p:grpSpPr>
              <a:xfrm>
                <a:off x="8701640" y="3423261"/>
                <a:ext cx="329184" cy="329184"/>
                <a:chOff x="8681599" y="3408231"/>
                <a:chExt cx="365760" cy="365760"/>
              </a:xfrm>
            </p:grpSpPr>
            <p:cxnSp>
              <p:nvCxnSpPr>
                <p:cNvPr id="68" name="Straight Connector 67">
                  <a:extLst>
                    <a:ext uri="{FF2B5EF4-FFF2-40B4-BE49-F238E27FC236}">
                      <a16:creationId xmlns:a16="http://schemas.microsoft.com/office/drawing/2014/main" id="{5BAE8367-5209-4974-B1A4-64BB2B7AB2B3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8681599" y="3591111"/>
                  <a:ext cx="365760" cy="0"/>
                </a:xfrm>
                <a:prstGeom prst="line">
                  <a:avLst/>
                </a:prstGeom>
                <a:ln w="38100" cap="rnd">
                  <a:solidFill>
                    <a:schemeClr val="accent5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9" name="Straight Connector 68">
                  <a:extLst>
                    <a:ext uri="{FF2B5EF4-FFF2-40B4-BE49-F238E27FC236}">
                      <a16:creationId xmlns:a16="http://schemas.microsoft.com/office/drawing/2014/main" id="{C9C6D425-D383-41C3-B97D-99A8B224D9FD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rot="1800000">
                  <a:off x="8681599" y="3591111"/>
                  <a:ext cx="365760" cy="0"/>
                </a:xfrm>
                <a:prstGeom prst="line">
                  <a:avLst/>
                </a:prstGeom>
                <a:ln w="38100" cap="rnd">
                  <a:solidFill>
                    <a:schemeClr val="accent5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70" name="Straight Connector 69">
                  <a:extLst>
                    <a:ext uri="{FF2B5EF4-FFF2-40B4-BE49-F238E27FC236}">
                      <a16:creationId xmlns:a16="http://schemas.microsoft.com/office/drawing/2014/main" id="{0500326F-BA14-42E4-8228-D4606094B6AD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rot="3600000">
                  <a:off x="8681599" y="3591111"/>
                  <a:ext cx="365760" cy="0"/>
                </a:xfrm>
                <a:prstGeom prst="line">
                  <a:avLst/>
                </a:prstGeom>
                <a:ln w="38100" cap="rnd">
                  <a:solidFill>
                    <a:schemeClr val="accent5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71" name="Straight Connector 70">
                  <a:extLst>
                    <a:ext uri="{FF2B5EF4-FFF2-40B4-BE49-F238E27FC236}">
                      <a16:creationId xmlns:a16="http://schemas.microsoft.com/office/drawing/2014/main" id="{62B68E08-F771-4A68-980A-E492F7899268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rot="5400000">
                  <a:off x="8681599" y="3591111"/>
                  <a:ext cx="365760" cy="0"/>
                </a:xfrm>
                <a:prstGeom prst="line">
                  <a:avLst/>
                </a:prstGeom>
                <a:ln w="38100" cap="rnd">
                  <a:solidFill>
                    <a:schemeClr val="accent5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72" name="Straight Connector 71">
                  <a:extLst>
                    <a:ext uri="{FF2B5EF4-FFF2-40B4-BE49-F238E27FC236}">
                      <a16:creationId xmlns:a16="http://schemas.microsoft.com/office/drawing/2014/main" id="{83BC1EDC-933E-4744-8454-0E168AECF731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rot="7200000">
                  <a:off x="8681599" y="3591111"/>
                  <a:ext cx="365760" cy="0"/>
                </a:xfrm>
                <a:prstGeom prst="line">
                  <a:avLst/>
                </a:prstGeom>
                <a:ln w="38100" cap="rnd">
                  <a:solidFill>
                    <a:schemeClr val="accent5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73" name="Straight Connector 72">
                  <a:extLst>
                    <a:ext uri="{FF2B5EF4-FFF2-40B4-BE49-F238E27FC236}">
                      <a16:creationId xmlns:a16="http://schemas.microsoft.com/office/drawing/2014/main" id="{1A58450F-FBC3-44B3-A1F7-DDE3D7170F34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rot="9000000">
                  <a:off x="8681599" y="3591111"/>
                  <a:ext cx="365760" cy="0"/>
                </a:xfrm>
                <a:prstGeom prst="line">
                  <a:avLst/>
                </a:prstGeom>
                <a:ln w="38100" cap="rnd">
                  <a:solidFill>
                    <a:schemeClr val="accent5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sp>
            <p:nvSpPr>
              <p:cNvPr id="67" name="Oval 66">
                <a:extLst>
                  <a:ext uri="{FF2B5EF4-FFF2-40B4-BE49-F238E27FC236}">
                    <a16:creationId xmlns:a16="http://schemas.microsoft.com/office/drawing/2014/main" id="{9FC8DBFD-5AA7-4D10-92A1-3D8BD13A440C}"/>
                  </a:ext>
                </a:extLst>
              </p:cNvPr>
              <p:cNvSpPr/>
              <p:nvPr/>
            </p:nvSpPr>
            <p:spPr>
              <a:xfrm>
                <a:off x="8727319" y="3453951"/>
                <a:ext cx="274320" cy="274320"/>
              </a:xfrm>
              <a:prstGeom prst="ellipse">
                <a:avLst/>
              </a:prstGeom>
              <a:solidFill>
                <a:schemeClr val="bg1"/>
              </a:solidFill>
              <a:ln w="28575" cap="rnd">
                <a:solidFill>
                  <a:srgbClr val="AE562C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65" name="TextBox 64">
              <a:extLst>
                <a:ext uri="{FF2B5EF4-FFF2-40B4-BE49-F238E27FC236}">
                  <a16:creationId xmlns:a16="http://schemas.microsoft.com/office/drawing/2014/main" id="{2E246D36-C40E-4C7F-B554-F9264FE01917}"/>
                </a:ext>
              </a:extLst>
            </p:cNvPr>
            <p:cNvSpPr txBox="1"/>
            <p:nvPr/>
          </p:nvSpPr>
          <p:spPr>
            <a:xfrm>
              <a:off x="9280999" y="3440074"/>
              <a:ext cx="292068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400" b="1" dirty="0"/>
                <a:t>2</a:t>
              </a:r>
            </a:p>
          </p:txBody>
        </p:sp>
      </p:grpSp>
      <p:grpSp>
        <p:nvGrpSpPr>
          <p:cNvPr id="74" name="Group 73">
            <a:extLst>
              <a:ext uri="{FF2B5EF4-FFF2-40B4-BE49-F238E27FC236}">
                <a16:creationId xmlns:a16="http://schemas.microsoft.com/office/drawing/2014/main" id="{E4D6556C-D345-4702-BBC1-C3E712BE0250}"/>
              </a:ext>
            </a:extLst>
          </p:cNvPr>
          <p:cNvGrpSpPr/>
          <p:nvPr/>
        </p:nvGrpSpPr>
        <p:grpSpPr>
          <a:xfrm>
            <a:off x="6489084" y="4279173"/>
            <a:ext cx="329184" cy="329184"/>
            <a:chOff x="9976294" y="3452662"/>
            <a:chExt cx="329184" cy="329184"/>
          </a:xfrm>
        </p:grpSpPr>
        <p:grpSp>
          <p:nvGrpSpPr>
            <p:cNvPr id="75" name="Group 74">
              <a:extLst>
                <a:ext uri="{FF2B5EF4-FFF2-40B4-BE49-F238E27FC236}">
                  <a16:creationId xmlns:a16="http://schemas.microsoft.com/office/drawing/2014/main" id="{040FFAAE-1BA9-4248-9A54-4EFFC690D054}"/>
                </a:ext>
              </a:extLst>
            </p:cNvPr>
            <p:cNvGrpSpPr/>
            <p:nvPr/>
          </p:nvGrpSpPr>
          <p:grpSpPr>
            <a:xfrm>
              <a:off x="9976294" y="3452662"/>
              <a:ext cx="329184" cy="329184"/>
              <a:chOff x="8701640" y="3423261"/>
              <a:chExt cx="329184" cy="329184"/>
            </a:xfrm>
          </p:grpSpPr>
          <p:grpSp>
            <p:nvGrpSpPr>
              <p:cNvPr id="78" name="Group 77">
                <a:extLst>
                  <a:ext uri="{FF2B5EF4-FFF2-40B4-BE49-F238E27FC236}">
                    <a16:creationId xmlns:a16="http://schemas.microsoft.com/office/drawing/2014/main" id="{E1C686AF-A137-4755-8D2A-5C6E1346F052}"/>
                  </a:ext>
                </a:extLst>
              </p:cNvPr>
              <p:cNvGrpSpPr>
                <a:grpSpLocks noChangeAspect="1"/>
              </p:cNvGrpSpPr>
              <p:nvPr/>
            </p:nvGrpSpPr>
            <p:grpSpPr>
              <a:xfrm>
                <a:off x="8701640" y="3423261"/>
                <a:ext cx="329184" cy="329184"/>
                <a:chOff x="8681599" y="3408231"/>
                <a:chExt cx="365760" cy="365760"/>
              </a:xfrm>
            </p:grpSpPr>
            <p:cxnSp>
              <p:nvCxnSpPr>
                <p:cNvPr id="80" name="Straight Connector 79">
                  <a:extLst>
                    <a:ext uri="{FF2B5EF4-FFF2-40B4-BE49-F238E27FC236}">
                      <a16:creationId xmlns:a16="http://schemas.microsoft.com/office/drawing/2014/main" id="{118A177D-17E9-43B0-B9A5-2D88084EDCFE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8681599" y="3591111"/>
                  <a:ext cx="365760" cy="0"/>
                </a:xfrm>
                <a:prstGeom prst="line">
                  <a:avLst/>
                </a:prstGeom>
                <a:ln w="38100" cap="rnd">
                  <a:solidFill>
                    <a:schemeClr val="accent5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81" name="Straight Connector 80">
                  <a:extLst>
                    <a:ext uri="{FF2B5EF4-FFF2-40B4-BE49-F238E27FC236}">
                      <a16:creationId xmlns:a16="http://schemas.microsoft.com/office/drawing/2014/main" id="{B1DD54C1-F22F-497A-B7DE-8A52E90246A3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rot="1800000">
                  <a:off x="8681599" y="3591111"/>
                  <a:ext cx="365760" cy="0"/>
                </a:xfrm>
                <a:prstGeom prst="line">
                  <a:avLst/>
                </a:prstGeom>
                <a:ln w="38100" cap="rnd">
                  <a:solidFill>
                    <a:schemeClr val="accent5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82" name="Straight Connector 81">
                  <a:extLst>
                    <a:ext uri="{FF2B5EF4-FFF2-40B4-BE49-F238E27FC236}">
                      <a16:creationId xmlns:a16="http://schemas.microsoft.com/office/drawing/2014/main" id="{E02B1643-7B05-4660-AECA-C98EADBE67C9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rot="3600000">
                  <a:off x="8681599" y="3591111"/>
                  <a:ext cx="365760" cy="0"/>
                </a:xfrm>
                <a:prstGeom prst="line">
                  <a:avLst/>
                </a:prstGeom>
                <a:ln w="38100" cap="rnd">
                  <a:solidFill>
                    <a:schemeClr val="accent5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83" name="Straight Connector 82">
                  <a:extLst>
                    <a:ext uri="{FF2B5EF4-FFF2-40B4-BE49-F238E27FC236}">
                      <a16:creationId xmlns:a16="http://schemas.microsoft.com/office/drawing/2014/main" id="{D6C0F9F0-2177-40C4-975B-6A14437CB816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rot="5400000">
                  <a:off x="8681599" y="3591111"/>
                  <a:ext cx="365760" cy="0"/>
                </a:xfrm>
                <a:prstGeom prst="line">
                  <a:avLst/>
                </a:prstGeom>
                <a:ln w="38100" cap="rnd">
                  <a:solidFill>
                    <a:schemeClr val="accent5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84" name="Straight Connector 83">
                  <a:extLst>
                    <a:ext uri="{FF2B5EF4-FFF2-40B4-BE49-F238E27FC236}">
                      <a16:creationId xmlns:a16="http://schemas.microsoft.com/office/drawing/2014/main" id="{DDAB991A-22E2-4022-A413-C3F5ADB80CC2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rot="7200000">
                  <a:off x="8681599" y="3591111"/>
                  <a:ext cx="365760" cy="0"/>
                </a:xfrm>
                <a:prstGeom prst="line">
                  <a:avLst/>
                </a:prstGeom>
                <a:ln w="38100" cap="rnd">
                  <a:solidFill>
                    <a:schemeClr val="accent5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85" name="Straight Connector 84">
                  <a:extLst>
                    <a:ext uri="{FF2B5EF4-FFF2-40B4-BE49-F238E27FC236}">
                      <a16:creationId xmlns:a16="http://schemas.microsoft.com/office/drawing/2014/main" id="{20848E07-E5A8-4415-8AA7-0353D67694E1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rot="9000000">
                  <a:off x="8681599" y="3591111"/>
                  <a:ext cx="365760" cy="0"/>
                </a:xfrm>
                <a:prstGeom prst="line">
                  <a:avLst/>
                </a:prstGeom>
                <a:ln w="38100" cap="rnd">
                  <a:solidFill>
                    <a:schemeClr val="accent5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sp>
            <p:nvSpPr>
              <p:cNvPr id="79" name="Oval 78">
                <a:extLst>
                  <a:ext uri="{FF2B5EF4-FFF2-40B4-BE49-F238E27FC236}">
                    <a16:creationId xmlns:a16="http://schemas.microsoft.com/office/drawing/2014/main" id="{B524C9E1-3E34-4CBD-BE67-69E30057152B}"/>
                  </a:ext>
                </a:extLst>
              </p:cNvPr>
              <p:cNvSpPr/>
              <p:nvPr/>
            </p:nvSpPr>
            <p:spPr>
              <a:xfrm>
                <a:off x="8727319" y="3453951"/>
                <a:ext cx="274320" cy="274320"/>
              </a:xfrm>
              <a:prstGeom prst="ellipse">
                <a:avLst/>
              </a:prstGeom>
              <a:solidFill>
                <a:schemeClr val="bg1"/>
              </a:solidFill>
              <a:ln w="28575" cap="rnd">
                <a:solidFill>
                  <a:srgbClr val="AE562C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76" name="Oval 75">
              <a:extLst>
                <a:ext uri="{FF2B5EF4-FFF2-40B4-BE49-F238E27FC236}">
                  <a16:creationId xmlns:a16="http://schemas.microsoft.com/office/drawing/2014/main" id="{AF2F093E-6710-4546-95C0-9AED1B5DE13F}"/>
                </a:ext>
              </a:extLst>
            </p:cNvPr>
            <p:cNvSpPr/>
            <p:nvPr/>
          </p:nvSpPr>
          <p:spPr>
            <a:xfrm>
              <a:off x="9997143" y="3479452"/>
              <a:ext cx="274320" cy="274320"/>
            </a:xfrm>
            <a:prstGeom prst="ellipse">
              <a:avLst/>
            </a:prstGeom>
            <a:solidFill>
              <a:schemeClr val="bg1"/>
            </a:solidFill>
            <a:ln w="28575">
              <a:solidFill>
                <a:srgbClr val="AE562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7" name="TextBox 76">
              <a:extLst>
                <a:ext uri="{FF2B5EF4-FFF2-40B4-BE49-F238E27FC236}">
                  <a16:creationId xmlns:a16="http://schemas.microsoft.com/office/drawing/2014/main" id="{4A13385D-B1EB-41DA-A109-9B8EBD1A9C0F}"/>
                </a:ext>
              </a:extLst>
            </p:cNvPr>
            <p:cNvSpPr txBox="1"/>
            <p:nvPr/>
          </p:nvSpPr>
          <p:spPr>
            <a:xfrm>
              <a:off x="9996610" y="3463613"/>
              <a:ext cx="292068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400" b="1" dirty="0"/>
                <a:t>3</a:t>
              </a:r>
            </a:p>
          </p:txBody>
        </p:sp>
      </p:grpSp>
      <p:sp>
        <p:nvSpPr>
          <p:cNvPr id="86" name="TextBox 85">
            <a:extLst>
              <a:ext uri="{FF2B5EF4-FFF2-40B4-BE49-F238E27FC236}">
                <a16:creationId xmlns:a16="http://schemas.microsoft.com/office/drawing/2014/main" id="{34DD3700-BB6C-4881-8DE6-6A07CC78C010}"/>
              </a:ext>
            </a:extLst>
          </p:cNvPr>
          <p:cNvSpPr txBox="1"/>
          <p:nvPr/>
        </p:nvSpPr>
        <p:spPr>
          <a:xfrm>
            <a:off x="4486353" y="5519850"/>
            <a:ext cx="329096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/>
              <a:t>Most work takes place on the Recovery Service</a:t>
            </a:r>
          </a:p>
        </p:txBody>
      </p:sp>
      <p:sp>
        <p:nvSpPr>
          <p:cNvPr id="87" name="Arrow: Right 86">
            <a:extLst>
              <a:ext uri="{FF2B5EF4-FFF2-40B4-BE49-F238E27FC236}">
                <a16:creationId xmlns:a16="http://schemas.microsoft.com/office/drawing/2014/main" id="{63DEF92C-8F91-48DA-94D1-4DDC5528DC9C}"/>
              </a:ext>
            </a:extLst>
          </p:cNvPr>
          <p:cNvSpPr/>
          <p:nvPr/>
        </p:nvSpPr>
        <p:spPr>
          <a:xfrm flipH="1">
            <a:off x="7421437" y="3253655"/>
            <a:ext cx="669182" cy="976045"/>
          </a:xfrm>
          <a:prstGeom prst="rightArrow">
            <a:avLst>
              <a:gd name="adj1" fmla="val 63683"/>
              <a:gd name="adj2" fmla="val 50000"/>
            </a:avLst>
          </a:prstGeom>
          <a:gradFill>
            <a:gsLst>
              <a:gs pos="0">
                <a:schemeClr val="tx2">
                  <a:lumMod val="25000"/>
                  <a:lumOff val="75000"/>
                </a:schemeClr>
              </a:gs>
              <a:gs pos="100000">
                <a:schemeClr val="tx2">
                  <a:lumMod val="50000"/>
                  <a:lumOff val="50000"/>
                </a:scheme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345D60D9-5372-5F40-9443-0F9AE5BDC3C8}" type="slidenum">
              <a:rPr lang="en-US" smtClean="0"/>
              <a:pPr/>
              <a:t>4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976809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026A9AB4-22A6-444D-8137-BE719F16AD7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Protect Oracle databases with less then 5 clicks in the OCI conso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E2AAC2E-CD92-4948-ABC7-53E753A05AFC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766764" y="1818525"/>
            <a:ext cx="5068958" cy="4288587"/>
          </a:xfrm>
        </p:spPr>
        <p:txBody>
          <a:bodyPr/>
          <a:lstStyle/>
          <a:p>
            <a:pPr>
              <a:spcBef>
                <a:spcPts val="1200"/>
              </a:spcBef>
            </a:pPr>
            <a:r>
              <a:rPr lang="en-US" dirty="0"/>
              <a:t>A fully managed OCI service with a simple UI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 sz="1600" dirty="0"/>
              <a:t>Enable automatic backups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 sz="1600" dirty="0"/>
              <a:t>Schedule daily incremental backups to meet your business schedule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 sz="1600" dirty="0"/>
              <a:t>Select Autonomous Recovery Service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 sz="1600" dirty="0"/>
              <a:t>Select protection window of 14 to 95 days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 sz="1600" dirty="0"/>
              <a:t>Enable real-time protection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3634E940-ED8C-47BF-A6A3-6831EB44C13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covery Service is easy to set up and use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23C090C-8EDA-4141-9356-9EA9C40DBF3C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1127760" y="6424295"/>
            <a:ext cx="5745379" cy="365125"/>
          </a:xfrm>
        </p:spPr>
        <p:txBody>
          <a:bodyPr/>
          <a:lstStyle/>
          <a:p>
            <a:r>
              <a:rPr lang="en-US" dirty="0" smtClean="0"/>
              <a:t>Copyright © 2024, Oracle and/or its affiliates. All rights reserved   </a:t>
            </a:r>
            <a:endParaRPr lang="en-US" dirty="0"/>
          </a:p>
        </p:txBody>
      </p:sp>
      <p:pic>
        <p:nvPicPr>
          <p:cNvPr id="8" name="Content Placeholder 8">
            <a:extLst>
              <a:ext uri="{FF2B5EF4-FFF2-40B4-BE49-F238E27FC236}">
                <a16:creationId xmlns:a16="http://schemas.microsoft.com/office/drawing/2014/main" id="{4FB2CF60-D604-4F3C-BDDE-533BA426C580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6725376" y="1604861"/>
            <a:ext cx="4748812" cy="451248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7" name="Slide Number Placeholder 6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345D60D9-5372-5F40-9443-0F9AE5BDC3C8}" type="slidenum">
              <a:rPr lang="en-US" smtClean="0"/>
              <a:t>4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390899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 descr="Graphical user interface, text, application&#10;&#10;Description automatically generated">
            <a:extLst>
              <a:ext uri="{FF2B5EF4-FFF2-40B4-BE49-F238E27FC236}">
                <a16:creationId xmlns:a16="http://schemas.microsoft.com/office/drawing/2014/main" id="{70FFBE5A-1998-421E-A064-57D9CE0FA71B}"/>
              </a:ext>
            </a:extLst>
          </p:cNvPr>
          <p:cNvPicPr/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68225" y="1843002"/>
            <a:ext cx="5762518" cy="330993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026A9AB4-22A6-444D-8137-BE719F16AD7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Built-in security and resiliency help safeguard mission-critical data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E2AAC2E-CD92-4948-ABC7-53E753A05AFC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766764" y="1600201"/>
            <a:ext cx="5110054" cy="4506912"/>
          </a:xfrm>
        </p:spPr>
        <p:txBody>
          <a:bodyPr/>
          <a:lstStyle/>
          <a:p>
            <a:pPr>
              <a:spcBef>
                <a:spcPts val="0"/>
              </a:spcBef>
              <a:spcAft>
                <a:spcPts val="800"/>
              </a:spcAft>
            </a:pPr>
            <a:r>
              <a:rPr lang="en-US" dirty="0"/>
              <a:t>Encryption is mandatory</a:t>
            </a:r>
          </a:p>
          <a:p>
            <a:pPr marL="285750" indent="-285750"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en-US" sz="1600" dirty="0"/>
              <a:t>Non-encrypted databases are rejected</a:t>
            </a:r>
          </a:p>
          <a:p>
            <a:pPr marL="285750" indent="-285750"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en-US" sz="1600" dirty="0"/>
              <a:t>Keys are never stored in the Recovery Service</a:t>
            </a:r>
          </a:p>
          <a:p>
            <a:pPr>
              <a:spcBef>
                <a:spcPts val="1200"/>
              </a:spcBef>
              <a:spcAft>
                <a:spcPts val="800"/>
              </a:spcAft>
            </a:pPr>
            <a:r>
              <a:rPr lang="en-US" dirty="0"/>
              <a:t>Access and management controls</a:t>
            </a:r>
          </a:p>
          <a:p>
            <a:pPr marL="285750" indent="-285750"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en-US" sz="1600" dirty="0"/>
              <a:t>No direct user access to storage – backup only</a:t>
            </a:r>
          </a:p>
          <a:p>
            <a:pPr marL="285750" indent="-285750"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en-US" sz="1600" dirty="0"/>
              <a:t>Access granted per protected database</a:t>
            </a:r>
          </a:p>
          <a:p>
            <a:pPr marL="285750" indent="-285750"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en-US" sz="1600" dirty="0"/>
              <a:t>14-day minimum retention enables recovery from human error or malicious internal actors</a:t>
            </a:r>
          </a:p>
          <a:p>
            <a:pPr>
              <a:spcBef>
                <a:spcPts val="1200"/>
              </a:spcBef>
              <a:spcAft>
                <a:spcPts val="800"/>
              </a:spcAft>
            </a:pPr>
            <a:r>
              <a:rPr lang="en-US" dirty="0"/>
              <a:t>Resilient operations</a:t>
            </a:r>
          </a:p>
          <a:p>
            <a:pPr marL="285750" indent="-285750"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en-US" sz="1600" dirty="0"/>
              <a:t>Fault-tolerant across all infrastructure components</a:t>
            </a:r>
          </a:p>
          <a:p>
            <a:pPr marL="285750" indent="-285750"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en-US" sz="1600" dirty="0"/>
              <a:t>Highly available across Availability Domains and Fault Domain</a:t>
            </a:r>
          </a:p>
          <a:p>
            <a:pPr marL="285750" indent="-285750"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en-US" sz="1600" dirty="0"/>
              <a:t>Load balanced within a region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3634E940-ED8C-47BF-A6A3-6831EB44C13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8875" y="182403"/>
            <a:ext cx="11161868" cy="822960"/>
          </a:xfrm>
        </p:spPr>
        <p:txBody>
          <a:bodyPr/>
          <a:lstStyle/>
          <a:p>
            <a:r>
              <a:rPr lang="en-US" dirty="0"/>
              <a:t>Recovery Service protects against unauthorized access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23C090C-8EDA-4141-9356-9EA9C40DBF3C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1127760" y="6419381"/>
            <a:ext cx="5745379" cy="365125"/>
          </a:xfrm>
        </p:spPr>
        <p:txBody>
          <a:bodyPr/>
          <a:lstStyle/>
          <a:p>
            <a:r>
              <a:rPr lang="en-US" dirty="0" smtClean="0"/>
              <a:t>Copyright © 2024, Oracle and/or its affiliates. All rights reserved   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345D60D9-5372-5F40-9443-0F9AE5BDC3C8}" type="slidenum">
              <a:rPr lang="en-US" smtClean="0"/>
              <a:t>4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737940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026A9AB4-22A6-444D-8137-BE719F16AD7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Built-in dashboards and tools simplify reporting and planning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E2AAC2E-CD92-4948-ABC7-53E753A05AFC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766763" y="1548831"/>
            <a:ext cx="10671175" cy="1966000"/>
          </a:xfrm>
        </p:spPr>
        <p:txBody>
          <a:bodyPr/>
          <a:lstStyle/>
          <a:p>
            <a:pPr eaLnBrk="0" fontAlgn="base" hangingPunct="0">
              <a:spcBef>
                <a:spcPts val="0"/>
              </a:spcBef>
              <a:spcAft>
                <a:spcPts val="600"/>
              </a:spcAft>
              <a:buClr>
                <a:srgbClr val="9F9F9F"/>
              </a:buClr>
              <a:defRPr/>
            </a:pPr>
            <a:r>
              <a:rPr lang="en-US" dirty="0">
                <a:ea typeface="MS PGothic" panose="020B0600070205080204" pitchFamily="34" charset="-128"/>
              </a:rPr>
              <a:t>Continuous monitoring of potential business risks</a:t>
            </a:r>
          </a:p>
          <a:p>
            <a:pPr marL="342900" indent="-342900" eaLnBrk="0" fontAlgn="base" hangingPunct="0">
              <a:spcBef>
                <a:spcPts val="0"/>
              </a:spcBef>
              <a:spcAft>
                <a:spcPts val="600"/>
              </a:spcAft>
              <a:buClr>
                <a:srgbClr val="9F9F9F"/>
              </a:buClr>
              <a:buFont typeface="Arial" panose="020B0604020202020204" pitchFamily="34" charset="0"/>
              <a:buChar char="•"/>
              <a:defRPr/>
            </a:pPr>
            <a:r>
              <a:rPr lang="en-US" sz="1600" dirty="0">
                <a:ea typeface="MS PGothic" panose="020B0600070205080204" pitchFamily="34" charset="-128"/>
              </a:rPr>
              <a:t>Data loss exposure</a:t>
            </a:r>
          </a:p>
          <a:p>
            <a:pPr marL="342900" indent="-342900" eaLnBrk="0" fontAlgn="base" hangingPunct="0">
              <a:spcBef>
                <a:spcPts val="0"/>
              </a:spcBef>
              <a:spcAft>
                <a:spcPts val="600"/>
              </a:spcAft>
              <a:buClr>
                <a:srgbClr val="9F9F9F"/>
              </a:buClr>
              <a:buFont typeface="Arial" panose="020B0604020202020204" pitchFamily="34" charset="0"/>
              <a:buChar char="•"/>
              <a:defRPr/>
            </a:pPr>
            <a:r>
              <a:rPr lang="en-US" sz="1600" dirty="0">
                <a:ea typeface="MS PGothic" panose="020B0600070205080204" pitchFamily="34" charset="-128"/>
              </a:rPr>
              <a:t>Recovery window </a:t>
            </a:r>
          </a:p>
          <a:p>
            <a:pPr eaLnBrk="0" fontAlgn="base" hangingPunct="0">
              <a:spcBef>
                <a:spcPts val="1200"/>
              </a:spcBef>
              <a:spcAft>
                <a:spcPts val="600"/>
              </a:spcAft>
              <a:buClr>
                <a:srgbClr val="9F9F9F"/>
              </a:buClr>
              <a:defRPr/>
            </a:pPr>
            <a:r>
              <a:rPr lang="en-US" dirty="0">
                <a:ea typeface="MS PGothic" panose="020B0600070205080204" pitchFamily="34" charset="-128"/>
              </a:rPr>
              <a:t>Critical data for operational planning</a:t>
            </a:r>
          </a:p>
          <a:p>
            <a:pPr marL="342900" indent="-342900" eaLnBrk="0" fontAlgn="base" hangingPunct="0">
              <a:spcBef>
                <a:spcPts val="0"/>
              </a:spcBef>
              <a:spcAft>
                <a:spcPts val="600"/>
              </a:spcAft>
              <a:buClr>
                <a:srgbClr val="9F9F9F"/>
              </a:buClr>
              <a:buFont typeface="Arial" panose="020B0604020202020204" pitchFamily="34" charset="0"/>
              <a:buChar char="•"/>
              <a:defRPr/>
            </a:pPr>
            <a:r>
              <a:rPr lang="en-US" sz="1600" dirty="0">
                <a:ea typeface="MS PGothic" panose="020B0600070205080204" pitchFamily="34" charset="-128"/>
              </a:rPr>
              <a:t>Capacity usage </a:t>
            </a:r>
          </a:p>
          <a:p>
            <a:pPr marL="342900" indent="-342900" eaLnBrk="0" fontAlgn="base" hangingPunct="0">
              <a:spcBef>
                <a:spcPts val="0"/>
              </a:spcBef>
              <a:spcAft>
                <a:spcPts val="600"/>
              </a:spcAft>
              <a:buClr>
                <a:srgbClr val="9F9F9F"/>
              </a:buClr>
              <a:buFont typeface="Arial" panose="020B0604020202020204" pitchFamily="34" charset="0"/>
              <a:buChar char="•"/>
              <a:defRPr/>
            </a:pPr>
            <a:r>
              <a:rPr lang="en-US" sz="1600" dirty="0">
                <a:ea typeface="MS PGothic" panose="020B0600070205080204" pitchFamily="34" charset="-128"/>
              </a:rPr>
              <a:t>Protection policy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3634E940-ED8C-47BF-A6A3-6831EB44C13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covery Service provides insights into backup health and operations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23C090C-8EDA-4141-9356-9EA9C40DBF3C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1127760" y="6424295"/>
            <a:ext cx="5745379" cy="365125"/>
          </a:xfrm>
        </p:spPr>
        <p:txBody>
          <a:bodyPr/>
          <a:lstStyle/>
          <a:p>
            <a:r>
              <a:rPr lang="en-US" smtClean="0"/>
              <a:t>Copyright © 2024, Oracle and/or its affiliates. All rights reserved   </a:t>
            </a:r>
            <a:endParaRPr lang="en-US" dirty="0"/>
          </a:p>
        </p:txBody>
      </p:sp>
      <p:pic>
        <p:nvPicPr>
          <p:cNvPr id="8" name="Content Placeholder 8">
            <a:extLst>
              <a:ext uri="{FF2B5EF4-FFF2-40B4-BE49-F238E27FC236}">
                <a16:creationId xmlns:a16="http://schemas.microsoft.com/office/drawing/2014/main" id="{E36D0C29-2C24-4329-8D80-841EE7F299F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37340" y="3704538"/>
            <a:ext cx="11430064" cy="196600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cxnSp>
        <p:nvCxnSpPr>
          <p:cNvPr id="12" name="Straight Arrow Connector 11">
            <a:extLst>
              <a:ext uri="{FF2B5EF4-FFF2-40B4-BE49-F238E27FC236}">
                <a16:creationId xmlns:a16="http://schemas.microsoft.com/office/drawing/2014/main" id="{050379CE-020B-4090-9093-00C74ECCC415}"/>
              </a:ext>
            </a:extLst>
          </p:cNvPr>
          <p:cNvCxnSpPr>
            <a:cxnSpLocks/>
          </p:cNvCxnSpPr>
          <p:nvPr/>
        </p:nvCxnSpPr>
        <p:spPr>
          <a:xfrm flipV="1">
            <a:off x="3747372" y="5580281"/>
            <a:ext cx="0" cy="284309"/>
          </a:xfrm>
          <a:prstGeom prst="straightConnector1">
            <a:avLst/>
          </a:prstGeom>
          <a:ln w="50800">
            <a:solidFill>
              <a:srgbClr val="2C5967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Arrow Connector 12">
            <a:extLst>
              <a:ext uri="{FF2B5EF4-FFF2-40B4-BE49-F238E27FC236}">
                <a16:creationId xmlns:a16="http://schemas.microsoft.com/office/drawing/2014/main" id="{338DB901-16F8-4652-A7C6-7119E92D4049}"/>
              </a:ext>
            </a:extLst>
          </p:cNvPr>
          <p:cNvCxnSpPr>
            <a:cxnSpLocks/>
          </p:cNvCxnSpPr>
          <p:nvPr/>
        </p:nvCxnSpPr>
        <p:spPr>
          <a:xfrm flipV="1">
            <a:off x="5335177" y="5580281"/>
            <a:ext cx="0" cy="276287"/>
          </a:xfrm>
          <a:prstGeom prst="straightConnector1">
            <a:avLst/>
          </a:prstGeom>
          <a:ln w="50800">
            <a:solidFill>
              <a:srgbClr val="2C5967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Arrow Connector 16">
            <a:extLst>
              <a:ext uri="{FF2B5EF4-FFF2-40B4-BE49-F238E27FC236}">
                <a16:creationId xmlns:a16="http://schemas.microsoft.com/office/drawing/2014/main" id="{4501D74C-48A3-4791-A7F1-3491F493B92E}"/>
              </a:ext>
            </a:extLst>
          </p:cNvPr>
          <p:cNvCxnSpPr>
            <a:cxnSpLocks/>
          </p:cNvCxnSpPr>
          <p:nvPr/>
        </p:nvCxnSpPr>
        <p:spPr>
          <a:xfrm flipV="1">
            <a:off x="8282148" y="5580281"/>
            <a:ext cx="0" cy="276287"/>
          </a:xfrm>
          <a:prstGeom prst="straightConnector1">
            <a:avLst/>
          </a:prstGeom>
          <a:ln w="50800">
            <a:solidFill>
              <a:srgbClr val="594564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Arrow Connector 18">
            <a:extLst>
              <a:ext uri="{FF2B5EF4-FFF2-40B4-BE49-F238E27FC236}">
                <a16:creationId xmlns:a16="http://schemas.microsoft.com/office/drawing/2014/main" id="{6A2745A5-17A0-4555-936D-2AD068D6A80A}"/>
              </a:ext>
            </a:extLst>
          </p:cNvPr>
          <p:cNvCxnSpPr>
            <a:cxnSpLocks/>
          </p:cNvCxnSpPr>
          <p:nvPr/>
        </p:nvCxnSpPr>
        <p:spPr>
          <a:xfrm flipV="1">
            <a:off x="9883204" y="5580281"/>
            <a:ext cx="0" cy="276287"/>
          </a:xfrm>
          <a:prstGeom prst="straightConnector1">
            <a:avLst/>
          </a:prstGeom>
          <a:ln w="50800">
            <a:solidFill>
              <a:srgbClr val="6C3F49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Rounded Rectangle 12">
            <a:extLst>
              <a:ext uri="{FF2B5EF4-FFF2-40B4-BE49-F238E27FC236}">
                <a16:creationId xmlns:a16="http://schemas.microsoft.com/office/drawing/2014/main" id="{8168EE36-749B-4C38-9E0E-5B064B649956}"/>
              </a:ext>
            </a:extLst>
          </p:cNvPr>
          <p:cNvSpPr/>
          <p:nvPr/>
        </p:nvSpPr>
        <p:spPr>
          <a:xfrm>
            <a:off x="499821" y="5819200"/>
            <a:ext cx="5080848" cy="350349"/>
          </a:xfrm>
          <a:prstGeom prst="roundRect">
            <a:avLst/>
          </a:prstGeom>
          <a:solidFill>
            <a:srgbClr val="2C5967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defRPr/>
            </a:pPr>
            <a:r>
              <a:rPr lang="en-US" sz="1600" b="1" dirty="0">
                <a:solidFill>
                  <a:schemeClr val="bg2"/>
                </a:solidFill>
              </a:rPr>
              <a:t>Real-time protection and data loss exposure</a:t>
            </a:r>
          </a:p>
        </p:txBody>
      </p:sp>
      <p:sp>
        <p:nvSpPr>
          <p:cNvPr id="18" name="Rounded Rectangle 11">
            <a:extLst>
              <a:ext uri="{FF2B5EF4-FFF2-40B4-BE49-F238E27FC236}">
                <a16:creationId xmlns:a16="http://schemas.microsoft.com/office/drawing/2014/main" id="{886C42DC-72C5-43E2-9224-FC1F8AF7A7A3}"/>
              </a:ext>
            </a:extLst>
          </p:cNvPr>
          <p:cNvSpPr/>
          <p:nvPr/>
        </p:nvSpPr>
        <p:spPr>
          <a:xfrm>
            <a:off x="9616338" y="5823600"/>
            <a:ext cx="2075842" cy="350349"/>
          </a:xfrm>
          <a:prstGeom prst="roundRect">
            <a:avLst/>
          </a:prstGeom>
          <a:solidFill>
            <a:srgbClr val="6C3F49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defRPr/>
            </a:pPr>
            <a:r>
              <a:rPr lang="en-US" sz="1600" b="1" dirty="0">
                <a:solidFill>
                  <a:schemeClr val="bg2"/>
                </a:solidFill>
              </a:rPr>
              <a:t>Protection policy</a:t>
            </a:r>
          </a:p>
        </p:txBody>
      </p:sp>
      <p:cxnSp>
        <p:nvCxnSpPr>
          <p:cNvPr id="16" name="Straight Arrow Connector 15">
            <a:extLst>
              <a:ext uri="{FF2B5EF4-FFF2-40B4-BE49-F238E27FC236}">
                <a16:creationId xmlns:a16="http://schemas.microsoft.com/office/drawing/2014/main" id="{F8A52ED6-CADA-49D2-A06E-2D6893048E54}"/>
              </a:ext>
            </a:extLst>
          </p:cNvPr>
          <p:cNvCxnSpPr>
            <a:cxnSpLocks/>
          </p:cNvCxnSpPr>
          <p:nvPr/>
        </p:nvCxnSpPr>
        <p:spPr>
          <a:xfrm flipV="1">
            <a:off x="6681164" y="5580281"/>
            <a:ext cx="0" cy="276287"/>
          </a:xfrm>
          <a:prstGeom prst="straightConnector1">
            <a:avLst/>
          </a:prstGeom>
          <a:ln w="50800">
            <a:solidFill>
              <a:srgbClr val="594564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Rounded Rectangle 11">
            <a:extLst>
              <a:ext uri="{FF2B5EF4-FFF2-40B4-BE49-F238E27FC236}">
                <a16:creationId xmlns:a16="http://schemas.microsoft.com/office/drawing/2014/main" id="{817ED86C-C2CB-4733-BCE6-BC6E4CCFF308}"/>
              </a:ext>
            </a:extLst>
          </p:cNvPr>
          <p:cNvSpPr/>
          <p:nvPr/>
        </p:nvSpPr>
        <p:spPr>
          <a:xfrm>
            <a:off x="5693790" y="5822626"/>
            <a:ext cx="3770721" cy="350349"/>
          </a:xfrm>
          <a:prstGeom prst="roundRect">
            <a:avLst/>
          </a:prstGeom>
          <a:solidFill>
            <a:srgbClr val="594564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defRPr/>
            </a:pPr>
            <a:r>
              <a:rPr lang="en-US" sz="1600" b="1" dirty="0">
                <a:solidFill>
                  <a:schemeClr val="bg2"/>
                </a:solidFill>
              </a:rPr>
              <a:t>Recovery window and capacity used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345D60D9-5372-5F40-9443-0F9AE5BDC3C8}" type="slidenum">
              <a:rPr lang="en-US" smtClean="0"/>
              <a:t>4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512816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026A9AB4-22A6-444D-8137-BE719F16AD7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Comprehensive visibility across the full cloud stack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E2AAC2E-CD92-4948-ABC7-53E753A05AFC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766763" y="1711994"/>
            <a:ext cx="5084064" cy="726299"/>
          </a:xfrm>
        </p:spPr>
        <p:txBody>
          <a:bodyPr/>
          <a:lstStyle/>
          <a:p>
            <a:pPr eaLnBrk="0" fontAlgn="base" hangingPunct="0">
              <a:spcBef>
                <a:spcPts val="0"/>
              </a:spcBef>
              <a:spcAft>
                <a:spcPts val="600"/>
              </a:spcAft>
              <a:buClr>
                <a:srgbClr val="9F9F9F"/>
              </a:buClr>
              <a:defRPr/>
            </a:pPr>
            <a:r>
              <a:rPr lang="en-US" dirty="0">
                <a:ea typeface="MS PGothic" panose="020B0600070205080204" pitchFamily="34" charset="-128"/>
              </a:rPr>
              <a:t>Integration with OCI Metrics Explorer provides common access to critical information</a:t>
            </a:r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34D31BE8-0E7C-4128-89B8-D2FB859DD348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6422777" y="1711994"/>
            <a:ext cx="4908242" cy="726299"/>
          </a:xfrm>
        </p:spPr>
        <p:txBody>
          <a:bodyPr/>
          <a:lstStyle/>
          <a:p>
            <a:r>
              <a:rPr lang="en-US" dirty="0"/>
              <a:t>Alarms and notifications are created within OCI for consistent monitoring and management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3634E940-ED8C-47BF-A6A3-6831EB44C13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covery Service integrates with OCI observability and management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23C090C-8EDA-4141-9356-9EA9C40DBF3C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>
          <a:xfrm>
            <a:off x="1127760" y="6423660"/>
            <a:ext cx="5745379" cy="365125"/>
          </a:xfrm>
        </p:spPr>
        <p:txBody>
          <a:bodyPr/>
          <a:lstStyle/>
          <a:p>
            <a:r>
              <a:rPr lang="en-US" smtClean="0"/>
              <a:t>Copyright © 2024, Oracle and/or its affiliates. All rights reserved   </a:t>
            </a:r>
            <a:endParaRPr lang="en-US" dirty="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13E42212-4571-4ADA-A996-2D84865DA7C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30915" y="2396359"/>
            <a:ext cx="5029200" cy="3477203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4CA02A9A-84AA-44C2-BEF1-F829CCE7F81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431885" y="2396359"/>
            <a:ext cx="5029200" cy="3748088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7" name="Slide Number Placeholder 6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345D60D9-5372-5F40-9443-0F9AE5BDC3C8}" type="slidenum">
              <a:rPr lang="en-US" smtClean="0"/>
              <a:t>4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215647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31535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C38B6F3C-673A-2C4F-BDD8-A174DA9D4B4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12" r="91391"/>
          <a:stretch/>
        </p:blipFill>
        <p:spPr>
          <a:xfrm>
            <a:off x="-1" y="0"/>
            <a:ext cx="1083365" cy="6858000"/>
          </a:xfrm>
          <a:prstGeom prst="rect">
            <a:avLst/>
          </a:prstGeom>
        </p:spPr>
      </p:pic>
      <p:sp>
        <p:nvSpPr>
          <p:cNvPr id="10" name="Title 6"/>
          <p:cNvSpPr txBox="1">
            <a:spLocks/>
          </p:cNvSpPr>
          <p:nvPr/>
        </p:nvSpPr>
        <p:spPr>
          <a:xfrm>
            <a:off x="1698788" y="3124539"/>
            <a:ext cx="9207751" cy="822960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noAutofit/>
          </a:bodyPr>
          <a:lstStyle>
            <a:lvl1pPr algn="l" defTabSz="914400" rtl="0" eaLnBrk="1" latinLnBrk="0" hangingPunct="1">
              <a:lnSpc>
                <a:spcPct val="95000"/>
              </a:lnSpc>
              <a:spcBef>
                <a:spcPct val="0"/>
              </a:spcBef>
              <a:buNone/>
              <a:defRPr lang="en-US" sz="4000" b="0" i="0" kern="1200" baseline="0" dirty="0">
                <a:solidFill>
                  <a:schemeClr val="tx1"/>
                </a:solidFill>
                <a:latin typeface="+mj-lt"/>
                <a:ea typeface="+mn-ea"/>
                <a:cs typeface="+mj-cs"/>
              </a:defRPr>
            </a:lvl1pPr>
          </a:lstStyle>
          <a:p>
            <a:pPr lvl="0" algn="ctr">
              <a:defRPr/>
            </a:pPr>
            <a:r>
              <a:rPr lang="en-US" dirty="0">
                <a:solidFill>
                  <a:srgbClr val="FCFBFA"/>
                </a:solidFill>
              </a:rPr>
              <a:t>Oracle NoSQL Database Cloud Service</a:t>
            </a:r>
            <a:endParaRPr kumimoji="0" lang="en-US" sz="4000" b="0" i="0" u="none" strike="noStrike" kern="1200" cap="none" spc="0" normalizeH="0" baseline="0" noProof="0" dirty="0">
              <a:ln>
                <a:noFill/>
              </a:ln>
              <a:solidFill>
                <a:srgbClr val="FCFBFA"/>
              </a:solidFill>
              <a:effectLst/>
              <a:uLnTx/>
              <a:uFillTx/>
              <a:latin typeface="Georgia"/>
              <a:ea typeface="+mn-ea"/>
              <a:cs typeface="+mj-cs"/>
            </a:endParaRP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Copyright © 2024, Oracle and/or its affiliates. All rights reserved   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5D60D9-5372-5F40-9443-0F9AE5BDC3C8}" type="slidenum">
              <a:rPr lang="en-US" smtClean="0"/>
              <a:pPr/>
              <a:t>4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583357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OTag">
            <a:extLst>
              <a:ext uri="{FF2B5EF4-FFF2-40B4-BE49-F238E27FC236}">
                <a16:creationId xmlns:a16="http://schemas.microsoft.com/office/drawing/2014/main" id="{981DC239-D566-E048-8A8F-1EA34A602C33}"/>
              </a:ext>
              <a:ext uri="{C183D7F6-B498-43B3-948B-1728B52AA6E4}">
                <adec:decorative xmlns=""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83112" y="6355080"/>
            <a:ext cx="502920" cy="502920"/>
          </a:xfrm>
          <a:prstGeom prst="rect">
            <a:avLst/>
          </a:prstGeom>
        </p:spPr>
      </p:pic>
      <p:sp>
        <p:nvSpPr>
          <p:cNvPr id="50" name="Title 1">
            <a:extLst>
              <a:ext uri="{FF2B5EF4-FFF2-40B4-BE49-F238E27FC236}">
                <a16:creationId xmlns:a16="http://schemas.microsoft.com/office/drawing/2014/main" id="{7A56C12B-B04E-7A44-8A8A-FE1E5247A1B3}"/>
              </a:ext>
            </a:extLst>
          </p:cNvPr>
          <p:cNvSpPr txBox="1">
            <a:spLocks/>
          </p:cNvSpPr>
          <p:nvPr/>
        </p:nvSpPr>
        <p:spPr>
          <a:xfrm>
            <a:off x="768096" y="548640"/>
            <a:ext cx="10802538" cy="768096"/>
          </a:xfrm>
          <a:prstGeom prst="rect">
            <a:avLst/>
          </a:prstGeom>
        </p:spPr>
        <p:txBody>
          <a:bodyPr lIns="0" tIns="0" rIns="0" bIns="0" anchor="t"/>
          <a:lstStyle>
            <a:lvl1pPr algn="l" defTabSz="914400" rtl="0" eaLnBrk="1" latinLnBrk="0" hangingPunct="1">
              <a:lnSpc>
                <a:spcPct val="95000"/>
              </a:lnSpc>
              <a:spcBef>
                <a:spcPct val="0"/>
              </a:spcBef>
              <a:buNone/>
              <a:defRPr lang="en-US" sz="2400" b="1" i="0" kern="1200" baseline="0" dirty="0">
                <a:solidFill>
                  <a:schemeClr val="tx1"/>
                </a:solidFill>
                <a:latin typeface="+mn-lt"/>
                <a:ea typeface="+mn-ea"/>
                <a:cs typeface="+mj-cs"/>
              </a:defRPr>
            </a:lvl1pPr>
          </a:lstStyle>
          <a:p>
            <a:pPr lvl="0">
              <a:spcBef>
                <a:spcPts val="0"/>
              </a:spcBef>
              <a:defRPr/>
            </a:pPr>
            <a:r>
              <a:rPr lang="en-US" dirty="0" smtClean="0">
                <a:ea typeface="Segoe UI Historic" panose="020B0502040204020203" pitchFamily="34" charset="0"/>
                <a:cs typeface="Segoe UI Historic" panose="020B0502040204020203" pitchFamily="34" charset="0"/>
              </a:rPr>
              <a:t>Oracle NoSQL Database Services on OCI Console</a:t>
            </a:r>
            <a:endParaRPr lang="en-US" dirty="0">
              <a:ea typeface="Segoe UI Historic" panose="020B0502040204020203" pitchFamily="34" charset="0"/>
              <a:cs typeface="Segoe UI Historic" panose="020B0502040204020203" pitchFamily="34" charset="0"/>
            </a:endParaRPr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3A777943-E8A4-4732-9640-72918300052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347787" y="6423977"/>
            <a:ext cx="3792589" cy="365125"/>
          </a:xfrm>
        </p:spPr>
        <p:txBody>
          <a:bodyPr/>
          <a:lstStyle/>
          <a:p>
            <a:r>
              <a:rPr lang="en-US" sz="1000" dirty="0" smtClean="0">
                <a:solidFill>
                  <a:schemeClr val="bg1">
                    <a:lumMod val="75000"/>
                  </a:schemeClr>
                </a:solidFill>
              </a:rPr>
              <a:t>Copyright © 2024, Oracle and/or its affiliates. All rights reserved   </a:t>
            </a:r>
            <a:endParaRPr lang="en-US" sz="1000" dirty="0">
              <a:solidFill>
                <a:schemeClr val="bg1">
                  <a:lumMod val="75000"/>
                </a:schemeClr>
              </a:solidFill>
            </a:endParaRP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347787" y="1747837"/>
            <a:ext cx="9496425" cy="336232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41" name="Rectangle 40"/>
          <p:cNvSpPr/>
          <p:nvPr/>
        </p:nvSpPr>
        <p:spPr>
          <a:xfrm>
            <a:off x="683940" y="860762"/>
            <a:ext cx="7735229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>
                <a:solidFill>
                  <a:schemeClr val="accent6">
                    <a:lumMod val="50000"/>
                  </a:schemeClr>
                </a:solidFill>
              </a:rPr>
              <a:t> </a:t>
            </a:r>
            <a:r>
              <a:rPr lang="en-US" dirty="0" smtClean="0">
                <a:solidFill>
                  <a:schemeClr val="accent6">
                    <a:lumMod val="50000"/>
                  </a:schemeClr>
                </a:solidFill>
              </a:rPr>
              <a:t>Easy provisioning and Management</a:t>
            </a:r>
            <a:endParaRPr lang="pt-BR" dirty="0">
              <a:solidFill>
                <a:schemeClr val="accent6">
                  <a:lumMod val="50000"/>
                </a:schemeClr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719762" y="6417351"/>
            <a:ext cx="578563" cy="365125"/>
          </a:xfrm>
        </p:spPr>
        <p:txBody>
          <a:bodyPr/>
          <a:lstStyle/>
          <a:p>
            <a:fld id="{C51EAA63-D034-42AE-91FA-B13B9518C7BE}" type="slidenum">
              <a:rPr lang="en-US" smtClean="0">
                <a:solidFill>
                  <a:srgbClr val="4E3629">
                    <a:tint val="75000"/>
                  </a:srgbClr>
                </a:solidFill>
              </a:rPr>
              <a:pPr/>
              <a:t>49</a:t>
            </a:fld>
            <a:endParaRPr lang="en-US" dirty="0">
              <a:solidFill>
                <a:srgbClr val="4E3629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8032546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3" name="Graphic 10">
            <a:extLst>
              <a:ext uri="{FF2B5EF4-FFF2-40B4-BE49-F238E27FC236}">
                <a16:creationId xmlns:a16="http://schemas.microsoft.com/office/drawing/2014/main" id="{BE87FEC5-5D82-3B42-A4E2-5937497A8B67}"/>
              </a:ext>
            </a:extLst>
          </p:cNvPr>
          <p:cNvSpPr>
            <a:spLocks noChangeAspect="1"/>
          </p:cNvSpPr>
          <p:nvPr>
            <p:custDataLst>
              <p:tags r:id="rId1"/>
            </p:custDataLst>
          </p:nvPr>
        </p:nvSpPr>
        <p:spPr>
          <a:xfrm>
            <a:off x="1218224" y="1683264"/>
            <a:ext cx="9751667" cy="3791725"/>
          </a:xfrm>
          <a:custGeom>
            <a:avLst/>
            <a:gdLst>
              <a:gd name="connsiteX0" fmla="*/ 1966682 w 5521505"/>
              <a:gd name="connsiteY0" fmla="*/ 1633538 h 2146918"/>
              <a:gd name="connsiteX1" fmla="*/ 1970055 w 5521505"/>
              <a:gd name="connsiteY1" fmla="*/ 1633538 h 2146918"/>
              <a:gd name="connsiteX2" fmla="*/ 1967620 w 5521505"/>
              <a:gd name="connsiteY2" fmla="*/ 1636935 h 2146918"/>
              <a:gd name="connsiteX3" fmla="*/ 1965550 w 5521505"/>
              <a:gd name="connsiteY3" fmla="*/ 1639663 h 2146918"/>
              <a:gd name="connsiteX4" fmla="*/ 1963529 w 5521505"/>
              <a:gd name="connsiteY4" fmla="*/ 1641928 h 2146918"/>
              <a:gd name="connsiteX5" fmla="*/ 1962713 w 5521505"/>
              <a:gd name="connsiteY5" fmla="*/ 1642732 h 2146918"/>
              <a:gd name="connsiteX6" fmla="*/ 1956478 w 5521505"/>
              <a:gd name="connsiteY6" fmla="*/ 1644936 h 2146918"/>
              <a:gd name="connsiteX7" fmla="*/ 1953617 w 5521505"/>
              <a:gd name="connsiteY7" fmla="*/ 1643377 h 2146918"/>
              <a:gd name="connsiteX8" fmla="*/ 1952265 w 5521505"/>
              <a:gd name="connsiteY8" fmla="*/ 1642330 h 2146918"/>
              <a:gd name="connsiteX9" fmla="*/ 1952058 w 5521505"/>
              <a:gd name="connsiteY9" fmla="*/ 1642695 h 2146918"/>
              <a:gd name="connsiteX10" fmla="*/ 1952058 w 5521505"/>
              <a:gd name="connsiteY10" fmla="*/ 1642598 h 2146918"/>
              <a:gd name="connsiteX11" fmla="*/ 1952058 w 5521505"/>
              <a:gd name="connsiteY11" fmla="*/ 1642598 h 2146918"/>
              <a:gd name="connsiteX12" fmla="*/ 1951888 w 5521505"/>
              <a:gd name="connsiteY12" fmla="*/ 1642756 h 2146918"/>
              <a:gd name="connsiteX13" fmla="*/ 1951547 w 5521505"/>
              <a:gd name="connsiteY13" fmla="*/ 1643085 h 2146918"/>
              <a:gd name="connsiteX14" fmla="*/ 1951230 w 5521505"/>
              <a:gd name="connsiteY14" fmla="*/ 1643401 h 2146918"/>
              <a:gd name="connsiteX15" fmla="*/ 1950475 w 5521505"/>
              <a:gd name="connsiteY15" fmla="*/ 1644120 h 2146918"/>
              <a:gd name="connsiteX16" fmla="*/ 1949927 w 5521505"/>
              <a:gd name="connsiteY16" fmla="*/ 1644655 h 2146918"/>
              <a:gd name="connsiteX17" fmla="*/ 1948710 w 5521505"/>
              <a:gd name="connsiteY17" fmla="*/ 1645788 h 2146918"/>
              <a:gd name="connsiteX18" fmla="*/ 1947370 w 5521505"/>
              <a:gd name="connsiteY18" fmla="*/ 1647067 h 2146918"/>
              <a:gd name="connsiteX19" fmla="*/ 1946030 w 5521505"/>
              <a:gd name="connsiteY19" fmla="*/ 1648285 h 2146918"/>
              <a:gd name="connsiteX20" fmla="*/ 1944813 w 5521505"/>
              <a:gd name="connsiteY20" fmla="*/ 1649161 h 2146918"/>
              <a:gd name="connsiteX21" fmla="*/ 1943900 w 5521505"/>
              <a:gd name="connsiteY21" fmla="*/ 1649672 h 2146918"/>
              <a:gd name="connsiteX22" fmla="*/ 1943266 w 5521505"/>
              <a:gd name="connsiteY22" fmla="*/ 1650038 h 2146918"/>
              <a:gd name="connsiteX23" fmla="*/ 1943120 w 5521505"/>
              <a:gd name="connsiteY23" fmla="*/ 1650123 h 2146918"/>
              <a:gd name="connsiteX24" fmla="*/ 1938603 w 5521505"/>
              <a:gd name="connsiteY24" fmla="*/ 1647870 h 2146918"/>
              <a:gd name="connsiteX25" fmla="*/ 1939212 w 5521505"/>
              <a:gd name="connsiteY25" fmla="*/ 1643657 h 2146918"/>
              <a:gd name="connsiteX26" fmla="*/ 1947163 w 5521505"/>
              <a:gd name="connsiteY26" fmla="*/ 1639091 h 2146918"/>
              <a:gd name="connsiteX27" fmla="*/ 1951376 w 5521505"/>
              <a:gd name="connsiteY27" fmla="*/ 1641283 h 2146918"/>
              <a:gd name="connsiteX28" fmla="*/ 1951985 w 5521505"/>
              <a:gd name="connsiteY28" fmla="*/ 1642501 h 2146918"/>
              <a:gd name="connsiteX29" fmla="*/ 1952168 w 5521505"/>
              <a:gd name="connsiteY29" fmla="*/ 1642330 h 2146918"/>
              <a:gd name="connsiteX30" fmla="*/ 1952679 w 5521505"/>
              <a:gd name="connsiteY30" fmla="*/ 1641112 h 2146918"/>
              <a:gd name="connsiteX31" fmla="*/ 1953422 w 5521505"/>
              <a:gd name="connsiteY31" fmla="*/ 1639493 h 2146918"/>
              <a:gd name="connsiteX32" fmla="*/ 1955334 w 5521505"/>
              <a:gd name="connsiteY32" fmla="*/ 1636327 h 2146918"/>
              <a:gd name="connsiteX33" fmla="*/ 1960205 w 5521505"/>
              <a:gd name="connsiteY33" fmla="*/ 1633782 h 2146918"/>
              <a:gd name="connsiteX34" fmla="*/ 1966682 w 5521505"/>
              <a:gd name="connsiteY34" fmla="*/ 1633538 h 2146918"/>
              <a:gd name="connsiteX35" fmla="*/ 555970 w 5521505"/>
              <a:gd name="connsiteY35" fmla="*/ 1431402 h 2146918"/>
              <a:gd name="connsiteX36" fmla="*/ 555970 w 5521505"/>
              <a:gd name="connsiteY36" fmla="*/ 1431402 h 2146918"/>
              <a:gd name="connsiteX37" fmla="*/ 555215 w 5521505"/>
              <a:gd name="connsiteY37" fmla="*/ 1431159 h 2146918"/>
              <a:gd name="connsiteX38" fmla="*/ 555276 w 5521505"/>
              <a:gd name="connsiteY38" fmla="*/ 1431159 h 2146918"/>
              <a:gd name="connsiteX39" fmla="*/ 2001472 w 5521505"/>
              <a:gd name="connsiteY39" fmla="*/ 1079638 h 2146918"/>
              <a:gd name="connsiteX40" fmla="*/ 2001922 w 5521505"/>
              <a:gd name="connsiteY40" fmla="*/ 1080782 h 2146918"/>
              <a:gd name="connsiteX41" fmla="*/ 2002239 w 5521505"/>
              <a:gd name="connsiteY41" fmla="*/ 1081781 h 2146918"/>
              <a:gd name="connsiteX42" fmla="*/ 2002531 w 5521505"/>
              <a:gd name="connsiteY42" fmla="*/ 1082828 h 2146918"/>
              <a:gd name="connsiteX43" fmla="*/ 2002811 w 5521505"/>
              <a:gd name="connsiteY43" fmla="*/ 1083960 h 2146918"/>
              <a:gd name="connsiteX44" fmla="*/ 2003104 w 5521505"/>
              <a:gd name="connsiteY44" fmla="*/ 1085568 h 2146918"/>
              <a:gd name="connsiteX45" fmla="*/ 2003335 w 5521505"/>
              <a:gd name="connsiteY45" fmla="*/ 1087455 h 2146918"/>
              <a:gd name="connsiteX46" fmla="*/ 2003420 w 5521505"/>
              <a:gd name="connsiteY46" fmla="*/ 1089014 h 2146918"/>
              <a:gd name="connsiteX47" fmla="*/ 2003420 w 5521505"/>
              <a:gd name="connsiteY47" fmla="*/ 1091133 h 2146918"/>
              <a:gd name="connsiteX48" fmla="*/ 2003213 w 5521505"/>
              <a:gd name="connsiteY48" fmla="*/ 1093799 h 2146918"/>
              <a:gd name="connsiteX49" fmla="*/ 2003043 w 5521505"/>
              <a:gd name="connsiteY49" fmla="*/ 1095103 h 2146918"/>
              <a:gd name="connsiteX50" fmla="*/ 2002580 w 5521505"/>
              <a:gd name="connsiteY50" fmla="*/ 1097538 h 2146918"/>
              <a:gd name="connsiteX51" fmla="*/ 2001947 w 5521505"/>
              <a:gd name="connsiteY51" fmla="*/ 1100046 h 2146918"/>
              <a:gd name="connsiteX52" fmla="*/ 2001240 w 5521505"/>
              <a:gd name="connsiteY52" fmla="*/ 1102360 h 2146918"/>
              <a:gd name="connsiteX53" fmla="*/ 1999864 w 5521505"/>
              <a:gd name="connsiteY53" fmla="*/ 1106013 h 2146918"/>
              <a:gd name="connsiteX54" fmla="*/ 1998196 w 5521505"/>
              <a:gd name="connsiteY54" fmla="*/ 1109666 h 2146918"/>
              <a:gd name="connsiteX55" fmla="*/ 1996077 w 5521505"/>
              <a:gd name="connsiteY55" fmla="*/ 1113550 h 2146918"/>
              <a:gd name="connsiteX56" fmla="*/ 1992230 w 5521505"/>
              <a:gd name="connsiteY56" fmla="*/ 1119286 h 2146918"/>
              <a:gd name="connsiteX57" fmla="*/ 1989149 w 5521505"/>
              <a:gd name="connsiteY57" fmla="*/ 1123426 h 2146918"/>
              <a:gd name="connsiteX58" fmla="*/ 1986202 w 5521505"/>
              <a:gd name="connsiteY58" fmla="*/ 1127323 h 2146918"/>
              <a:gd name="connsiteX59" fmla="*/ 1984375 w 5521505"/>
              <a:gd name="connsiteY59" fmla="*/ 1129758 h 2146918"/>
              <a:gd name="connsiteX60" fmla="*/ 1982744 w 5521505"/>
              <a:gd name="connsiteY60" fmla="*/ 1132035 h 2146918"/>
              <a:gd name="connsiteX61" fmla="*/ 1981222 w 5521505"/>
              <a:gd name="connsiteY61" fmla="*/ 1134360 h 2146918"/>
              <a:gd name="connsiteX62" fmla="*/ 1980357 w 5521505"/>
              <a:gd name="connsiteY62" fmla="*/ 1136004 h 2146918"/>
              <a:gd name="connsiteX63" fmla="*/ 1978287 w 5521505"/>
              <a:gd name="connsiteY63" fmla="*/ 1140449 h 2146918"/>
              <a:gd name="connsiteX64" fmla="*/ 1977069 w 5521505"/>
              <a:gd name="connsiteY64" fmla="*/ 1142884 h 2146918"/>
              <a:gd name="connsiteX65" fmla="*/ 1975511 w 5521505"/>
              <a:gd name="connsiteY65" fmla="*/ 1146135 h 2146918"/>
              <a:gd name="connsiteX66" fmla="*/ 1974512 w 5521505"/>
              <a:gd name="connsiteY66" fmla="*/ 1148254 h 2146918"/>
              <a:gd name="connsiteX67" fmla="*/ 1972625 w 5521505"/>
              <a:gd name="connsiteY67" fmla="*/ 1151968 h 2146918"/>
              <a:gd name="connsiteX68" fmla="*/ 1970640 w 5521505"/>
              <a:gd name="connsiteY68" fmla="*/ 1155232 h 2146918"/>
              <a:gd name="connsiteX69" fmla="*/ 1968424 w 5521505"/>
              <a:gd name="connsiteY69" fmla="*/ 1158167 h 2146918"/>
              <a:gd name="connsiteX70" fmla="*/ 1967023 w 5521505"/>
              <a:gd name="connsiteY70" fmla="*/ 1159969 h 2146918"/>
              <a:gd name="connsiteX71" fmla="*/ 1965721 w 5521505"/>
              <a:gd name="connsiteY71" fmla="*/ 1161892 h 2146918"/>
              <a:gd name="connsiteX72" fmla="*/ 1964625 w 5521505"/>
              <a:gd name="connsiteY72" fmla="*/ 1163743 h 2146918"/>
              <a:gd name="connsiteX73" fmla="*/ 1964125 w 5521505"/>
              <a:gd name="connsiteY73" fmla="*/ 1164718 h 2146918"/>
              <a:gd name="connsiteX74" fmla="*/ 1963784 w 5521505"/>
              <a:gd name="connsiteY74" fmla="*/ 1165424 h 2146918"/>
              <a:gd name="connsiteX75" fmla="*/ 1963370 w 5521505"/>
              <a:gd name="connsiteY75" fmla="*/ 1166398 h 2146918"/>
              <a:gd name="connsiteX76" fmla="*/ 1962798 w 5521505"/>
              <a:gd name="connsiteY76" fmla="*/ 1168042 h 2146918"/>
              <a:gd name="connsiteX77" fmla="*/ 1962433 w 5521505"/>
              <a:gd name="connsiteY77" fmla="*/ 1169369 h 2146918"/>
              <a:gd name="connsiteX78" fmla="*/ 1962189 w 5521505"/>
              <a:gd name="connsiteY78" fmla="*/ 1170708 h 2146918"/>
              <a:gd name="connsiteX79" fmla="*/ 1962068 w 5521505"/>
              <a:gd name="connsiteY79" fmla="*/ 1171731 h 2146918"/>
              <a:gd name="connsiteX80" fmla="*/ 1962068 w 5521505"/>
              <a:gd name="connsiteY80" fmla="*/ 1172949 h 2146918"/>
              <a:gd name="connsiteX81" fmla="*/ 1962140 w 5521505"/>
              <a:gd name="connsiteY81" fmla="*/ 1174167 h 2146918"/>
              <a:gd name="connsiteX82" fmla="*/ 1962372 w 5521505"/>
              <a:gd name="connsiteY82" fmla="*/ 1175567 h 2146918"/>
              <a:gd name="connsiteX83" fmla="*/ 1962713 w 5521505"/>
              <a:gd name="connsiteY83" fmla="*/ 1176858 h 2146918"/>
              <a:gd name="connsiteX84" fmla="*/ 1963115 w 5521505"/>
              <a:gd name="connsiteY84" fmla="*/ 1178075 h 2146918"/>
              <a:gd name="connsiteX85" fmla="*/ 1963358 w 5521505"/>
              <a:gd name="connsiteY85" fmla="*/ 1178745 h 2146918"/>
              <a:gd name="connsiteX86" fmla="*/ 1963894 w 5521505"/>
              <a:gd name="connsiteY86" fmla="*/ 1179963 h 2146918"/>
              <a:gd name="connsiteX87" fmla="*/ 1964308 w 5521505"/>
              <a:gd name="connsiteY87" fmla="*/ 1180839 h 2146918"/>
              <a:gd name="connsiteX88" fmla="*/ 1964880 w 5521505"/>
              <a:gd name="connsiteY88" fmla="*/ 1181923 h 2146918"/>
              <a:gd name="connsiteX89" fmla="*/ 1965501 w 5521505"/>
              <a:gd name="connsiteY89" fmla="*/ 1183007 h 2146918"/>
              <a:gd name="connsiteX90" fmla="*/ 1966342 w 5521505"/>
              <a:gd name="connsiteY90" fmla="*/ 1184347 h 2146918"/>
              <a:gd name="connsiteX91" fmla="*/ 1967267 w 5521505"/>
              <a:gd name="connsiteY91" fmla="*/ 1185723 h 2146918"/>
              <a:gd name="connsiteX92" fmla="*/ 1968144 w 5521505"/>
              <a:gd name="connsiteY92" fmla="*/ 1186940 h 2146918"/>
              <a:gd name="connsiteX93" fmla="*/ 1969154 w 5521505"/>
              <a:gd name="connsiteY93" fmla="*/ 1188304 h 2146918"/>
              <a:gd name="connsiteX94" fmla="*/ 1969958 w 5521505"/>
              <a:gd name="connsiteY94" fmla="*/ 1189363 h 2146918"/>
              <a:gd name="connsiteX95" fmla="*/ 1970993 w 5521505"/>
              <a:gd name="connsiteY95" fmla="*/ 1190678 h 2146918"/>
              <a:gd name="connsiteX96" fmla="*/ 1972320 w 5521505"/>
              <a:gd name="connsiteY96" fmla="*/ 1192371 h 2146918"/>
              <a:gd name="connsiteX97" fmla="*/ 1973136 w 5521505"/>
              <a:gd name="connsiteY97" fmla="*/ 1193358 h 2146918"/>
              <a:gd name="connsiteX98" fmla="*/ 1974281 w 5521505"/>
              <a:gd name="connsiteY98" fmla="*/ 1194709 h 2146918"/>
              <a:gd name="connsiteX99" fmla="*/ 1975194 w 5521505"/>
              <a:gd name="connsiteY99" fmla="*/ 1195927 h 2146918"/>
              <a:gd name="connsiteX100" fmla="*/ 1975718 w 5521505"/>
              <a:gd name="connsiteY100" fmla="*/ 1196901 h 2146918"/>
              <a:gd name="connsiteX101" fmla="*/ 1975986 w 5521505"/>
              <a:gd name="connsiteY101" fmla="*/ 1197680 h 2146918"/>
              <a:gd name="connsiteX102" fmla="*/ 1976144 w 5521505"/>
              <a:gd name="connsiteY102" fmla="*/ 1199360 h 2146918"/>
              <a:gd name="connsiteX103" fmla="*/ 1976022 w 5521505"/>
              <a:gd name="connsiteY103" fmla="*/ 1200274 h 2146918"/>
              <a:gd name="connsiteX104" fmla="*/ 1975645 w 5521505"/>
              <a:gd name="connsiteY104" fmla="*/ 1201711 h 2146918"/>
              <a:gd name="connsiteX105" fmla="*/ 1975450 w 5521505"/>
              <a:gd name="connsiteY105" fmla="*/ 1202831 h 2146918"/>
              <a:gd name="connsiteX106" fmla="*/ 1975352 w 5521505"/>
              <a:gd name="connsiteY106" fmla="*/ 1204110 h 2146918"/>
              <a:gd name="connsiteX107" fmla="*/ 1975352 w 5521505"/>
              <a:gd name="connsiteY107" fmla="*/ 1205327 h 2146918"/>
              <a:gd name="connsiteX108" fmla="*/ 1975559 w 5521505"/>
              <a:gd name="connsiteY108" fmla="*/ 1206995 h 2146918"/>
              <a:gd name="connsiteX109" fmla="*/ 1975986 w 5521505"/>
              <a:gd name="connsiteY109" fmla="*/ 1208627 h 2146918"/>
              <a:gd name="connsiteX110" fmla="*/ 1976680 w 5521505"/>
              <a:gd name="connsiteY110" fmla="*/ 1210636 h 2146918"/>
              <a:gd name="connsiteX111" fmla="*/ 1977033 w 5521505"/>
              <a:gd name="connsiteY111" fmla="*/ 1211915 h 2146918"/>
              <a:gd name="connsiteX112" fmla="*/ 1977410 w 5521505"/>
              <a:gd name="connsiteY112" fmla="*/ 1213851 h 2146918"/>
              <a:gd name="connsiteX113" fmla="*/ 1977557 w 5521505"/>
              <a:gd name="connsiteY113" fmla="*/ 1215617 h 2146918"/>
              <a:gd name="connsiteX114" fmla="*/ 1977483 w 5521505"/>
              <a:gd name="connsiteY114" fmla="*/ 1217541 h 2146918"/>
              <a:gd name="connsiteX115" fmla="*/ 1977289 w 5521505"/>
              <a:gd name="connsiteY115" fmla="*/ 1218892 h 2146918"/>
              <a:gd name="connsiteX116" fmla="*/ 1976850 w 5521505"/>
              <a:gd name="connsiteY116" fmla="*/ 1220573 h 2146918"/>
              <a:gd name="connsiteX117" fmla="*/ 1976388 w 5521505"/>
              <a:gd name="connsiteY117" fmla="*/ 1221791 h 2146918"/>
              <a:gd name="connsiteX118" fmla="*/ 1976022 w 5521505"/>
              <a:gd name="connsiteY118" fmla="*/ 1222631 h 2146918"/>
              <a:gd name="connsiteX119" fmla="*/ 1975584 w 5521505"/>
              <a:gd name="connsiteY119" fmla="*/ 1223507 h 2146918"/>
              <a:gd name="connsiteX120" fmla="*/ 1975352 w 5521505"/>
              <a:gd name="connsiteY120" fmla="*/ 1223945 h 2146918"/>
              <a:gd name="connsiteX121" fmla="*/ 1974829 w 5521505"/>
              <a:gd name="connsiteY121" fmla="*/ 1224969 h 2146918"/>
              <a:gd name="connsiteX122" fmla="*/ 1974549 w 5521505"/>
              <a:gd name="connsiteY122" fmla="*/ 1225991 h 2146918"/>
              <a:gd name="connsiteX123" fmla="*/ 1974476 w 5521505"/>
              <a:gd name="connsiteY123" fmla="*/ 1226856 h 2146918"/>
              <a:gd name="connsiteX124" fmla="*/ 1974537 w 5521505"/>
              <a:gd name="connsiteY124" fmla="*/ 1227598 h 2146918"/>
              <a:gd name="connsiteX125" fmla="*/ 1974707 w 5521505"/>
              <a:gd name="connsiteY125" fmla="*/ 1228463 h 2146918"/>
              <a:gd name="connsiteX126" fmla="*/ 1975048 w 5521505"/>
              <a:gd name="connsiteY126" fmla="*/ 1229449 h 2146918"/>
              <a:gd name="connsiteX127" fmla="*/ 1975620 w 5521505"/>
              <a:gd name="connsiteY127" fmla="*/ 1230546 h 2146918"/>
              <a:gd name="connsiteX128" fmla="*/ 1976156 w 5521505"/>
              <a:gd name="connsiteY128" fmla="*/ 1231337 h 2146918"/>
              <a:gd name="connsiteX129" fmla="*/ 1976826 w 5521505"/>
              <a:gd name="connsiteY129" fmla="*/ 1232555 h 2146918"/>
              <a:gd name="connsiteX130" fmla="*/ 1977435 w 5521505"/>
              <a:gd name="connsiteY130" fmla="*/ 1234028 h 2146918"/>
              <a:gd name="connsiteX131" fmla="*/ 1977861 w 5521505"/>
              <a:gd name="connsiteY131" fmla="*/ 1235721 h 2146918"/>
              <a:gd name="connsiteX132" fmla="*/ 1978068 w 5521505"/>
              <a:gd name="connsiteY132" fmla="*/ 1237657 h 2146918"/>
              <a:gd name="connsiteX133" fmla="*/ 1978068 w 5521505"/>
              <a:gd name="connsiteY133" fmla="*/ 1239106 h 2146918"/>
              <a:gd name="connsiteX134" fmla="*/ 1977873 w 5521505"/>
              <a:gd name="connsiteY134" fmla="*/ 1240774 h 2146918"/>
              <a:gd name="connsiteX135" fmla="*/ 1977386 w 5521505"/>
              <a:gd name="connsiteY135" fmla="*/ 1242978 h 2146918"/>
              <a:gd name="connsiteX136" fmla="*/ 1975973 w 5521505"/>
              <a:gd name="connsiteY136" fmla="*/ 1247033 h 2146918"/>
              <a:gd name="connsiteX137" fmla="*/ 1974147 w 5521505"/>
              <a:gd name="connsiteY137" fmla="*/ 1250918 h 2146918"/>
              <a:gd name="connsiteX138" fmla="*/ 1971846 w 5521505"/>
              <a:gd name="connsiteY138" fmla="*/ 1255654 h 2146918"/>
              <a:gd name="connsiteX139" fmla="*/ 1972126 w 5521505"/>
              <a:gd name="connsiteY139" fmla="*/ 1266029 h 2146918"/>
              <a:gd name="connsiteX140" fmla="*/ 1972430 w 5521505"/>
              <a:gd name="connsiteY140" fmla="*/ 1267161 h 2146918"/>
              <a:gd name="connsiteX141" fmla="*/ 1972430 w 5521505"/>
              <a:gd name="connsiteY141" fmla="*/ 1268281 h 2146918"/>
              <a:gd name="connsiteX142" fmla="*/ 1972320 w 5521505"/>
              <a:gd name="connsiteY142" fmla="*/ 1269000 h 2146918"/>
              <a:gd name="connsiteX143" fmla="*/ 1971638 w 5521505"/>
              <a:gd name="connsiteY143" fmla="*/ 1271009 h 2146918"/>
              <a:gd name="connsiteX144" fmla="*/ 1970896 w 5521505"/>
              <a:gd name="connsiteY144" fmla="*/ 1272361 h 2146918"/>
              <a:gd name="connsiteX145" fmla="*/ 1969422 w 5521505"/>
              <a:gd name="connsiteY145" fmla="*/ 1274236 h 2146918"/>
              <a:gd name="connsiteX146" fmla="*/ 1967632 w 5521505"/>
              <a:gd name="connsiteY146" fmla="*/ 1276258 h 2146918"/>
              <a:gd name="connsiteX147" fmla="*/ 1962080 w 5521505"/>
              <a:gd name="connsiteY147" fmla="*/ 1284781 h 2146918"/>
              <a:gd name="connsiteX148" fmla="*/ 1958573 w 5521505"/>
              <a:gd name="connsiteY148" fmla="*/ 1287959 h 2146918"/>
              <a:gd name="connsiteX149" fmla="*/ 1944947 w 5521505"/>
              <a:gd name="connsiteY149" fmla="*/ 1294827 h 2146918"/>
              <a:gd name="connsiteX150" fmla="*/ 1938505 w 5521505"/>
              <a:gd name="connsiteY150" fmla="*/ 1297530 h 2146918"/>
              <a:gd name="connsiteX151" fmla="*/ 1931199 w 5521505"/>
              <a:gd name="connsiteY151" fmla="*/ 1300843 h 2146918"/>
              <a:gd name="connsiteX152" fmla="*/ 1926450 w 5521505"/>
              <a:gd name="connsiteY152" fmla="*/ 1303728 h 2146918"/>
              <a:gd name="connsiteX153" fmla="*/ 1922700 w 5521505"/>
              <a:gd name="connsiteY153" fmla="*/ 1306432 h 2146918"/>
              <a:gd name="connsiteX154" fmla="*/ 1918438 w 5521505"/>
              <a:gd name="connsiteY154" fmla="*/ 1309902 h 2146918"/>
              <a:gd name="connsiteX155" fmla="*/ 1914042 w 5521505"/>
              <a:gd name="connsiteY155" fmla="*/ 1313360 h 2146918"/>
              <a:gd name="connsiteX156" fmla="*/ 1907077 w 5521505"/>
              <a:gd name="connsiteY156" fmla="*/ 1318402 h 2146918"/>
              <a:gd name="connsiteX157" fmla="*/ 1897433 w 5521505"/>
              <a:gd name="connsiteY157" fmla="*/ 1326316 h 2146918"/>
              <a:gd name="connsiteX158" fmla="*/ 1887691 w 5521505"/>
              <a:gd name="connsiteY158" fmla="*/ 1334840 h 2146918"/>
              <a:gd name="connsiteX159" fmla="*/ 1882224 w 5521505"/>
              <a:gd name="connsiteY159" fmla="*/ 1358743 h 2146918"/>
              <a:gd name="connsiteX160" fmla="*/ 1883953 w 5521505"/>
              <a:gd name="connsiteY160" fmla="*/ 1361094 h 2146918"/>
              <a:gd name="connsiteX161" fmla="*/ 1885548 w 5521505"/>
              <a:gd name="connsiteY161" fmla="*/ 1363078 h 2146918"/>
              <a:gd name="connsiteX162" fmla="*/ 1887789 w 5521505"/>
              <a:gd name="connsiteY162" fmla="*/ 1365842 h 2146918"/>
              <a:gd name="connsiteX163" fmla="*/ 1889433 w 5521505"/>
              <a:gd name="connsiteY163" fmla="*/ 1367815 h 2146918"/>
              <a:gd name="connsiteX164" fmla="*/ 1891235 w 5521505"/>
              <a:gd name="connsiteY164" fmla="*/ 1370092 h 2146918"/>
              <a:gd name="connsiteX165" fmla="*/ 1892160 w 5521505"/>
              <a:gd name="connsiteY165" fmla="*/ 1371468 h 2146918"/>
              <a:gd name="connsiteX166" fmla="*/ 1893073 w 5521505"/>
              <a:gd name="connsiteY166" fmla="*/ 1373222 h 2146918"/>
              <a:gd name="connsiteX167" fmla="*/ 1890078 w 5521505"/>
              <a:gd name="connsiteY167" fmla="*/ 1387834 h 2146918"/>
              <a:gd name="connsiteX168" fmla="*/ 1883259 w 5521505"/>
              <a:gd name="connsiteY168" fmla="*/ 1398501 h 2146918"/>
              <a:gd name="connsiteX169" fmla="*/ 1882747 w 5521505"/>
              <a:gd name="connsiteY169" fmla="*/ 1405113 h 2146918"/>
              <a:gd name="connsiteX170" fmla="*/ 1883052 w 5521505"/>
              <a:gd name="connsiteY170" fmla="*/ 1406197 h 2146918"/>
              <a:gd name="connsiteX171" fmla="*/ 1883223 w 5521505"/>
              <a:gd name="connsiteY171" fmla="*/ 1406902 h 2146918"/>
              <a:gd name="connsiteX172" fmla="*/ 1883332 w 5521505"/>
              <a:gd name="connsiteY172" fmla="*/ 1407646 h 2146918"/>
              <a:gd name="connsiteX173" fmla="*/ 1881798 w 5521505"/>
              <a:gd name="connsiteY173" fmla="*/ 1411299 h 2146918"/>
              <a:gd name="connsiteX174" fmla="*/ 1880690 w 5521505"/>
              <a:gd name="connsiteY174" fmla="*/ 1412199 h 2146918"/>
              <a:gd name="connsiteX175" fmla="*/ 1879338 w 5521505"/>
              <a:gd name="connsiteY175" fmla="*/ 1413076 h 2146918"/>
              <a:gd name="connsiteX176" fmla="*/ 1878875 w 5521505"/>
              <a:gd name="connsiteY176" fmla="*/ 1413344 h 2146918"/>
              <a:gd name="connsiteX177" fmla="*/ 1876342 w 5521505"/>
              <a:gd name="connsiteY177" fmla="*/ 1414684 h 2146918"/>
              <a:gd name="connsiteX178" fmla="*/ 1874102 w 5521505"/>
              <a:gd name="connsiteY178" fmla="*/ 1415755 h 2146918"/>
              <a:gd name="connsiteX179" fmla="*/ 1872799 w 5521505"/>
              <a:gd name="connsiteY179" fmla="*/ 1416364 h 2146918"/>
              <a:gd name="connsiteX180" fmla="*/ 1872312 w 5521505"/>
              <a:gd name="connsiteY180" fmla="*/ 1418422 h 2146918"/>
              <a:gd name="connsiteX181" fmla="*/ 1871849 w 5521505"/>
              <a:gd name="connsiteY181" fmla="*/ 1420370 h 2146918"/>
              <a:gd name="connsiteX182" fmla="*/ 1871155 w 5521505"/>
              <a:gd name="connsiteY182" fmla="*/ 1423317 h 2146918"/>
              <a:gd name="connsiteX183" fmla="*/ 1870425 w 5521505"/>
              <a:gd name="connsiteY183" fmla="*/ 1426885 h 2146918"/>
              <a:gd name="connsiteX184" fmla="*/ 1870217 w 5521505"/>
              <a:gd name="connsiteY184" fmla="*/ 1428103 h 2146918"/>
              <a:gd name="connsiteX185" fmla="*/ 1870035 w 5521505"/>
              <a:gd name="connsiteY185" fmla="*/ 1429406 h 2146918"/>
              <a:gd name="connsiteX186" fmla="*/ 1869828 w 5521505"/>
              <a:gd name="connsiteY186" fmla="*/ 1431256 h 2146918"/>
              <a:gd name="connsiteX187" fmla="*/ 1869730 w 5521505"/>
              <a:gd name="connsiteY187" fmla="*/ 1432742 h 2146918"/>
              <a:gd name="connsiteX188" fmla="*/ 1869730 w 5521505"/>
              <a:gd name="connsiteY188" fmla="*/ 1434349 h 2146918"/>
              <a:gd name="connsiteX189" fmla="*/ 1869730 w 5521505"/>
              <a:gd name="connsiteY189" fmla="*/ 1436103 h 2146918"/>
              <a:gd name="connsiteX190" fmla="*/ 1869657 w 5521505"/>
              <a:gd name="connsiteY190" fmla="*/ 1440231 h 2146918"/>
              <a:gd name="connsiteX191" fmla="*/ 1869389 w 5521505"/>
              <a:gd name="connsiteY191" fmla="*/ 1443774 h 2146918"/>
              <a:gd name="connsiteX192" fmla="*/ 1868781 w 5521505"/>
              <a:gd name="connsiteY192" fmla="*/ 1448085 h 2146918"/>
              <a:gd name="connsiteX193" fmla="*/ 1868086 w 5521505"/>
              <a:gd name="connsiteY193" fmla="*/ 1451555 h 2146918"/>
              <a:gd name="connsiteX194" fmla="*/ 1867246 w 5521505"/>
              <a:gd name="connsiteY194" fmla="*/ 1454770 h 2146918"/>
              <a:gd name="connsiteX195" fmla="*/ 1866443 w 5521505"/>
              <a:gd name="connsiteY195" fmla="*/ 1457351 h 2146918"/>
              <a:gd name="connsiteX196" fmla="*/ 1865505 w 5521505"/>
              <a:gd name="connsiteY196" fmla="*/ 1459969 h 2146918"/>
              <a:gd name="connsiteX197" fmla="*/ 1864287 w 5521505"/>
              <a:gd name="connsiteY197" fmla="*/ 1462795 h 2146918"/>
              <a:gd name="connsiteX198" fmla="*/ 1863179 w 5521505"/>
              <a:gd name="connsiteY198" fmla="*/ 1465230 h 2146918"/>
              <a:gd name="connsiteX199" fmla="*/ 1862047 w 5521505"/>
              <a:gd name="connsiteY199" fmla="*/ 1467458 h 2146918"/>
              <a:gd name="connsiteX200" fmla="*/ 1860476 w 5521505"/>
              <a:gd name="connsiteY200" fmla="*/ 1470283 h 2146918"/>
              <a:gd name="connsiteX201" fmla="*/ 1858187 w 5521505"/>
              <a:gd name="connsiteY201" fmla="*/ 1473461 h 2146918"/>
              <a:gd name="connsiteX202" fmla="*/ 1855751 w 5521505"/>
              <a:gd name="connsiteY202" fmla="*/ 1475714 h 2146918"/>
              <a:gd name="connsiteX203" fmla="*/ 1855033 w 5521505"/>
              <a:gd name="connsiteY203" fmla="*/ 1476214 h 2146918"/>
              <a:gd name="connsiteX204" fmla="*/ 1854144 w 5521505"/>
              <a:gd name="connsiteY204" fmla="*/ 1476798 h 2146918"/>
              <a:gd name="connsiteX205" fmla="*/ 1853206 w 5521505"/>
              <a:gd name="connsiteY205" fmla="*/ 1477358 h 2146918"/>
              <a:gd name="connsiteX206" fmla="*/ 1852159 w 5521505"/>
              <a:gd name="connsiteY206" fmla="*/ 1477906 h 2146918"/>
              <a:gd name="connsiteX207" fmla="*/ 1851502 w 5521505"/>
              <a:gd name="connsiteY207" fmla="*/ 1478247 h 2146918"/>
              <a:gd name="connsiteX208" fmla="*/ 1850734 w 5521505"/>
              <a:gd name="connsiteY208" fmla="*/ 1478600 h 2146918"/>
              <a:gd name="connsiteX209" fmla="*/ 1850041 w 5521505"/>
              <a:gd name="connsiteY209" fmla="*/ 1478916 h 2146918"/>
              <a:gd name="connsiteX210" fmla="*/ 1848628 w 5521505"/>
              <a:gd name="connsiteY210" fmla="*/ 1479513 h 2146918"/>
              <a:gd name="connsiteX211" fmla="*/ 1848165 w 5521505"/>
              <a:gd name="connsiteY211" fmla="*/ 1479708 h 2146918"/>
              <a:gd name="connsiteX212" fmla="*/ 1846534 w 5521505"/>
              <a:gd name="connsiteY212" fmla="*/ 1480329 h 2146918"/>
              <a:gd name="connsiteX213" fmla="*/ 1844768 w 5521505"/>
              <a:gd name="connsiteY213" fmla="*/ 1480974 h 2146918"/>
              <a:gd name="connsiteX214" fmla="*/ 1843428 w 5521505"/>
              <a:gd name="connsiteY214" fmla="*/ 1481437 h 2146918"/>
              <a:gd name="connsiteX215" fmla="*/ 1841712 w 5521505"/>
              <a:gd name="connsiteY215" fmla="*/ 1482009 h 2146918"/>
              <a:gd name="connsiteX216" fmla="*/ 1840336 w 5521505"/>
              <a:gd name="connsiteY216" fmla="*/ 1482448 h 2146918"/>
              <a:gd name="connsiteX217" fmla="*/ 1838545 w 5521505"/>
              <a:gd name="connsiteY217" fmla="*/ 1482996 h 2146918"/>
              <a:gd name="connsiteX218" fmla="*/ 1836634 w 5521505"/>
              <a:gd name="connsiteY218" fmla="*/ 1483556 h 2146918"/>
              <a:gd name="connsiteX219" fmla="*/ 1835331 w 5521505"/>
              <a:gd name="connsiteY219" fmla="*/ 1483921 h 2146918"/>
              <a:gd name="connsiteX220" fmla="*/ 1834113 w 5521505"/>
              <a:gd name="connsiteY220" fmla="*/ 1484250 h 2146918"/>
              <a:gd name="connsiteX221" fmla="*/ 1833054 w 5521505"/>
              <a:gd name="connsiteY221" fmla="*/ 1484530 h 2146918"/>
              <a:gd name="connsiteX222" fmla="*/ 1831447 w 5521505"/>
              <a:gd name="connsiteY222" fmla="*/ 1484956 h 2146918"/>
              <a:gd name="connsiteX223" fmla="*/ 1830789 w 5521505"/>
              <a:gd name="connsiteY223" fmla="*/ 1485139 h 2146918"/>
              <a:gd name="connsiteX224" fmla="*/ 1830302 w 5521505"/>
              <a:gd name="connsiteY224" fmla="*/ 1485273 h 2146918"/>
              <a:gd name="connsiteX225" fmla="*/ 1829924 w 5521505"/>
              <a:gd name="connsiteY225" fmla="*/ 1485371 h 2146918"/>
              <a:gd name="connsiteX226" fmla="*/ 1829388 w 5521505"/>
              <a:gd name="connsiteY226" fmla="*/ 1485504 h 2146918"/>
              <a:gd name="connsiteX227" fmla="*/ 1828926 w 5521505"/>
              <a:gd name="connsiteY227" fmla="*/ 1485626 h 2146918"/>
              <a:gd name="connsiteX228" fmla="*/ 1828524 w 5521505"/>
              <a:gd name="connsiteY228" fmla="*/ 1485736 h 2146918"/>
              <a:gd name="connsiteX229" fmla="*/ 1827781 w 5521505"/>
              <a:gd name="connsiteY229" fmla="*/ 1485931 h 2146918"/>
              <a:gd name="connsiteX230" fmla="*/ 1827172 w 5521505"/>
              <a:gd name="connsiteY230" fmla="*/ 1486089 h 2146918"/>
              <a:gd name="connsiteX231" fmla="*/ 1826771 w 5521505"/>
              <a:gd name="connsiteY231" fmla="*/ 1486186 h 2146918"/>
              <a:gd name="connsiteX232" fmla="*/ 1826442 w 5521505"/>
              <a:gd name="connsiteY232" fmla="*/ 1486284 h 2146918"/>
              <a:gd name="connsiteX233" fmla="*/ 1826016 w 5521505"/>
              <a:gd name="connsiteY233" fmla="*/ 1486393 h 2146918"/>
              <a:gd name="connsiteX234" fmla="*/ 1825650 w 5521505"/>
              <a:gd name="connsiteY234" fmla="*/ 1486491 h 2146918"/>
              <a:gd name="connsiteX235" fmla="*/ 1825200 w 5521505"/>
              <a:gd name="connsiteY235" fmla="*/ 1486600 h 2146918"/>
              <a:gd name="connsiteX236" fmla="*/ 1824847 w 5521505"/>
              <a:gd name="connsiteY236" fmla="*/ 1486698 h 2146918"/>
              <a:gd name="connsiteX237" fmla="*/ 1824274 w 5521505"/>
              <a:gd name="connsiteY237" fmla="*/ 1486844 h 2146918"/>
              <a:gd name="connsiteX238" fmla="*/ 1823775 w 5521505"/>
              <a:gd name="connsiteY238" fmla="*/ 1486978 h 2146918"/>
              <a:gd name="connsiteX239" fmla="*/ 1823337 w 5521505"/>
              <a:gd name="connsiteY239" fmla="*/ 1487100 h 2146918"/>
              <a:gd name="connsiteX240" fmla="*/ 1822923 w 5521505"/>
              <a:gd name="connsiteY240" fmla="*/ 1487209 h 2146918"/>
              <a:gd name="connsiteX241" fmla="*/ 1822484 w 5521505"/>
              <a:gd name="connsiteY241" fmla="*/ 1487331 h 2146918"/>
              <a:gd name="connsiteX242" fmla="*/ 1822009 w 5521505"/>
              <a:gd name="connsiteY242" fmla="*/ 1487465 h 2146918"/>
              <a:gd name="connsiteX243" fmla="*/ 1821681 w 5521505"/>
              <a:gd name="connsiteY243" fmla="*/ 1487550 h 2146918"/>
              <a:gd name="connsiteX244" fmla="*/ 1821230 w 5521505"/>
              <a:gd name="connsiteY244" fmla="*/ 1487672 h 2146918"/>
              <a:gd name="connsiteX245" fmla="*/ 1820792 w 5521505"/>
              <a:gd name="connsiteY245" fmla="*/ 1487793 h 2146918"/>
              <a:gd name="connsiteX246" fmla="*/ 1820378 w 5521505"/>
              <a:gd name="connsiteY246" fmla="*/ 1487903 h 2146918"/>
              <a:gd name="connsiteX247" fmla="*/ 1819854 w 5521505"/>
              <a:gd name="connsiteY247" fmla="*/ 1488062 h 2146918"/>
              <a:gd name="connsiteX248" fmla="*/ 1819038 w 5521505"/>
              <a:gd name="connsiteY248" fmla="*/ 1488293 h 2146918"/>
              <a:gd name="connsiteX249" fmla="*/ 1818478 w 5521505"/>
              <a:gd name="connsiteY249" fmla="*/ 1488451 h 2146918"/>
              <a:gd name="connsiteX250" fmla="*/ 1817747 w 5521505"/>
              <a:gd name="connsiteY250" fmla="*/ 1488658 h 2146918"/>
              <a:gd name="connsiteX251" fmla="*/ 1817175 w 5521505"/>
              <a:gd name="connsiteY251" fmla="*/ 1488829 h 2146918"/>
              <a:gd name="connsiteX252" fmla="*/ 1816566 w 5521505"/>
              <a:gd name="connsiteY252" fmla="*/ 1489011 h 2146918"/>
              <a:gd name="connsiteX253" fmla="*/ 1816079 w 5521505"/>
              <a:gd name="connsiteY253" fmla="*/ 1489157 h 2146918"/>
              <a:gd name="connsiteX254" fmla="*/ 1815507 w 5521505"/>
              <a:gd name="connsiteY254" fmla="*/ 1489340 h 2146918"/>
              <a:gd name="connsiteX255" fmla="*/ 1814935 w 5521505"/>
              <a:gd name="connsiteY255" fmla="*/ 1489511 h 2146918"/>
              <a:gd name="connsiteX256" fmla="*/ 1814375 w 5521505"/>
              <a:gd name="connsiteY256" fmla="*/ 1489693 h 2146918"/>
              <a:gd name="connsiteX257" fmla="*/ 1813887 w 5521505"/>
              <a:gd name="connsiteY257" fmla="*/ 1489839 h 2146918"/>
              <a:gd name="connsiteX258" fmla="*/ 1813413 w 5521505"/>
              <a:gd name="connsiteY258" fmla="*/ 1489998 h 2146918"/>
              <a:gd name="connsiteX259" fmla="*/ 1812828 w 5521505"/>
              <a:gd name="connsiteY259" fmla="*/ 1490180 h 2146918"/>
              <a:gd name="connsiteX260" fmla="*/ 1812183 w 5521505"/>
              <a:gd name="connsiteY260" fmla="*/ 1490399 h 2146918"/>
              <a:gd name="connsiteX261" fmla="*/ 1811464 w 5521505"/>
              <a:gd name="connsiteY261" fmla="*/ 1490643 h 2146918"/>
              <a:gd name="connsiteX262" fmla="*/ 1810405 w 5521505"/>
              <a:gd name="connsiteY262" fmla="*/ 1491008 h 2146918"/>
              <a:gd name="connsiteX263" fmla="*/ 1809711 w 5521505"/>
              <a:gd name="connsiteY263" fmla="*/ 1491251 h 2146918"/>
              <a:gd name="connsiteX264" fmla="*/ 1809114 w 5521505"/>
              <a:gd name="connsiteY264" fmla="*/ 1491471 h 2146918"/>
              <a:gd name="connsiteX265" fmla="*/ 1808712 w 5521505"/>
              <a:gd name="connsiteY265" fmla="*/ 1491617 h 2146918"/>
              <a:gd name="connsiteX266" fmla="*/ 1808310 w 5521505"/>
              <a:gd name="connsiteY266" fmla="*/ 1491775 h 2146918"/>
              <a:gd name="connsiteX267" fmla="*/ 1807531 w 5521505"/>
              <a:gd name="connsiteY267" fmla="*/ 1492068 h 2146918"/>
              <a:gd name="connsiteX268" fmla="*/ 1806752 w 5521505"/>
              <a:gd name="connsiteY268" fmla="*/ 1492360 h 2146918"/>
              <a:gd name="connsiteX269" fmla="*/ 1805887 w 5521505"/>
              <a:gd name="connsiteY269" fmla="*/ 1492701 h 2146918"/>
              <a:gd name="connsiteX270" fmla="*/ 1805181 w 5521505"/>
              <a:gd name="connsiteY270" fmla="*/ 1492993 h 2146918"/>
              <a:gd name="connsiteX271" fmla="*/ 1804329 w 5521505"/>
              <a:gd name="connsiteY271" fmla="*/ 1493346 h 2146918"/>
              <a:gd name="connsiteX272" fmla="*/ 1803403 w 5521505"/>
              <a:gd name="connsiteY272" fmla="*/ 1493736 h 2146918"/>
              <a:gd name="connsiteX273" fmla="*/ 1807555 w 5521505"/>
              <a:gd name="connsiteY273" fmla="*/ 1493736 h 2146918"/>
              <a:gd name="connsiteX274" fmla="*/ 1807909 w 5521505"/>
              <a:gd name="connsiteY274" fmla="*/ 1493736 h 2146918"/>
              <a:gd name="connsiteX275" fmla="*/ 1808310 w 5521505"/>
              <a:gd name="connsiteY275" fmla="*/ 1493736 h 2146918"/>
              <a:gd name="connsiteX276" fmla="*/ 1808749 w 5521505"/>
              <a:gd name="connsiteY276" fmla="*/ 1493675 h 2146918"/>
              <a:gd name="connsiteX277" fmla="*/ 1809090 w 5521505"/>
              <a:gd name="connsiteY277" fmla="*/ 1493675 h 2146918"/>
              <a:gd name="connsiteX278" fmla="*/ 1809419 w 5521505"/>
              <a:gd name="connsiteY278" fmla="*/ 1493602 h 2146918"/>
              <a:gd name="connsiteX279" fmla="*/ 1810113 w 5521505"/>
              <a:gd name="connsiteY279" fmla="*/ 1493468 h 2146918"/>
              <a:gd name="connsiteX280" fmla="*/ 1810734 w 5521505"/>
              <a:gd name="connsiteY280" fmla="*/ 1493346 h 2146918"/>
              <a:gd name="connsiteX281" fmla="*/ 1811489 w 5521505"/>
              <a:gd name="connsiteY281" fmla="*/ 1493212 h 2146918"/>
              <a:gd name="connsiteX282" fmla="*/ 1812536 w 5521505"/>
              <a:gd name="connsiteY282" fmla="*/ 1493042 h 2146918"/>
              <a:gd name="connsiteX283" fmla="*/ 1813754 w 5521505"/>
              <a:gd name="connsiteY283" fmla="*/ 1492859 h 2146918"/>
              <a:gd name="connsiteX284" fmla="*/ 1815665 w 5521505"/>
              <a:gd name="connsiteY284" fmla="*/ 1492640 h 2146918"/>
              <a:gd name="connsiteX285" fmla="*/ 1817224 w 5521505"/>
              <a:gd name="connsiteY285" fmla="*/ 1492530 h 2146918"/>
              <a:gd name="connsiteX286" fmla="*/ 1818502 w 5521505"/>
              <a:gd name="connsiteY286" fmla="*/ 1492530 h 2146918"/>
              <a:gd name="connsiteX287" fmla="*/ 1819282 w 5521505"/>
              <a:gd name="connsiteY287" fmla="*/ 1492530 h 2146918"/>
              <a:gd name="connsiteX288" fmla="*/ 1820293 w 5521505"/>
              <a:gd name="connsiteY288" fmla="*/ 1492530 h 2146918"/>
              <a:gd name="connsiteX289" fmla="*/ 1821108 w 5521505"/>
              <a:gd name="connsiteY289" fmla="*/ 1492591 h 2146918"/>
              <a:gd name="connsiteX290" fmla="*/ 1822058 w 5521505"/>
              <a:gd name="connsiteY290" fmla="*/ 1492701 h 2146918"/>
              <a:gd name="connsiteX291" fmla="*/ 1823117 w 5521505"/>
              <a:gd name="connsiteY291" fmla="*/ 1492884 h 2146918"/>
              <a:gd name="connsiteX292" fmla="*/ 1824140 w 5521505"/>
              <a:gd name="connsiteY292" fmla="*/ 1493127 h 2146918"/>
              <a:gd name="connsiteX293" fmla="*/ 1824847 w 5521505"/>
              <a:gd name="connsiteY293" fmla="*/ 1493334 h 2146918"/>
              <a:gd name="connsiteX294" fmla="*/ 1825602 w 5521505"/>
              <a:gd name="connsiteY294" fmla="*/ 1493614 h 2146918"/>
              <a:gd name="connsiteX295" fmla="*/ 1826223 w 5521505"/>
              <a:gd name="connsiteY295" fmla="*/ 1493882 h 2146918"/>
              <a:gd name="connsiteX296" fmla="*/ 1826697 w 5521505"/>
              <a:gd name="connsiteY296" fmla="*/ 1494113 h 2146918"/>
              <a:gd name="connsiteX297" fmla="*/ 1827343 w 5521505"/>
              <a:gd name="connsiteY297" fmla="*/ 1494491 h 2146918"/>
              <a:gd name="connsiteX298" fmla="*/ 1827952 w 5521505"/>
              <a:gd name="connsiteY298" fmla="*/ 1494893 h 2146918"/>
              <a:gd name="connsiteX299" fmla="*/ 1828548 w 5521505"/>
              <a:gd name="connsiteY299" fmla="*/ 1495355 h 2146918"/>
              <a:gd name="connsiteX300" fmla="*/ 1829084 w 5521505"/>
              <a:gd name="connsiteY300" fmla="*/ 1495830 h 2146918"/>
              <a:gd name="connsiteX301" fmla="*/ 1829377 w 5521505"/>
              <a:gd name="connsiteY301" fmla="*/ 1496122 h 2146918"/>
              <a:gd name="connsiteX302" fmla="*/ 1829742 w 5521505"/>
              <a:gd name="connsiteY302" fmla="*/ 1496524 h 2146918"/>
              <a:gd name="connsiteX303" fmla="*/ 1829863 w 5521505"/>
              <a:gd name="connsiteY303" fmla="*/ 1496670 h 2146918"/>
              <a:gd name="connsiteX304" fmla="*/ 1829949 w 5521505"/>
              <a:gd name="connsiteY304" fmla="*/ 1496755 h 2146918"/>
              <a:gd name="connsiteX305" fmla="*/ 1830095 w 5521505"/>
              <a:gd name="connsiteY305" fmla="*/ 1496950 h 2146918"/>
              <a:gd name="connsiteX306" fmla="*/ 1830204 w 5521505"/>
              <a:gd name="connsiteY306" fmla="*/ 1497072 h 2146918"/>
              <a:gd name="connsiteX307" fmla="*/ 1830204 w 5521505"/>
              <a:gd name="connsiteY307" fmla="*/ 1497072 h 2146918"/>
              <a:gd name="connsiteX308" fmla="*/ 1830290 w 5521505"/>
              <a:gd name="connsiteY308" fmla="*/ 1497206 h 2146918"/>
              <a:gd name="connsiteX309" fmla="*/ 1830375 w 5521505"/>
              <a:gd name="connsiteY309" fmla="*/ 1497316 h 2146918"/>
              <a:gd name="connsiteX310" fmla="*/ 1830472 w 5521505"/>
              <a:gd name="connsiteY310" fmla="*/ 1497450 h 2146918"/>
              <a:gd name="connsiteX311" fmla="*/ 1830533 w 5521505"/>
              <a:gd name="connsiteY311" fmla="*/ 1497547 h 2146918"/>
              <a:gd name="connsiteX312" fmla="*/ 1830643 w 5521505"/>
              <a:gd name="connsiteY312" fmla="*/ 1497681 h 2146918"/>
              <a:gd name="connsiteX313" fmla="*/ 1832384 w 5521505"/>
              <a:gd name="connsiteY313" fmla="*/ 1498789 h 2146918"/>
              <a:gd name="connsiteX314" fmla="*/ 1834186 w 5521505"/>
              <a:gd name="connsiteY314" fmla="*/ 1499215 h 2146918"/>
              <a:gd name="connsiteX315" fmla="*/ 1834552 w 5521505"/>
              <a:gd name="connsiteY315" fmla="*/ 1499215 h 2146918"/>
              <a:gd name="connsiteX316" fmla="*/ 1836366 w 5521505"/>
              <a:gd name="connsiteY316" fmla="*/ 1499215 h 2146918"/>
              <a:gd name="connsiteX317" fmla="*/ 1836902 w 5521505"/>
              <a:gd name="connsiteY317" fmla="*/ 1499215 h 2146918"/>
              <a:gd name="connsiteX318" fmla="*/ 1837425 w 5521505"/>
              <a:gd name="connsiteY318" fmla="*/ 1499215 h 2146918"/>
              <a:gd name="connsiteX319" fmla="*/ 1837657 w 5521505"/>
              <a:gd name="connsiteY319" fmla="*/ 1499215 h 2146918"/>
              <a:gd name="connsiteX320" fmla="*/ 1837900 w 5521505"/>
              <a:gd name="connsiteY320" fmla="*/ 1499215 h 2146918"/>
              <a:gd name="connsiteX321" fmla="*/ 1838241 w 5521505"/>
              <a:gd name="connsiteY321" fmla="*/ 1499215 h 2146918"/>
              <a:gd name="connsiteX322" fmla="*/ 1838545 w 5521505"/>
              <a:gd name="connsiteY322" fmla="*/ 1499215 h 2146918"/>
              <a:gd name="connsiteX323" fmla="*/ 1838789 w 5521505"/>
              <a:gd name="connsiteY323" fmla="*/ 1499215 h 2146918"/>
              <a:gd name="connsiteX324" fmla="*/ 1839057 w 5521505"/>
              <a:gd name="connsiteY324" fmla="*/ 1499215 h 2146918"/>
              <a:gd name="connsiteX325" fmla="*/ 1839264 w 5521505"/>
              <a:gd name="connsiteY325" fmla="*/ 1499215 h 2146918"/>
              <a:gd name="connsiteX326" fmla="*/ 1839507 w 5521505"/>
              <a:gd name="connsiteY326" fmla="*/ 1499288 h 2146918"/>
              <a:gd name="connsiteX327" fmla="*/ 1839800 w 5521505"/>
              <a:gd name="connsiteY327" fmla="*/ 1499374 h 2146918"/>
              <a:gd name="connsiteX328" fmla="*/ 1840007 w 5521505"/>
              <a:gd name="connsiteY328" fmla="*/ 1499446 h 2146918"/>
              <a:gd name="connsiteX329" fmla="*/ 1840238 w 5521505"/>
              <a:gd name="connsiteY329" fmla="*/ 1499532 h 2146918"/>
              <a:gd name="connsiteX330" fmla="*/ 1840494 w 5521505"/>
              <a:gd name="connsiteY330" fmla="*/ 1499641 h 2146918"/>
              <a:gd name="connsiteX331" fmla="*/ 1840652 w 5521505"/>
              <a:gd name="connsiteY331" fmla="*/ 1499727 h 2146918"/>
              <a:gd name="connsiteX332" fmla="*/ 1840859 w 5521505"/>
              <a:gd name="connsiteY332" fmla="*/ 1499824 h 2146918"/>
              <a:gd name="connsiteX333" fmla="*/ 1841042 w 5521505"/>
              <a:gd name="connsiteY333" fmla="*/ 1499922 h 2146918"/>
              <a:gd name="connsiteX334" fmla="*/ 1841188 w 5521505"/>
              <a:gd name="connsiteY334" fmla="*/ 1500007 h 2146918"/>
              <a:gd name="connsiteX335" fmla="*/ 1841322 w 5521505"/>
              <a:gd name="connsiteY335" fmla="*/ 1500092 h 2146918"/>
              <a:gd name="connsiteX336" fmla="*/ 1841529 w 5521505"/>
              <a:gd name="connsiteY336" fmla="*/ 1500226 h 2146918"/>
              <a:gd name="connsiteX337" fmla="*/ 1841797 w 5521505"/>
              <a:gd name="connsiteY337" fmla="*/ 1500433 h 2146918"/>
              <a:gd name="connsiteX338" fmla="*/ 1841931 w 5521505"/>
              <a:gd name="connsiteY338" fmla="*/ 1500543 h 2146918"/>
              <a:gd name="connsiteX339" fmla="*/ 1842113 w 5521505"/>
              <a:gd name="connsiteY339" fmla="*/ 1500701 h 2146918"/>
              <a:gd name="connsiteX340" fmla="*/ 1842296 w 5521505"/>
              <a:gd name="connsiteY340" fmla="*/ 1500884 h 2146918"/>
              <a:gd name="connsiteX341" fmla="*/ 1842491 w 5521505"/>
              <a:gd name="connsiteY341" fmla="*/ 1501090 h 2146918"/>
              <a:gd name="connsiteX342" fmla="*/ 1842661 w 5521505"/>
              <a:gd name="connsiteY342" fmla="*/ 1501297 h 2146918"/>
              <a:gd name="connsiteX343" fmla="*/ 1842905 w 5521505"/>
              <a:gd name="connsiteY343" fmla="*/ 1501614 h 2146918"/>
              <a:gd name="connsiteX344" fmla="*/ 1843100 w 5521505"/>
              <a:gd name="connsiteY344" fmla="*/ 1501906 h 2146918"/>
              <a:gd name="connsiteX345" fmla="*/ 1843295 w 5521505"/>
              <a:gd name="connsiteY345" fmla="*/ 1502248 h 2146918"/>
              <a:gd name="connsiteX346" fmla="*/ 1843477 w 5521505"/>
              <a:gd name="connsiteY346" fmla="*/ 1502601 h 2146918"/>
              <a:gd name="connsiteX347" fmla="*/ 1843599 w 5521505"/>
              <a:gd name="connsiteY347" fmla="*/ 1502893 h 2146918"/>
              <a:gd name="connsiteX348" fmla="*/ 1843708 w 5521505"/>
              <a:gd name="connsiteY348" fmla="*/ 1503148 h 2146918"/>
              <a:gd name="connsiteX349" fmla="*/ 1843806 w 5521505"/>
              <a:gd name="connsiteY349" fmla="*/ 1503416 h 2146918"/>
              <a:gd name="connsiteX350" fmla="*/ 1843916 w 5521505"/>
              <a:gd name="connsiteY350" fmla="*/ 1503745 h 2146918"/>
              <a:gd name="connsiteX351" fmla="*/ 1843989 w 5521505"/>
              <a:gd name="connsiteY351" fmla="*/ 1504025 h 2146918"/>
              <a:gd name="connsiteX352" fmla="*/ 1843989 w 5521505"/>
              <a:gd name="connsiteY352" fmla="*/ 1504220 h 2146918"/>
              <a:gd name="connsiteX353" fmla="*/ 1843989 w 5521505"/>
              <a:gd name="connsiteY353" fmla="*/ 1504452 h 2146918"/>
              <a:gd name="connsiteX354" fmla="*/ 1843989 w 5521505"/>
              <a:gd name="connsiteY354" fmla="*/ 1504646 h 2146918"/>
              <a:gd name="connsiteX355" fmla="*/ 1844049 w 5521505"/>
              <a:gd name="connsiteY355" fmla="*/ 1504987 h 2146918"/>
              <a:gd name="connsiteX356" fmla="*/ 1844110 w 5521505"/>
              <a:gd name="connsiteY356" fmla="*/ 1505267 h 2146918"/>
              <a:gd name="connsiteX357" fmla="*/ 1844110 w 5521505"/>
              <a:gd name="connsiteY357" fmla="*/ 1505499 h 2146918"/>
              <a:gd name="connsiteX358" fmla="*/ 1844110 w 5521505"/>
              <a:gd name="connsiteY358" fmla="*/ 1505779 h 2146918"/>
              <a:gd name="connsiteX359" fmla="*/ 1844110 w 5521505"/>
              <a:gd name="connsiteY359" fmla="*/ 1506059 h 2146918"/>
              <a:gd name="connsiteX360" fmla="*/ 1844110 w 5521505"/>
              <a:gd name="connsiteY360" fmla="*/ 1506424 h 2146918"/>
              <a:gd name="connsiteX361" fmla="*/ 1844110 w 5521505"/>
              <a:gd name="connsiteY361" fmla="*/ 1506850 h 2146918"/>
              <a:gd name="connsiteX362" fmla="*/ 1844110 w 5521505"/>
              <a:gd name="connsiteY362" fmla="*/ 1507289 h 2146918"/>
              <a:gd name="connsiteX363" fmla="*/ 1844110 w 5521505"/>
              <a:gd name="connsiteY363" fmla="*/ 1507678 h 2146918"/>
              <a:gd name="connsiteX364" fmla="*/ 1844110 w 5521505"/>
              <a:gd name="connsiteY364" fmla="*/ 1508433 h 2146918"/>
              <a:gd name="connsiteX365" fmla="*/ 1844110 w 5521505"/>
              <a:gd name="connsiteY365" fmla="*/ 1508787 h 2146918"/>
              <a:gd name="connsiteX366" fmla="*/ 1844110 w 5521505"/>
              <a:gd name="connsiteY366" fmla="*/ 1509285 h 2146918"/>
              <a:gd name="connsiteX367" fmla="*/ 1844110 w 5521505"/>
              <a:gd name="connsiteY367" fmla="*/ 1509676 h 2146918"/>
              <a:gd name="connsiteX368" fmla="*/ 1844110 w 5521505"/>
              <a:gd name="connsiteY368" fmla="*/ 1510089 h 2146918"/>
              <a:gd name="connsiteX369" fmla="*/ 1844110 w 5521505"/>
              <a:gd name="connsiteY369" fmla="*/ 1510552 h 2146918"/>
              <a:gd name="connsiteX370" fmla="*/ 1844110 w 5521505"/>
              <a:gd name="connsiteY370" fmla="*/ 1511198 h 2146918"/>
              <a:gd name="connsiteX371" fmla="*/ 1844110 w 5521505"/>
              <a:gd name="connsiteY371" fmla="*/ 1511891 h 2146918"/>
              <a:gd name="connsiteX372" fmla="*/ 1844110 w 5521505"/>
              <a:gd name="connsiteY372" fmla="*/ 1512793 h 2146918"/>
              <a:gd name="connsiteX373" fmla="*/ 1844110 w 5521505"/>
              <a:gd name="connsiteY373" fmla="*/ 1513840 h 2146918"/>
              <a:gd name="connsiteX374" fmla="*/ 1844110 w 5521505"/>
              <a:gd name="connsiteY374" fmla="*/ 1514461 h 2146918"/>
              <a:gd name="connsiteX375" fmla="*/ 1844110 w 5521505"/>
              <a:gd name="connsiteY375" fmla="*/ 1515204 h 2146918"/>
              <a:gd name="connsiteX376" fmla="*/ 1844110 w 5521505"/>
              <a:gd name="connsiteY376" fmla="*/ 1515630 h 2146918"/>
              <a:gd name="connsiteX377" fmla="*/ 1844110 w 5521505"/>
              <a:gd name="connsiteY377" fmla="*/ 1516275 h 2146918"/>
              <a:gd name="connsiteX378" fmla="*/ 1844110 w 5521505"/>
              <a:gd name="connsiteY378" fmla="*/ 1517200 h 2146918"/>
              <a:gd name="connsiteX379" fmla="*/ 1844110 w 5521505"/>
              <a:gd name="connsiteY379" fmla="*/ 1517736 h 2146918"/>
              <a:gd name="connsiteX380" fmla="*/ 1844110 w 5521505"/>
              <a:gd name="connsiteY380" fmla="*/ 1518162 h 2146918"/>
              <a:gd name="connsiteX381" fmla="*/ 1844110 w 5521505"/>
              <a:gd name="connsiteY381" fmla="*/ 1518577 h 2146918"/>
              <a:gd name="connsiteX382" fmla="*/ 1843989 w 5521505"/>
              <a:gd name="connsiteY382" fmla="*/ 1519344 h 2146918"/>
              <a:gd name="connsiteX383" fmla="*/ 1843867 w 5521505"/>
              <a:gd name="connsiteY383" fmla="*/ 1519916 h 2146918"/>
              <a:gd name="connsiteX384" fmla="*/ 1843538 w 5521505"/>
              <a:gd name="connsiteY384" fmla="*/ 1520975 h 2146918"/>
              <a:gd name="connsiteX385" fmla="*/ 1842880 w 5521505"/>
              <a:gd name="connsiteY385" fmla="*/ 1522339 h 2146918"/>
              <a:gd name="connsiteX386" fmla="*/ 1841967 w 5521505"/>
              <a:gd name="connsiteY386" fmla="*/ 1523557 h 2146918"/>
              <a:gd name="connsiteX387" fmla="*/ 1840676 w 5521505"/>
              <a:gd name="connsiteY387" fmla="*/ 1525103 h 2146918"/>
              <a:gd name="connsiteX388" fmla="*/ 1839848 w 5521505"/>
              <a:gd name="connsiteY388" fmla="*/ 1526053 h 2146918"/>
              <a:gd name="connsiteX389" fmla="*/ 1838631 w 5521505"/>
              <a:gd name="connsiteY389" fmla="*/ 1527441 h 2146918"/>
              <a:gd name="connsiteX390" fmla="*/ 1837693 w 5521505"/>
              <a:gd name="connsiteY390" fmla="*/ 1528464 h 2146918"/>
              <a:gd name="connsiteX391" fmla="*/ 1836780 w 5521505"/>
              <a:gd name="connsiteY391" fmla="*/ 1529414 h 2146918"/>
              <a:gd name="connsiteX392" fmla="*/ 1835867 w 5521505"/>
              <a:gd name="connsiteY392" fmla="*/ 1530327 h 2146918"/>
              <a:gd name="connsiteX393" fmla="*/ 1835039 w 5521505"/>
              <a:gd name="connsiteY393" fmla="*/ 1531131 h 2146918"/>
              <a:gd name="connsiteX394" fmla="*/ 1833748 w 5521505"/>
              <a:gd name="connsiteY394" fmla="*/ 1532348 h 2146918"/>
              <a:gd name="connsiteX395" fmla="*/ 1833005 w 5521505"/>
              <a:gd name="connsiteY395" fmla="*/ 1533006 h 2146918"/>
              <a:gd name="connsiteX396" fmla="*/ 1831982 w 5521505"/>
              <a:gd name="connsiteY396" fmla="*/ 1533870 h 2146918"/>
              <a:gd name="connsiteX397" fmla="*/ 1830472 w 5521505"/>
              <a:gd name="connsiteY397" fmla="*/ 1535088 h 2146918"/>
              <a:gd name="connsiteX398" fmla="*/ 1829328 w 5521505"/>
              <a:gd name="connsiteY398" fmla="*/ 1535953 h 2146918"/>
              <a:gd name="connsiteX399" fmla="*/ 1828451 w 5521505"/>
              <a:gd name="connsiteY399" fmla="*/ 1536574 h 2146918"/>
              <a:gd name="connsiteX400" fmla="*/ 1827331 w 5521505"/>
              <a:gd name="connsiteY400" fmla="*/ 1537329 h 2146918"/>
              <a:gd name="connsiteX401" fmla="*/ 1825967 w 5521505"/>
              <a:gd name="connsiteY401" fmla="*/ 1538194 h 2146918"/>
              <a:gd name="connsiteX402" fmla="*/ 1824932 w 5521505"/>
              <a:gd name="connsiteY402" fmla="*/ 1538814 h 2146918"/>
              <a:gd name="connsiteX403" fmla="*/ 1824433 w 5521505"/>
              <a:gd name="connsiteY403" fmla="*/ 1539107 h 2146918"/>
              <a:gd name="connsiteX404" fmla="*/ 1823081 w 5521505"/>
              <a:gd name="connsiteY404" fmla="*/ 1539838 h 2146918"/>
              <a:gd name="connsiteX405" fmla="*/ 1821863 w 5521505"/>
              <a:gd name="connsiteY405" fmla="*/ 1540422 h 2146918"/>
              <a:gd name="connsiteX406" fmla="*/ 1821035 w 5521505"/>
              <a:gd name="connsiteY406" fmla="*/ 1540824 h 2146918"/>
              <a:gd name="connsiteX407" fmla="*/ 1819964 w 5521505"/>
              <a:gd name="connsiteY407" fmla="*/ 1541323 h 2146918"/>
              <a:gd name="connsiteX408" fmla="*/ 1818612 w 5521505"/>
              <a:gd name="connsiteY408" fmla="*/ 1541920 h 2146918"/>
              <a:gd name="connsiteX409" fmla="*/ 1817699 w 5521505"/>
              <a:gd name="connsiteY409" fmla="*/ 1542334 h 2146918"/>
              <a:gd name="connsiteX410" fmla="*/ 1816591 w 5521505"/>
              <a:gd name="connsiteY410" fmla="*/ 1542845 h 2146918"/>
              <a:gd name="connsiteX411" fmla="*/ 1814971 w 5521505"/>
              <a:gd name="connsiteY411" fmla="*/ 1543624 h 2146918"/>
              <a:gd name="connsiteX412" fmla="*/ 1812962 w 5521505"/>
              <a:gd name="connsiteY412" fmla="*/ 1544623 h 2146918"/>
              <a:gd name="connsiteX413" fmla="*/ 1809126 w 5521505"/>
              <a:gd name="connsiteY413" fmla="*/ 1546632 h 2146918"/>
              <a:gd name="connsiteX414" fmla="*/ 1806277 w 5521505"/>
              <a:gd name="connsiteY414" fmla="*/ 1548191 h 2146918"/>
              <a:gd name="connsiteX415" fmla="*/ 1800189 w 5521505"/>
              <a:gd name="connsiteY415" fmla="*/ 1551637 h 2146918"/>
              <a:gd name="connsiteX416" fmla="*/ 1793917 w 5521505"/>
              <a:gd name="connsiteY416" fmla="*/ 1555144 h 2146918"/>
              <a:gd name="connsiteX417" fmla="*/ 1798252 w 5521505"/>
              <a:gd name="connsiteY417" fmla="*/ 1559686 h 2146918"/>
              <a:gd name="connsiteX418" fmla="*/ 1800858 w 5521505"/>
              <a:gd name="connsiteY418" fmla="*/ 1562425 h 2146918"/>
              <a:gd name="connsiteX419" fmla="*/ 1804402 w 5521505"/>
              <a:gd name="connsiteY419" fmla="*/ 1566139 h 2146918"/>
              <a:gd name="connsiteX420" fmla="*/ 1807470 w 5521505"/>
              <a:gd name="connsiteY420" fmla="*/ 1569391 h 2146918"/>
              <a:gd name="connsiteX421" fmla="*/ 1806533 w 5521505"/>
              <a:gd name="connsiteY421" fmla="*/ 1571473 h 2146918"/>
              <a:gd name="connsiteX422" fmla="*/ 1802441 w 5521505"/>
              <a:gd name="connsiteY422" fmla="*/ 1576904 h 2146918"/>
              <a:gd name="connsiteX423" fmla="*/ 1796426 w 5521505"/>
              <a:gd name="connsiteY423" fmla="*/ 1581080 h 2146918"/>
              <a:gd name="connsiteX424" fmla="*/ 1791360 w 5521505"/>
              <a:gd name="connsiteY424" fmla="*/ 1583297 h 2146918"/>
              <a:gd name="connsiteX425" fmla="*/ 1784383 w 5521505"/>
              <a:gd name="connsiteY425" fmla="*/ 1585598 h 2146918"/>
              <a:gd name="connsiteX426" fmla="*/ 1778197 w 5521505"/>
              <a:gd name="connsiteY426" fmla="*/ 1587412 h 2146918"/>
              <a:gd name="connsiteX427" fmla="*/ 1772803 w 5521505"/>
              <a:gd name="connsiteY427" fmla="*/ 1589117 h 2146918"/>
              <a:gd name="connsiteX428" fmla="*/ 1775238 w 5521505"/>
              <a:gd name="connsiteY428" fmla="*/ 1590627 h 2146918"/>
              <a:gd name="connsiteX429" fmla="*/ 1778489 w 5521505"/>
              <a:gd name="connsiteY429" fmla="*/ 1592721 h 2146918"/>
              <a:gd name="connsiteX430" fmla="*/ 1781680 w 5521505"/>
              <a:gd name="connsiteY430" fmla="*/ 1594402 h 2146918"/>
              <a:gd name="connsiteX431" fmla="*/ 1784115 w 5521505"/>
              <a:gd name="connsiteY431" fmla="*/ 1595120 h 2146918"/>
              <a:gd name="connsiteX432" fmla="*/ 1786404 w 5521505"/>
              <a:gd name="connsiteY432" fmla="*/ 1594901 h 2146918"/>
              <a:gd name="connsiteX433" fmla="*/ 1792286 w 5521505"/>
              <a:gd name="connsiteY433" fmla="*/ 1593330 h 2146918"/>
              <a:gd name="connsiteX434" fmla="*/ 1797023 w 5521505"/>
              <a:gd name="connsiteY434" fmla="*/ 1591419 h 2146918"/>
              <a:gd name="connsiteX435" fmla="*/ 1801224 w 5521505"/>
              <a:gd name="connsiteY435" fmla="*/ 1590846 h 2146918"/>
              <a:gd name="connsiteX436" fmla="*/ 1804414 w 5521505"/>
              <a:gd name="connsiteY436" fmla="*/ 1592198 h 2146918"/>
              <a:gd name="connsiteX437" fmla="*/ 1805546 w 5521505"/>
              <a:gd name="connsiteY437" fmla="*/ 1593257 h 2146918"/>
              <a:gd name="connsiteX438" fmla="*/ 1805973 w 5521505"/>
              <a:gd name="connsiteY438" fmla="*/ 1594012 h 2146918"/>
              <a:gd name="connsiteX439" fmla="*/ 1805887 w 5521505"/>
              <a:gd name="connsiteY439" fmla="*/ 1594670 h 2146918"/>
              <a:gd name="connsiteX440" fmla="*/ 1804840 w 5521505"/>
              <a:gd name="connsiteY440" fmla="*/ 1596143 h 2146918"/>
              <a:gd name="connsiteX441" fmla="*/ 1804560 w 5521505"/>
              <a:gd name="connsiteY441" fmla="*/ 1596460 h 2146918"/>
              <a:gd name="connsiteX442" fmla="*/ 1804219 w 5521505"/>
              <a:gd name="connsiteY442" fmla="*/ 1596825 h 2146918"/>
              <a:gd name="connsiteX443" fmla="*/ 1803829 w 5521505"/>
              <a:gd name="connsiteY443" fmla="*/ 1597214 h 2146918"/>
              <a:gd name="connsiteX444" fmla="*/ 1803087 w 5521505"/>
              <a:gd name="connsiteY444" fmla="*/ 1597933 h 2146918"/>
              <a:gd name="connsiteX445" fmla="*/ 1801954 w 5521505"/>
              <a:gd name="connsiteY445" fmla="*/ 1599005 h 2146918"/>
              <a:gd name="connsiteX446" fmla="*/ 1801455 w 5521505"/>
              <a:gd name="connsiteY446" fmla="*/ 1599455 h 2146918"/>
              <a:gd name="connsiteX447" fmla="*/ 1800152 w 5521505"/>
              <a:gd name="connsiteY447" fmla="*/ 1600222 h 2146918"/>
              <a:gd name="connsiteX448" fmla="*/ 1799287 w 5521505"/>
              <a:gd name="connsiteY448" fmla="*/ 1600539 h 2146918"/>
              <a:gd name="connsiteX449" fmla="*/ 1797838 w 5521505"/>
              <a:gd name="connsiteY449" fmla="*/ 1601014 h 2146918"/>
              <a:gd name="connsiteX450" fmla="*/ 1796621 w 5521505"/>
              <a:gd name="connsiteY450" fmla="*/ 1601452 h 2146918"/>
              <a:gd name="connsiteX451" fmla="*/ 1797035 w 5521505"/>
              <a:gd name="connsiteY451" fmla="*/ 1601988 h 2146918"/>
              <a:gd name="connsiteX452" fmla="*/ 1797388 w 5521505"/>
              <a:gd name="connsiteY452" fmla="*/ 1602390 h 2146918"/>
              <a:gd name="connsiteX453" fmla="*/ 1798118 w 5521505"/>
              <a:gd name="connsiteY453" fmla="*/ 1603182 h 2146918"/>
              <a:gd name="connsiteX454" fmla="*/ 1799154 w 5521505"/>
              <a:gd name="connsiteY454" fmla="*/ 1604399 h 2146918"/>
              <a:gd name="connsiteX455" fmla="*/ 1799409 w 5521505"/>
              <a:gd name="connsiteY455" fmla="*/ 1605617 h 2146918"/>
              <a:gd name="connsiteX456" fmla="*/ 1799190 w 5521505"/>
              <a:gd name="connsiteY456" fmla="*/ 1607358 h 2146918"/>
              <a:gd name="connsiteX457" fmla="*/ 1800079 w 5521505"/>
              <a:gd name="connsiteY457" fmla="*/ 1610439 h 2146918"/>
              <a:gd name="connsiteX458" fmla="*/ 1802125 w 5521505"/>
              <a:gd name="connsiteY458" fmla="*/ 1612509 h 2146918"/>
              <a:gd name="connsiteX459" fmla="*/ 1804097 w 5521505"/>
              <a:gd name="connsiteY459" fmla="*/ 1613788 h 2146918"/>
              <a:gd name="connsiteX460" fmla="*/ 1806058 w 5521505"/>
              <a:gd name="connsiteY460" fmla="*/ 1615614 h 2146918"/>
              <a:gd name="connsiteX461" fmla="*/ 1806496 w 5521505"/>
              <a:gd name="connsiteY461" fmla="*/ 1617818 h 2146918"/>
              <a:gd name="connsiteX462" fmla="*/ 1805790 w 5521505"/>
              <a:gd name="connsiteY462" fmla="*/ 1619815 h 2146918"/>
              <a:gd name="connsiteX463" fmla="*/ 1804877 w 5521505"/>
              <a:gd name="connsiteY463" fmla="*/ 1621191 h 2146918"/>
              <a:gd name="connsiteX464" fmla="*/ 1803659 w 5521505"/>
              <a:gd name="connsiteY464" fmla="*/ 1622616 h 2146918"/>
              <a:gd name="connsiteX465" fmla="*/ 1802441 w 5521505"/>
              <a:gd name="connsiteY465" fmla="*/ 1624016 h 2146918"/>
              <a:gd name="connsiteX466" fmla="*/ 1801004 w 5521505"/>
              <a:gd name="connsiteY466" fmla="*/ 1625818 h 2146918"/>
              <a:gd name="connsiteX467" fmla="*/ 1800103 w 5521505"/>
              <a:gd name="connsiteY467" fmla="*/ 1626963 h 2146918"/>
              <a:gd name="connsiteX468" fmla="*/ 1798691 w 5521505"/>
              <a:gd name="connsiteY468" fmla="*/ 1628814 h 2146918"/>
              <a:gd name="connsiteX469" fmla="*/ 1797619 w 5521505"/>
              <a:gd name="connsiteY469" fmla="*/ 1630226 h 2146918"/>
              <a:gd name="connsiteX470" fmla="*/ 1796596 w 5521505"/>
              <a:gd name="connsiteY470" fmla="*/ 1631565 h 2146918"/>
              <a:gd name="connsiteX471" fmla="*/ 1796170 w 5521505"/>
              <a:gd name="connsiteY471" fmla="*/ 1632138 h 2146918"/>
              <a:gd name="connsiteX472" fmla="*/ 1795720 w 5521505"/>
              <a:gd name="connsiteY472" fmla="*/ 1632722 h 2146918"/>
              <a:gd name="connsiteX473" fmla="*/ 1795306 w 5521505"/>
              <a:gd name="connsiteY473" fmla="*/ 1633270 h 2146918"/>
              <a:gd name="connsiteX474" fmla="*/ 1793710 w 5521505"/>
              <a:gd name="connsiteY474" fmla="*/ 1636278 h 2146918"/>
              <a:gd name="connsiteX475" fmla="*/ 1793394 w 5521505"/>
              <a:gd name="connsiteY475" fmla="*/ 1637691 h 2146918"/>
              <a:gd name="connsiteX476" fmla="*/ 1793394 w 5521505"/>
              <a:gd name="connsiteY476" fmla="*/ 1638908 h 2146918"/>
              <a:gd name="connsiteX477" fmla="*/ 1793796 w 5521505"/>
              <a:gd name="connsiteY477" fmla="*/ 1640199 h 2146918"/>
              <a:gd name="connsiteX478" fmla="*/ 1794405 w 5521505"/>
              <a:gd name="connsiteY478" fmla="*/ 1641051 h 2146918"/>
              <a:gd name="connsiteX479" fmla="*/ 1795013 w 5521505"/>
              <a:gd name="connsiteY479" fmla="*/ 1641575 h 2146918"/>
              <a:gd name="connsiteX480" fmla="*/ 1795476 w 5521505"/>
              <a:gd name="connsiteY480" fmla="*/ 1641867 h 2146918"/>
              <a:gd name="connsiteX481" fmla="*/ 1795476 w 5521505"/>
              <a:gd name="connsiteY481" fmla="*/ 1641867 h 2146918"/>
              <a:gd name="connsiteX482" fmla="*/ 1795817 w 5521505"/>
              <a:gd name="connsiteY482" fmla="*/ 1642037 h 2146918"/>
              <a:gd name="connsiteX483" fmla="*/ 1796219 w 5521505"/>
              <a:gd name="connsiteY483" fmla="*/ 1642196 h 2146918"/>
              <a:gd name="connsiteX484" fmla="*/ 1797437 w 5521505"/>
              <a:gd name="connsiteY484" fmla="*/ 1642524 h 2146918"/>
              <a:gd name="connsiteX485" fmla="*/ 1798727 w 5521505"/>
              <a:gd name="connsiteY485" fmla="*/ 1642683 h 2146918"/>
              <a:gd name="connsiteX486" fmla="*/ 1799945 w 5521505"/>
              <a:gd name="connsiteY486" fmla="*/ 1642768 h 2146918"/>
              <a:gd name="connsiteX487" fmla="*/ 1802380 w 5521505"/>
              <a:gd name="connsiteY487" fmla="*/ 1642890 h 2146918"/>
              <a:gd name="connsiteX488" fmla="*/ 1804657 w 5521505"/>
              <a:gd name="connsiteY488" fmla="*/ 1642890 h 2146918"/>
              <a:gd name="connsiteX489" fmla="*/ 1806386 w 5521505"/>
              <a:gd name="connsiteY489" fmla="*/ 1642890 h 2146918"/>
              <a:gd name="connsiteX490" fmla="*/ 1807982 w 5521505"/>
              <a:gd name="connsiteY490" fmla="*/ 1642890 h 2146918"/>
              <a:gd name="connsiteX491" fmla="*/ 1809772 w 5521505"/>
              <a:gd name="connsiteY491" fmla="*/ 1642793 h 2146918"/>
              <a:gd name="connsiteX492" fmla="*/ 1811842 w 5521505"/>
              <a:gd name="connsiteY492" fmla="*/ 1642622 h 2146918"/>
              <a:gd name="connsiteX493" fmla="*/ 1812548 w 5521505"/>
              <a:gd name="connsiteY493" fmla="*/ 1642549 h 2146918"/>
              <a:gd name="connsiteX494" fmla="*/ 1813973 w 5521505"/>
              <a:gd name="connsiteY494" fmla="*/ 1642379 h 2146918"/>
              <a:gd name="connsiteX495" fmla="*/ 1814496 w 5521505"/>
              <a:gd name="connsiteY495" fmla="*/ 1642306 h 2146918"/>
              <a:gd name="connsiteX496" fmla="*/ 1815069 w 5521505"/>
              <a:gd name="connsiteY496" fmla="*/ 1642220 h 2146918"/>
              <a:gd name="connsiteX497" fmla="*/ 1816043 w 5521505"/>
              <a:gd name="connsiteY497" fmla="*/ 1642062 h 2146918"/>
              <a:gd name="connsiteX498" fmla="*/ 1816834 w 5521505"/>
              <a:gd name="connsiteY498" fmla="*/ 1641916 h 2146918"/>
              <a:gd name="connsiteX499" fmla="*/ 1817857 w 5521505"/>
              <a:gd name="connsiteY499" fmla="*/ 1641721 h 2146918"/>
              <a:gd name="connsiteX500" fmla="*/ 1819854 w 5521505"/>
              <a:gd name="connsiteY500" fmla="*/ 1641295 h 2146918"/>
              <a:gd name="connsiteX501" fmla="*/ 1821206 w 5521505"/>
              <a:gd name="connsiteY501" fmla="*/ 1641039 h 2146918"/>
              <a:gd name="connsiteX502" fmla="*/ 1822496 w 5521505"/>
              <a:gd name="connsiteY502" fmla="*/ 1640832 h 2146918"/>
              <a:gd name="connsiteX503" fmla="*/ 1823946 w 5521505"/>
              <a:gd name="connsiteY503" fmla="*/ 1640650 h 2146918"/>
              <a:gd name="connsiteX504" fmla="*/ 1825882 w 5521505"/>
              <a:gd name="connsiteY504" fmla="*/ 1640564 h 2146918"/>
              <a:gd name="connsiteX505" fmla="*/ 1826807 w 5521505"/>
              <a:gd name="connsiteY505" fmla="*/ 1640564 h 2146918"/>
              <a:gd name="connsiteX506" fmla="*/ 1828354 w 5521505"/>
              <a:gd name="connsiteY506" fmla="*/ 1640771 h 2146918"/>
              <a:gd name="connsiteX507" fmla="*/ 1829742 w 5521505"/>
              <a:gd name="connsiteY507" fmla="*/ 1641149 h 2146918"/>
              <a:gd name="connsiteX508" fmla="*/ 1830630 w 5521505"/>
              <a:gd name="connsiteY508" fmla="*/ 1641526 h 2146918"/>
              <a:gd name="connsiteX509" fmla="*/ 1831751 w 5521505"/>
              <a:gd name="connsiteY509" fmla="*/ 1642172 h 2146918"/>
              <a:gd name="connsiteX510" fmla="*/ 1832506 w 5521505"/>
              <a:gd name="connsiteY510" fmla="*/ 1642768 h 2146918"/>
              <a:gd name="connsiteX511" fmla="*/ 1833102 w 5521505"/>
              <a:gd name="connsiteY511" fmla="*/ 1643328 h 2146918"/>
              <a:gd name="connsiteX512" fmla="*/ 1833711 w 5521505"/>
              <a:gd name="connsiteY512" fmla="*/ 1644047 h 2146918"/>
              <a:gd name="connsiteX513" fmla="*/ 1834271 w 5521505"/>
              <a:gd name="connsiteY513" fmla="*/ 1644912 h 2146918"/>
              <a:gd name="connsiteX514" fmla="*/ 1834698 w 5521505"/>
              <a:gd name="connsiteY514" fmla="*/ 1645934 h 2146918"/>
              <a:gd name="connsiteX515" fmla="*/ 1834892 w 5521505"/>
              <a:gd name="connsiteY515" fmla="*/ 1646738 h 2146918"/>
              <a:gd name="connsiteX516" fmla="*/ 1834978 w 5521505"/>
              <a:gd name="connsiteY516" fmla="*/ 1647956 h 2146918"/>
              <a:gd name="connsiteX517" fmla="*/ 1834844 w 5521505"/>
              <a:gd name="connsiteY517" fmla="*/ 1649174 h 2146918"/>
              <a:gd name="connsiteX518" fmla="*/ 1834637 w 5521505"/>
              <a:gd name="connsiteY518" fmla="*/ 1650001 h 2146918"/>
              <a:gd name="connsiteX519" fmla="*/ 1834271 w 5521505"/>
              <a:gd name="connsiteY519" fmla="*/ 1651048 h 2146918"/>
              <a:gd name="connsiteX520" fmla="*/ 1833943 w 5521505"/>
              <a:gd name="connsiteY520" fmla="*/ 1651767 h 2146918"/>
              <a:gd name="connsiteX521" fmla="*/ 1833431 w 5521505"/>
              <a:gd name="connsiteY521" fmla="*/ 1652753 h 2146918"/>
              <a:gd name="connsiteX522" fmla="*/ 1832713 w 5521505"/>
              <a:gd name="connsiteY522" fmla="*/ 1653898 h 2146918"/>
              <a:gd name="connsiteX523" fmla="*/ 1831860 w 5521505"/>
              <a:gd name="connsiteY523" fmla="*/ 1655116 h 2146918"/>
              <a:gd name="connsiteX524" fmla="*/ 1831154 w 5521505"/>
              <a:gd name="connsiteY524" fmla="*/ 1656090 h 2146918"/>
              <a:gd name="connsiteX525" fmla="*/ 1830302 w 5521505"/>
              <a:gd name="connsiteY525" fmla="*/ 1657307 h 2146918"/>
              <a:gd name="connsiteX526" fmla="*/ 1829523 w 5521505"/>
              <a:gd name="connsiteY526" fmla="*/ 1658525 h 2146918"/>
              <a:gd name="connsiteX527" fmla="*/ 1828804 w 5521505"/>
              <a:gd name="connsiteY527" fmla="*/ 1659865 h 2146918"/>
              <a:gd name="connsiteX528" fmla="*/ 1828512 w 5521505"/>
              <a:gd name="connsiteY528" fmla="*/ 1660461 h 2146918"/>
              <a:gd name="connsiteX529" fmla="*/ 1828268 w 5521505"/>
              <a:gd name="connsiteY529" fmla="*/ 1661033 h 2146918"/>
              <a:gd name="connsiteX530" fmla="*/ 1828049 w 5521505"/>
              <a:gd name="connsiteY530" fmla="*/ 1661594 h 2146918"/>
              <a:gd name="connsiteX531" fmla="*/ 1827842 w 5521505"/>
              <a:gd name="connsiteY531" fmla="*/ 1662215 h 2146918"/>
              <a:gd name="connsiteX532" fmla="*/ 1827611 w 5521505"/>
              <a:gd name="connsiteY532" fmla="*/ 1663055 h 2146918"/>
              <a:gd name="connsiteX533" fmla="*/ 1827477 w 5521505"/>
              <a:gd name="connsiteY533" fmla="*/ 1663798 h 2146918"/>
              <a:gd name="connsiteX534" fmla="*/ 1827392 w 5521505"/>
              <a:gd name="connsiteY534" fmla="*/ 1664772 h 2146918"/>
              <a:gd name="connsiteX535" fmla="*/ 1827392 w 5521505"/>
              <a:gd name="connsiteY535" fmla="*/ 1665673 h 2146918"/>
              <a:gd name="connsiteX536" fmla="*/ 1827477 w 5521505"/>
              <a:gd name="connsiteY536" fmla="*/ 1666318 h 2146918"/>
              <a:gd name="connsiteX537" fmla="*/ 1827659 w 5521505"/>
              <a:gd name="connsiteY537" fmla="*/ 1667122 h 2146918"/>
              <a:gd name="connsiteX538" fmla="*/ 1827854 w 5521505"/>
              <a:gd name="connsiteY538" fmla="*/ 1667694 h 2146918"/>
              <a:gd name="connsiteX539" fmla="*/ 1828025 w 5521505"/>
              <a:gd name="connsiteY539" fmla="*/ 1668096 h 2146918"/>
              <a:gd name="connsiteX540" fmla="*/ 1828293 w 5521505"/>
              <a:gd name="connsiteY540" fmla="*/ 1668632 h 2146918"/>
              <a:gd name="connsiteX541" fmla="*/ 1828670 w 5521505"/>
              <a:gd name="connsiteY541" fmla="*/ 1669277 h 2146918"/>
              <a:gd name="connsiteX542" fmla="*/ 1828950 w 5521505"/>
              <a:gd name="connsiteY542" fmla="*/ 1670020 h 2146918"/>
              <a:gd name="connsiteX543" fmla="*/ 1828853 w 5521505"/>
              <a:gd name="connsiteY543" fmla="*/ 1671140 h 2146918"/>
              <a:gd name="connsiteX544" fmla="*/ 1828427 w 5521505"/>
              <a:gd name="connsiteY544" fmla="*/ 1672735 h 2146918"/>
              <a:gd name="connsiteX545" fmla="*/ 1828049 w 5521505"/>
              <a:gd name="connsiteY545" fmla="*/ 1674270 h 2146918"/>
              <a:gd name="connsiteX546" fmla="*/ 1827769 w 5521505"/>
              <a:gd name="connsiteY546" fmla="*/ 1675731 h 2146918"/>
              <a:gd name="connsiteX547" fmla="*/ 1827562 w 5521505"/>
              <a:gd name="connsiteY547" fmla="*/ 1677119 h 2146918"/>
              <a:gd name="connsiteX548" fmla="*/ 1827453 w 5521505"/>
              <a:gd name="connsiteY548" fmla="*/ 1678337 h 2146918"/>
              <a:gd name="connsiteX549" fmla="*/ 1827453 w 5521505"/>
              <a:gd name="connsiteY549" fmla="*/ 1679469 h 2146918"/>
              <a:gd name="connsiteX550" fmla="*/ 1827562 w 5521505"/>
              <a:gd name="connsiteY550" fmla="*/ 1680821 h 2146918"/>
              <a:gd name="connsiteX551" fmla="*/ 1827745 w 5521505"/>
              <a:gd name="connsiteY551" fmla="*/ 1681734 h 2146918"/>
              <a:gd name="connsiteX552" fmla="*/ 1828000 w 5521505"/>
              <a:gd name="connsiteY552" fmla="*/ 1682514 h 2146918"/>
              <a:gd name="connsiteX553" fmla="*/ 1828329 w 5521505"/>
              <a:gd name="connsiteY553" fmla="*/ 1683220 h 2146918"/>
              <a:gd name="connsiteX554" fmla="*/ 1828901 w 5521505"/>
              <a:gd name="connsiteY554" fmla="*/ 1684084 h 2146918"/>
              <a:gd name="connsiteX555" fmla="*/ 1829388 w 5521505"/>
              <a:gd name="connsiteY555" fmla="*/ 1684620 h 2146918"/>
              <a:gd name="connsiteX556" fmla="*/ 1829961 w 5521505"/>
              <a:gd name="connsiteY556" fmla="*/ 1685131 h 2146918"/>
              <a:gd name="connsiteX557" fmla="*/ 1831373 w 5521505"/>
              <a:gd name="connsiteY557" fmla="*/ 1686033 h 2146918"/>
              <a:gd name="connsiteX558" fmla="*/ 1832591 w 5521505"/>
              <a:gd name="connsiteY558" fmla="*/ 1686580 h 2146918"/>
              <a:gd name="connsiteX559" fmla="*/ 1834759 w 5521505"/>
              <a:gd name="connsiteY559" fmla="*/ 1687262 h 2146918"/>
              <a:gd name="connsiteX560" fmla="*/ 1838022 w 5521505"/>
              <a:gd name="connsiteY560" fmla="*/ 1687896 h 2146918"/>
              <a:gd name="connsiteX561" fmla="*/ 1840457 w 5521505"/>
              <a:gd name="connsiteY561" fmla="*/ 1688261 h 2146918"/>
              <a:gd name="connsiteX562" fmla="*/ 1843903 w 5521505"/>
              <a:gd name="connsiteY562" fmla="*/ 1688906 h 2146918"/>
              <a:gd name="connsiteX563" fmla="*/ 1849675 w 5521505"/>
              <a:gd name="connsiteY563" fmla="*/ 1690440 h 2146918"/>
              <a:gd name="connsiteX564" fmla="*/ 1852244 w 5521505"/>
              <a:gd name="connsiteY564" fmla="*/ 1691305 h 2146918"/>
              <a:gd name="connsiteX565" fmla="*/ 1856896 w 5521505"/>
              <a:gd name="connsiteY565" fmla="*/ 1693131 h 2146918"/>
              <a:gd name="connsiteX566" fmla="*/ 1860866 w 5521505"/>
              <a:gd name="connsiteY566" fmla="*/ 1694909 h 2146918"/>
              <a:gd name="connsiteX567" fmla="*/ 1864616 w 5521505"/>
              <a:gd name="connsiteY567" fmla="*/ 1696298 h 2146918"/>
              <a:gd name="connsiteX568" fmla="*/ 1868488 w 5521505"/>
              <a:gd name="connsiteY568" fmla="*/ 1697162 h 2146918"/>
              <a:gd name="connsiteX569" fmla="*/ 1873213 w 5521505"/>
              <a:gd name="connsiteY569" fmla="*/ 1697662 h 2146918"/>
              <a:gd name="connsiteX570" fmla="*/ 1876866 w 5521505"/>
              <a:gd name="connsiteY570" fmla="*/ 1697759 h 2146918"/>
              <a:gd name="connsiteX571" fmla="*/ 1879302 w 5521505"/>
              <a:gd name="connsiteY571" fmla="*/ 1697759 h 2146918"/>
              <a:gd name="connsiteX572" fmla="*/ 1883685 w 5521505"/>
              <a:gd name="connsiteY572" fmla="*/ 1697515 h 2146918"/>
              <a:gd name="connsiteX573" fmla="*/ 1893001 w 5521505"/>
              <a:gd name="connsiteY573" fmla="*/ 1696480 h 2146918"/>
              <a:gd name="connsiteX574" fmla="*/ 1902316 w 5521505"/>
              <a:gd name="connsiteY574" fmla="*/ 1695153 h 2146918"/>
              <a:gd name="connsiteX575" fmla="*/ 1909622 w 5521505"/>
              <a:gd name="connsiteY575" fmla="*/ 1694082 h 2146918"/>
              <a:gd name="connsiteX576" fmla="*/ 1912252 w 5521505"/>
              <a:gd name="connsiteY576" fmla="*/ 1693704 h 2146918"/>
              <a:gd name="connsiteX577" fmla="*/ 1914687 w 5521505"/>
              <a:gd name="connsiteY577" fmla="*/ 1693351 h 2146918"/>
              <a:gd name="connsiteX578" fmla="*/ 1916465 w 5521505"/>
              <a:gd name="connsiteY578" fmla="*/ 1693095 h 2146918"/>
              <a:gd name="connsiteX579" fmla="*/ 1917439 w 5521505"/>
              <a:gd name="connsiteY579" fmla="*/ 1692961 h 2146918"/>
              <a:gd name="connsiteX580" fmla="*/ 1918657 w 5521505"/>
              <a:gd name="connsiteY580" fmla="*/ 1692791 h 2146918"/>
              <a:gd name="connsiteX581" fmla="*/ 1918949 w 5521505"/>
              <a:gd name="connsiteY581" fmla="*/ 1692791 h 2146918"/>
              <a:gd name="connsiteX582" fmla="*/ 1919412 w 5521505"/>
              <a:gd name="connsiteY582" fmla="*/ 1692730 h 2146918"/>
              <a:gd name="connsiteX583" fmla="*/ 1919169 w 5521505"/>
              <a:gd name="connsiteY583" fmla="*/ 1692986 h 2146918"/>
              <a:gd name="connsiteX584" fmla="*/ 1918949 w 5521505"/>
              <a:gd name="connsiteY584" fmla="*/ 1693229 h 2146918"/>
              <a:gd name="connsiteX585" fmla="*/ 1918706 w 5521505"/>
              <a:gd name="connsiteY585" fmla="*/ 1693473 h 2146918"/>
              <a:gd name="connsiteX586" fmla="*/ 1918487 w 5521505"/>
              <a:gd name="connsiteY586" fmla="*/ 1693692 h 2146918"/>
              <a:gd name="connsiteX587" fmla="*/ 1918487 w 5521505"/>
              <a:gd name="connsiteY587" fmla="*/ 1693692 h 2146918"/>
              <a:gd name="connsiteX588" fmla="*/ 1918121 w 5521505"/>
              <a:gd name="connsiteY588" fmla="*/ 1694057 h 2146918"/>
              <a:gd name="connsiteX589" fmla="*/ 1917586 w 5521505"/>
              <a:gd name="connsiteY589" fmla="*/ 1694569 h 2146918"/>
              <a:gd name="connsiteX590" fmla="*/ 1917220 w 5521505"/>
              <a:gd name="connsiteY590" fmla="*/ 1694909 h 2146918"/>
              <a:gd name="connsiteX591" fmla="*/ 1916782 w 5521505"/>
              <a:gd name="connsiteY591" fmla="*/ 1695299 h 2146918"/>
              <a:gd name="connsiteX592" fmla="*/ 1916441 w 5521505"/>
              <a:gd name="connsiteY592" fmla="*/ 1695604 h 2146918"/>
              <a:gd name="connsiteX593" fmla="*/ 1916088 w 5521505"/>
              <a:gd name="connsiteY593" fmla="*/ 1695908 h 2146918"/>
              <a:gd name="connsiteX594" fmla="*/ 1915856 w 5521505"/>
              <a:gd name="connsiteY594" fmla="*/ 1696091 h 2146918"/>
              <a:gd name="connsiteX595" fmla="*/ 1915516 w 5521505"/>
              <a:gd name="connsiteY595" fmla="*/ 1696371 h 2146918"/>
              <a:gd name="connsiteX596" fmla="*/ 1915065 w 5521505"/>
              <a:gd name="connsiteY596" fmla="*/ 1696724 h 2146918"/>
              <a:gd name="connsiteX597" fmla="*/ 1914541 w 5521505"/>
              <a:gd name="connsiteY597" fmla="*/ 1697113 h 2146918"/>
              <a:gd name="connsiteX598" fmla="*/ 1914152 w 5521505"/>
              <a:gd name="connsiteY598" fmla="*/ 1697393 h 2146918"/>
              <a:gd name="connsiteX599" fmla="*/ 1913324 w 5521505"/>
              <a:gd name="connsiteY599" fmla="*/ 1697978 h 2146918"/>
              <a:gd name="connsiteX600" fmla="*/ 1912739 w 5521505"/>
              <a:gd name="connsiteY600" fmla="*/ 1698355 h 2146918"/>
              <a:gd name="connsiteX601" fmla="*/ 1912349 w 5521505"/>
              <a:gd name="connsiteY601" fmla="*/ 1698611 h 2146918"/>
              <a:gd name="connsiteX602" fmla="*/ 1911960 w 5521505"/>
              <a:gd name="connsiteY602" fmla="*/ 1698855 h 2146918"/>
              <a:gd name="connsiteX603" fmla="*/ 1911521 w 5521505"/>
              <a:gd name="connsiteY603" fmla="*/ 1699110 h 2146918"/>
              <a:gd name="connsiteX604" fmla="*/ 1910961 w 5521505"/>
              <a:gd name="connsiteY604" fmla="*/ 1699439 h 2146918"/>
              <a:gd name="connsiteX605" fmla="*/ 1910486 w 5521505"/>
              <a:gd name="connsiteY605" fmla="*/ 1699695 h 2146918"/>
              <a:gd name="connsiteX606" fmla="*/ 1910109 w 5521505"/>
              <a:gd name="connsiteY606" fmla="*/ 1699902 h 2146918"/>
              <a:gd name="connsiteX607" fmla="*/ 1909817 w 5521505"/>
              <a:gd name="connsiteY607" fmla="*/ 1700048 h 2146918"/>
              <a:gd name="connsiteX608" fmla="*/ 1909476 w 5521505"/>
              <a:gd name="connsiteY608" fmla="*/ 1700231 h 2146918"/>
              <a:gd name="connsiteX609" fmla="*/ 1908989 w 5521505"/>
              <a:gd name="connsiteY609" fmla="*/ 1700474 h 2146918"/>
              <a:gd name="connsiteX610" fmla="*/ 1908368 w 5521505"/>
              <a:gd name="connsiteY610" fmla="*/ 1700779 h 2146918"/>
              <a:gd name="connsiteX611" fmla="*/ 1907953 w 5521505"/>
              <a:gd name="connsiteY611" fmla="*/ 1700961 h 2146918"/>
              <a:gd name="connsiteX612" fmla="*/ 1907540 w 5521505"/>
              <a:gd name="connsiteY612" fmla="*/ 1701156 h 2146918"/>
              <a:gd name="connsiteX613" fmla="*/ 1906943 w 5521505"/>
              <a:gd name="connsiteY613" fmla="*/ 1701424 h 2146918"/>
              <a:gd name="connsiteX614" fmla="*/ 1906078 w 5521505"/>
              <a:gd name="connsiteY614" fmla="*/ 1701802 h 2146918"/>
              <a:gd name="connsiteX615" fmla="*/ 1905311 w 5521505"/>
              <a:gd name="connsiteY615" fmla="*/ 1702118 h 2146918"/>
              <a:gd name="connsiteX616" fmla="*/ 1904337 w 5521505"/>
              <a:gd name="connsiteY616" fmla="*/ 1702495 h 2146918"/>
              <a:gd name="connsiteX617" fmla="*/ 1903241 w 5521505"/>
              <a:gd name="connsiteY617" fmla="*/ 1702934 h 2146918"/>
              <a:gd name="connsiteX618" fmla="*/ 1902462 w 5521505"/>
              <a:gd name="connsiteY618" fmla="*/ 1703226 h 2146918"/>
              <a:gd name="connsiteX619" fmla="*/ 1901086 w 5521505"/>
              <a:gd name="connsiteY619" fmla="*/ 1703750 h 2146918"/>
              <a:gd name="connsiteX620" fmla="*/ 1899564 w 5521505"/>
              <a:gd name="connsiteY620" fmla="*/ 1704334 h 2146918"/>
              <a:gd name="connsiteX621" fmla="*/ 1897859 w 5521505"/>
              <a:gd name="connsiteY621" fmla="*/ 1704992 h 2146918"/>
              <a:gd name="connsiteX622" fmla="*/ 1896836 w 5521505"/>
              <a:gd name="connsiteY622" fmla="*/ 1705381 h 2146918"/>
              <a:gd name="connsiteX623" fmla="*/ 1896434 w 5521505"/>
              <a:gd name="connsiteY623" fmla="*/ 1705528 h 2146918"/>
              <a:gd name="connsiteX624" fmla="*/ 1894742 w 5521505"/>
              <a:gd name="connsiteY624" fmla="*/ 1706185 h 2146918"/>
              <a:gd name="connsiteX625" fmla="*/ 1893755 w 5521505"/>
              <a:gd name="connsiteY625" fmla="*/ 1706563 h 2146918"/>
              <a:gd name="connsiteX626" fmla="*/ 1892891 w 5521505"/>
              <a:gd name="connsiteY626" fmla="*/ 1706904 h 2146918"/>
              <a:gd name="connsiteX627" fmla="*/ 1891795 w 5521505"/>
              <a:gd name="connsiteY627" fmla="*/ 1707330 h 2146918"/>
              <a:gd name="connsiteX628" fmla="*/ 1890736 w 5521505"/>
              <a:gd name="connsiteY628" fmla="*/ 1707732 h 2146918"/>
              <a:gd name="connsiteX629" fmla="*/ 1889980 w 5521505"/>
              <a:gd name="connsiteY629" fmla="*/ 1708024 h 2146918"/>
              <a:gd name="connsiteX630" fmla="*/ 1888763 w 5521505"/>
              <a:gd name="connsiteY630" fmla="*/ 1708499 h 2146918"/>
              <a:gd name="connsiteX631" fmla="*/ 1887862 w 5521505"/>
              <a:gd name="connsiteY631" fmla="*/ 1708840 h 2146918"/>
              <a:gd name="connsiteX632" fmla="*/ 1886401 w 5521505"/>
              <a:gd name="connsiteY632" fmla="*/ 1709412 h 2146918"/>
              <a:gd name="connsiteX633" fmla="*/ 1885353 w 5521505"/>
              <a:gd name="connsiteY633" fmla="*/ 1709826 h 2146918"/>
              <a:gd name="connsiteX634" fmla="*/ 1884404 w 5521505"/>
              <a:gd name="connsiteY634" fmla="*/ 1710203 h 2146918"/>
              <a:gd name="connsiteX635" fmla="*/ 1883295 w 5521505"/>
              <a:gd name="connsiteY635" fmla="*/ 1710630 h 2146918"/>
              <a:gd name="connsiteX636" fmla="*/ 1881615 w 5521505"/>
              <a:gd name="connsiteY636" fmla="*/ 1711300 h 2146918"/>
              <a:gd name="connsiteX637" fmla="*/ 1880215 w 5521505"/>
              <a:gd name="connsiteY637" fmla="*/ 1711847 h 2146918"/>
              <a:gd name="connsiteX638" fmla="*/ 1878997 w 5521505"/>
              <a:gd name="connsiteY638" fmla="*/ 1712359 h 2146918"/>
              <a:gd name="connsiteX639" fmla="*/ 1878035 w 5521505"/>
              <a:gd name="connsiteY639" fmla="*/ 1712736 h 2146918"/>
              <a:gd name="connsiteX640" fmla="*/ 1877645 w 5521505"/>
              <a:gd name="connsiteY640" fmla="*/ 1712894 h 2146918"/>
              <a:gd name="connsiteX641" fmla="*/ 1877256 w 5521505"/>
              <a:gd name="connsiteY641" fmla="*/ 1713041 h 2146918"/>
              <a:gd name="connsiteX642" fmla="*/ 1876963 w 5521505"/>
              <a:gd name="connsiteY642" fmla="*/ 1713163 h 2146918"/>
              <a:gd name="connsiteX643" fmla="*/ 1876659 w 5521505"/>
              <a:gd name="connsiteY643" fmla="*/ 1713296 h 2146918"/>
              <a:gd name="connsiteX644" fmla="*/ 1876391 w 5521505"/>
              <a:gd name="connsiteY644" fmla="*/ 1713394 h 2146918"/>
              <a:gd name="connsiteX645" fmla="*/ 1875989 w 5521505"/>
              <a:gd name="connsiteY645" fmla="*/ 1713565 h 2146918"/>
              <a:gd name="connsiteX646" fmla="*/ 1875466 w 5521505"/>
              <a:gd name="connsiteY646" fmla="*/ 1713796 h 2146918"/>
              <a:gd name="connsiteX647" fmla="*/ 1875113 w 5521505"/>
              <a:gd name="connsiteY647" fmla="*/ 1713954 h 2146918"/>
              <a:gd name="connsiteX648" fmla="*/ 1874406 w 5521505"/>
              <a:gd name="connsiteY648" fmla="*/ 1714271 h 2146918"/>
              <a:gd name="connsiteX649" fmla="*/ 1873785 w 5521505"/>
              <a:gd name="connsiteY649" fmla="*/ 1714575 h 2146918"/>
              <a:gd name="connsiteX650" fmla="*/ 1873396 w 5521505"/>
              <a:gd name="connsiteY650" fmla="*/ 1714758 h 2146918"/>
              <a:gd name="connsiteX651" fmla="*/ 1872714 w 5521505"/>
              <a:gd name="connsiteY651" fmla="*/ 1715087 h 2146918"/>
              <a:gd name="connsiteX652" fmla="*/ 1872251 w 5521505"/>
              <a:gd name="connsiteY652" fmla="*/ 1715305 h 2146918"/>
              <a:gd name="connsiteX653" fmla="*/ 1871533 w 5521505"/>
              <a:gd name="connsiteY653" fmla="*/ 1715634 h 2146918"/>
              <a:gd name="connsiteX654" fmla="*/ 1871094 w 5521505"/>
              <a:gd name="connsiteY654" fmla="*/ 1715829 h 2146918"/>
              <a:gd name="connsiteX655" fmla="*/ 1870632 w 5521505"/>
              <a:gd name="connsiteY655" fmla="*/ 1716024 h 2146918"/>
              <a:gd name="connsiteX656" fmla="*/ 1870023 w 5521505"/>
              <a:gd name="connsiteY656" fmla="*/ 1716256 h 2146918"/>
              <a:gd name="connsiteX657" fmla="*/ 1869450 w 5521505"/>
              <a:gd name="connsiteY657" fmla="*/ 1716462 h 2146918"/>
              <a:gd name="connsiteX658" fmla="*/ 1868939 w 5521505"/>
              <a:gd name="connsiteY658" fmla="*/ 1716633 h 2146918"/>
              <a:gd name="connsiteX659" fmla="*/ 1868391 w 5521505"/>
              <a:gd name="connsiteY659" fmla="*/ 1716816 h 2146918"/>
              <a:gd name="connsiteX660" fmla="*/ 1867758 w 5521505"/>
              <a:gd name="connsiteY660" fmla="*/ 1716998 h 2146918"/>
              <a:gd name="connsiteX661" fmla="*/ 1867295 w 5521505"/>
              <a:gd name="connsiteY661" fmla="*/ 1717132 h 2146918"/>
              <a:gd name="connsiteX662" fmla="*/ 1866443 w 5521505"/>
              <a:gd name="connsiteY662" fmla="*/ 1717327 h 2146918"/>
              <a:gd name="connsiteX663" fmla="*/ 1865980 w 5521505"/>
              <a:gd name="connsiteY663" fmla="*/ 1717412 h 2146918"/>
              <a:gd name="connsiteX664" fmla="*/ 1865225 w 5521505"/>
              <a:gd name="connsiteY664" fmla="*/ 1717522 h 2146918"/>
              <a:gd name="connsiteX665" fmla="*/ 1864872 w 5521505"/>
              <a:gd name="connsiteY665" fmla="*/ 1717522 h 2146918"/>
              <a:gd name="connsiteX666" fmla="*/ 1864324 w 5521505"/>
              <a:gd name="connsiteY666" fmla="*/ 1717522 h 2146918"/>
              <a:gd name="connsiteX667" fmla="*/ 1863959 w 5521505"/>
              <a:gd name="connsiteY667" fmla="*/ 1717522 h 2146918"/>
              <a:gd name="connsiteX668" fmla="*/ 1863545 w 5521505"/>
              <a:gd name="connsiteY668" fmla="*/ 1717522 h 2146918"/>
              <a:gd name="connsiteX669" fmla="*/ 1863313 w 5521505"/>
              <a:gd name="connsiteY669" fmla="*/ 1717522 h 2146918"/>
              <a:gd name="connsiteX670" fmla="*/ 1863082 w 5521505"/>
              <a:gd name="connsiteY670" fmla="*/ 1717522 h 2146918"/>
              <a:gd name="connsiteX671" fmla="*/ 1862826 w 5521505"/>
              <a:gd name="connsiteY671" fmla="*/ 1717522 h 2146918"/>
              <a:gd name="connsiteX672" fmla="*/ 1862473 w 5521505"/>
              <a:gd name="connsiteY672" fmla="*/ 1717436 h 2146918"/>
              <a:gd name="connsiteX673" fmla="*/ 1861937 w 5521505"/>
              <a:gd name="connsiteY673" fmla="*/ 1717266 h 2146918"/>
              <a:gd name="connsiteX674" fmla="*/ 1861535 w 5521505"/>
              <a:gd name="connsiteY674" fmla="*/ 1717096 h 2146918"/>
              <a:gd name="connsiteX675" fmla="*/ 1861207 w 5521505"/>
              <a:gd name="connsiteY675" fmla="*/ 1716925 h 2146918"/>
              <a:gd name="connsiteX676" fmla="*/ 1860878 w 5521505"/>
              <a:gd name="connsiteY676" fmla="*/ 1716718 h 2146918"/>
              <a:gd name="connsiteX677" fmla="*/ 1860537 w 5521505"/>
              <a:gd name="connsiteY677" fmla="*/ 1716475 h 2146918"/>
              <a:gd name="connsiteX678" fmla="*/ 1860281 w 5521505"/>
              <a:gd name="connsiteY678" fmla="*/ 1716256 h 2146918"/>
              <a:gd name="connsiteX679" fmla="*/ 1860026 w 5521505"/>
              <a:gd name="connsiteY679" fmla="*/ 1716024 h 2146918"/>
              <a:gd name="connsiteX680" fmla="*/ 1859819 w 5521505"/>
              <a:gd name="connsiteY680" fmla="*/ 1715817 h 2146918"/>
              <a:gd name="connsiteX681" fmla="*/ 1859648 w 5521505"/>
              <a:gd name="connsiteY681" fmla="*/ 1715634 h 2146918"/>
              <a:gd name="connsiteX682" fmla="*/ 1859465 w 5521505"/>
              <a:gd name="connsiteY682" fmla="*/ 1715415 h 2146918"/>
              <a:gd name="connsiteX683" fmla="*/ 1859331 w 5521505"/>
              <a:gd name="connsiteY683" fmla="*/ 1715257 h 2146918"/>
              <a:gd name="connsiteX684" fmla="*/ 1858893 w 5521505"/>
              <a:gd name="connsiteY684" fmla="*/ 1714782 h 2146918"/>
              <a:gd name="connsiteX685" fmla="*/ 1858260 w 5521505"/>
              <a:gd name="connsiteY685" fmla="*/ 1714210 h 2146918"/>
              <a:gd name="connsiteX686" fmla="*/ 1857554 w 5521505"/>
              <a:gd name="connsiteY686" fmla="*/ 1713662 h 2146918"/>
              <a:gd name="connsiteX687" fmla="*/ 1857091 w 5521505"/>
              <a:gd name="connsiteY687" fmla="*/ 1713358 h 2146918"/>
              <a:gd name="connsiteX688" fmla="*/ 1856738 w 5521505"/>
              <a:gd name="connsiteY688" fmla="*/ 1713138 h 2146918"/>
              <a:gd name="connsiteX689" fmla="*/ 1855971 w 5521505"/>
              <a:gd name="connsiteY689" fmla="*/ 1712712 h 2146918"/>
              <a:gd name="connsiteX690" fmla="*/ 1855167 w 5521505"/>
              <a:gd name="connsiteY690" fmla="*/ 1712359 h 2146918"/>
              <a:gd name="connsiteX691" fmla="*/ 1854327 w 5521505"/>
              <a:gd name="connsiteY691" fmla="*/ 1712042 h 2146918"/>
              <a:gd name="connsiteX692" fmla="*/ 1853791 w 5521505"/>
              <a:gd name="connsiteY692" fmla="*/ 1711884 h 2146918"/>
              <a:gd name="connsiteX693" fmla="*/ 1853365 w 5521505"/>
              <a:gd name="connsiteY693" fmla="*/ 1711774 h 2146918"/>
              <a:gd name="connsiteX694" fmla="*/ 1852890 w 5521505"/>
              <a:gd name="connsiteY694" fmla="*/ 1711677 h 2146918"/>
              <a:gd name="connsiteX695" fmla="*/ 1852281 w 5521505"/>
              <a:gd name="connsiteY695" fmla="*/ 1711592 h 2146918"/>
              <a:gd name="connsiteX696" fmla="*/ 1851696 w 5521505"/>
              <a:gd name="connsiteY696" fmla="*/ 1711592 h 2146918"/>
              <a:gd name="connsiteX697" fmla="*/ 1850929 w 5521505"/>
              <a:gd name="connsiteY697" fmla="*/ 1711592 h 2146918"/>
              <a:gd name="connsiteX698" fmla="*/ 1850272 w 5521505"/>
              <a:gd name="connsiteY698" fmla="*/ 1711592 h 2146918"/>
              <a:gd name="connsiteX699" fmla="*/ 1849639 w 5521505"/>
              <a:gd name="connsiteY699" fmla="*/ 1711592 h 2146918"/>
              <a:gd name="connsiteX700" fmla="*/ 1849030 w 5521505"/>
              <a:gd name="connsiteY700" fmla="*/ 1711592 h 2146918"/>
              <a:gd name="connsiteX701" fmla="*/ 1846704 w 5521505"/>
              <a:gd name="connsiteY701" fmla="*/ 1711592 h 2146918"/>
              <a:gd name="connsiteX702" fmla="*/ 1846351 w 5521505"/>
              <a:gd name="connsiteY702" fmla="*/ 1711592 h 2146918"/>
              <a:gd name="connsiteX703" fmla="*/ 1846095 w 5521505"/>
              <a:gd name="connsiteY703" fmla="*/ 1711592 h 2146918"/>
              <a:gd name="connsiteX704" fmla="*/ 1845730 w 5521505"/>
              <a:gd name="connsiteY704" fmla="*/ 1711592 h 2146918"/>
              <a:gd name="connsiteX705" fmla="*/ 1845547 w 5521505"/>
              <a:gd name="connsiteY705" fmla="*/ 1711592 h 2146918"/>
              <a:gd name="connsiteX706" fmla="*/ 1845255 w 5521505"/>
              <a:gd name="connsiteY706" fmla="*/ 1711592 h 2146918"/>
              <a:gd name="connsiteX707" fmla="*/ 1844865 w 5521505"/>
              <a:gd name="connsiteY707" fmla="*/ 1711519 h 2146918"/>
              <a:gd name="connsiteX708" fmla="*/ 1844573 w 5521505"/>
              <a:gd name="connsiteY708" fmla="*/ 1711458 h 2146918"/>
              <a:gd name="connsiteX709" fmla="*/ 1844329 w 5521505"/>
              <a:gd name="connsiteY709" fmla="*/ 1711397 h 2146918"/>
              <a:gd name="connsiteX710" fmla="*/ 1844025 w 5521505"/>
              <a:gd name="connsiteY710" fmla="*/ 1711312 h 2146918"/>
              <a:gd name="connsiteX711" fmla="*/ 1843636 w 5521505"/>
              <a:gd name="connsiteY711" fmla="*/ 1711190 h 2146918"/>
              <a:gd name="connsiteX712" fmla="*/ 1843319 w 5521505"/>
              <a:gd name="connsiteY712" fmla="*/ 1711080 h 2146918"/>
              <a:gd name="connsiteX713" fmla="*/ 1843039 w 5521505"/>
              <a:gd name="connsiteY713" fmla="*/ 1710959 h 2146918"/>
              <a:gd name="connsiteX714" fmla="*/ 1842856 w 5521505"/>
              <a:gd name="connsiteY714" fmla="*/ 1710874 h 2146918"/>
              <a:gd name="connsiteX715" fmla="*/ 1842661 w 5521505"/>
              <a:gd name="connsiteY715" fmla="*/ 1710776 h 2146918"/>
              <a:gd name="connsiteX716" fmla="*/ 1842503 w 5521505"/>
              <a:gd name="connsiteY716" fmla="*/ 1710691 h 2146918"/>
              <a:gd name="connsiteX717" fmla="*/ 1842284 w 5521505"/>
              <a:gd name="connsiteY717" fmla="*/ 1710557 h 2146918"/>
              <a:gd name="connsiteX718" fmla="*/ 1842138 w 5521505"/>
              <a:gd name="connsiteY718" fmla="*/ 1710459 h 2146918"/>
              <a:gd name="connsiteX719" fmla="*/ 1841943 w 5521505"/>
              <a:gd name="connsiteY719" fmla="*/ 1710325 h 2146918"/>
              <a:gd name="connsiteX720" fmla="*/ 1841846 w 5521505"/>
              <a:gd name="connsiteY720" fmla="*/ 1710252 h 2146918"/>
              <a:gd name="connsiteX721" fmla="*/ 1841626 w 5521505"/>
              <a:gd name="connsiteY721" fmla="*/ 1710070 h 2146918"/>
              <a:gd name="connsiteX722" fmla="*/ 1841480 w 5521505"/>
              <a:gd name="connsiteY722" fmla="*/ 1709936 h 2146918"/>
              <a:gd name="connsiteX723" fmla="*/ 1841297 w 5521505"/>
              <a:gd name="connsiteY723" fmla="*/ 1709765 h 2146918"/>
              <a:gd name="connsiteX724" fmla="*/ 1841151 w 5521505"/>
              <a:gd name="connsiteY724" fmla="*/ 1709619 h 2146918"/>
              <a:gd name="connsiteX725" fmla="*/ 1841030 w 5521505"/>
              <a:gd name="connsiteY725" fmla="*/ 1709473 h 2146918"/>
              <a:gd name="connsiteX726" fmla="*/ 1840896 w 5521505"/>
              <a:gd name="connsiteY726" fmla="*/ 1709303 h 2146918"/>
              <a:gd name="connsiteX727" fmla="*/ 1840774 w 5521505"/>
              <a:gd name="connsiteY727" fmla="*/ 1709132 h 2146918"/>
              <a:gd name="connsiteX728" fmla="*/ 1840689 w 5521505"/>
              <a:gd name="connsiteY728" fmla="*/ 1709010 h 2146918"/>
              <a:gd name="connsiteX729" fmla="*/ 1840591 w 5521505"/>
              <a:gd name="connsiteY729" fmla="*/ 1708852 h 2146918"/>
              <a:gd name="connsiteX730" fmla="*/ 1840494 w 5521505"/>
              <a:gd name="connsiteY730" fmla="*/ 1708694 h 2146918"/>
              <a:gd name="connsiteX731" fmla="*/ 1840421 w 5521505"/>
              <a:gd name="connsiteY731" fmla="*/ 1708560 h 2146918"/>
              <a:gd name="connsiteX732" fmla="*/ 1840348 w 5521505"/>
              <a:gd name="connsiteY732" fmla="*/ 1708426 h 2146918"/>
              <a:gd name="connsiteX733" fmla="*/ 1840348 w 5521505"/>
              <a:gd name="connsiteY733" fmla="*/ 1708304 h 2146918"/>
              <a:gd name="connsiteX734" fmla="*/ 1840348 w 5521505"/>
              <a:gd name="connsiteY734" fmla="*/ 1708182 h 2146918"/>
              <a:gd name="connsiteX735" fmla="*/ 1840250 w 5521505"/>
              <a:gd name="connsiteY735" fmla="*/ 1707963 h 2146918"/>
              <a:gd name="connsiteX736" fmla="*/ 1840177 w 5521505"/>
              <a:gd name="connsiteY736" fmla="*/ 1707768 h 2146918"/>
              <a:gd name="connsiteX737" fmla="*/ 1840104 w 5521505"/>
              <a:gd name="connsiteY737" fmla="*/ 1707549 h 2146918"/>
              <a:gd name="connsiteX738" fmla="*/ 1840104 w 5521505"/>
              <a:gd name="connsiteY738" fmla="*/ 1707342 h 2146918"/>
              <a:gd name="connsiteX739" fmla="*/ 1840104 w 5521505"/>
              <a:gd name="connsiteY739" fmla="*/ 1707196 h 2146918"/>
              <a:gd name="connsiteX740" fmla="*/ 1840104 w 5521505"/>
              <a:gd name="connsiteY740" fmla="*/ 1707099 h 2146918"/>
              <a:gd name="connsiteX741" fmla="*/ 1840104 w 5521505"/>
              <a:gd name="connsiteY741" fmla="*/ 1706904 h 2146918"/>
              <a:gd name="connsiteX742" fmla="*/ 1840104 w 5521505"/>
              <a:gd name="connsiteY742" fmla="*/ 1706794 h 2146918"/>
              <a:gd name="connsiteX743" fmla="*/ 1840104 w 5521505"/>
              <a:gd name="connsiteY743" fmla="*/ 1706612 h 2146918"/>
              <a:gd name="connsiteX744" fmla="*/ 1840104 w 5521505"/>
              <a:gd name="connsiteY744" fmla="*/ 1706441 h 2146918"/>
              <a:gd name="connsiteX745" fmla="*/ 1840104 w 5521505"/>
              <a:gd name="connsiteY745" fmla="*/ 1706283 h 2146918"/>
              <a:gd name="connsiteX746" fmla="*/ 1840104 w 5521505"/>
              <a:gd name="connsiteY746" fmla="*/ 1706100 h 2146918"/>
              <a:gd name="connsiteX747" fmla="*/ 1839848 w 5521505"/>
              <a:gd name="connsiteY747" fmla="*/ 1706100 h 2146918"/>
              <a:gd name="connsiteX748" fmla="*/ 1839642 w 5521505"/>
              <a:gd name="connsiteY748" fmla="*/ 1706161 h 2146918"/>
              <a:gd name="connsiteX749" fmla="*/ 1839264 w 5521505"/>
              <a:gd name="connsiteY749" fmla="*/ 1706258 h 2146918"/>
              <a:gd name="connsiteX750" fmla="*/ 1838935 w 5521505"/>
              <a:gd name="connsiteY750" fmla="*/ 1706356 h 2146918"/>
              <a:gd name="connsiteX751" fmla="*/ 1838594 w 5521505"/>
              <a:gd name="connsiteY751" fmla="*/ 1706477 h 2146918"/>
              <a:gd name="connsiteX752" fmla="*/ 1838302 w 5521505"/>
              <a:gd name="connsiteY752" fmla="*/ 1706575 h 2146918"/>
              <a:gd name="connsiteX753" fmla="*/ 1838107 w 5521505"/>
              <a:gd name="connsiteY753" fmla="*/ 1706648 h 2146918"/>
              <a:gd name="connsiteX754" fmla="*/ 1837876 w 5521505"/>
              <a:gd name="connsiteY754" fmla="*/ 1706734 h 2146918"/>
              <a:gd name="connsiteX755" fmla="*/ 1837669 w 5521505"/>
              <a:gd name="connsiteY755" fmla="*/ 1706819 h 2146918"/>
              <a:gd name="connsiteX756" fmla="*/ 1837401 w 5521505"/>
              <a:gd name="connsiteY756" fmla="*/ 1706940 h 2146918"/>
              <a:gd name="connsiteX757" fmla="*/ 1837036 w 5521505"/>
              <a:gd name="connsiteY757" fmla="*/ 1707110 h 2146918"/>
              <a:gd name="connsiteX758" fmla="*/ 1836816 w 5521505"/>
              <a:gd name="connsiteY758" fmla="*/ 1707208 h 2146918"/>
              <a:gd name="connsiteX759" fmla="*/ 1836549 w 5521505"/>
              <a:gd name="connsiteY759" fmla="*/ 1707354 h 2146918"/>
              <a:gd name="connsiteX760" fmla="*/ 1836256 w 5521505"/>
              <a:gd name="connsiteY760" fmla="*/ 1707512 h 2146918"/>
              <a:gd name="connsiteX761" fmla="*/ 1836013 w 5521505"/>
              <a:gd name="connsiteY761" fmla="*/ 1707659 h 2146918"/>
              <a:gd name="connsiteX762" fmla="*/ 1835721 w 5521505"/>
              <a:gd name="connsiteY762" fmla="*/ 1707841 h 2146918"/>
              <a:gd name="connsiteX763" fmla="*/ 1835513 w 5521505"/>
              <a:gd name="connsiteY763" fmla="*/ 1707975 h 2146918"/>
              <a:gd name="connsiteX764" fmla="*/ 1835270 w 5521505"/>
              <a:gd name="connsiteY764" fmla="*/ 1708146 h 2146918"/>
              <a:gd name="connsiteX765" fmla="*/ 1835026 w 5521505"/>
              <a:gd name="connsiteY765" fmla="*/ 1708316 h 2146918"/>
              <a:gd name="connsiteX766" fmla="*/ 1834637 w 5521505"/>
              <a:gd name="connsiteY766" fmla="*/ 1708633 h 2146918"/>
              <a:gd name="connsiteX767" fmla="*/ 1834186 w 5521505"/>
              <a:gd name="connsiteY767" fmla="*/ 1709023 h 2146918"/>
              <a:gd name="connsiteX768" fmla="*/ 1833638 w 5521505"/>
              <a:gd name="connsiteY768" fmla="*/ 1709546 h 2146918"/>
              <a:gd name="connsiteX769" fmla="*/ 1833224 w 5521505"/>
              <a:gd name="connsiteY769" fmla="*/ 1709997 h 2146918"/>
              <a:gd name="connsiteX770" fmla="*/ 1832481 w 5521505"/>
              <a:gd name="connsiteY770" fmla="*/ 1710898 h 2146918"/>
              <a:gd name="connsiteX771" fmla="*/ 1832104 w 5521505"/>
              <a:gd name="connsiteY771" fmla="*/ 1711397 h 2146918"/>
              <a:gd name="connsiteX772" fmla="*/ 1831605 w 5521505"/>
              <a:gd name="connsiteY772" fmla="*/ 1712116 h 2146918"/>
              <a:gd name="connsiteX773" fmla="*/ 1830874 w 5521505"/>
              <a:gd name="connsiteY773" fmla="*/ 1713199 h 2146918"/>
              <a:gd name="connsiteX774" fmla="*/ 1830460 w 5521505"/>
              <a:gd name="connsiteY774" fmla="*/ 1713820 h 2146918"/>
              <a:gd name="connsiteX775" fmla="*/ 1829912 w 5521505"/>
              <a:gd name="connsiteY775" fmla="*/ 1714648 h 2146918"/>
              <a:gd name="connsiteX776" fmla="*/ 1829608 w 5521505"/>
              <a:gd name="connsiteY776" fmla="*/ 1715087 h 2146918"/>
              <a:gd name="connsiteX777" fmla="*/ 1829242 w 5521505"/>
              <a:gd name="connsiteY777" fmla="*/ 1715622 h 2146918"/>
              <a:gd name="connsiteX778" fmla="*/ 1828804 w 5521505"/>
              <a:gd name="connsiteY778" fmla="*/ 1716243 h 2146918"/>
              <a:gd name="connsiteX779" fmla="*/ 1828427 w 5521505"/>
              <a:gd name="connsiteY779" fmla="*/ 1716779 h 2146918"/>
              <a:gd name="connsiteX780" fmla="*/ 1828013 w 5521505"/>
              <a:gd name="connsiteY780" fmla="*/ 1717339 h 2146918"/>
              <a:gd name="connsiteX781" fmla="*/ 1827635 w 5521505"/>
              <a:gd name="connsiteY781" fmla="*/ 1717826 h 2146918"/>
              <a:gd name="connsiteX782" fmla="*/ 1827318 w 5521505"/>
              <a:gd name="connsiteY782" fmla="*/ 1718240 h 2146918"/>
              <a:gd name="connsiteX783" fmla="*/ 1826880 w 5521505"/>
              <a:gd name="connsiteY783" fmla="*/ 1718788 h 2146918"/>
              <a:gd name="connsiteX784" fmla="*/ 1826734 w 5521505"/>
              <a:gd name="connsiteY784" fmla="*/ 1718959 h 2146918"/>
              <a:gd name="connsiteX785" fmla="*/ 1826551 w 5521505"/>
              <a:gd name="connsiteY785" fmla="*/ 1719166 h 2146918"/>
              <a:gd name="connsiteX786" fmla="*/ 1826344 w 5521505"/>
              <a:gd name="connsiteY786" fmla="*/ 1719397 h 2146918"/>
              <a:gd name="connsiteX787" fmla="*/ 1826162 w 5521505"/>
              <a:gd name="connsiteY787" fmla="*/ 1719604 h 2146918"/>
              <a:gd name="connsiteX788" fmla="*/ 1826040 w 5521505"/>
              <a:gd name="connsiteY788" fmla="*/ 1719738 h 2146918"/>
              <a:gd name="connsiteX789" fmla="*/ 1825772 w 5521505"/>
              <a:gd name="connsiteY789" fmla="*/ 1720006 h 2146918"/>
              <a:gd name="connsiteX790" fmla="*/ 1825577 w 5521505"/>
              <a:gd name="connsiteY790" fmla="*/ 1720213 h 2146918"/>
              <a:gd name="connsiteX791" fmla="*/ 1825261 w 5521505"/>
              <a:gd name="connsiteY791" fmla="*/ 1720517 h 2146918"/>
              <a:gd name="connsiteX792" fmla="*/ 1825042 w 5521505"/>
              <a:gd name="connsiteY792" fmla="*/ 1720713 h 2146918"/>
              <a:gd name="connsiteX793" fmla="*/ 1824810 w 5521505"/>
              <a:gd name="connsiteY793" fmla="*/ 1720919 h 2146918"/>
              <a:gd name="connsiteX794" fmla="*/ 1824652 w 5521505"/>
              <a:gd name="connsiteY794" fmla="*/ 1721053 h 2146918"/>
              <a:gd name="connsiteX795" fmla="*/ 1824408 w 5521505"/>
              <a:gd name="connsiteY795" fmla="*/ 1721248 h 2146918"/>
              <a:gd name="connsiteX796" fmla="*/ 1824128 w 5521505"/>
              <a:gd name="connsiteY796" fmla="*/ 1721455 h 2146918"/>
              <a:gd name="connsiteX797" fmla="*/ 1823872 w 5521505"/>
              <a:gd name="connsiteY797" fmla="*/ 1721650 h 2146918"/>
              <a:gd name="connsiteX798" fmla="*/ 1823568 w 5521505"/>
              <a:gd name="connsiteY798" fmla="*/ 1721857 h 2146918"/>
              <a:gd name="connsiteX799" fmla="*/ 1823300 w 5521505"/>
              <a:gd name="connsiteY799" fmla="*/ 1722027 h 2146918"/>
              <a:gd name="connsiteX800" fmla="*/ 1823069 w 5521505"/>
              <a:gd name="connsiteY800" fmla="*/ 1722161 h 2146918"/>
              <a:gd name="connsiteX801" fmla="*/ 1822837 w 5521505"/>
              <a:gd name="connsiteY801" fmla="*/ 1722295 h 2146918"/>
              <a:gd name="connsiteX802" fmla="*/ 1822691 w 5521505"/>
              <a:gd name="connsiteY802" fmla="*/ 1722368 h 2146918"/>
              <a:gd name="connsiteX803" fmla="*/ 1822533 w 5521505"/>
              <a:gd name="connsiteY803" fmla="*/ 1722442 h 2146918"/>
              <a:gd name="connsiteX804" fmla="*/ 1822326 w 5521505"/>
              <a:gd name="connsiteY804" fmla="*/ 1722551 h 2146918"/>
              <a:gd name="connsiteX805" fmla="*/ 1822180 w 5521505"/>
              <a:gd name="connsiteY805" fmla="*/ 1722624 h 2146918"/>
              <a:gd name="connsiteX806" fmla="*/ 1821875 w 5521505"/>
              <a:gd name="connsiteY806" fmla="*/ 1722758 h 2146918"/>
              <a:gd name="connsiteX807" fmla="*/ 1821559 w 5521505"/>
              <a:gd name="connsiteY807" fmla="*/ 1722892 h 2146918"/>
              <a:gd name="connsiteX808" fmla="*/ 1821230 w 5521505"/>
              <a:gd name="connsiteY808" fmla="*/ 1723013 h 2146918"/>
              <a:gd name="connsiteX809" fmla="*/ 1820877 w 5521505"/>
              <a:gd name="connsiteY809" fmla="*/ 1723148 h 2146918"/>
              <a:gd name="connsiteX810" fmla="*/ 1820000 w 5521505"/>
              <a:gd name="connsiteY810" fmla="*/ 1723415 h 2146918"/>
              <a:gd name="connsiteX811" fmla="*/ 1819696 w 5521505"/>
              <a:gd name="connsiteY811" fmla="*/ 1723500 h 2146918"/>
              <a:gd name="connsiteX812" fmla="*/ 1818965 w 5521505"/>
              <a:gd name="connsiteY812" fmla="*/ 1723684 h 2146918"/>
              <a:gd name="connsiteX813" fmla="*/ 1818186 w 5521505"/>
              <a:gd name="connsiteY813" fmla="*/ 1723854 h 2146918"/>
              <a:gd name="connsiteX814" fmla="*/ 1817638 w 5521505"/>
              <a:gd name="connsiteY814" fmla="*/ 1723964 h 2146918"/>
              <a:gd name="connsiteX815" fmla="*/ 1816773 w 5521505"/>
              <a:gd name="connsiteY815" fmla="*/ 1724122 h 2146918"/>
              <a:gd name="connsiteX816" fmla="*/ 1816006 w 5521505"/>
              <a:gd name="connsiteY816" fmla="*/ 1724244 h 2146918"/>
              <a:gd name="connsiteX817" fmla="*/ 1815203 w 5521505"/>
              <a:gd name="connsiteY817" fmla="*/ 1724366 h 2146918"/>
              <a:gd name="connsiteX818" fmla="*/ 1814594 w 5521505"/>
              <a:gd name="connsiteY818" fmla="*/ 1724462 h 2146918"/>
              <a:gd name="connsiteX819" fmla="*/ 1813973 w 5521505"/>
              <a:gd name="connsiteY819" fmla="*/ 1724548 h 2146918"/>
              <a:gd name="connsiteX820" fmla="*/ 1813218 w 5521505"/>
              <a:gd name="connsiteY820" fmla="*/ 1724646 h 2146918"/>
              <a:gd name="connsiteX821" fmla="*/ 1812609 w 5521505"/>
              <a:gd name="connsiteY821" fmla="*/ 1724731 h 2146918"/>
              <a:gd name="connsiteX822" fmla="*/ 1811927 w 5521505"/>
              <a:gd name="connsiteY822" fmla="*/ 1724816 h 2146918"/>
              <a:gd name="connsiteX823" fmla="*/ 1811050 w 5521505"/>
              <a:gd name="connsiteY823" fmla="*/ 1724938 h 2146918"/>
              <a:gd name="connsiteX824" fmla="*/ 1810295 w 5521505"/>
              <a:gd name="connsiteY824" fmla="*/ 1725023 h 2146918"/>
              <a:gd name="connsiteX825" fmla="*/ 1809479 w 5521505"/>
              <a:gd name="connsiteY825" fmla="*/ 1725120 h 2146918"/>
              <a:gd name="connsiteX826" fmla="*/ 1808968 w 5521505"/>
              <a:gd name="connsiteY826" fmla="*/ 1725120 h 2146918"/>
              <a:gd name="connsiteX827" fmla="*/ 1808408 w 5521505"/>
              <a:gd name="connsiteY827" fmla="*/ 1725120 h 2146918"/>
              <a:gd name="connsiteX828" fmla="*/ 1807726 w 5521505"/>
              <a:gd name="connsiteY828" fmla="*/ 1725120 h 2146918"/>
              <a:gd name="connsiteX829" fmla="*/ 1806983 w 5521505"/>
              <a:gd name="connsiteY829" fmla="*/ 1725120 h 2146918"/>
              <a:gd name="connsiteX830" fmla="*/ 1806179 w 5521505"/>
              <a:gd name="connsiteY830" fmla="*/ 1725120 h 2146918"/>
              <a:gd name="connsiteX831" fmla="*/ 1805108 w 5521505"/>
              <a:gd name="connsiteY831" fmla="*/ 1725120 h 2146918"/>
              <a:gd name="connsiteX832" fmla="*/ 1804097 w 5521505"/>
              <a:gd name="connsiteY832" fmla="*/ 1725120 h 2146918"/>
              <a:gd name="connsiteX833" fmla="*/ 1803318 w 5521505"/>
              <a:gd name="connsiteY833" fmla="*/ 1725059 h 2146918"/>
              <a:gd name="connsiteX834" fmla="*/ 1802441 w 5521505"/>
              <a:gd name="connsiteY834" fmla="*/ 1724962 h 2146918"/>
              <a:gd name="connsiteX835" fmla="*/ 1801504 w 5521505"/>
              <a:gd name="connsiteY835" fmla="*/ 1724853 h 2146918"/>
              <a:gd name="connsiteX836" fmla="*/ 1800481 w 5521505"/>
              <a:gd name="connsiteY836" fmla="*/ 1724706 h 2146918"/>
              <a:gd name="connsiteX837" fmla="*/ 1799202 w 5521505"/>
              <a:gd name="connsiteY837" fmla="*/ 1724499 h 2146918"/>
              <a:gd name="connsiteX838" fmla="*/ 1798167 w 5521505"/>
              <a:gd name="connsiteY838" fmla="*/ 1724317 h 2146918"/>
              <a:gd name="connsiteX839" fmla="*/ 1797412 w 5521505"/>
              <a:gd name="connsiteY839" fmla="*/ 1724171 h 2146918"/>
              <a:gd name="connsiteX840" fmla="*/ 1796499 w 5521505"/>
              <a:gd name="connsiteY840" fmla="*/ 1723988 h 2146918"/>
              <a:gd name="connsiteX841" fmla="*/ 1795634 w 5521505"/>
              <a:gd name="connsiteY841" fmla="*/ 1723817 h 2146918"/>
              <a:gd name="connsiteX842" fmla="*/ 1794672 w 5521505"/>
              <a:gd name="connsiteY842" fmla="*/ 1723635 h 2146918"/>
              <a:gd name="connsiteX843" fmla="*/ 1793942 w 5521505"/>
              <a:gd name="connsiteY843" fmla="*/ 1723489 h 2146918"/>
              <a:gd name="connsiteX844" fmla="*/ 1793114 w 5521505"/>
              <a:gd name="connsiteY844" fmla="*/ 1723342 h 2146918"/>
              <a:gd name="connsiteX845" fmla="*/ 1791713 w 5521505"/>
              <a:gd name="connsiteY845" fmla="*/ 1723099 h 2146918"/>
              <a:gd name="connsiteX846" fmla="*/ 1791165 w 5521505"/>
              <a:gd name="connsiteY846" fmla="*/ 1723013 h 2146918"/>
              <a:gd name="connsiteX847" fmla="*/ 1790325 w 5521505"/>
              <a:gd name="connsiteY847" fmla="*/ 1722892 h 2146918"/>
              <a:gd name="connsiteX848" fmla="*/ 1789205 w 5521505"/>
              <a:gd name="connsiteY848" fmla="*/ 1722758 h 2146918"/>
              <a:gd name="connsiteX849" fmla="*/ 1788730 w 5521505"/>
              <a:gd name="connsiteY849" fmla="*/ 1722758 h 2146918"/>
              <a:gd name="connsiteX850" fmla="*/ 1787683 w 5521505"/>
              <a:gd name="connsiteY850" fmla="*/ 1722673 h 2146918"/>
              <a:gd name="connsiteX851" fmla="*/ 1786891 w 5521505"/>
              <a:gd name="connsiteY851" fmla="*/ 1722673 h 2146918"/>
              <a:gd name="connsiteX852" fmla="*/ 1786624 w 5521505"/>
              <a:gd name="connsiteY852" fmla="*/ 1722673 h 2146918"/>
              <a:gd name="connsiteX853" fmla="*/ 1786404 w 5521505"/>
              <a:gd name="connsiteY853" fmla="*/ 1722539 h 2146918"/>
              <a:gd name="connsiteX854" fmla="*/ 1786404 w 5521505"/>
              <a:gd name="connsiteY854" fmla="*/ 1722539 h 2146918"/>
              <a:gd name="connsiteX855" fmla="*/ 1786185 w 5521505"/>
              <a:gd name="connsiteY855" fmla="*/ 1722295 h 2146918"/>
              <a:gd name="connsiteX856" fmla="*/ 1785905 w 5521505"/>
              <a:gd name="connsiteY856" fmla="*/ 1721991 h 2146918"/>
              <a:gd name="connsiteX857" fmla="*/ 1785710 w 5521505"/>
              <a:gd name="connsiteY857" fmla="*/ 1721796 h 2146918"/>
              <a:gd name="connsiteX858" fmla="*/ 1785467 w 5521505"/>
              <a:gd name="connsiteY858" fmla="*/ 1721553 h 2146918"/>
              <a:gd name="connsiteX859" fmla="*/ 1784846 w 5521505"/>
              <a:gd name="connsiteY859" fmla="*/ 1720968 h 2146918"/>
              <a:gd name="connsiteX860" fmla="*/ 1784371 w 5521505"/>
              <a:gd name="connsiteY860" fmla="*/ 1720566 h 2146918"/>
              <a:gd name="connsiteX861" fmla="*/ 1783689 w 5521505"/>
              <a:gd name="connsiteY861" fmla="*/ 1720006 h 2146918"/>
              <a:gd name="connsiteX862" fmla="*/ 1783117 w 5521505"/>
              <a:gd name="connsiteY862" fmla="*/ 1719580 h 2146918"/>
              <a:gd name="connsiteX863" fmla="*/ 1782349 w 5521505"/>
              <a:gd name="connsiteY863" fmla="*/ 1719032 h 2146918"/>
              <a:gd name="connsiteX864" fmla="*/ 1781838 w 5521505"/>
              <a:gd name="connsiteY864" fmla="*/ 1718691 h 2146918"/>
              <a:gd name="connsiteX865" fmla="*/ 1781071 w 5521505"/>
              <a:gd name="connsiteY865" fmla="*/ 1718216 h 2146918"/>
              <a:gd name="connsiteX866" fmla="*/ 1780450 w 5521505"/>
              <a:gd name="connsiteY866" fmla="*/ 1717851 h 2146918"/>
              <a:gd name="connsiteX867" fmla="*/ 1779403 w 5521505"/>
              <a:gd name="connsiteY867" fmla="*/ 1717278 h 2146918"/>
              <a:gd name="connsiteX868" fmla="*/ 1778769 w 5521505"/>
              <a:gd name="connsiteY868" fmla="*/ 1716949 h 2146918"/>
              <a:gd name="connsiteX869" fmla="*/ 1777381 w 5521505"/>
              <a:gd name="connsiteY869" fmla="*/ 1716292 h 2146918"/>
              <a:gd name="connsiteX870" fmla="*/ 1776164 w 5521505"/>
              <a:gd name="connsiteY870" fmla="*/ 1715744 h 2146918"/>
              <a:gd name="connsiteX871" fmla="*/ 1774775 w 5521505"/>
              <a:gd name="connsiteY871" fmla="*/ 1715184 h 2146918"/>
              <a:gd name="connsiteX872" fmla="*/ 1773205 w 5521505"/>
              <a:gd name="connsiteY872" fmla="*/ 1714600 h 2146918"/>
              <a:gd name="connsiteX873" fmla="*/ 1772121 w 5521505"/>
              <a:gd name="connsiteY873" fmla="*/ 1714222 h 2146918"/>
              <a:gd name="connsiteX874" fmla="*/ 1771573 w 5521505"/>
              <a:gd name="connsiteY874" fmla="*/ 1714040 h 2146918"/>
              <a:gd name="connsiteX875" fmla="*/ 1770355 w 5521505"/>
              <a:gd name="connsiteY875" fmla="*/ 1713638 h 2146918"/>
              <a:gd name="connsiteX876" fmla="*/ 1769856 w 5521505"/>
              <a:gd name="connsiteY876" fmla="*/ 1713479 h 2146918"/>
              <a:gd name="connsiteX877" fmla="*/ 1769077 w 5521505"/>
              <a:gd name="connsiteY877" fmla="*/ 1713236 h 2146918"/>
              <a:gd name="connsiteX878" fmla="*/ 1767956 w 5521505"/>
              <a:gd name="connsiteY878" fmla="*/ 1712883 h 2146918"/>
              <a:gd name="connsiteX879" fmla="*/ 1766739 w 5521505"/>
              <a:gd name="connsiteY879" fmla="*/ 1712529 h 2146918"/>
              <a:gd name="connsiteX880" fmla="*/ 1765898 w 5521505"/>
              <a:gd name="connsiteY880" fmla="*/ 1712261 h 2146918"/>
              <a:gd name="connsiteX881" fmla="*/ 1765071 w 5521505"/>
              <a:gd name="connsiteY881" fmla="*/ 1712018 h 2146918"/>
              <a:gd name="connsiteX882" fmla="*/ 1764340 w 5521505"/>
              <a:gd name="connsiteY882" fmla="*/ 1711799 h 2146918"/>
              <a:gd name="connsiteX883" fmla="*/ 1763634 w 5521505"/>
              <a:gd name="connsiteY883" fmla="*/ 1711580 h 2146918"/>
              <a:gd name="connsiteX884" fmla="*/ 1763061 w 5521505"/>
              <a:gd name="connsiteY884" fmla="*/ 1711409 h 2146918"/>
              <a:gd name="connsiteX885" fmla="*/ 1762416 w 5521505"/>
              <a:gd name="connsiteY885" fmla="*/ 1711214 h 2146918"/>
              <a:gd name="connsiteX886" fmla="*/ 1761466 w 5521505"/>
              <a:gd name="connsiteY886" fmla="*/ 1710910 h 2146918"/>
              <a:gd name="connsiteX887" fmla="*/ 1760784 w 5521505"/>
              <a:gd name="connsiteY887" fmla="*/ 1710691 h 2146918"/>
              <a:gd name="connsiteX888" fmla="*/ 1759725 w 5521505"/>
              <a:gd name="connsiteY888" fmla="*/ 1710350 h 2146918"/>
              <a:gd name="connsiteX889" fmla="*/ 1758812 w 5521505"/>
              <a:gd name="connsiteY889" fmla="*/ 1710033 h 2146918"/>
              <a:gd name="connsiteX890" fmla="*/ 1757923 w 5521505"/>
              <a:gd name="connsiteY890" fmla="*/ 1709729 h 2146918"/>
              <a:gd name="connsiteX891" fmla="*/ 1757107 w 5521505"/>
              <a:gd name="connsiteY891" fmla="*/ 1709436 h 2146918"/>
              <a:gd name="connsiteX892" fmla="*/ 1756340 w 5521505"/>
              <a:gd name="connsiteY892" fmla="*/ 1709144 h 2146918"/>
              <a:gd name="connsiteX893" fmla="*/ 1755621 w 5521505"/>
              <a:gd name="connsiteY893" fmla="*/ 1708864 h 2146918"/>
              <a:gd name="connsiteX894" fmla="*/ 1754513 w 5521505"/>
              <a:gd name="connsiteY894" fmla="*/ 1708401 h 2146918"/>
              <a:gd name="connsiteX895" fmla="*/ 1753953 w 5521505"/>
              <a:gd name="connsiteY895" fmla="*/ 1708170 h 2146918"/>
              <a:gd name="connsiteX896" fmla="*/ 1753356 w 5521505"/>
              <a:gd name="connsiteY896" fmla="*/ 1707902 h 2146918"/>
              <a:gd name="connsiteX897" fmla="*/ 1752796 w 5521505"/>
              <a:gd name="connsiteY897" fmla="*/ 1707634 h 2146918"/>
              <a:gd name="connsiteX898" fmla="*/ 1752151 w 5521505"/>
              <a:gd name="connsiteY898" fmla="*/ 1707330 h 2146918"/>
              <a:gd name="connsiteX899" fmla="*/ 1751481 w 5521505"/>
              <a:gd name="connsiteY899" fmla="*/ 1706977 h 2146918"/>
              <a:gd name="connsiteX900" fmla="*/ 1750714 w 5521505"/>
              <a:gd name="connsiteY900" fmla="*/ 1706563 h 2146918"/>
              <a:gd name="connsiteX901" fmla="*/ 1750056 w 5521505"/>
              <a:gd name="connsiteY901" fmla="*/ 1706197 h 2146918"/>
              <a:gd name="connsiteX902" fmla="*/ 1749423 w 5521505"/>
              <a:gd name="connsiteY902" fmla="*/ 1705808 h 2146918"/>
              <a:gd name="connsiteX903" fmla="*/ 1748875 w 5521505"/>
              <a:gd name="connsiteY903" fmla="*/ 1705455 h 2146918"/>
              <a:gd name="connsiteX904" fmla="*/ 1748230 w 5521505"/>
              <a:gd name="connsiteY904" fmla="*/ 1705016 h 2146918"/>
              <a:gd name="connsiteX905" fmla="*/ 1747999 w 5521505"/>
              <a:gd name="connsiteY905" fmla="*/ 1704846 h 2146918"/>
              <a:gd name="connsiteX906" fmla="*/ 1747767 w 5521505"/>
              <a:gd name="connsiteY906" fmla="*/ 1704675 h 2146918"/>
              <a:gd name="connsiteX907" fmla="*/ 1747584 w 5521505"/>
              <a:gd name="connsiteY907" fmla="*/ 1704541 h 2146918"/>
              <a:gd name="connsiteX908" fmla="*/ 1747390 w 5521505"/>
              <a:gd name="connsiteY908" fmla="*/ 1704395 h 2146918"/>
              <a:gd name="connsiteX909" fmla="*/ 1747170 w 5521505"/>
              <a:gd name="connsiteY909" fmla="*/ 1704225 h 2146918"/>
              <a:gd name="connsiteX910" fmla="*/ 1746890 w 5521505"/>
              <a:gd name="connsiteY910" fmla="*/ 1704006 h 2146918"/>
              <a:gd name="connsiteX911" fmla="*/ 1746586 w 5521505"/>
              <a:gd name="connsiteY911" fmla="*/ 1703750 h 2146918"/>
              <a:gd name="connsiteX912" fmla="*/ 1746282 w 5521505"/>
              <a:gd name="connsiteY912" fmla="*/ 1703519 h 2146918"/>
              <a:gd name="connsiteX913" fmla="*/ 1746050 w 5521505"/>
              <a:gd name="connsiteY913" fmla="*/ 1703372 h 2146918"/>
              <a:gd name="connsiteX914" fmla="*/ 1745758 w 5521505"/>
              <a:gd name="connsiteY914" fmla="*/ 1703202 h 2146918"/>
              <a:gd name="connsiteX915" fmla="*/ 1745295 w 5521505"/>
              <a:gd name="connsiteY915" fmla="*/ 1702970 h 2146918"/>
              <a:gd name="connsiteX916" fmla="*/ 1745027 w 5521505"/>
              <a:gd name="connsiteY916" fmla="*/ 1702837 h 2146918"/>
              <a:gd name="connsiteX917" fmla="*/ 1744674 w 5521505"/>
              <a:gd name="connsiteY917" fmla="*/ 1702654 h 2146918"/>
              <a:gd name="connsiteX918" fmla="*/ 1744333 w 5521505"/>
              <a:gd name="connsiteY918" fmla="*/ 1702484 h 2146918"/>
              <a:gd name="connsiteX919" fmla="*/ 1744029 w 5521505"/>
              <a:gd name="connsiteY919" fmla="*/ 1702325 h 2146918"/>
              <a:gd name="connsiteX920" fmla="*/ 1743797 w 5521505"/>
              <a:gd name="connsiteY920" fmla="*/ 1702179 h 2146918"/>
              <a:gd name="connsiteX921" fmla="*/ 1743603 w 5521505"/>
              <a:gd name="connsiteY921" fmla="*/ 1702045 h 2146918"/>
              <a:gd name="connsiteX922" fmla="*/ 1743444 w 5521505"/>
              <a:gd name="connsiteY922" fmla="*/ 1701911 h 2146918"/>
              <a:gd name="connsiteX923" fmla="*/ 1743298 w 5521505"/>
              <a:gd name="connsiteY923" fmla="*/ 1701790 h 2146918"/>
              <a:gd name="connsiteX924" fmla="*/ 1743128 w 5521505"/>
              <a:gd name="connsiteY924" fmla="*/ 1701595 h 2146918"/>
              <a:gd name="connsiteX925" fmla="*/ 1743128 w 5521505"/>
              <a:gd name="connsiteY925" fmla="*/ 1701510 h 2146918"/>
              <a:gd name="connsiteX926" fmla="*/ 1743055 w 5521505"/>
              <a:gd name="connsiteY926" fmla="*/ 1701375 h 2146918"/>
              <a:gd name="connsiteX927" fmla="*/ 1743055 w 5521505"/>
              <a:gd name="connsiteY927" fmla="*/ 1701241 h 2146918"/>
              <a:gd name="connsiteX928" fmla="*/ 1743055 w 5521505"/>
              <a:gd name="connsiteY928" fmla="*/ 1701095 h 2146918"/>
              <a:gd name="connsiteX929" fmla="*/ 1743055 w 5521505"/>
              <a:gd name="connsiteY929" fmla="*/ 1700864 h 2146918"/>
              <a:gd name="connsiteX930" fmla="*/ 1742945 w 5521505"/>
              <a:gd name="connsiteY930" fmla="*/ 1700364 h 2146918"/>
              <a:gd name="connsiteX931" fmla="*/ 1742836 w 5521505"/>
              <a:gd name="connsiteY931" fmla="*/ 1699926 h 2146918"/>
              <a:gd name="connsiteX932" fmla="*/ 1742653 w 5521505"/>
              <a:gd name="connsiteY932" fmla="*/ 1699281 h 2146918"/>
              <a:gd name="connsiteX933" fmla="*/ 1742373 w 5521505"/>
              <a:gd name="connsiteY933" fmla="*/ 1698538 h 2146918"/>
              <a:gd name="connsiteX934" fmla="*/ 1742093 w 5521505"/>
              <a:gd name="connsiteY934" fmla="*/ 1697917 h 2146918"/>
              <a:gd name="connsiteX935" fmla="*/ 1741898 w 5521505"/>
              <a:gd name="connsiteY935" fmla="*/ 1697540 h 2146918"/>
              <a:gd name="connsiteX936" fmla="*/ 1741715 w 5521505"/>
              <a:gd name="connsiteY936" fmla="*/ 1697199 h 2146918"/>
              <a:gd name="connsiteX937" fmla="*/ 1741472 w 5521505"/>
              <a:gd name="connsiteY937" fmla="*/ 1696797 h 2146918"/>
              <a:gd name="connsiteX938" fmla="*/ 1741253 w 5521505"/>
              <a:gd name="connsiteY938" fmla="*/ 1696468 h 2146918"/>
              <a:gd name="connsiteX939" fmla="*/ 1740826 w 5521505"/>
              <a:gd name="connsiteY939" fmla="*/ 1695871 h 2146918"/>
              <a:gd name="connsiteX940" fmla="*/ 1740242 w 5521505"/>
              <a:gd name="connsiteY940" fmla="*/ 1695189 h 2146918"/>
              <a:gd name="connsiteX941" fmla="*/ 1739767 w 5521505"/>
              <a:gd name="connsiteY941" fmla="*/ 1694690 h 2146918"/>
              <a:gd name="connsiteX942" fmla="*/ 1739316 w 5521505"/>
              <a:gd name="connsiteY942" fmla="*/ 1694252 h 2146918"/>
              <a:gd name="connsiteX943" fmla="*/ 1738866 w 5521505"/>
              <a:gd name="connsiteY943" fmla="*/ 1693850 h 2146918"/>
              <a:gd name="connsiteX944" fmla="*/ 1738562 w 5521505"/>
              <a:gd name="connsiteY944" fmla="*/ 1693595 h 2146918"/>
              <a:gd name="connsiteX945" fmla="*/ 1738306 w 5521505"/>
              <a:gd name="connsiteY945" fmla="*/ 1693387 h 2146918"/>
              <a:gd name="connsiteX946" fmla="*/ 1738135 w 5521505"/>
              <a:gd name="connsiteY946" fmla="*/ 1693253 h 2146918"/>
              <a:gd name="connsiteX947" fmla="*/ 1737831 w 5521505"/>
              <a:gd name="connsiteY947" fmla="*/ 1693035 h 2146918"/>
              <a:gd name="connsiteX948" fmla="*/ 1737551 w 5521505"/>
              <a:gd name="connsiteY948" fmla="*/ 1692827 h 2146918"/>
              <a:gd name="connsiteX949" fmla="*/ 1737271 w 5521505"/>
              <a:gd name="connsiteY949" fmla="*/ 1692620 h 2146918"/>
              <a:gd name="connsiteX950" fmla="*/ 1736662 w 5521505"/>
              <a:gd name="connsiteY950" fmla="*/ 1692218 h 2146918"/>
              <a:gd name="connsiteX951" fmla="*/ 1735810 w 5521505"/>
              <a:gd name="connsiteY951" fmla="*/ 1691682 h 2146918"/>
              <a:gd name="connsiteX952" fmla="*/ 1734762 w 5521505"/>
              <a:gd name="connsiteY952" fmla="*/ 1691086 h 2146918"/>
              <a:gd name="connsiteX953" fmla="*/ 1733934 w 5521505"/>
              <a:gd name="connsiteY953" fmla="*/ 1690647 h 2146918"/>
              <a:gd name="connsiteX954" fmla="*/ 1733045 w 5521505"/>
              <a:gd name="connsiteY954" fmla="*/ 1690185 h 2146918"/>
              <a:gd name="connsiteX955" fmla="*/ 1731487 w 5521505"/>
              <a:gd name="connsiteY955" fmla="*/ 1689418 h 2146918"/>
              <a:gd name="connsiteX956" fmla="*/ 1730001 w 5521505"/>
              <a:gd name="connsiteY956" fmla="*/ 1688711 h 2146918"/>
              <a:gd name="connsiteX957" fmla="*/ 1728783 w 5521505"/>
              <a:gd name="connsiteY957" fmla="*/ 1688139 h 2146918"/>
              <a:gd name="connsiteX958" fmla="*/ 1727992 w 5521505"/>
              <a:gd name="connsiteY958" fmla="*/ 1687762 h 2146918"/>
              <a:gd name="connsiteX959" fmla="*/ 1727359 w 5521505"/>
              <a:gd name="connsiteY959" fmla="*/ 1687445 h 2146918"/>
              <a:gd name="connsiteX960" fmla="*/ 1726141 w 5521505"/>
              <a:gd name="connsiteY960" fmla="*/ 1686824 h 2146918"/>
              <a:gd name="connsiteX961" fmla="*/ 1724205 w 5521505"/>
              <a:gd name="connsiteY961" fmla="*/ 1685716 h 2146918"/>
              <a:gd name="connsiteX962" fmla="*/ 1722829 w 5521505"/>
              <a:gd name="connsiteY962" fmla="*/ 1684815 h 2146918"/>
              <a:gd name="connsiteX963" fmla="*/ 1721380 w 5521505"/>
              <a:gd name="connsiteY963" fmla="*/ 1683719 h 2146918"/>
              <a:gd name="connsiteX964" fmla="*/ 1719042 w 5521505"/>
              <a:gd name="connsiteY964" fmla="*/ 1681929 h 2146918"/>
              <a:gd name="connsiteX965" fmla="*/ 1716996 w 5521505"/>
              <a:gd name="connsiteY965" fmla="*/ 1680334 h 2146918"/>
              <a:gd name="connsiteX966" fmla="*/ 1714147 w 5521505"/>
              <a:gd name="connsiteY966" fmla="*/ 1678118 h 2146918"/>
              <a:gd name="connsiteX967" fmla="*/ 1712929 w 5521505"/>
              <a:gd name="connsiteY967" fmla="*/ 1677156 h 2146918"/>
              <a:gd name="connsiteX968" fmla="*/ 1711639 w 5521505"/>
              <a:gd name="connsiteY968" fmla="*/ 1676133 h 2146918"/>
              <a:gd name="connsiteX969" fmla="*/ 1710421 w 5521505"/>
              <a:gd name="connsiteY969" fmla="*/ 1675183 h 2146918"/>
              <a:gd name="connsiteX970" fmla="*/ 1709702 w 5521505"/>
              <a:gd name="connsiteY970" fmla="*/ 1674611 h 2146918"/>
              <a:gd name="connsiteX971" fmla="*/ 1709313 w 5521505"/>
              <a:gd name="connsiteY971" fmla="*/ 1674221 h 2146918"/>
              <a:gd name="connsiteX972" fmla="*/ 1708436 w 5521505"/>
              <a:gd name="connsiteY972" fmla="*/ 1672821 h 2146918"/>
              <a:gd name="connsiteX973" fmla="*/ 1707851 w 5521505"/>
              <a:gd name="connsiteY973" fmla="*/ 1672090 h 2146918"/>
              <a:gd name="connsiteX974" fmla="*/ 1707048 w 5521505"/>
              <a:gd name="connsiteY974" fmla="*/ 1671311 h 2146918"/>
              <a:gd name="connsiteX975" fmla="*/ 1701544 w 5521505"/>
              <a:gd name="connsiteY975" fmla="*/ 1665855 h 2146918"/>
              <a:gd name="connsiteX976" fmla="*/ 1695212 w 5521505"/>
              <a:gd name="connsiteY976" fmla="*/ 1659670 h 2146918"/>
              <a:gd name="connsiteX977" fmla="*/ 1692776 w 5521505"/>
              <a:gd name="connsiteY977" fmla="*/ 1657332 h 2146918"/>
              <a:gd name="connsiteX978" fmla="*/ 1690244 w 5521505"/>
              <a:gd name="connsiteY978" fmla="*/ 1655018 h 2146918"/>
              <a:gd name="connsiteX979" fmla="*/ 1687528 w 5521505"/>
              <a:gd name="connsiteY979" fmla="*/ 1652583 h 2146918"/>
              <a:gd name="connsiteX980" fmla="*/ 1684119 w 5521505"/>
              <a:gd name="connsiteY980" fmla="*/ 1650147 h 2146918"/>
              <a:gd name="connsiteX981" fmla="*/ 1678396 w 5521505"/>
              <a:gd name="connsiteY981" fmla="*/ 1649709 h 2146918"/>
              <a:gd name="connsiteX982" fmla="*/ 1674292 w 5521505"/>
              <a:gd name="connsiteY982" fmla="*/ 1651450 h 2146918"/>
              <a:gd name="connsiteX983" fmla="*/ 1670554 w 5521505"/>
              <a:gd name="connsiteY983" fmla="*/ 1653058 h 2146918"/>
              <a:gd name="connsiteX984" fmla="*/ 1666669 w 5521505"/>
              <a:gd name="connsiteY984" fmla="*/ 1652705 h 2146918"/>
              <a:gd name="connsiteX985" fmla="*/ 1663540 w 5521505"/>
              <a:gd name="connsiteY985" fmla="*/ 1651073 h 2146918"/>
              <a:gd name="connsiteX986" fmla="*/ 1661007 w 5521505"/>
              <a:gd name="connsiteY986" fmla="*/ 1649064 h 2146918"/>
              <a:gd name="connsiteX987" fmla="*/ 1658060 w 5521505"/>
              <a:gd name="connsiteY987" fmla="*/ 1646458 h 2146918"/>
              <a:gd name="connsiteX988" fmla="*/ 1654590 w 5521505"/>
              <a:gd name="connsiteY988" fmla="*/ 1643304 h 2146918"/>
              <a:gd name="connsiteX989" fmla="*/ 1650937 w 5521505"/>
              <a:gd name="connsiteY989" fmla="*/ 1639919 h 2146918"/>
              <a:gd name="connsiteX990" fmla="*/ 1646468 w 5521505"/>
              <a:gd name="connsiteY990" fmla="*/ 1635986 h 2146918"/>
              <a:gd name="connsiteX991" fmla="*/ 1643034 w 5521505"/>
              <a:gd name="connsiteY991" fmla="*/ 1633185 h 2146918"/>
              <a:gd name="connsiteX992" fmla="*/ 1639649 w 5521505"/>
              <a:gd name="connsiteY992" fmla="*/ 1630591 h 2146918"/>
              <a:gd name="connsiteX993" fmla="*/ 1635314 w 5521505"/>
              <a:gd name="connsiteY993" fmla="*/ 1627474 h 2146918"/>
              <a:gd name="connsiteX994" fmla="*/ 1632501 w 5521505"/>
              <a:gd name="connsiteY994" fmla="*/ 1625538 h 2146918"/>
              <a:gd name="connsiteX995" fmla="*/ 1629968 w 5521505"/>
              <a:gd name="connsiteY995" fmla="*/ 1623833 h 2146918"/>
              <a:gd name="connsiteX996" fmla="*/ 1629128 w 5521505"/>
              <a:gd name="connsiteY996" fmla="*/ 1623273 h 2146918"/>
              <a:gd name="connsiteX997" fmla="*/ 1628044 w 5521505"/>
              <a:gd name="connsiteY997" fmla="*/ 1622555 h 2146918"/>
              <a:gd name="connsiteX998" fmla="*/ 1626827 w 5521505"/>
              <a:gd name="connsiteY998" fmla="*/ 1621727 h 2146918"/>
              <a:gd name="connsiteX999" fmla="*/ 1625767 w 5521505"/>
              <a:gd name="connsiteY999" fmla="*/ 1621045 h 2146918"/>
              <a:gd name="connsiteX1000" fmla="*/ 1624854 w 5521505"/>
              <a:gd name="connsiteY1000" fmla="*/ 1620521 h 2146918"/>
              <a:gd name="connsiteX1001" fmla="*/ 1624099 w 5521505"/>
              <a:gd name="connsiteY1001" fmla="*/ 1620083 h 2146918"/>
              <a:gd name="connsiteX1002" fmla="*/ 1623259 w 5521505"/>
              <a:gd name="connsiteY1002" fmla="*/ 1619498 h 2146918"/>
              <a:gd name="connsiteX1003" fmla="*/ 1622674 w 5521505"/>
              <a:gd name="connsiteY1003" fmla="*/ 1618950 h 2146918"/>
              <a:gd name="connsiteX1004" fmla="*/ 1622139 w 5521505"/>
              <a:gd name="connsiteY1004" fmla="*/ 1618037 h 2146918"/>
              <a:gd name="connsiteX1005" fmla="*/ 1621993 w 5521505"/>
              <a:gd name="connsiteY1005" fmla="*/ 1616953 h 2146918"/>
              <a:gd name="connsiteX1006" fmla="*/ 1622200 w 5521505"/>
              <a:gd name="connsiteY1006" fmla="*/ 1615735 h 2146918"/>
              <a:gd name="connsiteX1007" fmla="*/ 1622577 w 5521505"/>
              <a:gd name="connsiteY1007" fmla="*/ 1614372 h 2146918"/>
              <a:gd name="connsiteX1008" fmla="*/ 1622772 w 5521505"/>
              <a:gd name="connsiteY1008" fmla="*/ 1612619 h 2146918"/>
              <a:gd name="connsiteX1009" fmla="*/ 1622662 w 5521505"/>
              <a:gd name="connsiteY1009" fmla="*/ 1611108 h 2146918"/>
              <a:gd name="connsiteX1010" fmla="*/ 1622285 w 5521505"/>
              <a:gd name="connsiteY1010" fmla="*/ 1609659 h 2146918"/>
              <a:gd name="connsiteX1011" fmla="*/ 1621688 w 5521505"/>
              <a:gd name="connsiteY1011" fmla="*/ 1608295 h 2146918"/>
              <a:gd name="connsiteX1012" fmla="*/ 1620933 w 5521505"/>
              <a:gd name="connsiteY1012" fmla="*/ 1606980 h 2146918"/>
              <a:gd name="connsiteX1013" fmla="*/ 1620093 w 5521505"/>
              <a:gd name="connsiteY1013" fmla="*/ 1605763 h 2146918"/>
              <a:gd name="connsiteX1014" fmla="*/ 1618522 w 5521505"/>
              <a:gd name="connsiteY1014" fmla="*/ 1603632 h 2146918"/>
              <a:gd name="connsiteX1015" fmla="*/ 1617049 w 5521505"/>
              <a:gd name="connsiteY1015" fmla="*/ 1602329 h 2146918"/>
              <a:gd name="connsiteX1016" fmla="*/ 1615697 w 5521505"/>
              <a:gd name="connsiteY1016" fmla="*/ 1600149 h 2146918"/>
              <a:gd name="connsiteX1017" fmla="*/ 1614747 w 5521505"/>
              <a:gd name="connsiteY1017" fmla="*/ 1598238 h 2146918"/>
              <a:gd name="connsiteX1018" fmla="*/ 1614005 w 5521505"/>
              <a:gd name="connsiteY1018" fmla="*/ 1596180 h 2146918"/>
              <a:gd name="connsiteX1019" fmla="*/ 1613627 w 5521505"/>
              <a:gd name="connsiteY1019" fmla="*/ 1594463 h 2146918"/>
              <a:gd name="connsiteX1020" fmla="*/ 1613347 w 5521505"/>
              <a:gd name="connsiteY1020" fmla="*/ 1592332 h 2146918"/>
              <a:gd name="connsiteX1021" fmla="*/ 1613030 w 5521505"/>
              <a:gd name="connsiteY1021" fmla="*/ 1590481 h 2146918"/>
              <a:gd name="connsiteX1022" fmla="*/ 1612556 w 5521505"/>
              <a:gd name="connsiteY1022" fmla="*/ 1588337 h 2146918"/>
              <a:gd name="connsiteX1023" fmla="*/ 1611861 w 5521505"/>
              <a:gd name="connsiteY1023" fmla="*/ 1585963 h 2146918"/>
              <a:gd name="connsiteX1024" fmla="*/ 1611289 w 5521505"/>
              <a:gd name="connsiteY1024" fmla="*/ 1584332 h 2146918"/>
              <a:gd name="connsiteX1025" fmla="*/ 1610595 w 5521505"/>
              <a:gd name="connsiteY1025" fmla="*/ 1582639 h 2146918"/>
              <a:gd name="connsiteX1026" fmla="*/ 1609840 w 5521505"/>
              <a:gd name="connsiteY1026" fmla="*/ 1581008 h 2146918"/>
              <a:gd name="connsiteX1027" fmla="*/ 1608890 w 5521505"/>
              <a:gd name="connsiteY1027" fmla="*/ 1579242 h 2146918"/>
              <a:gd name="connsiteX1028" fmla="*/ 1607599 w 5521505"/>
              <a:gd name="connsiteY1028" fmla="*/ 1577147 h 2146918"/>
              <a:gd name="connsiteX1029" fmla="*/ 1605797 w 5521505"/>
              <a:gd name="connsiteY1029" fmla="*/ 1574651 h 2146918"/>
              <a:gd name="connsiteX1030" fmla="*/ 1603752 w 5521505"/>
              <a:gd name="connsiteY1030" fmla="*/ 1572216 h 2146918"/>
              <a:gd name="connsiteX1031" fmla="*/ 1601937 w 5521505"/>
              <a:gd name="connsiteY1031" fmla="*/ 1570353 h 2146918"/>
              <a:gd name="connsiteX1032" fmla="*/ 1599660 w 5521505"/>
              <a:gd name="connsiteY1032" fmla="*/ 1568246 h 2146918"/>
              <a:gd name="connsiteX1033" fmla="*/ 1597834 w 5521505"/>
              <a:gd name="connsiteY1033" fmla="*/ 1566627 h 2146918"/>
              <a:gd name="connsiteX1034" fmla="*/ 1596031 w 5521505"/>
              <a:gd name="connsiteY1034" fmla="*/ 1565080 h 2146918"/>
              <a:gd name="connsiteX1035" fmla="*/ 1593596 w 5521505"/>
              <a:gd name="connsiteY1035" fmla="*/ 1563059 h 2146918"/>
              <a:gd name="connsiteX1036" fmla="*/ 1592914 w 5521505"/>
              <a:gd name="connsiteY1036" fmla="*/ 1562486 h 2146918"/>
              <a:gd name="connsiteX1037" fmla="*/ 1591928 w 5521505"/>
              <a:gd name="connsiteY1037" fmla="*/ 1561658 h 2146918"/>
              <a:gd name="connsiteX1038" fmla="*/ 1590710 w 5521505"/>
              <a:gd name="connsiteY1038" fmla="*/ 1560635 h 2146918"/>
              <a:gd name="connsiteX1039" fmla="*/ 1589493 w 5521505"/>
              <a:gd name="connsiteY1039" fmla="*/ 1559588 h 2146918"/>
              <a:gd name="connsiteX1040" fmla="*/ 1588384 w 5521505"/>
              <a:gd name="connsiteY1040" fmla="*/ 1558626 h 2146918"/>
              <a:gd name="connsiteX1041" fmla="*/ 1587605 w 5521505"/>
              <a:gd name="connsiteY1041" fmla="*/ 1557944 h 2146918"/>
              <a:gd name="connsiteX1042" fmla="*/ 1586899 w 5521505"/>
              <a:gd name="connsiteY1042" fmla="*/ 1557311 h 2146918"/>
              <a:gd name="connsiteX1043" fmla="*/ 1586351 w 5521505"/>
              <a:gd name="connsiteY1043" fmla="*/ 1556812 h 2146918"/>
              <a:gd name="connsiteX1044" fmla="*/ 1585389 w 5521505"/>
              <a:gd name="connsiteY1044" fmla="*/ 1555923 h 2146918"/>
              <a:gd name="connsiteX1045" fmla="*/ 1584585 w 5521505"/>
              <a:gd name="connsiteY1045" fmla="*/ 1555156 h 2146918"/>
              <a:gd name="connsiteX1046" fmla="*/ 1583903 w 5521505"/>
              <a:gd name="connsiteY1046" fmla="*/ 1554401 h 2146918"/>
              <a:gd name="connsiteX1047" fmla="*/ 1583161 w 5521505"/>
              <a:gd name="connsiteY1047" fmla="*/ 1553439 h 2146918"/>
              <a:gd name="connsiteX1048" fmla="*/ 1582734 w 5521505"/>
              <a:gd name="connsiteY1048" fmla="*/ 1552842 h 2146918"/>
              <a:gd name="connsiteX1049" fmla="*/ 1582199 w 5521505"/>
              <a:gd name="connsiteY1049" fmla="*/ 1552039 h 2146918"/>
              <a:gd name="connsiteX1050" fmla="*/ 1581419 w 5521505"/>
              <a:gd name="connsiteY1050" fmla="*/ 1550821 h 2146918"/>
              <a:gd name="connsiteX1051" fmla="*/ 1580823 w 5521505"/>
              <a:gd name="connsiteY1051" fmla="*/ 1549859 h 2146918"/>
              <a:gd name="connsiteX1052" fmla="*/ 1580275 w 5521505"/>
              <a:gd name="connsiteY1052" fmla="*/ 1548970 h 2146918"/>
              <a:gd name="connsiteX1053" fmla="*/ 1579934 w 5521505"/>
              <a:gd name="connsiteY1053" fmla="*/ 1548422 h 2146918"/>
              <a:gd name="connsiteX1054" fmla="*/ 1579702 w 5521505"/>
              <a:gd name="connsiteY1054" fmla="*/ 1547838 h 2146918"/>
              <a:gd name="connsiteX1055" fmla="*/ 1579325 w 5521505"/>
              <a:gd name="connsiteY1055" fmla="*/ 1546486 h 2146918"/>
              <a:gd name="connsiteX1056" fmla="*/ 1578960 w 5521505"/>
              <a:gd name="connsiteY1056" fmla="*/ 1545731 h 2146918"/>
              <a:gd name="connsiteX1057" fmla="*/ 1578631 w 5521505"/>
              <a:gd name="connsiteY1057" fmla="*/ 1545390 h 2146918"/>
              <a:gd name="connsiteX1058" fmla="*/ 1577632 w 5521505"/>
              <a:gd name="connsiteY1058" fmla="*/ 1544733 h 2146918"/>
              <a:gd name="connsiteX1059" fmla="*/ 1576731 w 5521505"/>
              <a:gd name="connsiteY1059" fmla="*/ 1544075 h 2146918"/>
              <a:gd name="connsiteX1060" fmla="*/ 1575282 w 5521505"/>
              <a:gd name="connsiteY1060" fmla="*/ 1542857 h 2146918"/>
              <a:gd name="connsiteX1061" fmla="*/ 1574138 w 5521505"/>
              <a:gd name="connsiteY1061" fmla="*/ 1541774 h 2146918"/>
              <a:gd name="connsiteX1062" fmla="*/ 1572615 w 5521505"/>
              <a:gd name="connsiteY1062" fmla="*/ 1540081 h 2146918"/>
              <a:gd name="connsiteX1063" fmla="*/ 1571398 w 5521505"/>
              <a:gd name="connsiteY1063" fmla="*/ 1538583 h 2146918"/>
              <a:gd name="connsiteX1064" fmla="*/ 1569937 w 5521505"/>
              <a:gd name="connsiteY1064" fmla="*/ 1536318 h 2146918"/>
              <a:gd name="connsiteX1065" fmla="*/ 1568792 w 5521505"/>
              <a:gd name="connsiteY1065" fmla="*/ 1534224 h 2146918"/>
              <a:gd name="connsiteX1066" fmla="*/ 1565650 w 5521505"/>
              <a:gd name="connsiteY1066" fmla="*/ 1526918 h 2146918"/>
              <a:gd name="connsiteX1067" fmla="*/ 1563117 w 5521505"/>
              <a:gd name="connsiteY1067" fmla="*/ 1520464 h 2146918"/>
              <a:gd name="connsiteX1068" fmla="*/ 1559538 w 5521505"/>
              <a:gd name="connsiteY1068" fmla="*/ 1512927 h 2146918"/>
              <a:gd name="connsiteX1069" fmla="*/ 1556140 w 5521505"/>
              <a:gd name="connsiteY1069" fmla="*/ 1508494 h 2146918"/>
              <a:gd name="connsiteX1070" fmla="*/ 1547933 w 5521505"/>
              <a:gd name="connsiteY1070" fmla="*/ 1498436 h 2146918"/>
              <a:gd name="connsiteX1071" fmla="*/ 1541504 w 5521505"/>
              <a:gd name="connsiteY1071" fmla="*/ 1490338 h 2146918"/>
              <a:gd name="connsiteX1072" fmla="*/ 1537753 w 5521505"/>
              <a:gd name="connsiteY1072" fmla="*/ 1485309 h 2146918"/>
              <a:gd name="connsiteX1073" fmla="*/ 1533041 w 5521505"/>
              <a:gd name="connsiteY1073" fmla="*/ 1478393 h 2146918"/>
              <a:gd name="connsiteX1074" fmla="*/ 1529729 w 5521505"/>
              <a:gd name="connsiteY1074" fmla="*/ 1473169 h 2146918"/>
              <a:gd name="connsiteX1075" fmla="*/ 1525114 w 5521505"/>
              <a:gd name="connsiteY1075" fmla="*/ 1465863 h 2146918"/>
              <a:gd name="connsiteX1076" fmla="*/ 1521156 w 5521505"/>
              <a:gd name="connsiteY1076" fmla="*/ 1459872 h 2146918"/>
              <a:gd name="connsiteX1077" fmla="*/ 1517296 w 5521505"/>
              <a:gd name="connsiteY1077" fmla="*/ 1454538 h 2146918"/>
              <a:gd name="connsiteX1078" fmla="*/ 1513947 w 5521505"/>
              <a:gd name="connsiteY1078" fmla="*/ 1450301 h 2146918"/>
              <a:gd name="connsiteX1079" fmla="*/ 1510915 w 5521505"/>
              <a:gd name="connsiteY1079" fmla="*/ 1446843 h 2146918"/>
              <a:gd name="connsiteX1080" fmla="*/ 1509101 w 5521505"/>
              <a:gd name="connsiteY1080" fmla="*/ 1444979 h 2146918"/>
              <a:gd name="connsiteX1081" fmla="*/ 1507189 w 5521505"/>
              <a:gd name="connsiteY1081" fmla="*/ 1443177 h 2146918"/>
              <a:gd name="connsiteX1082" fmla="*/ 1505972 w 5521505"/>
              <a:gd name="connsiteY1082" fmla="*/ 1442118 h 2146918"/>
              <a:gd name="connsiteX1083" fmla="*/ 1504255 w 5521505"/>
              <a:gd name="connsiteY1083" fmla="*/ 1440718 h 2146918"/>
              <a:gd name="connsiteX1084" fmla="*/ 1502525 w 5521505"/>
              <a:gd name="connsiteY1084" fmla="*/ 1439500 h 2146918"/>
              <a:gd name="connsiteX1085" fmla="*/ 1500626 w 5521505"/>
              <a:gd name="connsiteY1085" fmla="*/ 1438490 h 2146918"/>
              <a:gd name="connsiteX1086" fmla="*/ 1498702 w 5521505"/>
              <a:gd name="connsiteY1086" fmla="*/ 1437844 h 2146918"/>
              <a:gd name="connsiteX1087" fmla="*/ 1495865 w 5521505"/>
              <a:gd name="connsiteY1087" fmla="*/ 1437248 h 2146918"/>
              <a:gd name="connsiteX1088" fmla="*/ 1494647 w 5521505"/>
              <a:gd name="connsiteY1088" fmla="*/ 1437077 h 2146918"/>
              <a:gd name="connsiteX1089" fmla="*/ 1493722 w 5521505"/>
              <a:gd name="connsiteY1089" fmla="*/ 1436979 h 2146918"/>
              <a:gd name="connsiteX1090" fmla="*/ 1492309 w 5521505"/>
              <a:gd name="connsiteY1090" fmla="*/ 1436858 h 2146918"/>
              <a:gd name="connsiteX1091" fmla="*/ 1491177 w 5521505"/>
              <a:gd name="connsiteY1091" fmla="*/ 1436784 h 2146918"/>
              <a:gd name="connsiteX1092" fmla="*/ 1487999 w 5521505"/>
              <a:gd name="connsiteY1092" fmla="*/ 1436688 h 2146918"/>
              <a:gd name="connsiteX1093" fmla="*/ 1485186 w 5521505"/>
              <a:gd name="connsiteY1093" fmla="*/ 1436688 h 2146918"/>
              <a:gd name="connsiteX1094" fmla="*/ 1482823 w 5521505"/>
              <a:gd name="connsiteY1094" fmla="*/ 1436688 h 2146918"/>
              <a:gd name="connsiteX1095" fmla="*/ 1480388 w 5521505"/>
              <a:gd name="connsiteY1095" fmla="*/ 1436748 h 2146918"/>
              <a:gd name="connsiteX1096" fmla="*/ 1477258 w 5521505"/>
              <a:gd name="connsiteY1096" fmla="*/ 1436882 h 2146918"/>
              <a:gd name="connsiteX1097" fmla="*/ 1474129 w 5521505"/>
              <a:gd name="connsiteY1097" fmla="*/ 1437077 h 2146918"/>
              <a:gd name="connsiteX1098" fmla="*/ 1470147 w 5521505"/>
              <a:gd name="connsiteY1098" fmla="*/ 1437406 h 2146918"/>
              <a:gd name="connsiteX1099" fmla="*/ 1466652 w 5521505"/>
              <a:gd name="connsiteY1099" fmla="*/ 1437771 h 2146918"/>
              <a:gd name="connsiteX1100" fmla="*/ 1464120 w 5521505"/>
              <a:gd name="connsiteY1100" fmla="*/ 1438075 h 2146918"/>
              <a:gd name="connsiteX1101" fmla="*/ 1460759 w 5521505"/>
              <a:gd name="connsiteY1101" fmla="*/ 1438526 h 2146918"/>
              <a:gd name="connsiteX1102" fmla="*/ 1456010 w 5521505"/>
              <a:gd name="connsiteY1102" fmla="*/ 1439293 h 2146918"/>
              <a:gd name="connsiteX1103" fmla="*/ 1452990 w 5521505"/>
              <a:gd name="connsiteY1103" fmla="*/ 1439829 h 2146918"/>
              <a:gd name="connsiteX1104" fmla="*/ 1450798 w 5521505"/>
              <a:gd name="connsiteY1104" fmla="*/ 1440255 h 2146918"/>
              <a:gd name="connsiteX1105" fmla="*/ 1448217 w 5521505"/>
              <a:gd name="connsiteY1105" fmla="*/ 1440791 h 2146918"/>
              <a:gd name="connsiteX1106" fmla="*/ 1446354 w 5521505"/>
              <a:gd name="connsiteY1106" fmla="*/ 1441193 h 2146918"/>
              <a:gd name="connsiteX1107" fmla="*/ 1443577 w 5521505"/>
              <a:gd name="connsiteY1107" fmla="*/ 1441838 h 2146918"/>
              <a:gd name="connsiteX1108" fmla="*/ 1440521 w 5521505"/>
              <a:gd name="connsiteY1108" fmla="*/ 1442593 h 2146918"/>
              <a:gd name="connsiteX1109" fmla="*/ 1436271 w 5521505"/>
              <a:gd name="connsiteY1109" fmla="*/ 1443714 h 2146918"/>
              <a:gd name="connsiteX1110" fmla="*/ 1433215 w 5521505"/>
              <a:gd name="connsiteY1110" fmla="*/ 1444578 h 2146918"/>
              <a:gd name="connsiteX1111" fmla="*/ 1429878 w 5521505"/>
              <a:gd name="connsiteY1111" fmla="*/ 1445576 h 2146918"/>
              <a:gd name="connsiteX1112" fmla="*/ 1427443 w 5521505"/>
              <a:gd name="connsiteY1112" fmla="*/ 1446343 h 2146918"/>
              <a:gd name="connsiteX1113" fmla="*/ 1424204 w 5521505"/>
              <a:gd name="connsiteY1113" fmla="*/ 1447403 h 2146918"/>
              <a:gd name="connsiteX1114" fmla="*/ 1421598 w 5521505"/>
              <a:gd name="connsiteY1114" fmla="*/ 1448304 h 2146918"/>
              <a:gd name="connsiteX1115" fmla="*/ 1418250 w 5521505"/>
              <a:gd name="connsiteY1115" fmla="*/ 1449521 h 2146918"/>
              <a:gd name="connsiteX1116" fmla="*/ 1416143 w 5521505"/>
              <a:gd name="connsiteY1116" fmla="*/ 1450252 h 2146918"/>
              <a:gd name="connsiteX1117" fmla="*/ 1413890 w 5521505"/>
              <a:gd name="connsiteY1117" fmla="*/ 1450849 h 2146918"/>
              <a:gd name="connsiteX1118" fmla="*/ 1411881 w 5521505"/>
              <a:gd name="connsiteY1118" fmla="*/ 1451239 h 2146918"/>
              <a:gd name="connsiteX1119" fmla="*/ 1409251 w 5521505"/>
              <a:gd name="connsiteY1119" fmla="*/ 1451519 h 2146918"/>
              <a:gd name="connsiteX1120" fmla="*/ 1407181 w 5521505"/>
              <a:gd name="connsiteY1120" fmla="*/ 1451519 h 2146918"/>
              <a:gd name="connsiteX1121" fmla="*/ 1405123 w 5521505"/>
              <a:gd name="connsiteY1121" fmla="*/ 1451445 h 2146918"/>
              <a:gd name="connsiteX1122" fmla="*/ 1402968 w 5521505"/>
              <a:gd name="connsiteY1122" fmla="*/ 1451251 h 2146918"/>
              <a:gd name="connsiteX1123" fmla="*/ 1399984 w 5521505"/>
              <a:gd name="connsiteY1123" fmla="*/ 1450873 h 2146918"/>
              <a:gd name="connsiteX1124" fmla="*/ 1398767 w 5521505"/>
              <a:gd name="connsiteY1124" fmla="*/ 1450703 h 2146918"/>
              <a:gd name="connsiteX1125" fmla="*/ 1396538 w 5521505"/>
              <a:gd name="connsiteY1125" fmla="*/ 1450423 h 2146918"/>
              <a:gd name="connsiteX1126" fmla="*/ 1394992 w 5521505"/>
              <a:gd name="connsiteY1126" fmla="*/ 1450265 h 2146918"/>
              <a:gd name="connsiteX1127" fmla="*/ 1392800 w 5521505"/>
              <a:gd name="connsiteY1127" fmla="*/ 1450143 h 2146918"/>
              <a:gd name="connsiteX1128" fmla="*/ 1391253 w 5521505"/>
              <a:gd name="connsiteY1128" fmla="*/ 1450143 h 2146918"/>
              <a:gd name="connsiteX1129" fmla="*/ 1389208 w 5521505"/>
              <a:gd name="connsiteY1129" fmla="*/ 1450143 h 2146918"/>
              <a:gd name="connsiteX1130" fmla="*/ 1386858 w 5521505"/>
              <a:gd name="connsiteY1130" fmla="*/ 1450070 h 2146918"/>
              <a:gd name="connsiteX1131" fmla="*/ 1383935 w 5521505"/>
              <a:gd name="connsiteY1131" fmla="*/ 1449850 h 2146918"/>
              <a:gd name="connsiteX1132" fmla="*/ 1382839 w 5521505"/>
              <a:gd name="connsiteY1132" fmla="*/ 1449705 h 2146918"/>
              <a:gd name="connsiteX1133" fmla="*/ 1381889 w 5521505"/>
              <a:gd name="connsiteY1133" fmla="*/ 1449558 h 2146918"/>
              <a:gd name="connsiteX1134" fmla="*/ 1380392 w 5521505"/>
              <a:gd name="connsiteY1134" fmla="*/ 1449217 h 2146918"/>
              <a:gd name="connsiteX1135" fmla="*/ 1379564 w 5521505"/>
              <a:gd name="connsiteY1135" fmla="*/ 1448974 h 2146918"/>
              <a:gd name="connsiteX1136" fmla="*/ 1377956 w 5521505"/>
              <a:gd name="connsiteY1136" fmla="*/ 1448304 h 2146918"/>
              <a:gd name="connsiteX1137" fmla="*/ 1377481 w 5521505"/>
              <a:gd name="connsiteY1137" fmla="*/ 1448036 h 2146918"/>
              <a:gd name="connsiteX1138" fmla="*/ 1377226 w 5521505"/>
              <a:gd name="connsiteY1138" fmla="*/ 1447890 h 2146918"/>
              <a:gd name="connsiteX1139" fmla="*/ 1376313 w 5521505"/>
              <a:gd name="connsiteY1139" fmla="*/ 1447220 h 2146918"/>
              <a:gd name="connsiteX1140" fmla="*/ 1375655 w 5521505"/>
              <a:gd name="connsiteY1140" fmla="*/ 1446587 h 2146918"/>
              <a:gd name="connsiteX1141" fmla="*/ 1375156 w 5521505"/>
              <a:gd name="connsiteY1141" fmla="*/ 1445990 h 2146918"/>
              <a:gd name="connsiteX1142" fmla="*/ 1374815 w 5521505"/>
              <a:gd name="connsiteY1142" fmla="*/ 1445467 h 2146918"/>
              <a:gd name="connsiteX1143" fmla="*/ 1374656 w 5521505"/>
              <a:gd name="connsiteY1143" fmla="*/ 1445187 h 2146918"/>
              <a:gd name="connsiteX1144" fmla="*/ 1374486 w 5521505"/>
              <a:gd name="connsiteY1144" fmla="*/ 1444992 h 2146918"/>
              <a:gd name="connsiteX1145" fmla="*/ 1374194 w 5521505"/>
              <a:gd name="connsiteY1145" fmla="*/ 1444809 h 2146918"/>
              <a:gd name="connsiteX1146" fmla="*/ 1374023 w 5521505"/>
              <a:gd name="connsiteY1146" fmla="*/ 1444736 h 2146918"/>
              <a:gd name="connsiteX1147" fmla="*/ 1373792 w 5521505"/>
              <a:gd name="connsiteY1147" fmla="*/ 1444663 h 2146918"/>
              <a:gd name="connsiteX1148" fmla="*/ 1373524 w 5521505"/>
              <a:gd name="connsiteY1148" fmla="*/ 1444663 h 2146918"/>
              <a:gd name="connsiteX1149" fmla="*/ 1373061 w 5521505"/>
              <a:gd name="connsiteY1149" fmla="*/ 1444590 h 2146918"/>
              <a:gd name="connsiteX1150" fmla="*/ 1372124 w 5521505"/>
              <a:gd name="connsiteY1150" fmla="*/ 1444517 h 2146918"/>
              <a:gd name="connsiteX1151" fmla="*/ 1371564 w 5521505"/>
              <a:gd name="connsiteY1151" fmla="*/ 1444517 h 2146918"/>
              <a:gd name="connsiteX1152" fmla="*/ 1369883 w 5521505"/>
              <a:gd name="connsiteY1152" fmla="*/ 1444395 h 2146918"/>
              <a:gd name="connsiteX1153" fmla="*/ 1369140 w 5521505"/>
              <a:gd name="connsiteY1153" fmla="*/ 1444322 h 2146918"/>
              <a:gd name="connsiteX1154" fmla="*/ 1368324 w 5521505"/>
              <a:gd name="connsiteY1154" fmla="*/ 1444237 h 2146918"/>
              <a:gd name="connsiteX1155" fmla="*/ 1367436 w 5521505"/>
              <a:gd name="connsiteY1155" fmla="*/ 1444127 h 2146918"/>
              <a:gd name="connsiteX1156" fmla="*/ 1366534 w 5521505"/>
              <a:gd name="connsiteY1156" fmla="*/ 1444006 h 2146918"/>
              <a:gd name="connsiteX1157" fmla="*/ 1365706 w 5521505"/>
              <a:gd name="connsiteY1157" fmla="*/ 1443872 h 2146918"/>
              <a:gd name="connsiteX1158" fmla="*/ 1365000 w 5521505"/>
              <a:gd name="connsiteY1158" fmla="*/ 1443750 h 2146918"/>
              <a:gd name="connsiteX1159" fmla="*/ 1363953 w 5521505"/>
              <a:gd name="connsiteY1159" fmla="*/ 1443555 h 2146918"/>
              <a:gd name="connsiteX1160" fmla="*/ 1363381 w 5521505"/>
              <a:gd name="connsiteY1160" fmla="*/ 1443433 h 2146918"/>
              <a:gd name="connsiteX1161" fmla="*/ 1362577 w 5521505"/>
              <a:gd name="connsiteY1161" fmla="*/ 1443263 h 2146918"/>
              <a:gd name="connsiteX1162" fmla="*/ 1361335 w 5521505"/>
              <a:gd name="connsiteY1162" fmla="*/ 1442812 h 2146918"/>
              <a:gd name="connsiteX1163" fmla="*/ 1360227 w 5521505"/>
              <a:gd name="connsiteY1163" fmla="*/ 1442532 h 2146918"/>
              <a:gd name="connsiteX1164" fmla="*/ 1359533 w 5521505"/>
              <a:gd name="connsiteY1164" fmla="*/ 1442337 h 2146918"/>
              <a:gd name="connsiteX1165" fmla="*/ 1358948 w 5521505"/>
              <a:gd name="connsiteY1165" fmla="*/ 1442167 h 2146918"/>
              <a:gd name="connsiteX1166" fmla="*/ 1358522 w 5521505"/>
              <a:gd name="connsiteY1166" fmla="*/ 1442045 h 2146918"/>
              <a:gd name="connsiteX1167" fmla="*/ 1358011 w 5521505"/>
              <a:gd name="connsiteY1167" fmla="*/ 1441887 h 2146918"/>
              <a:gd name="connsiteX1168" fmla="*/ 1357536 w 5521505"/>
              <a:gd name="connsiteY1168" fmla="*/ 1441741 h 2146918"/>
              <a:gd name="connsiteX1169" fmla="*/ 1356695 w 5521505"/>
              <a:gd name="connsiteY1169" fmla="*/ 1441473 h 2146918"/>
              <a:gd name="connsiteX1170" fmla="*/ 1356330 w 5521505"/>
              <a:gd name="connsiteY1170" fmla="*/ 1441351 h 2146918"/>
              <a:gd name="connsiteX1171" fmla="*/ 1355234 w 5521505"/>
              <a:gd name="connsiteY1171" fmla="*/ 1440974 h 2146918"/>
              <a:gd name="connsiteX1172" fmla="*/ 1354345 w 5521505"/>
              <a:gd name="connsiteY1172" fmla="*/ 1440657 h 2146918"/>
              <a:gd name="connsiteX1173" fmla="*/ 1352909 w 5521505"/>
              <a:gd name="connsiteY1173" fmla="*/ 1440133 h 2146918"/>
              <a:gd name="connsiteX1174" fmla="*/ 1352227 w 5521505"/>
              <a:gd name="connsiteY1174" fmla="*/ 1439877 h 2146918"/>
              <a:gd name="connsiteX1175" fmla="*/ 1351009 w 5521505"/>
              <a:gd name="connsiteY1175" fmla="*/ 1439390 h 2146918"/>
              <a:gd name="connsiteX1176" fmla="*/ 1350242 w 5521505"/>
              <a:gd name="connsiteY1176" fmla="*/ 1439074 h 2146918"/>
              <a:gd name="connsiteX1177" fmla="*/ 1349450 w 5521505"/>
              <a:gd name="connsiteY1177" fmla="*/ 1438757 h 2146918"/>
              <a:gd name="connsiteX1178" fmla="*/ 1348744 w 5521505"/>
              <a:gd name="connsiteY1178" fmla="*/ 1438477 h 2146918"/>
              <a:gd name="connsiteX1179" fmla="*/ 1347879 w 5521505"/>
              <a:gd name="connsiteY1179" fmla="*/ 1438124 h 2146918"/>
              <a:gd name="connsiteX1180" fmla="*/ 1346771 w 5521505"/>
              <a:gd name="connsiteY1180" fmla="*/ 1437673 h 2146918"/>
              <a:gd name="connsiteX1181" fmla="*/ 1345688 w 5521505"/>
              <a:gd name="connsiteY1181" fmla="*/ 1437235 h 2146918"/>
              <a:gd name="connsiteX1182" fmla="*/ 1344397 w 5521505"/>
              <a:gd name="connsiteY1182" fmla="*/ 1436699 h 2146918"/>
              <a:gd name="connsiteX1183" fmla="*/ 1342863 w 5521505"/>
              <a:gd name="connsiteY1183" fmla="*/ 1436091 h 2146918"/>
              <a:gd name="connsiteX1184" fmla="*/ 1341742 w 5521505"/>
              <a:gd name="connsiteY1184" fmla="*/ 1435664 h 2146918"/>
              <a:gd name="connsiteX1185" fmla="*/ 1340768 w 5521505"/>
              <a:gd name="connsiteY1185" fmla="*/ 1435287 h 2146918"/>
              <a:gd name="connsiteX1186" fmla="*/ 1339989 w 5521505"/>
              <a:gd name="connsiteY1186" fmla="*/ 1435007 h 2146918"/>
              <a:gd name="connsiteX1187" fmla="*/ 1338662 w 5521505"/>
              <a:gd name="connsiteY1187" fmla="*/ 1434532 h 2146918"/>
              <a:gd name="connsiteX1188" fmla="*/ 1337785 w 5521505"/>
              <a:gd name="connsiteY1188" fmla="*/ 1434228 h 2146918"/>
              <a:gd name="connsiteX1189" fmla="*/ 1336677 w 5521505"/>
              <a:gd name="connsiteY1189" fmla="*/ 1433862 h 2146918"/>
              <a:gd name="connsiteX1190" fmla="*/ 1335764 w 5521505"/>
              <a:gd name="connsiteY1190" fmla="*/ 1433570 h 2146918"/>
              <a:gd name="connsiteX1191" fmla="*/ 1334960 w 5521505"/>
              <a:gd name="connsiteY1191" fmla="*/ 1433339 h 2146918"/>
              <a:gd name="connsiteX1192" fmla="*/ 1333742 w 5521505"/>
              <a:gd name="connsiteY1192" fmla="*/ 1432986 h 2146918"/>
              <a:gd name="connsiteX1193" fmla="*/ 1332159 w 5521505"/>
              <a:gd name="connsiteY1193" fmla="*/ 1432571 h 2146918"/>
              <a:gd name="connsiteX1194" fmla="*/ 1331136 w 5521505"/>
              <a:gd name="connsiteY1194" fmla="*/ 1432340 h 2146918"/>
              <a:gd name="connsiteX1195" fmla="*/ 1330101 w 5521505"/>
              <a:gd name="connsiteY1195" fmla="*/ 1432121 h 2146918"/>
              <a:gd name="connsiteX1196" fmla="*/ 1329444 w 5521505"/>
              <a:gd name="connsiteY1196" fmla="*/ 1431999 h 2146918"/>
              <a:gd name="connsiteX1197" fmla="*/ 1328299 w 5521505"/>
              <a:gd name="connsiteY1197" fmla="*/ 1431792 h 2146918"/>
              <a:gd name="connsiteX1198" fmla="*/ 1327081 w 5521505"/>
              <a:gd name="connsiteY1198" fmla="*/ 1431585 h 2146918"/>
              <a:gd name="connsiteX1199" fmla="*/ 1323745 w 5521505"/>
              <a:gd name="connsiteY1199" fmla="*/ 1431135 h 2146918"/>
              <a:gd name="connsiteX1200" fmla="*/ 1321687 w 5521505"/>
              <a:gd name="connsiteY1200" fmla="*/ 1430891 h 2146918"/>
              <a:gd name="connsiteX1201" fmla="*/ 1318034 w 5521505"/>
              <a:gd name="connsiteY1201" fmla="*/ 1430453 h 2146918"/>
              <a:gd name="connsiteX1202" fmla="*/ 1316536 w 5521505"/>
              <a:gd name="connsiteY1202" fmla="*/ 1430258 h 2146918"/>
              <a:gd name="connsiteX1203" fmla="*/ 1314211 w 5521505"/>
              <a:gd name="connsiteY1203" fmla="*/ 1429929 h 2146918"/>
              <a:gd name="connsiteX1204" fmla="*/ 1312993 w 5521505"/>
              <a:gd name="connsiteY1204" fmla="*/ 1429747 h 2146918"/>
              <a:gd name="connsiteX1205" fmla="*/ 1311069 w 5521505"/>
              <a:gd name="connsiteY1205" fmla="*/ 1429430 h 2146918"/>
              <a:gd name="connsiteX1206" fmla="*/ 1309851 w 5521505"/>
              <a:gd name="connsiteY1206" fmla="*/ 1429198 h 2146918"/>
              <a:gd name="connsiteX1207" fmla="*/ 1308073 w 5521505"/>
              <a:gd name="connsiteY1207" fmla="*/ 1428821 h 2146918"/>
              <a:gd name="connsiteX1208" fmla="*/ 1306551 w 5521505"/>
              <a:gd name="connsiteY1208" fmla="*/ 1428456 h 2146918"/>
              <a:gd name="connsiteX1209" fmla="*/ 1304713 w 5521505"/>
              <a:gd name="connsiteY1209" fmla="*/ 1427981 h 2146918"/>
              <a:gd name="connsiteX1210" fmla="*/ 1303264 w 5521505"/>
              <a:gd name="connsiteY1210" fmla="*/ 1427603 h 2146918"/>
              <a:gd name="connsiteX1211" fmla="*/ 1301888 w 5521505"/>
              <a:gd name="connsiteY1211" fmla="*/ 1427250 h 2146918"/>
              <a:gd name="connsiteX1212" fmla="*/ 1301388 w 5521505"/>
              <a:gd name="connsiteY1212" fmla="*/ 1427116 h 2146918"/>
              <a:gd name="connsiteX1213" fmla="*/ 1300621 w 5521505"/>
              <a:gd name="connsiteY1213" fmla="*/ 1426922 h 2146918"/>
              <a:gd name="connsiteX1214" fmla="*/ 1300231 w 5521505"/>
              <a:gd name="connsiteY1214" fmla="*/ 1426812 h 2146918"/>
              <a:gd name="connsiteX1215" fmla="*/ 1299684 w 5521505"/>
              <a:gd name="connsiteY1215" fmla="*/ 1426678 h 2146918"/>
              <a:gd name="connsiteX1216" fmla="*/ 1299063 w 5521505"/>
              <a:gd name="connsiteY1216" fmla="*/ 1426507 h 2146918"/>
              <a:gd name="connsiteX1217" fmla="*/ 1298502 w 5521505"/>
              <a:gd name="connsiteY1217" fmla="*/ 1426362 h 2146918"/>
              <a:gd name="connsiteX1218" fmla="*/ 1298161 w 5521505"/>
              <a:gd name="connsiteY1218" fmla="*/ 1426276 h 2146918"/>
              <a:gd name="connsiteX1219" fmla="*/ 1297808 w 5521505"/>
              <a:gd name="connsiteY1219" fmla="*/ 1426191 h 2146918"/>
              <a:gd name="connsiteX1220" fmla="*/ 1297589 w 5521505"/>
              <a:gd name="connsiteY1220" fmla="*/ 1426130 h 2146918"/>
              <a:gd name="connsiteX1221" fmla="*/ 1296980 w 5521505"/>
              <a:gd name="connsiteY1221" fmla="*/ 1425972 h 2146918"/>
              <a:gd name="connsiteX1222" fmla="*/ 1296615 w 5521505"/>
              <a:gd name="connsiteY1222" fmla="*/ 1425874 h 2146918"/>
              <a:gd name="connsiteX1223" fmla="*/ 1295933 w 5521505"/>
              <a:gd name="connsiteY1223" fmla="*/ 1425692 h 2146918"/>
              <a:gd name="connsiteX1224" fmla="*/ 1295470 w 5521505"/>
              <a:gd name="connsiteY1224" fmla="*/ 1425582 h 2146918"/>
              <a:gd name="connsiteX1225" fmla="*/ 1294922 w 5521505"/>
              <a:gd name="connsiteY1225" fmla="*/ 1425436 h 2146918"/>
              <a:gd name="connsiteX1226" fmla="*/ 1294460 w 5521505"/>
              <a:gd name="connsiteY1226" fmla="*/ 1425314 h 2146918"/>
              <a:gd name="connsiteX1227" fmla="*/ 1294228 w 5521505"/>
              <a:gd name="connsiteY1227" fmla="*/ 1425253 h 2146918"/>
              <a:gd name="connsiteX1228" fmla="*/ 1293766 w 5521505"/>
              <a:gd name="connsiteY1228" fmla="*/ 1425131 h 2146918"/>
              <a:gd name="connsiteX1229" fmla="*/ 1293461 w 5521505"/>
              <a:gd name="connsiteY1229" fmla="*/ 1425058 h 2146918"/>
              <a:gd name="connsiteX1230" fmla="*/ 1293206 w 5521505"/>
              <a:gd name="connsiteY1230" fmla="*/ 1424985 h 2146918"/>
              <a:gd name="connsiteX1231" fmla="*/ 1292877 w 5521505"/>
              <a:gd name="connsiteY1231" fmla="*/ 1424900 h 2146918"/>
              <a:gd name="connsiteX1232" fmla="*/ 1292524 w 5521505"/>
              <a:gd name="connsiteY1232" fmla="*/ 1424803 h 2146918"/>
              <a:gd name="connsiteX1233" fmla="*/ 1292097 w 5521505"/>
              <a:gd name="connsiteY1233" fmla="*/ 1424693 h 2146918"/>
              <a:gd name="connsiteX1234" fmla="*/ 1291732 w 5521505"/>
              <a:gd name="connsiteY1234" fmla="*/ 1424608 h 2146918"/>
              <a:gd name="connsiteX1235" fmla="*/ 1291221 w 5521505"/>
              <a:gd name="connsiteY1235" fmla="*/ 1424474 h 2146918"/>
              <a:gd name="connsiteX1236" fmla="*/ 1290709 w 5521505"/>
              <a:gd name="connsiteY1236" fmla="*/ 1424340 h 2146918"/>
              <a:gd name="connsiteX1237" fmla="*/ 1290307 w 5521505"/>
              <a:gd name="connsiteY1237" fmla="*/ 1424231 h 2146918"/>
              <a:gd name="connsiteX1238" fmla="*/ 1290039 w 5521505"/>
              <a:gd name="connsiteY1238" fmla="*/ 1424169 h 2146918"/>
              <a:gd name="connsiteX1239" fmla="*/ 1289881 w 5521505"/>
              <a:gd name="connsiteY1239" fmla="*/ 1424169 h 2146918"/>
              <a:gd name="connsiteX1240" fmla="*/ 1289577 w 5521505"/>
              <a:gd name="connsiteY1240" fmla="*/ 1424096 h 2146918"/>
              <a:gd name="connsiteX1241" fmla="*/ 1289321 w 5521505"/>
              <a:gd name="connsiteY1241" fmla="*/ 1424036 h 2146918"/>
              <a:gd name="connsiteX1242" fmla="*/ 1288992 w 5521505"/>
              <a:gd name="connsiteY1242" fmla="*/ 1423950 h 2146918"/>
              <a:gd name="connsiteX1243" fmla="*/ 1288810 w 5521505"/>
              <a:gd name="connsiteY1243" fmla="*/ 1423950 h 2146918"/>
              <a:gd name="connsiteX1244" fmla="*/ 1288517 w 5521505"/>
              <a:gd name="connsiteY1244" fmla="*/ 1423877 h 2146918"/>
              <a:gd name="connsiteX1245" fmla="*/ 1288164 w 5521505"/>
              <a:gd name="connsiteY1245" fmla="*/ 1423780 h 2146918"/>
              <a:gd name="connsiteX1246" fmla="*/ 1287957 w 5521505"/>
              <a:gd name="connsiteY1246" fmla="*/ 1423780 h 2146918"/>
              <a:gd name="connsiteX1247" fmla="*/ 1287726 w 5521505"/>
              <a:gd name="connsiteY1247" fmla="*/ 1423719 h 2146918"/>
              <a:gd name="connsiteX1248" fmla="*/ 1287385 w 5521505"/>
              <a:gd name="connsiteY1248" fmla="*/ 1423634 h 2146918"/>
              <a:gd name="connsiteX1249" fmla="*/ 1287141 w 5521505"/>
              <a:gd name="connsiteY1249" fmla="*/ 1423573 h 2146918"/>
              <a:gd name="connsiteX1250" fmla="*/ 1286788 w 5521505"/>
              <a:gd name="connsiteY1250" fmla="*/ 1423476 h 2146918"/>
              <a:gd name="connsiteX1251" fmla="*/ 1286362 w 5521505"/>
              <a:gd name="connsiteY1251" fmla="*/ 1423366 h 2146918"/>
              <a:gd name="connsiteX1252" fmla="*/ 1286021 w 5521505"/>
              <a:gd name="connsiteY1252" fmla="*/ 1423281 h 2146918"/>
              <a:gd name="connsiteX1253" fmla="*/ 1285692 w 5521505"/>
              <a:gd name="connsiteY1253" fmla="*/ 1423207 h 2146918"/>
              <a:gd name="connsiteX1254" fmla="*/ 1285425 w 5521505"/>
              <a:gd name="connsiteY1254" fmla="*/ 1423134 h 2146918"/>
              <a:gd name="connsiteX1255" fmla="*/ 1285181 w 5521505"/>
              <a:gd name="connsiteY1255" fmla="*/ 1423074 h 2146918"/>
              <a:gd name="connsiteX1256" fmla="*/ 1284779 w 5521505"/>
              <a:gd name="connsiteY1256" fmla="*/ 1422976 h 2146918"/>
              <a:gd name="connsiteX1257" fmla="*/ 1284475 w 5521505"/>
              <a:gd name="connsiteY1257" fmla="*/ 1422891 h 2146918"/>
              <a:gd name="connsiteX1258" fmla="*/ 1284255 w 5521505"/>
              <a:gd name="connsiteY1258" fmla="*/ 1422891 h 2146918"/>
              <a:gd name="connsiteX1259" fmla="*/ 1283902 w 5521505"/>
              <a:gd name="connsiteY1259" fmla="*/ 1422805 h 2146918"/>
              <a:gd name="connsiteX1260" fmla="*/ 1283902 w 5521505"/>
              <a:gd name="connsiteY1260" fmla="*/ 1422805 h 2146918"/>
              <a:gd name="connsiteX1261" fmla="*/ 1283647 w 5521505"/>
              <a:gd name="connsiteY1261" fmla="*/ 1422805 h 2146918"/>
              <a:gd name="connsiteX1262" fmla="*/ 1283354 w 5521505"/>
              <a:gd name="connsiteY1262" fmla="*/ 1422732 h 2146918"/>
              <a:gd name="connsiteX1263" fmla="*/ 1283135 w 5521505"/>
              <a:gd name="connsiteY1263" fmla="*/ 1422672 h 2146918"/>
              <a:gd name="connsiteX1264" fmla="*/ 1282879 w 5521505"/>
              <a:gd name="connsiteY1264" fmla="*/ 1422611 h 2146918"/>
              <a:gd name="connsiteX1265" fmla="*/ 1282660 w 5521505"/>
              <a:gd name="connsiteY1265" fmla="*/ 1422611 h 2146918"/>
              <a:gd name="connsiteX1266" fmla="*/ 1282295 w 5521505"/>
              <a:gd name="connsiteY1266" fmla="*/ 1422525 h 2146918"/>
              <a:gd name="connsiteX1267" fmla="*/ 1282100 w 5521505"/>
              <a:gd name="connsiteY1267" fmla="*/ 1422525 h 2146918"/>
              <a:gd name="connsiteX1268" fmla="*/ 1281893 w 5521505"/>
              <a:gd name="connsiteY1268" fmla="*/ 1422525 h 2146918"/>
              <a:gd name="connsiteX1269" fmla="*/ 1281662 w 5521505"/>
              <a:gd name="connsiteY1269" fmla="*/ 1422465 h 2146918"/>
              <a:gd name="connsiteX1270" fmla="*/ 1281370 w 5521505"/>
              <a:gd name="connsiteY1270" fmla="*/ 1422392 h 2146918"/>
              <a:gd name="connsiteX1271" fmla="*/ 1281004 w 5521505"/>
              <a:gd name="connsiteY1271" fmla="*/ 1422307 h 2146918"/>
              <a:gd name="connsiteX1272" fmla="*/ 1280749 w 5521505"/>
              <a:gd name="connsiteY1272" fmla="*/ 1422245 h 2146918"/>
              <a:gd name="connsiteX1273" fmla="*/ 1280456 w 5521505"/>
              <a:gd name="connsiteY1273" fmla="*/ 1422172 h 2146918"/>
              <a:gd name="connsiteX1274" fmla="*/ 1280262 w 5521505"/>
              <a:gd name="connsiteY1274" fmla="*/ 1422172 h 2146918"/>
              <a:gd name="connsiteX1275" fmla="*/ 1280006 w 5521505"/>
              <a:gd name="connsiteY1275" fmla="*/ 1422112 h 2146918"/>
              <a:gd name="connsiteX1276" fmla="*/ 1279653 w 5521505"/>
              <a:gd name="connsiteY1276" fmla="*/ 1422014 h 2146918"/>
              <a:gd name="connsiteX1277" fmla="*/ 1279482 w 5521505"/>
              <a:gd name="connsiteY1277" fmla="*/ 1422014 h 2146918"/>
              <a:gd name="connsiteX1278" fmla="*/ 1279239 w 5521505"/>
              <a:gd name="connsiteY1278" fmla="*/ 1421953 h 2146918"/>
              <a:gd name="connsiteX1279" fmla="*/ 1278934 w 5521505"/>
              <a:gd name="connsiteY1279" fmla="*/ 1421880 h 2146918"/>
              <a:gd name="connsiteX1280" fmla="*/ 1278703 w 5521505"/>
              <a:gd name="connsiteY1280" fmla="*/ 1421880 h 2146918"/>
              <a:gd name="connsiteX1281" fmla="*/ 1278496 w 5521505"/>
              <a:gd name="connsiteY1281" fmla="*/ 1421819 h 2146918"/>
              <a:gd name="connsiteX1282" fmla="*/ 1278301 w 5521505"/>
              <a:gd name="connsiteY1282" fmla="*/ 1421819 h 2146918"/>
              <a:gd name="connsiteX1283" fmla="*/ 1277911 w 5521505"/>
              <a:gd name="connsiteY1283" fmla="*/ 1421734 h 2146918"/>
              <a:gd name="connsiteX1284" fmla="*/ 1277631 w 5521505"/>
              <a:gd name="connsiteY1284" fmla="*/ 1421661 h 2146918"/>
              <a:gd name="connsiteX1285" fmla="*/ 1277363 w 5521505"/>
              <a:gd name="connsiteY1285" fmla="*/ 1421600 h 2146918"/>
              <a:gd name="connsiteX1286" fmla="*/ 1277035 w 5521505"/>
              <a:gd name="connsiteY1286" fmla="*/ 1421527 h 2146918"/>
              <a:gd name="connsiteX1287" fmla="*/ 1276645 w 5521505"/>
              <a:gd name="connsiteY1287" fmla="*/ 1421430 h 2146918"/>
              <a:gd name="connsiteX1288" fmla="*/ 1276389 w 5521505"/>
              <a:gd name="connsiteY1288" fmla="*/ 1421430 h 2146918"/>
              <a:gd name="connsiteX1289" fmla="*/ 1276109 w 5521505"/>
              <a:gd name="connsiteY1289" fmla="*/ 1421369 h 2146918"/>
              <a:gd name="connsiteX1290" fmla="*/ 1275659 w 5521505"/>
              <a:gd name="connsiteY1290" fmla="*/ 1421296 h 2146918"/>
              <a:gd name="connsiteX1291" fmla="*/ 1275257 w 5521505"/>
              <a:gd name="connsiteY1291" fmla="*/ 1421223 h 2146918"/>
              <a:gd name="connsiteX1292" fmla="*/ 1274892 w 5521505"/>
              <a:gd name="connsiteY1292" fmla="*/ 1421162 h 2146918"/>
              <a:gd name="connsiteX1293" fmla="*/ 1274624 w 5521505"/>
              <a:gd name="connsiteY1293" fmla="*/ 1421162 h 2146918"/>
              <a:gd name="connsiteX1294" fmla="*/ 1274222 w 5521505"/>
              <a:gd name="connsiteY1294" fmla="*/ 1421162 h 2146918"/>
              <a:gd name="connsiteX1295" fmla="*/ 1273917 w 5521505"/>
              <a:gd name="connsiteY1295" fmla="*/ 1421162 h 2146918"/>
              <a:gd name="connsiteX1296" fmla="*/ 1273674 w 5521505"/>
              <a:gd name="connsiteY1296" fmla="*/ 1421162 h 2146918"/>
              <a:gd name="connsiteX1297" fmla="*/ 1273333 w 5521505"/>
              <a:gd name="connsiteY1297" fmla="*/ 1421162 h 2146918"/>
              <a:gd name="connsiteX1298" fmla="*/ 1273004 w 5521505"/>
              <a:gd name="connsiteY1298" fmla="*/ 1421162 h 2146918"/>
              <a:gd name="connsiteX1299" fmla="*/ 1270642 w 5521505"/>
              <a:gd name="connsiteY1299" fmla="*/ 1421162 h 2146918"/>
              <a:gd name="connsiteX1300" fmla="*/ 1270276 w 5521505"/>
              <a:gd name="connsiteY1300" fmla="*/ 1421162 h 2146918"/>
              <a:gd name="connsiteX1301" fmla="*/ 1269887 w 5521505"/>
              <a:gd name="connsiteY1301" fmla="*/ 1421162 h 2146918"/>
              <a:gd name="connsiteX1302" fmla="*/ 1269521 w 5521505"/>
              <a:gd name="connsiteY1302" fmla="*/ 1421162 h 2146918"/>
              <a:gd name="connsiteX1303" fmla="*/ 1269144 w 5521505"/>
              <a:gd name="connsiteY1303" fmla="*/ 1421162 h 2146918"/>
              <a:gd name="connsiteX1304" fmla="*/ 1268706 w 5521505"/>
              <a:gd name="connsiteY1304" fmla="*/ 1421162 h 2146918"/>
              <a:gd name="connsiteX1305" fmla="*/ 1268401 w 5521505"/>
              <a:gd name="connsiteY1305" fmla="*/ 1421162 h 2146918"/>
              <a:gd name="connsiteX1306" fmla="*/ 1268024 w 5521505"/>
              <a:gd name="connsiteY1306" fmla="*/ 1421162 h 2146918"/>
              <a:gd name="connsiteX1307" fmla="*/ 1267719 w 5521505"/>
              <a:gd name="connsiteY1307" fmla="*/ 1421162 h 2146918"/>
              <a:gd name="connsiteX1308" fmla="*/ 1267451 w 5521505"/>
              <a:gd name="connsiteY1308" fmla="*/ 1421162 h 2146918"/>
              <a:gd name="connsiteX1309" fmla="*/ 1267147 w 5521505"/>
              <a:gd name="connsiteY1309" fmla="*/ 1421162 h 2146918"/>
              <a:gd name="connsiteX1310" fmla="*/ 1266891 w 5521505"/>
              <a:gd name="connsiteY1310" fmla="*/ 1421162 h 2146918"/>
              <a:gd name="connsiteX1311" fmla="*/ 1266636 w 5521505"/>
              <a:gd name="connsiteY1311" fmla="*/ 1421162 h 2146918"/>
              <a:gd name="connsiteX1312" fmla="*/ 1265978 w 5521505"/>
              <a:gd name="connsiteY1312" fmla="*/ 1421283 h 2146918"/>
              <a:gd name="connsiteX1313" fmla="*/ 1265625 w 5521505"/>
              <a:gd name="connsiteY1313" fmla="*/ 1421369 h 2146918"/>
              <a:gd name="connsiteX1314" fmla="*/ 1265187 w 5521505"/>
              <a:gd name="connsiteY1314" fmla="*/ 1421466 h 2146918"/>
              <a:gd name="connsiteX1315" fmla="*/ 1264772 w 5521505"/>
              <a:gd name="connsiteY1315" fmla="*/ 1421563 h 2146918"/>
              <a:gd name="connsiteX1316" fmla="*/ 1264334 w 5521505"/>
              <a:gd name="connsiteY1316" fmla="*/ 1421673 h 2146918"/>
              <a:gd name="connsiteX1317" fmla="*/ 1263957 w 5521505"/>
              <a:gd name="connsiteY1317" fmla="*/ 1421771 h 2146918"/>
              <a:gd name="connsiteX1318" fmla="*/ 1263591 w 5521505"/>
              <a:gd name="connsiteY1318" fmla="*/ 1421880 h 2146918"/>
              <a:gd name="connsiteX1319" fmla="*/ 1263275 w 5521505"/>
              <a:gd name="connsiteY1319" fmla="*/ 1421965 h 2146918"/>
              <a:gd name="connsiteX1320" fmla="*/ 1262934 w 5521505"/>
              <a:gd name="connsiteY1320" fmla="*/ 1422063 h 2146918"/>
              <a:gd name="connsiteX1321" fmla="*/ 1262556 w 5521505"/>
              <a:gd name="connsiteY1321" fmla="*/ 1422185 h 2146918"/>
              <a:gd name="connsiteX1322" fmla="*/ 1262301 w 5521505"/>
              <a:gd name="connsiteY1322" fmla="*/ 1422258 h 2146918"/>
              <a:gd name="connsiteX1323" fmla="*/ 1261814 w 5521505"/>
              <a:gd name="connsiteY1323" fmla="*/ 1422416 h 2146918"/>
              <a:gd name="connsiteX1324" fmla="*/ 1261424 w 5521505"/>
              <a:gd name="connsiteY1324" fmla="*/ 1422550 h 2146918"/>
              <a:gd name="connsiteX1325" fmla="*/ 1260998 w 5521505"/>
              <a:gd name="connsiteY1325" fmla="*/ 1422696 h 2146918"/>
              <a:gd name="connsiteX1326" fmla="*/ 1260340 w 5521505"/>
              <a:gd name="connsiteY1326" fmla="*/ 1422927 h 2146918"/>
              <a:gd name="connsiteX1327" fmla="*/ 1259378 w 5521505"/>
              <a:gd name="connsiteY1327" fmla="*/ 1423293 h 2146918"/>
              <a:gd name="connsiteX1328" fmla="*/ 1258355 w 5521505"/>
              <a:gd name="connsiteY1328" fmla="*/ 1423658 h 2146918"/>
              <a:gd name="connsiteX1329" fmla="*/ 1257637 w 5521505"/>
              <a:gd name="connsiteY1329" fmla="*/ 1423902 h 2146918"/>
              <a:gd name="connsiteX1330" fmla="*/ 1256833 w 5521505"/>
              <a:gd name="connsiteY1330" fmla="*/ 1424145 h 2146918"/>
              <a:gd name="connsiteX1331" fmla="*/ 1256139 w 5521505"/>
              <a:gd name="connsiteY1331" fmla="*/ 1424328 h 2146918"/>
              <a:gd name="connsiteX1332" fmla="*/ 1255628 w 5521505"/>
              <a:gd name="connsiteY1332" fmla="*/ 1424449 h 2146918"/>
              <a:gd name="connsiteX1333" fmla="*/ 1254958 w 5521505"/>
              <a:gd name="connsiteY1333" fmla="*/ 1424583 h 2146918"/>
              <a:gd name="connsiteX1334" fmla="*/ 1254447 w 5521505"/>
              <a:gd name="connsiteY1334" fmla="*/ 1424669 h 2146918"/>
              <a:gd name="connsiteX1335" fmla="*/ 1253789 w 5521505"/>
              <a:gd name="connsiteY1335" fmla="*/ 1424742 h 2146918"/>
              <a:gd name="connsiteX1336" fmla="*/ 1253363 w 5521505"/>
              <a:gd name="connsiteY1336" fmla="*/ 1424742 h 2146918"/>
              <a:gd name="connsiteX1337" fmla="*/ 1252377 w 5521505"/>
              <a:gd name="connsiteY1337" fmla="*/ 1424742 h 2146918"/>
              <a:gd name="connsiteX1338" fmla="*/ 1252060 w 5521505"/>
              <a:gd name="connsiteY1338" fmla="*/ 1424742 h 2146918"/>
              <a:gd name="connsiteX1339" fmla="*/ 1251585 w 5521505"/>
              <a:gd name="connsiteY1339" fmla="*/ 1424669 h 2146918"/>
              <a:gd name="connsiteX1340" fmla="*/ 1251256 w 5521505"/>
              <a:gd name="connsiteY1340" fmla="*/ 1424596 h 2146918"/>
              <a:gd name="connsiteX1341" fmla="*/ 1250879 w 5521505"/>
              <a:gd name="connsiteY1341" fmla="*/ 1424474 h 2146918"/>
              <a:gd name="connsiteX1342" fmla="*/ 1250599 w 5521505"/>
              <a:gd name="connsiteY1342" fmla="*/ 1424364 h 2146918"/>
              <a:gd name="connsiteX1343" fmla="*/ 1250355 w 5521505"/>
              <a:gd name="connsiteY1343" fmla="*/ 1424254 h 2146918"/>
              <a:gd name="connsiteX1344" fmla="*/ 1250087 w 5521505"/>
              <a:gd name="connsiteY1344" fmla="*/ 1424109 h 2146918"/>
              <a:gd name="connsiteX1345" fmla="*/ 1249819 w 5521505"/>
              <a:gd name="connsiteY1345" fmla="*/ 1423926 h 2146918"/>
              <a:gd name="connsiteX1346" fmla="*/ 1249576 w 5521505"/>
              <a:gd name="connsiteY1346" fmla="*/ 1423756 h 2146918"/>
              <a:gd name="connsiteX1347" fmla="*/ 1249381 w 5521505"/>
              <a:gd name="connsiteY1347" fmla="*/ 1423585 h 2146918"/>
              <a:gd name="connsiteX1348" fmla="*/ 1249235 w 5521505"/>
              <a:gd name="connsiteY1348" fmla="*/ 1423427 h 2146918"/>
              <a:gd name="connsiteX1349" fmla="*/ 1249064 w 5521505"/>
              <a:gd name="connsiteY1349" fmla="*/ 1423244 h 2146918"/>
              <a:gd name="connsiteX1350" fmla="*/ 1248784 w 5521505"/>
              <a:gd name="connsiteY1350" fmla="*/ 1422891 h 2146918"/>
              <a:gd name="connsiteX1351" fmla="*/ 1248614 w 5521505"/>
              <a:gd name="connsiteY1351" fmla="*/ 1422660 h 2146918"/>
              <a:gd name="connsiteX1352" fmla="*/ 1248383 w 5521505"/>
              <a:gd name="connsiteY1352" fmla="*/ 1422245 h 2146918"/>
              <a:gd name="connsiteX1353" fmla="*/ 1248224 w 5521505"/>
              <a:gd name="connsiteY1353" fmla="*/ 1421917 h 2146918"/>
              <a:gd name="connsiteX1354" fmla="*/ 1248054 w 5521505"/>
              <a:gd name="connsiteY1354" fmla="*/ 1421491 h 2146918"/>
              <a:gd name="connsiteX1355" fmla="*/ 1247895 w 5521505"/>
              <a:gd name="connsiteY1355" fmla="*/ 1421089 h 2146918"/>
              <a:gd name="connsiteX1356" fmla="*/ 1247567 w 5521505"/>
              <a:gd name="connsiteY1356" fmla="*/ 1420504 h 2146918"/>
              <a:gd name="connsiteX1357" fmla="*/ 1247067 w 5521505"/>
              <a:gd name="connsiteY1357" fmla="*/ 1419908 h 2146918"/>
              <a:gd name="connsiteX1358" fmla="*/ 1246446 w 5521505"/>
              <a:gd name="connsiteY1358" fmla="*/ 1419372 h 2146918"/>
              <a:gd name="connsiteX1359" fmla="*/ 1245972 w 5521505"/>
              <a:gd name="connsiteY1359" fmla="*/ 1419056 h 2146918"/>
              <a:gd name="connsiteX1360" fmla="*/ 1245095 w 5521505"/>
              <a:gd name="connsiteY1360" fmla="*/ 1418580 h 2146918"/>
              <a:gd name="connsiteX1361" fmla="*/ 1244401 w 5521505"/>
              <a:gd name="connsiteY1361" fmla="*/ 1418264 h 2146918"/>
              <a:gd name="connsiteX1362" fmla="*/ 1243353 w 5521505"/>
              <a:gd name="connsiteY1362" fmla="*/ 1417862 h 2146918"/>
              <a:gd name="connsiteX1363" fmla="*/ 1242355 w 5521505"/>
              <a:gd name="connsiteY1363" fmla="*/ 1417533 h 2146918"/>
              <a:gd name="connsiteX1364" fmla="*/ 1240821 w 5521505"/>
              <a:gd name="connsiteY1364" fmla="*/ 1417119 h 2146918"/>
              <a:gd name="connsiteX1365" fmla="*/ 1240005 w 5521505"/>
              <a:gd name="connsiteY1365" fmla="*/ 1416925 h 2146918"/>
              <a:gd name="connsiteX1366" fmla="*/ 1239932 w 5521505"/>
              <a:gd name="connsiteY1366" fmla="*/ 1416925 h 2146918"/>
              <a:gd name="connsiteX1367" fmla="*/ 1238714 w 5521505"/>
              <a:gd name="connsiteY1367" fmla="*/ 1416644 h 2146918"/>
              <a:gd name="connsiteX1368" fmla="*/ 1237606 w 5521505"/>
              <a:gd name="connsiteY1368" fmla="*/ 1416316 h 2146918"/>
              <a:gd name="connsiteX1369" fmla="*/ 1236875 w 5521505"/>
              <a:gd name="connsiteY1369" fmla="*/ 1416023 h 2146918"/>
              <a:gd name="connsiteX1370" fmla="*/ 1236120 w 5521505"/>
              <a:gd name="connsiteY1370" fmla="*/ 1415621 h 2146918"/>
              <a:gd name="connsiteX1371" fmla="*/ 1235719 w 5521505"/>
              <a:gd name="connsiteY1371" fmla="*/ 1415366 h 2146918"/>
              <a:gd name="connsiteX1372" fmla="*/ 1235207 w 5521505"/>
              <a:gd name="connsiteY1372" fmla="*/ 1414964 h 2146918"/>
              <a:gd name="connsiteX1373" fmla="*/ 1234501 w 5521505"/>
              <a:gd name="connsiteY1373" fmla="*/ 1414197 h 2146918"/>
              <a:gd name="connsiteX1374" fmla="*/ 1234184 w 5521505"/>
              <a:gd name="connsiteY1374" fmla="*/ 1413722 h 2146918"/>
              <a:gd name="connsiteX1375" fmla="*/ 1233929 w 5521505"/>
              <a:gd name="connsiteY1375" fmla="*/ 1413198 h 2146918"/>
              <a:gd name="connsiteX1376" fmla="*/ 1233661 w 5521505"/>
              <a:gd name="connsiteY1376" fmla="*/ 1412406 h 2146918"/>
              <a:gd name="connsiteX1377" fmla="*/ 1233502 w 5521505"/>
              <a:gd name="connsiteY1377" fmla="*/ 1411408 h 2146918"/>
              <a:gd name="connsiteX1378" fmla="*/ 1233502 w 5521505"/>
              <a:gd name="connsiteY1378" fmla="*/ 1409959 h 2146918"/>
              <a:gd name="connsiteX1379" fmla="*/ 1233843 w 5521505"/>
              <a:gd name="connsiteY1379" fmla="*/ 1408218 h 2146918"/>
              <a:gd name="connsiteX1380" fmla="*/ 1234915 w 5521505"/>
              <a:gd name="connsiteY1380" fmla="*/ 1405088 h 2146918"/>
              <a:gd name="connsiteX1381" fmla="*/ 1236133 w 5521505"/>
              <a:gd name="connsiteY1381" fmla="*/ 1402008 h 2146918"/>
              <a:gd name="connsiteX1382" fmla="*/ 1237192 w 5521505"/>
              <a:gd name="connsiteY1382" fmla="*/ 1399573 h 2146918"/>
              <a:gd name="connsiteX1383" fmla="*/ 1237350 w 5521505"/>
              <a:gd name="connsiteY1383" fmla="*/ 1399231 h 2146918"/>
              <a:gd name="connsiteX1384" fmla="*/ 1237448 w 5521505"/>
              <a:gd name="connsiteY1384" fmla="*/ 1398987 h 2146918"/>
              <a:gd name="connsiteX1385" fmla="*/ 1237594 w 5521505"/>
              <a:gd name="connsiteY1385" fmla="*/ 1398671 h 2146918"/>
              <a:gd name="connsiteX1386" fmla="*/ 1237728 w 5521505"/>
              <a:gd name="connsiteY1386" fmla="*/ 1398367 h 2146918"/>
              <a:gd name="connsiteX1387" fmla="*/ 1237862 w 5521505"/>
              <a:gd name="connsiteY1387" fmla="*/ 1398074 h 2146918"/>
              <a:gd name="connsiteX1388" fmla="*/ 1238020 w 5521505"/>
              <a:gd name="connsiteY1388" fmla="*/ 1397734 h 2146918"/>
              <a:gd name="connsiteX1389" fmla="*/ 1238166 w 5521505"/>
              <a:gd name="connsiteY1389" fmla="*/ 1397417 h 2146918"/>
              <a:gd name="connsiteX1390" fmla="*/ 1238239 w 5521505"/>
              <a:gd name="connsiteY1390" fmla="*/ 1397271 h 2146918"/>
              <a:gd name="connsiteX1391" fmla="*/ 1238324 w 5521505"/>
              <a:gd name="connsiteY1391" fmla="*/ 1397088 h 2146918"/>
              <a:gd name="connsiteX1392" fmla="*/ 1238458 w 5521505"/>
              <a:gd name="connsiteY1392" fmla="*/ 1396796 h 2146918"/>
              <a:gd name="connsiteX1393" fmla="*/ 1238580 w 5521505"/>
              <a:gd name="connsiteY1393" fmla="*/ 1396528 h 2146918"/>
              <a:gd name="connsiteX1394" fmla="*/ 1238751 w 5521505"/>
              <a:gd name="connsiteY1394" fmla="*/ 1396175 h 2146918"/>
              <a:gd name="connsiteX1395" fmla="*/ 1238897 w 5521505"/>
              <a:gd name="connsiteY1395" fmla="*/ 1395858 h 2146918"/>
              <a:gd name="connsiteX1396" fmla="*/ 1238994 w 5521505"/>
              <a:gd name="connsiteY1396" fmla="*/ 1395663 h 2146918"/>
              <a:gd name="connsiteX1397" fmla="*/ 1239092 w 5521505"/>
              <a:gd name="connsiteY1397" fmla="*/ 1395444 h 2146918"/>
              <a:gd name="connsiteX1398" fmla="*/ 1239189 w 5521505"/>
              <a:gd name="connsiteY1398" fmla="*/ 1395238 h 2146918"/>
              <a:gd name="connsiteX1399" fmla="*/ 1239299 w 5521505"/>
              <a:gd name="connsiteY1399" fmla="*/ 1395018 h 2146918"/>
              <a:gd name="connsiteX1400" fmla="*/ 1239372 w 5521505"/>
              <a:gd name="connsiteY1400" fmla="*/ 1394872 h 2146918"/>
              <a:gd name="connsiteX1401" fmla="*/ 1239603 w 5521505"/>
              <a:gd name="connsiteY1401" fmla="*/ 1394373 h 2146918"/>
              <a:gd name="connsiteX1402" fmla="*/ 1239713 w 5521505"/>
              <a:gd name="connsiteY1402" fmla="*/ 1394166 h 2146918"/>
              <a:gd name="connsiteX1403" fmla="*/ 1239810 w 5521505"/>
              <a:gd name="connsiteY1403" fmla="*/ 1393959 h 2146918"/>
              <a:gd name="connsiteX1404" fmla="*/ 1239920 w 5521505"/>
              <a:gd name="connsiteY1404" fmla="*/ 1393715 h 2146918"/>
              <a:gd name="connsiteX1405" fmla="*/ 1240054 w 5521505"/>
              <a:gd name="connsiteY1405" fmla="*/ 1393460 h 2146918"/>
              <a:gd name="connsiteX1406" fmla="*/ 1240163 w 5521505"/>
              <a:gd name="connsiteY1406" fmla="*/ 1393228 h 2146918"/>
              <a:gd name="connsiteX1407" fmla="*/ 1240346 w 5521505"/>
              <a:gd name="connsiteY1407" fmla="*/ 1392851 h 2146918"/>
              <a:gd name="connsiteX1408" fmla="*/ 1240589 w 5521505"/>
              <a:gd name="connsiteY1408" fmla="*/ 1392363 h 2146918"/>
              <a:gd name="connsiteX1409" fmla="*/ 1240711 w 5521505"/>
              <a:gd name="connsiteY1409" fmla="*/ 1392108 h 2146918"/>
              <a:gd name="connsiteX1410" fmla="*/ 1240821 w 5521505"/>
              <a:gd name="connsiteY1410" fmla="*/ 1391889 h 2146918"/>
              <a:gd name="connsiteX1411" fmla="*/ 1240930 w 5521505"/>
              <a:gd name="connsiteY1411" fmla="*/ 1391669 h 2146918"/>
              <a:gd name="connsiteX1412" fmla="*/ 1241064 w 5521505"/>
              <a:gd name="connsiteY1412" fmla="*/ 1391389 h 2146918"/>
              <a:gd name="connsiteX1413" fmla="*/ 1241162 w 5521505"/>
              <a:gd name="connsiteY1413" fmla="*/ 1391194 h 2146918"/>
              <a:gd name="connsiteX1414" fmla="*/ 1241283 w 5521505"/>
              <a:gd name="connsiteY1414" fmla="*/ 1390951 h 2146918"/>
              <a:gd name="connsiteX1415" fmla="*/ 1241369 w 5521505"/>
              <a:gd name="connsiteY1415" fmla="*/ 1390781 h 2146918"/>
              <a:gd name="connsiteX1416" fmla="*/ 1241478 w 5521505"/>
              <a:gd name="connsiteY1416" fmla="*/ 1390561 h 2146918"/>
              <a:gd name="connsiteX1417" fmla="*/ 1241563 w 5521505"/>
              <a:gd name="connsiteY1417" fmla="*/ 1390391 h 2146918"/>
              <a:gd name="connsiteX1418" fmla="*/ 1241649 w 5521505"/>
              <a:gd name="connsiteY1418" fmla="*/ 1390208 h 2146918"/>
              <a:gd name="connsiteX1419" fmla="*/ 1241807 w 5521505"/>
              <a:gd name="connsiteY1419" fmla="*/ 1389904 h 2146918"/>
              <a:gd name="connsiteX1420" fmla="*/ 1241941 w 5521505"/>
              <a:gd name="connsiteY1420" fmla="*/ 1389624 h 2146918"/>
              <a:gd name="connsiteX1421" fmla="*/ 1242099 w 5521505"/>
              <a:gd name="connsiteY1421" fmla="*/ 1389319 h 2146918"/>
              <a:gd name="connsiteX1422" fmla="*/ 1242221 w 5521505"/>
              <a:gd name="connsiteY1422" fmla="*/ 1389076 h 2146918"/>
              <a:gd name="connsiteX1423" fmla="*/ 1242343 w 5521505"/>
              <a:gd name="connsiteY1423" fmla="*/ 1388820 h 2146918"/>
              <a:gd name="connsiteX1424" fmla="*/ 1242489 w 5521505"/>
              <a:gd name="connsiteY1424" fmla="*/ 1388540 h 2146918"/>
              <a:gd name="connsiteX1425" fmla="*/ 1242586 w 5521505"/>
              <a:gd name="connsiteY1425" fmla="*/ 1388333 h 2146918"/>
              <a:gd name="connsiteX1426" fmla="*/ 1242684 w 5521505"/>
              <a:gd name="connsiteY1426" fmla="*/ 1388138 h 2146918"/>
              <a:gd name="connsiteX1427" fmla="*/ 1242793 w 5521505"/>
              <a:gd name="connsiteY1427" fmla="*/ 1387883 h 2146918"/>
              <a:gd name="connsiteX1428" fmla="*/ 1242915 w 5521505"/>
              <a:gd name="connsiteY1428" fmla="*/ 1387627 h 2146918"/>
              <a:gd name="connsiteX1429" fmla="*/ 1243025 w 5521505"/>
              <a:gd name="connsiteY1429" fmla="*/ 1387383 h 2146918"/>
              <a:gd name="connsiteX1430" fmla="*/ 1243134 w 5521505"/>
              <a:gd name="connsiteY1430" fmla="*/ 1387103 h 2146918"/>
              <a:gd name="connsiteX1431" fmla="*/ 1243207 w 5521505"/>
              <a:gd name="connsiteY1431" fmla="*/ 1386908 h 2146918"/>
              <a:gd name="connsiteX1432" fmla="*/ 1243305 w 5521505"/>
              <a:gd name="connsiteY1432" fmla="*/ 1386652 h 2146918"/>
              <a:gd name="connsiteX1433" fmla="*/ 1243390 w 5521505"/>
              <a:gd name="connsiteY1433" fmla="*/ 1386361 h 2146918"/>
              <a:gd name="connsiteX1434" fmla="*/ 1243536 w 5521505"/>
              <a:gd name="connsiteY1434" fmla="*/ 1385630 h 2146918"/>
              <a:gd name="connsiteX1435" fmla="*/ 1243536 w 5521505"/>
              <a:gd name="connsiteY1435" fmla="*/ 1385192 h 2146918"/>
              <a:gd name="connsiteX1436" fmla="*/ 1243439 w 5521505"/>
              <a:gd name="connsiteY1436" fmla="*/ 1384850 h 2146918"/>
              <a:gd name="connsiteX1437" fmla="*/ 1243280 w 5521505"/>
              <a:gd name="connsiteY1437" fmla="*/ 1384619 h 2146918"/>
              <a:gd name="connsiteX1438" fmla="*/ 1243171 w 5521505"/>
              <a:gd name="connsiteY1438" fmla="*/ 1384510 h 2146918"/>
              <a:gd name="connsiteX1439" fmla="*/ 1242988 w 5521505"/>
              <a:gd name="connsiteY1439" fmla="*/ 1384388 h 2146918"/>
              <a:gd name="connsiteX1440" fmla="*/ 1242720 w 5521505"/>
              <a:gd name="connsiteY1440" fmla="*/ 1384278 h 2146918"/>
              <a:gd name="connsiteX1441" fmla="*/ 1242428 w 5521505"/>
              <a:gd name="connsiteY1441" fmla="*/ 1384205 h 2146918"/>
              <a:gd name="connsiteX1442" fmla="*/ 1242051 w 5521505"/>
              <a:gd name="connsiteY1442" fmla="*/ 1384144 h 2146918"/>
              <a:gd name="connsiteX1443" fmla="*/ 1241101 w 5521505"/>
              <a:gd name="connsiteY1443" fmla="*/ 1384144 h 2146918"/>
              <a:gd name="connsiteX1444" fmla="*/ 1240772 w 5521505"/>
              <a:gd name="connsiteY1444" fmla="*/ 1384144 h 2146918"/>
              <a:gd name="connsiteX1445" fmla="*/ 1240358 w 5521505"/>
              <a:gd name="connsiteY1445" fmla="*/ 1384144 h 2146918"/>
              <a:gd name="connsiteX1446" fmla="*/ 1239895 w 5521505"/>
              <a:gd name="connsiteY1446" fmla="*/ 1384217 h 2146918"/>
              <a:gd name="connsiteX1447" fmla="*/ 1239420 w 5521505"/>
              <a:gd name="connsiteY1447" fmla="*/ 1384290 h 2146918"/>
              <a:gd name="connsiteX1448" fmla="*/ 1238958 w 5521505"/>
              <a:gd name="connsiteY1448" fmla="*/ 1384375 h 2146918"/>
              <a:gd name="connsiteX1449" fmla="*/ 1238471 w 5521505"/>
              <a:gd name="connsiteY1449" fmla="*/ 1384473 h 2146918"/>
              <a:gd name="connsiteX1450" fmla="*/ 1238190 w 5521505"/>
              <a:gd name="connsiteY1450" fmla="*/ 1384534 h 2146918"/>
              <a:gd name="connsiteX1451" fmla="*/ 1237764 w 5521505"/>
              <a:gd name="connsiteY1451" fmla="*/ 1384619 h 2146918"/>
              <a:gd name="connsiteX1452" fmla="*/ 1237338 w 5521505"/>
              <a:gd name="connsiteY1452" fmla="*/ 1384692 h 2146918"/>
              <a:gd name="connsiteX1453" fmla="*/ 1236839 w 5521505"/>
              <a:gd name="connsiteY1453" fmla="*/ 1384777 h 2146918"/>
              <a:gd name="connsiteX1454" fmla="*/ 1236559 w 5521505"/>
              <a:gd name="connsiteY1454" fmla="*/ 1384777 h 2146918"/>
              <a:gd name="connsiteX1455" fmla="*/ 1236206 w 5521505"/>
              <a:gd name="connsiteY1455" fmla="*/ 1384777 h 2146918"/>
              <a:gd name="connsiteX1456" fmla="*/ 1235938 w 5521505"/>
              <a:gd name="connsiteY1456" fmla="*/ 1384777 h 2146918"/>
              <a:gd name="connsiteX1457" fmla="*/ 1235499 w 5521505"/>
              <a:gd name="connsiteY1457" fmla="*/ 1384777 h 2146918"/>
              <a:gd name="connsiteX1458" fmla="*/ 1235073 w 5521505"/>
              <a:gd name="connsiteY1458" fmla="*/ 1384777 h 2146918"/>
              <a:gd name="connsiteX1459" fmla="*/ 1234306 w 5521505"/>
              <a:gd name="connsiteY1459" fmla="*/ 1384777 h 2146918"/>
              <a:gd name="connsiteX1460" fmla="*/ 1233807 w 5521505"/>
              <a:gd name="connsiteY1460" fmla="*/ 1384777 h 2146918"/>
              <a:gd name="connsiteX1461" fmla="*/ 1231664 w 5521505"/>
              <a:gd name="connsiteY1461" fmla="*/ 1384777 h 2146918"/>
              <a:gd name="connsiteX1462" fmla="*/ 1230994 w 5521505"/>
              <a:gd name="connsiteY1462" fmla="*/ 1384777 h 2146918"/>
              <a:gd name="connsiteX1463" fmla="*/ 1230117 w 5521505"/>
              <a:gd name="connsiteY1463" fmla="*/ 1384680 h 2146918"/>
              <a:gd name="connsiteX1464" fmla="*/ 1229728 w 5521505"/>
              <a:gd name="connsiteY1464" fmla="*/ 1384619 h 2146918"/>
              <a:gd name="connsiteX1465" fmla="*/ 1229423 w 5521505"/>
              <a:gd name="connsiteY1465" fmla="*/ 1384619 h 2146918"/>
              <a:gd name="connsiteX1466" fmla="*/ 1229094 w 5521505"/>
              <a:gd name="connsiteY1466" fmla="*/ 1384558 h 2146918"/>
              <a:gd name="connsiteX1467" fmla="*/ 1228668 w 5521505"/>
              <a:gd name="connsiteY1467" fmla="*/ 1384473 h 2146918"/>
              <a:gd name="connsiteX1468" fmla="*/ 1228181 w 5521505"/>
              <a:gd name="connsiteY1468" fmla="*/ 1384351 h 2146918"/>
              <a:gd name="connsiteX1469" fmla="*/ 1227743 w 5521505"/>
              <a:gd name="connsiteY1469" fmla="*/ 1384230 h 2146918"/>
              <a:gd name="connsiteX1470" fmla="*/ 1227158 w 5521505"/>
              <a:gd name="connsiteY1470" fmla="*/ 1384035 h 2146918"/>
              <a:gd name="connsiteX1471" fmla="*/ 1226696 w 5521505"/>
              <a:gd name="connsiteY1471" fmla="*/ 1383864 h 2146918"/>
              <a:gd name="connsiteX1472" fmla="*/ 1226245 w 5521505"/>
              <a:gd name="connsiteY1472" fmla="*/ 1383681 h 2146918"/>
              <a:gd name="connsiteX1473" fmla="*/ 1225660 w 5521505"/>
              <a:gd name="connsiteY1473" fmla="*/ 1383401 h 2146918"/>
              <a:gd name="connsiteX1474" fmla="*/ 1225320 w 5521505"/>
              <a:gd name="connsiteY1474" fmla="*/ 1383219 h 2146918"/>
              <a:gd name="connsiteX1475" fmla="*/ 1224954 w 5521505"/>
              <a:gd name="connsiteY1475" fmla="*/ 1383012 h 2146918"/>
              <a:gd name="connsiteX1476" fmla="*/ 1224699 w 5521505"/>
              <a:gd name="connsiteY1476" fmla="*/ 1382853 h 2146918"/>
              <a:gd name="connsiteX1477" fmla="*/ 1224394 w 5521505"/>
              <a:gd name="connsiteY1477" fmla="*/ 1382659 h 2146918"/>
              <a:gd name="connsiteX1478" fmla="*/ 1224004 w 5521505"/>
              <a:gd name="connsiteY1478" fmla="*/ 1382379 h 2146918"/>
              <a:gd name="connsiteX1479" fmla="*/ 1223785 w 5521505"/>
              <a:gd name="connsiteY1479" fmla="*/ 1382208 h 2146918"/>
              <a:gd name="connsiteX1480" fmla="*/ 1223517 w 5521505"/>
              <a:gd name="connsiteY1480" fmla="*/ 1381989 h 2146918"/>
              <a:gd name="connsiteX1481" fmla="*/ 1223310 w 5521505"/>
              <a:gd name="connsiteY1481" fmla="*/ 1381806 h 2146918"/>
              <a:gd name="connsiteX1482" fmla="*/ 1222969 w 5521505"/>
              <a:gd name="connsiteY1482" fmla="*/ 1381490 h 2146918"/>
              <a:gd name="connsiteX1483" fmla="*/ 1222762 w 5521505"/>
              <a:gd name="connsiteY1483" fmla="*/ 1381283 h 2146918"/>
              <a:gd name="connsiteX1484" fmla="*/ 1222519 w 5521505"/>
              <a:gd name="connsiteY1484" fmla="*/ 1381015 h 2146918"/>
              <a:gd name="connsiteX1485" fmla="*/ 1222263 w 5521505"/>
              <a:gd name="connsiteY1485" fmla="*/ 1380722 h 2146918"/>
              <a:gd name="connsiteX1486" fmla="*/ 1222068 w 5521505"/>
              <a:gd name="connsiteY1486" fmla="*/ 1380479 h 2146918"/>
              <a:gd name="connsiteX1487" fmla="*/ 1221679 w 5521505"/>
              <a:gd name="connsiteY1487" fmla="*/ 1379931 h 2146918"/>
              <a:gd name="connsiteX1488" fmla="*/ 1221374 w 5521505"/>
              <a:gd name="connsiteY1488" fmla="*/ 1379456 h 2146918"/>
              <a:gd name="connsiteX1489" fmla="*/ 1221204 w 5521505"/>
              <a:gd name="connsiteY1489" fmla="*/ 1379188 h 2146918"/>
              <a:gd name="connsiteX1490" fmla="*/ 1221082 w 5521505"/>
              <a:gd name="connsiteY1490" fmla="*/ 1378944 h 2146918"/>
              <a:gd name="connsiteX1491" fmla="*/ 1220838 w 5521505"/>
              <a:gd name="connsiteY1491" fmla="*/ 1378482 h 2146918"/>
              <a:gd name="connsiteX1492" fmla="*/ 1220668 w 5521505"/>
              <a:gd name="connsiteY1492" fmla="*/ 1378104 h 2146918"/>
              <a:gd name="connsiteX1493" fmla="*/ 1220437 w 5521505"/>
              <a:gd name="connsiteY1493" fmla="*/ 1377557 h 2146918"/>
              <a:gd name="connsiteX1494" fmla="*/ 1220278 w 5521505"/>
              <a:gd name="connsiteY1494" fmla="*/ 1377094 h 2146918"/>
              <a:gd name="connsiteX1495" fmla="*/ 1220144 w 5521505"/>
              <a:gd name="connsiteY1495" fmla="*/ 1376655 h 2146918"/>
              <a:gd name="connsiteX1496" fmla="*/ 1219998 w 5521505"/>
              <a:gd name="connsiteY1496" fmla="*/ 1376132 h 2146918"/>
              <a:gd name="connsiteX1497" fmla="*/ 1219889 w 5521505"/>
              <a:gd name="connsiteY1497" fmla="*/ 1375669 h 2146918"/>
              <a:gd name="connsiteX1498" fmla="*/ 1219791 w 5521505"/>
              <a:gd name="connsiteY1498" fmla="*/ 1375170 h 2146918"/>
              <a:gd name="connsiteX1499" fmla="*/ 1219694 w 5521505"/>
              <a:gd name="connsiteY1499" fmla="*/ 1374610 h 2146918"/>
              <a:gd name="connsiteX1500" fmla="*/ 1219621 w 5521505"/>
              <a:gd name="connsiteY1500" fmla="*/ 1373952 h 2146918"/>
              <a:gd name="connsiteX1501" fmla="*/ 1219621 w 5521505"/>
              <a:gd name="connsiteY1501" fmla="*/ 1373319 h 2146918"/>
              <a:gd name="connsiteX1502" fmla="*/ 1219621 w 5521505"/>
              <a:gd name="connsiteY1502" fmla="*/ 1372430 h 2146918"/>
              <a:gd name="connsiteX1503" fmla="*/ 1219621 w 5521505"/>
              <a:gd name="connsiteY1503" fmla="*/ 1371773 h 2146918"/>
              <a:gd name="connsiteX1504" fmla="*/ 1219621 w 5521505"/>
              <a:gd name="connsiteY1504" fmla="*/ 1371115 h 2146918"/>
              <a:gd name="connsiteX1505" fmla="*/ 1219706 w 5521505"/>
              <a:gd name="connsiteY1505" fmla="*/ 1370044 h 2146918"/>
              <a:gd name="connsiteX1506" fmla="*/ 1219803 w 5521505"/>
              <a:gd name="connsiteY1506" fmla="*/ 1369191 h 2146918"/>
              <a:gd name="connsiteX1507" fmla="*/ 1219925 w 5521505"/>
              <a:gd name="connsiteY1507" fmla="*/ 1368460 h 2146918"/>
              <a:gd name="connsiteX1508" fmla="*/ 1220023 w 5521505"/>
              <a:gd name="connsiteY1508" fmla="*/ 1367949 h 2146918"/>
              <a:gd name="connsiteX1509" fmla="*/ 1220242 w 5521505"/>
              <a:gd name="connsiteY1509" fmla="*/ 1366975 h 2146918"/>
              <a:gd name="connsiteX1510" fmla="*/ 1220412 w 5521505"/>
              <a:gd name="connsiteY1510" fmla="*/ 1366318 h 2146918"/>
              <a:gd name="connsiteX1511" fmla="*/ 1220692 w 5521505"/>
              <a:gd name="connsiteY1511" fmla="*/ 1365282 h 2146918"/>
              <a:gd name="connsiteX1512" fmla="*/ 1220875 w 5521505"/>
              <a:gd name="connsiteY1512" fmla="*/ 1364661 h 2146918"/>
              <a:gd name="connsiteX1513" fmla="*/ 1221058 w 5521505"/>
              <a:gd name="connsiteY1513" fmla="*/ 1364016 h 2146918"/>
              <a:gd name="connsiteX1514" fmla="*/ 1221240 w 5521505"/>
              <a:gd name="connsiteY1514" fmla="*/ 1363370 h 2146918"/>
              <a:gd name="connsiteX1515" fmla="*/ 1221472 w 5521505"/>
              <a:gd name="connsiteY1515" fmla="*/ 1362591 h 2146918"/>
              <a:gd name="connsiteX1516" fmla="*/ 1221679 w 5521505"/>
              <a:gd name="connsiteY1516" fmla="*/ 1361848 h 2146918"/>
              <a:gd name="connsiteX1517" fmla="*/ 1221849 w 5521505"/>
              <a:gd name="connsiteY1517" fmla="*/ 1361215 h 2146918"/>
              <a:gd name="connsiteX1518" fmla="*/ 1222105 w 5521505"/>
              <a:gd name="connsiteY1518" fmla="*/ 1360180 h 2146918"/>
              <a:gd name="connsiteX1519" fmla="*/ 1222336 w 5521505"/>
              <a:gd name="connsiteY1519" fmla="*/ 1359036 h 2146918"/>
              <a:gd name="connsiteX1520" fmla="*/ 1222446 w 5521505"/>
              <a:gd name="connsiteY1520" fmla="*/ 1358378 h 2146918"/>
              <a:gd name="connsiteX1521" fmla="*/ 1222531 w 5521505"/>
              <a:gd name="connsiteY1521" fmla="*/ 1357781 h 2146918"/>
              <a:gd name="connsiteX1522" fmla="*/ 1222531 w 5521505"/>
              <a:gd name="connsiteY1522" fmla="*/ 1357221 h 2146918"/>
              <a:gd name="connsiteX1523" fmla="*/ 1222531 w 5521505"/>
              <a:gd name="connsiteY1523" fmla="*/ 1356649 h 2146918"/>
              <a:gd name="connsiteX1524" fmla="*/ 1222531 w 5521505"/>
              <a:gd name="connsiteY1524" fmla="*/ 1356088 h 2146918"/>
              <a:gd name="connsiteX1525" fmla="*/ 1222531 w 5521505"/>
              <a:gd name="connsiteY1525" fmla="*/ 1355492 h 2146918"/>
              <a:gd name="connsiteX1526" fmla="*/ 1222531 w 5521505"/>
              <a:gd name="connsiteY1526" fmla="*/ 1355005 h 2146918"/>
              <a:gd name="connsiteX1527" fmla="*/ 1222409 w 5521505"/>
              <a:gd name="connsiteY1527" fmla="*/ 1354433 h 2146918"/>
              <a:gd name="connsiteX1528" fmla="*/ 1222288 w 5521505"/>
              <a:gd name="connsiteY1528" fmla="*/ 1353982 h 2146918"/>
              <a:gd name="connsiteX1529" fmla="*/ 1222081 w 5521505"/>
              <a:gd name="connsiteY1529" fmla="*/ 1353459 h 2146918"/>
              <a:gd name="connsiteX1530" fmla="*/ 1221934 w 5521505"/>
              <a:gd name="connsiteY1530" fmla="*/ 1353154 h 2146918"/>
              <a:gd name="connsiteX1531" fmla="*/ 1221740 w 5521505"/>
              <a:gd name="connsiteY1531" fmla="*/ 1352789 h 2146918"/>
              <a:gd name="connsiteX1532" fmla="*/ 1221472 w 5521505"/>
              <a:gd name="connsiteY1532" fmla="*/ 1352387 h 2146918"/>
              <a:gd name="connsiteX1533" fmla="*/ 1221143 w 5521505"/>
              <a:gd name="connsiteY1533" fmla="*/ 1351985 h 2146918"/>
              <a:gd name="connsiteX1534" fmla="*/ 1220814 w 5521505"/>
              <a:gd name="connsiteY1534" fmla="*/ 1351644 h 2146918"/>
              <a:gd name="connsiteX1535" fmla="*/ 1220571 w 5521505"/>
              <a:gd name="connsiteY1535" fmla="*/ 1351413 h 2146918"/>
              <a:gd name="connsiteX1536" fmla="*/ 1220315 w 5521505"/>
              <a:gd name="connsiteY1536" fmla="*/ 1351193 h 2146918"/>
              <a:gd name="connsiteX1537" fmla="*/ 1220059 w 5521505"/>
              <a:gd name="connsiteY1537" fmla="*/ 1351011 h 2146918"/>
              <a:gd name="connsiteX1538" fmla="*/ 1219852 w 5521505"/>
              <a:gd name="connsiteY1538" fmla="*/ 1350865 h 2146918"/>
              <a:gd name="connsiteX1539" fmla="*/ 1219633 w 5521505"/>
              <a:gd name="connsiteY1539" fmla="*/ 1350719 h 2146918"/>
              <a:gd name="connsiteX1540" fmla="*/ 1219426 w 5521505"/>
              <a:gd name="connsiteY1540" fmla="*/ 1350597 h 2146918"/>
              <a:gd name="connsiteX1541" fmla="*/ 1219170 w 5521505"/>
              <a:gd name="connsiteY1541" fmla="*/ 1350426 h 2146918"/>
              <a:gd name="connsiteX1542" fmla="*/ 1218963 w 5521505"/>
              <a:gd name="connsiteY1542" fmla="*/ 1350256 h 2146918"/>
              <a:gd name="connsiteX1543" fmla="*/ 1218817 w 5521505"/>
              <a:gd name="connsiteY1543" fmla="*/ 1350098 h 2146918"/>
              <a:gd name="connsiteX1544" fmla="*/ 1218671 w 5521505"/>
              <a:gd name="connsiteY1544" fmla="*/ 1349879 h 2146918"/>
              <a:gd name="connsiteX1545" fmla="*/ 1218525 w 5521505"/>
              <a:gd name="connsiteY1545" fmla="*/ 1349611 h 2146918"/>
              <a:gd name="connsiteX1546" fmla="*/ 1218525 w 5521505"/>
              <a:gd name="connsiteY1546" fmla="*/ 1349416 h 2146918"/>
              <a:gd name="connsiteX1547" fmla="*/ 1218525 w 5521505"/>
              <a:gd name="connsiteY1547" fmla="*/ 1349148 h 2146918"/>
              <a:gd name="connsiteX1548" fmla="*/ 1218525 w 5521505"/>
              <a:gd name="connsiteY1548" fmla="*/ 1348734 h 2146918"/>
              <a:gd name="connsiteX1549" fmla="*/ 1218622 w 5521505"/>
              <a:gd name="connsiteY1549" fmla="*/ 1348137 h 2146918"/>
              <a:gd name="connsiteX1550" fmla="*/ 1218841 w 5521505"/>
              <a:gd name="connsiteY1550" fmla="*/ 1347504 h 2146918"/>
              <a:gd name="connsiteX1551" fmla="*/ 1219146 w 5521505"/>
              <a:gd name="connsiteY1551" fmla="*/ 1346883 h 2146918"/>
              <a:gd name="connsiteX1552" fmla="*/ 1219779 w 5521505"/>
              <a:gd name="connsiteY1552" fmla="*/ 1345884 h 2146918"/>
              <a:gd name="connsiteX1553" fmla="*/ 1220376 w 5521505"/>
              <a:gd name="connsiteY1553" fmla="*/ 1345117 h 2146918"/>
              <a:gd name="connsiteX1554" fmla="*/ 1221106 w 5521505"/>
              <a:gd name="connsiteY1554" fmla="*/ 1344265 h 2146918"/>
              <a:gd name="connsiteX1555" fmla="*/ 1222007 w 5521505"/>
              <a:gd name="connsiteY1555" fmla="*/ 1343352 h 2146918"/>
              <a:gd name="connsiteX1556" fmla="*/ 1222884 w 5521505"/>
              <a:gd name="connsiteY1556" fmla="*/ 1342524 h 2146918"/>
              <a:gd name="connsiteX1557" fmla="*/ 1223895 w 5521505"/>
              <a:gd name="connsiteY1557" fmla="*/ 1341635 h 2146918"/>
              <a:gd name="connsiteX1558" fmla="*/ 1224747 w 5521505"/>
              <a:gd name="connsiteY1558" fmla="*/ 1340953 h 2146918"/>
              <a:gd name="connsiteX1559" fmla="*/ 1225673 w 5521505"/>
              <a:gd name="connsiteY1559" fmla="*/ 1340210 h 2146918"/>
              <a:gd name="connsiteX1560" fmla="*/ 1227207 w 5521505"/>
              <a:gd name="connsiteY1560" fmla="*/ 1338931 h 2146918"/>
              <a:gd name="connsiteX1561" fmla="*/ 1228425 w 5521505"/>
              <a:gd name="connsiteY1561" fmla="*/ 1337896 h 2146918"/>
              <a:gd name="connsiteX1562" fmla="*/ 1229447 w 5521505"/>
              <a:gd name="connsiteY1562" fmla="*/ 1336947 h 2146918"/>
              <a:gd name="connsiteX1563" fmla="*/ 1230409 w 5521505"/>
              <a:gd name="connsiteY1563" fmla="*/ 1335985 h 2146918"/>
              <a:gd name="connsiteX1564" fmla="*/ 1231201 w 5521505"/>
              <a:gd name="connsiteY1564" fmla="*/ 1335120 h 2146918"/>
              <a:gd name="connsiteX1565" fmla="*/ 1231932 w 5521505"/>
              <a:gd name="connsiteY1565" fmla="*/ 1334219 h 2146918"/>
              <a:gd name="connsiteX1566" fmla="*/ 1232394 w 5521505"/>
              <a:gd name="connsiteY1566" fmla="*/ 1333598 h 2146918"/>
              <a:gd name="connsiteX1567" fmla="*/ 1232833 w 5521505"/>
              <a:gd name="connsiteY1567" fmla="*/ 1332916 h 2146918"/>
              <a:gd name="connsiteX1568" fmla="*/ 1233198 w 5521505"/>
              <a:gd name="connsiteY1568" fmla="*/ 1332247 h 2146918"/>
              <a:gd name="connsiteX1569" fmla="*/ 1233539 w 5521505"/>
              <a:gd name="connsiteY1569" fmla="*/ 1331528 h 2146918"/>
              <a:gd name="connsiteX1570" fmla="*/ 1233758 w 5521505"/>
              <a:gd name="connsiteY1570" fmla="*/ 1330919 h 2146918"/>
              <a:gd name="connsiteX1571" fmla="*/ 1233929 w 5521505"/>
              <a:gd name="connsiteY1571" fmla="*/ 1330250 h 2146918"/>
              <a:gd name="connsiteX1572" fmla="*/ 1234050 w 5521505"/>
              <a:gd name="connsiteY1572" fmla="*/ 1329543 h 2146918"/>
              <a:gd name="connsiteX1573" fmla="*/ 1234050 w 5521505"/>
              <a:gd name="connsiteY1573" fmla="*/ 1328788 h 2146918"/>
              <a:gd name="connsiteX1574" fmla="*/ 1234050 w 5521505"/>
              <a:gd name="connsiteY1574" fmla="*/ 1328192 h 2146918"/>
              <a:gd name="connsiteX1575" fmla="*/ 1233977 w 5521505"/>
              <a:gd name="connsiteY1575" fmla="*/ 1327705 h 2146918"/>
              <a:gd name="connsiteX1576" fmla="*/ 1233795 w 5521505"/>
              <a:gd name="connsiteY1576" fmla="*/ 1326962 h 2146918"/>
              <a:gd name="connsiteX1577" fmla="*/ 1233575 w 5521505"/>
              <a:gd name="connsiteY1577" fmla="*/ 1326365 h 2146918"/>
              <a:gd name="connsiteX1578" fmla="*/ 1233320 w 5521505"/>
              <a:gd name="connsiteY1578" fmla="*/ 1325793 h 2146918"/>
              <a:gd name="connsiteX1579" fmla="*/ 1233088 w 5521505"/>
              <a:gd name="connsiteY1579" fmla="*/ 1325354 h 2146918"/>
              <a:gd name="connsiteX1580" fmla="*/ 1232833 w 5521505"/>
              <a:gd name="connsiteY1580" fmla="*/ 1324782 h 2146918"/>
              <a:gd name="connsiteX1581" fmla="*/ 1232601 w 5521505"/>
              <a:gd name="connsiteY1581" fmla="*/ 1323881 h 2146918"/>
              <a:gd name="connsiteX1582" fmla="*/ 1232516 w 5521505"/>
              <a:gd name="connsiteY1582" fmla="*/ 1323053 h 2146918"/>
              <a:gd name="connsiteX1583" fmla="*/ 1232614 w 5521505"/>
              <a:gd name="connsiteY1583" fmla="*/ 1321641 h 2146918"/>
              <a:gd name="connsiteX1584" fmla="*/ 1232845 w 5521505"/>
              <a:gd name="connsiteY1584" fmla="*/ 1320484 h 2146918"/>
              <a:gd name="connsiteX1585" fmla="*/ 1233235 w 5521505"/>
              <a:gd name="connsiteY1585" fmla="*/ 1319266 h 2146918"/>
              <a:gd name="connsiteX1586" fmla="*/ 1233515 w 5521505"/>
              <a:gd name="connsiteY1586" fmla="*/ 1318523 h 2146918"/>
              <a:gd name="connsiteX1587" fmla="*/ 1233856 w 5521505"/>
              <a:gd name="connsiteY1587" fmla="*/ 1317744 h 2146918"/>
              <a:gd name="connsiteX1588" fmla="*/ 1234671 w 5521505"/>
              <a:gd name="connsiteY1588" fmla="*/ 1316185 h 2146918"/>
              <a:gd name="connsiteX1589" fmla="*/ 1235792 w 5521505"/>
              <a:gd name="connsiteY1589" fmla="*/ 1314383 h 2146918"/>
              <a:gd name="connsiteX1590" fmla="*/ 1236729 w 5521505"/>
              <a:gd name="connsiteY1590" fmla="*/ 1313068 h 2146918"/>
              <a:gd name="connsiteX1591" fmla="*/ 1237850 w 5521505"/>
              <a:gd name="connsiteY1591" fmla="*/ 1311643 h 2146918"/>
              <a:gd name="connsiteX1592" fmla="*/ 1239067 w 5521505"/>
              <a:gd name="connsiteY1592" fmla="*/ 1310133 h 2146918"/>
              <a:gd name="connsiteX1593" fmla="*/ 1239895 w 5521505"/>
              <a:gd name="connsiteY1593" fmla="*/ 1309001 h 2146918"/>
              <a:gd name="connsiteX1594" fmla="*/ 1240528 w 5521505"/>
              <a:gd name="connsiteY1594" fmla="*/ 1308027 h 2146918"/>
              <a:gd name="connsiteX1595" fmla="*/ 1241296 w 5521505"/>
              <a:gd name="connsiteY1595" fmla="*/ 1306748 h 2146918"/>
              <a:gd name="connsiteX1596" fmla="*/ 1241965 w 5521505"/>
              <a:gd name="connsiteY1596" fmla="*/ 1305530 h 2146918"/>
              <a:gd name="connsiteX1597" fmla="*/ 1242452 w 5521505"/>
              <a:gd name="connsiteY1597" fmla="*/ 1304483 h 2146918"/>
              <a:gd name="connsiteX1598" fmla="*/ 1242708 w 5521505"/>
              <a:gd name="connsiteY1598" fmla="*/ 1303850 h 2146918"/>
              <a:gd name="connsiteX1599" fmla="*/ 1242915 w 5521505"/>
              <a:gd name="connsiteY1599" fmla="*/ 1303314 h 2146918"/>
              <a:gd name="connsiteX1600" fmla="*/ 1243183 w 5521505"/>
              <a:gd name="connsiteY1600" fmla="*/ 1302583 h 2146918"/>
              <a:gd name="connsiteX1601" fmla="*/ 1243341 w 5521505"/>
              <a:gd name="connsiteY1601" fmla="*/ 1302085 h 2146918"/>
              <a:gd name="connsiteX1602" fmla="*/ 1243548 w 5521505"/>
              <a:gd name="connsiteY1602" fmla="*/ 1301415 h 2146918"/>
              <a:gd name="connsiteX1603" fmla="*/ 1243694 w 5521505"/>
              <a:gd name="connsiteY1603" fmla="*/ 1300854 h 2146918"/>
              <a:gd name="connsiteX1604" fmla="*/ 1243853 w 5521505"/>
              <a:gd name="connsiteY1604" fmla="*/ 1300197 h 2146918"/>
              <a:gd name="connsiteX1605" fmla="*/ 1243999 w 5521505"/>
              <a:gd name="connsiteY1605" fmla="*/ 1299479 h 2146918"/>
              <a:gd name="connsiteX1606" fmla="*/ 1244096 w 5521505"/>
              <a:gd name="connsiteY1606" fmla="*/ 1298930 h 2146918"/>
              <a:gd name="connsiteX1607" fmla="*/ 1244169 w 5521505"/>
              <a:gd name="connsiteY1607" fmla="*/ 1298492 h 2146918"/>
              <a:gd name="connsiteX1608" fmla="*/ 1244242 w 5521505"/>
              <a:gd name="connsiteY1608" fmla="*/ 1297981 h 2146918"/>
              <a:gd name="connsiteX1609" fmla="*/ 1244242 w 5521505"/>
              <a:gd name="connsiteY1609" fmla="*/ 1297628 h 2146918"/>
              <a:gd name="connsiteX1610" fmla="*/ 1244242 w 5521505"/>
              <a:gd name="connsiteY1610" fmla="*/ 1297116 h 2146918"/>
              <a:gd name="connsiteX1611" fmla="*/ 1244242 w 5521505"/>
              <a:gd name="connsiteY1611" fmla="*/ 1296666 h 2146918"/>
              <a:gd name="connsiteX1612" fmla="*/ 1244242 w 5521505"/>
              <a:gd name="connsiteY1612" fmla="*/ 1296228 h 2146918"/>
              <a:gd name="connsiteX1613" fmla="*/ 1244242 w 5521505"/>
              <a:gd name="connsiteY1613" fmla="*/ 1295837 h 2146918"/>
              <a:gd name="connsiteX1614" fmla="*/ 1244242 w 5521505"/>
              <a:gd name="connsiteY1614" fmla="*/ 1295375 h 2146918"/>
              <a:gd name="connsiteX1615" fmla="*/ 1244242 w 5521505"/>
              <a:gd name="connsiteY1615" fmla="*/ 1294997 h 2146918"/>
              <a:gd name="connsiteX1616" fmla="*/ 1244242 w 5521505"/>
              <a:gd name="connsiteY1616" fmla="*/ 1294060 h 2146918"/>
              <a:gd name="connsiteX1617" fmla="*/ 1244242 w 5521505"/>
              <a:gd name="connsiteY1617" fmla="*/ 1293585 h 2146918"/>
              <a:gd name="connsiteX1618" fmla="*/ 1244242 w 5521505"/>
              <a:gd name="connsiteY1618" fmla="*/ 1293049 h 2146918"/>
              <a:gd name="connsiteX1619" fmla="*/ 1244242 w 5521505"/>
              <a:gd name="connsiteY1619" fmla="*/ 1292526 h 2146918"/>
              <a:gd name="connsiteX1620" fmla="*/ 1244242 w 5521505"/>
              <a:gd name="connsiteY1620" fmla="*/ 1292026 h 2146918"/>
              <a:gd name="connsiteX1621" fmla="*/ 1244242 w 5521505"/>
              <a:gd name="connsiteY1621" fmla="*/ 1291417 h 2146918"/>
              <a:gd name="connsiteX1622" fmla="*/ 1244242 w 5521505"/>
              <a:gd name="connsiteY1622" fmla="*/ 1291015 h 2146918"/>
              <a:gd name="connsiteX1623" fmla="*/ 1244242 w 5521505"/>
              <a:gd name="connsiteY1623" fmla="*/ 1290480 h 2146918"/>
              <a:gd name="connsiteX1624" fmla="*/ 1244157 w 5521505"/>
              <a:gd name="connsiteY1624" fmla="*/ 1289871 h 2146918"/>
              <a:gd name="connsiteX1625" fmla="*/ 1244060 w 5521505"/>
              <a:gd name="connsiteY1625" fmla="*/ 1289262 h 2146918"/>
              <a:gd name="connsiteX1626" fmla="*/ 1244060 w 5521505"/>
              <a:gd name="connsiteY1626" fmla="*/ 1288909 h 2146918"/>
              <a:gd name="connsiteX1627" fmla="*/ 1243938 w 5521505"/>
              <a:gd name="connsiteY1627" fmla="*/ 1288361 h 2146918"/>
              <a:gd name="connsiteX1628" fmla="*/ 1243841 w 5521505"/>
              <a:gd name="connsiteY1628" fmla="*/ 1287935 h 2146918"/>
              <a:gd name="connsiteX1629" fmla="*/ 1243719 w 5521505"/>
              <a:gd name="connsiteY1629" fmla="*/ 1287448 h 2146918"/>
              <a:gd name="connsiteX1630" fmla="*/ 1243597 w 5521505"/>
              <a:gd name="connsiteY1630" fmla="*/ 1287022 h 2146918"/>
              <a:gd name="connsiteX1631" fmla="*/ 1243475 w 5521505"/>
              <a:gd name="connsiteY1631" fmla="*/ 1286584 h 2146918"/>
              <a:gd name="connsiteX1632" fmla="*/ 1243329 w 5521505"/>
              <a:gd name="connsiteY1632" fmla="*/ 1286120 h 2146918"/>
              <a:gd name="connsiteX1633" fmla="*/ 1243171 w 5521505"/>
              <a:gd name="connsiteY1633" fmla="*/ 1285658 h 2146918"/>
              <a:gd name="connsiteX1634" fmla="*/ 1242988 w 5521505"/>
              <a:gd name="connsiteY1634" fmla="*/ 1285146 h 2146918"/>
              <a:gd name="connsiteX1635" fmla="*/ 1242818 w 5521505"/>
              <a:gd name="connsiteY1635" fmla="*/ 1284660 h 2146918"/>
              <a:gd name="connsiteX1636" fmla="*/ 1242623 w 5521505"/>
              <a:gd name="connsiteY1636" fmla="*/ 1284173 h 2146918"/>
              <a:gd name="connsiteX1637" fmla="*/ 1242428 w 5521505"/>
              <a:gd name="connsiteY1637" fmla="*/ 1283685 h 2146918"/>
              <a:gd name="connsiteX1638" fmla="*/ 1242270 w 5521505"/>
              <a:gd name="connsiteY1638" fmla="*/ 1283296 h 2146918"/>
              <a:gd name="connsiteX1639" fmla="*/ 1242063 w 5521505"/>
              <a:gd name="connsiteY1639" fmla="*/ 1282809 h 2146918"/>
              <a:gd name="connsiteX1640" fmla="*/ 1241856 w 5521505"/>
              <a:gd name="connsiteY1640" fmla="*/ 1282322 h 2146918"/>
              <a:gd name="connsiteX1641" fmla="*/ 1241624 w 5521505"/>
              <a:gd name="connsiteY1641" fmla="*/ 1281810 h 2146918"/>
              <a:gd name="connsiteX1642" fmla="*/ 1241381 w 5521505"/>
              <a:gd name="connsiteY1642" fmla="*/ 1281262 h 2146918"/>
              <a:gd name="connsiteX1643" fmla="*/ 1241101 w 5521505"/>
              <a:gd name="connsiteY1643" fmla="*/ 1280653 h 2146918"/>
              <a:gd name="connsiteX1644" fmla="*/ 1240833 w 5521505"/>
              <a:gd name="connsiteY1644" fmla="*/ 1280081 h 2146918"/>
              <a:gd name="connsiteX1645" fmla="*/ 1240528 w 5521505"/>
              <a:gd name="connsiteY1645" fmla="*/ 1279423 h 2146918"/>
              <a:gd name="connsiteX1646" fmla="*/ 1240285 w 5521505"/>
              <a:gd name="connsiteY1646" fmla="*/ 1278887 h 2146918"/>
              <a:gd name="connsiteX1647" fmla="*/ 1240017 w 5521505"/>
              <a:gd name="connsiteY1647" fmla="*/ 1278303 h 2146918"/>
              <a:gd name="connsiteX1648" fmla="*/ 1239749 w 5521505"/>
              <a:gd name="connsiteY1648" fmla="*/ 1277707 h 2146918"/>
              <a:gd name="connsiteX1649" fmla="*/ 1239469 w 5521505"/>
              <a:gd name="connsiteY1649" fmla="*/ 1277061 h 2146918"/>
              <a:gd name="connsiteX1650" fmla="*/ 1239213 w 5521505"/>
              <a:gd name="connsiteY1650" fmla="*/ 1276465 h 2146918"/>
              <a:gd name="connsiteX1651" fmla="*/ 1238897 w 5521505"/>
              <a:gd name="connsiteY1651" fmla="*/ 1275673 h 2146918"/>
              <a:gd name="connsiteX1652" fmla="*/ 1238763 w 5521505"/>
              <a:gd name="connsiteY1652" fmla="*/ 1275307 h 2146918"/>
              <a:gd name="connsiteX1653" fmla="*/ 1238617 w 5521505"/>
              <a:gd name="connsiteY1653" fmla="*/ 1274906 h 2146918"/>
              <a:gd name="connsiteX1654" fmla="*/ 1238446 w 5521505"/>
              <a:gd name="connsiteY1654" fmla="*/ 1274455 h 2146918"/>
              <a:gd name="connsiteX1655" fmla="*/ 1238288 w 5521505"/>
              <a:gd name="connsiteY1655" fmla="*/ 1273980 h 2146918"/>
              <a:gd name="connsiteX1656" fmla="*/ 1238069 w 5521505"/>
              <a:gd name="connsiteY1656" fmla="*/ 1273420 h 2146918"/>
              <a:gd name="connsiteX1657" fmla="*/ 1237898 w 5521505"/>
              <a:gd name="connsiteY1657" fmla="*/ 1273006 h 2146918"/>
              <a:gd name="connsiteX1658" fmla="*/ 1237764 w 5521505"/>
              <a:gd name="connsiteY1658" fmla="*/ 1272690 h 2146918"/>
              <a:gd name="connsiteX1659" fmla="*/ 1237545 w 5521505"/>
              <a:gd name="connsiteY1659" fmla="*/ 1272239 h 2146918"/>
              <a:gd name="connsiteX1660" fmla="*/ 1237326 w 5521505"/>
              <a:gd name="connsiteY1660" fmla="*/ 1271825 h 2146918"/>
              <a:gd name="connsiteX1661" fmla="*/ 1237143 w 5521505"/>
              <a:gd name="connsiteY1661" fmla="*/ 1271484 h 2146918"/>
              <a:gd name="connsiteX1662" fmla="*/ 1236997 w 5521505"/>
              <a:gd name="connsiteY1662" fmla="*/ 1271241 h 2146918"/>
              <a:gd name="connsiteX1663" fmla="*/ 1236778 w 5521505"/>
              <a:gd name="connsiteY1663" fmla="*/ 1270875 h 2146918"/>
              <a:gd name="connsiteX1664" fmla="*/ 1236461 w 5521505"/>
              <a:gd name="connsiteY1664" fmla="*/ 1270412 h 2146918"/>
              <a:gd name="connsiteX1665" fmla="*/ 1236230 w 5521505"/>
              <a:gd name="connsiteY1665" fmla="*/ 1270084 h 2146918"/>
              <a:gd name="connsiteX1666" fmla="*/ 1235962 w 5521505"/>
              <a:gd name="connsiteY1666" fmla="*/ 1269730 h 2146918"/>
              <a:gd name="connsiteX1667" fmla="*/ 1235621 w 5521505"/>
              <a:gd name="connsiteY1667" fmla="*/ 1269317 h 2146918"/>
              <a:gd name="connsiteX1668" fmla="*/ 1235268 w 5521505"/>
              <a:gd name="connsiteY1668" fmla="*/ 1268903 h 2146918"/>
              <a:gd name="connsiteX1669" fmla="*/ 1235000 w 5521505"/>
              <a:gd name="connsiteY1669" fmla="*/ 1268610 h 2146918"/>
              <a:gd name="connsiteX1670" fmla="*/ 1234793 w 5521505"/>
              <a:gd name="connsiteY1670" fmla="*/ 1268391 h 2146918"/>
              <a:gd name="connsiteX1671" fmla="*/ 1234489 w 5521505"/>
              <a:gd name="connsiteY1671" fmla="*/ 1268099 h 2146918"/>
              <a:gd name="connsiteX1672" fmla="*/ 1234355 w 5521505"/>
              <a:gd name="connsiteY1672" fmla="*/ 1267965 h 2146918"/>
              <a:gd name="connsiteX1673" fmla="*/ 1234148 w 5521505"/>
              <a:gd name="connsiteY1673" fmla="*/ 1267770 h 2146918"/>
              <a:gd name="connsiteX1674" fmla="*/ 1233916 w 5521505"/>
              <a:gd name="connsiteY1674" fmla="*/ 1267575 h 2146918"/>
              <a:gd name="connsiteX1675" fmla="*/ 1233661 w 5521505"/>
              <a:gd name="connsiteY1675" fmla="*/ 1267344 h 2146918"/>
              <a:gd name="connsiteX1676" fmla="*/ 1233454 w 5521505"/>
              <a:gd name="connsiteY1676" fmla="*/ 1267173 h 2146918"/>
              <a:gd name="connsiteX1677" fmla="*/ 1233101 w 5521505"/>
              <a:gd name="connsiteY1677" fmla="*/ 1266881 h 2146918"/>
              <a:gd name="connsiteX1678" fmla="*/ 1232760 w 5521505"/>
              <a:gd name="connsiteY1678" fmla="*/ 1266626 h 2146918"/>
              <a:gd name="connsiteX1679" fmla="*/ 1232419 w 5521505"/>
              <a:gd name="connsiteY1679" fmla="*/ 1266370 h 2146918"/>
              <a:gd name="connsiteX1680" fmla="*/ 1231968 w 5521505"/>
              <a:gd name="connsiteY1680" fmla="*/ 1266053 h 2146918"/>
              <a:gd name="connsiteX1681" fmla="*/ 1231591 w 5521505"/>
              <a:gd name="connsiteY1681" fmla="*/ 1265810 h 2146918"/>
              <a:gd name="connsiteX1682" fmla="*/ 1231177 w 5521505"/>
              <a:gd name="connsiteY1682" fmla="*/ 1265554 h 2146918"/>
              <a:gd name="connsiteX1683" fmla="*/ 1230775 w 5521505"/>
              <a:gd name="connsiteY1683" fmla="*/ 1265310 h 2146918"/>
              <a:gd name="connsiteX1684" fmla="*/ 1230470 w 5521505"/>
              <a:gd name="connsiteY1684" fmla="*/ 1265140 h 2146918"/>
              <a:gd name="connsiteX1685" fmla="*/ 1230154 w 5521505"/>
              <a:gd name="connsiteY1685" fmla="*/ 1264970 h 2146918"/>
              <a:gd name="connsiteX1686" fmla="*/ 1229533 w 5521505"/>
              <a:gd name="connsiteY1686" fmla="*/ 1264641 h 2146918"/>
              <a:gd name="connsiteX1687" fmla="*/ 1229131 w 5521505"/>
              <a:gd name="connsiteY1687" fmla="*/ 1264433 h 2146918"/>
              <a:gd name="connsiteX1688" fmla="*/ 1228680 w 5521505"/>
              <a:gd name="connsiteY1688" fmla="*/ 1264226 h 2146918"/>
              <a:gd name="connsiteX1689" fmla="*/ 1228242 w 5521505"/>
              <a:gd name="connsiteY1689" fmla="*/ 1264020 h 2146918"/>
              <a:gd name="connsiteX1690" fmla="*/ 1227755 w 5521505"/>
              <a:gd name="connsiteY1690" fmla="*/ 1263813 h 2146918"/>
              <a:gd name="connsiteX1691" fmla="*/ 1227402 w 5521505"/>
              <a:gd name="connsiteY1691" fmla="*/ 1263666 h 2146918"/>
              <a:gd name="connsiteX1692" fmla="*/ 1226842 w 5521505"/>
              <a:gd name="connsiteY1692" fmla="*/ 1263435 h 2146918"/>
              <a:gd name="connsiteX1693" fmla="*/ 1226428 w 5521505"/>
              <a:gd name="connsiteY1693" fmla="*/ 1263277 h 2146918"/>
              <a:gd name="connsiteX1694" fmla="*/ 1225953 w 5521505"/>
              <a:gd name="connsiteY1694" fmla="*/ 1263106 h 2146918"/>
              <a:gd name="connsiteX1695" fmla="*/ 1225514 w 5521505"/>
              <a:gd name="connsiteY1695" fmla="*/ 1262948 h 2146918"/>
              <a:gd name="connsiteX1696" fmla="*/ 1225088 w 5521505"/>
              <a:gd name="connsiteY1696" fmla="*/ 1262802 h 2146918"/>
              <a:gd name="connsiteX1697" fmla="*/ 1224638 w 5521505"/>
              <a:gd name="connsiteY1697" fmla="*/ 1262656 h 2146918"/>
              <a:gd name="connsiteX1698" fmla="*/ 1223810 w 5521505"/>
              <a:gd name="connsiteY1698" fmla="*/ 1262388 h 2146918"/>
              <a:gd name="connsiteX1699" fmla="*/ 1223310 w 5521505"/>
              <a:gd name="connsiteY1699" fmla="*/ 1262242 h 2146918"/>
              <a:gd name="connsiteX1700" fmla="*/ 1222872 w 5521505"/>
              <a:gd name="connsiteY1700" fmla="*/ 1262120 h 2146918"/>
              <a:gd name="connsiteX1701" fmla="*/ 1222409 w 5521505"/>
              <a:gd name="connsiteY1701" fmla="*/ 1261986 h 2146918"/>
              <a:gd name="connsiteX1702" fmla="*/ 1221910 w 5521505"/>
              <a:gd name="connsiteY1702" fmla="*/ 1261852 h 2146918"/>
              <a:gd name="connsiteX1703" fmla="*/ 1221484 w 5521505"/>
              <a:gd name="connsiteY1703" fmla="*/ 1261755 h 2146918"/>
              <a:gd name="connsiteX1704" fmla="*/ 1220985 w 5521505"/>
              <a:gd name="connsiteY1704" fmla="*/ 1261633 h 2146918"/>
              <a:gd name="connsiteX1705" fmla="*/ 1220644 w 5521505"/>
              <a:gd name="connsiteY1705" fmla="*/ 1261548 h 2146918"/>
              <a:gd name="connsiteX1706" fmla="*/ 1220035 w 5521505"/>
              <a:gd name="connsiteY1706" fmla="*/ 1261402 h 2146918"/>
              <a:gd name="connsiteX1707" fmla="*/ 1219572 w 5521505"/>
              <a:gd name="connsiteY1707" fmla="*/ 1261304 h 2146918"/>
              <a:gd name="connsiteX1708" fmla="*/ 1218988 w 5521505"/>
              <a:gd name="connsiteY1708" fmla="*/ 1261170 h 2146918"/>
              <a:gd name="connsiteX1709" fmla="*/ 1218257 w 5521505"/>
              <a:gd name="connsiteY1709" fmla="*/ 1261024 h 2146918"/>
              <a:gd name="connsiteX1710" fmla="*/ 1217758 w 5521505"/>
              <a:gd name="connsiteY1710" fmla="*/ 1260927 h 2146918"/>
              <a:gd name="connsiteX1711" fmla="*/ 1217185 w 5521505"/>
              <a:gd name="connsiteY1711" fmla="*/ 1260817 h 2146918"/>
              <a:gd name="connsiteX1712" fmla="*/ 1216686 w 5521505"/>
              <a:gd name="connsiteY1712" fmla="*/ 1260732 h 2146918"/>
              <a:gd name="connsiteX1713" fmla="*/ 1216236 w 5521505"/>
              <a:gd name="connsiteY1713" fmla="*/ 1260635 h 2146918"/>
              <a:gd name="connsiteX1714" fmla="*/ 1215895 w 5521505"/>
              <a:gd name="connsiteY1714" fmla="*/ 1260573 h 2146918"/>
              <a:gd name="connsiteX1715" fmla="*/ 1215481 w 5521505"/>
              <a:gd name="connsiteY1715" fmla="*/ 1260500 h 2146918"/>
              <a:gd name="connsiteX1716" fmla="*/ 1215164 w 5521505"/>
              <a:gd name="connsiteY1716" fmla="*/ 1260428 h 2146918"/>
              <a:gd name="connsiteX1717" fmla="*/ 1214896 w 5521505"/>
              <a:gd name="connsiteY1717" fmla="*/ 1260428 h 2146918"/>
              <a:gd name="connsiteX1718" fmla="*/ 1214470 w 5521505"/>
              <a:gd name="connsiteY1718" fmla="*/ 1260330 h 2146918"/>
              <a:gd name="connsiteX1719" fmla="*/ 1214105 w 5521505"/>
              <a:gd name="connsiteY1719" fmla="*/ 1260245 h 2146918"/>
              <a:gd name="connsiteX1720" fmla="*/ 1213800 w 5521505"/>
              <a:gd name="connsiteY1720" fmla="*/ 1260171 h 2146918"/>
              <a:gd name="connsiteX1721" fmla="*/ 1213386 w 5521505"/>
              <a:gd name="connsiteY1721" fmla="*/ 1260062 h 2146918"/>
              <a:gd name="connsiteX1722" fmla="*/ 1213118 w 5521505"/>
              <a:gd name="connsiteY1722" fmla="*/ 1259977 h 2146918"/>
              <a:gd name="connsiteX1723" fmla="*/ 1212692 w 5521505"/>
              <a:gd name="connsiteY1723" fmla="*/ 1259843 h 2146918"/>
              <a:gd name="connsiteX1724" fmla="*/ 1212278 w 5521505"/>
              <a:gd name="connsiteY1724" fmla="*/ 1259673 h 2146918"/>
              <a:gd name="connsiteX1725" fmla="*/ 1211876 w 5521505"/>
              <a:gd name="connsiteY1725" fmla="*/ 1259478 h 2146918"/>
              <a:gd name="connsiteX1726" fmla="*/ 1211621 w 5521505"/>
              <a:gd name="connsiteY1726" fmla="*/ 1259319 h 2146918"/>
              <a:gd name="connsiteX1727" fmla="*/ 1211267 w 5521505"/>
              <a:gd name="connsiteY1727" fmla="*/ 1259039 h 2146918"/>
              <a:gd name="connsiteX1728" fmla="*/ 1211073 w 5521505"/>
              <a:gd name="connsiteY1728" fmla="*/ 1258869 h 2146918"/>
              <a:gd name="connsiteX1729" fmla="*/ 1210890 w 5521505"/>
              <a:gd name="connsiteY1729" fmla="*/ 1258662 h 2146918"/>
              <a:gd name="connsiteX1730" fmla="*/ 1210573 w 5521505"/>
              <a:gd name="connsiteY1730" fmla="*/ 1258199 h 2146918"/>
              <a:gd name="connsiteX1731" fmla="*/ 1210427 w 5521505"/>
              <a:gd name="connsiteY1731" fmla="*/ 1257944 h 2146918"/>
              <a:gd name="connsiteX1732" fmla="*/ 1210330 w 5521505"/>
              <a:gd name="connsiteY1732" fmla="*/ 1257736 h 2146918"/>
              <a:gd name="connsiteX1733" fmla="*/ 1210220 w 5521505"/>
              <a:gd name="connsiteY1733" fmla="*/ 1257469 h 2146918"/>
              <a:gd name="connsiteX1734" fmla="*/ 1210147 w 5521505"/>
              <a:gd name="connsiteY1734" fmla="*/ 1257298 h 2146918"/>
              <a:gd name="connsiteX1735" fmla="*/ 1210038 w 5521505"/>
              <a:gd name="connsiteY1735" fmla="*/ 1256982 h 2146918"/>
              <a:gd name="connsiteX1736" fmla="*/ 1209916 w 5521505"/>
              <a:gd name="connsiteY1736" fmla="*/ 1256628 h 2146918"/>
              <a:gd name="connsiteX1737" fmla="*/ 1209843 w 5521505"/>
              <a:gd name="connsiteY1737" fmla="*/ 1256385 h 2146918"/>
              <a:gd name="connsiteX1738" fmla="*/ 1209782 w 5521505"/>
              <a:gd name="connsiteY1738" fmla="*/ 1256178 h 2146918"/>
              <a:gd name="connsiteX1739" fmla="*/ 1209648 w 5521505"/>
              <a:gd name="connsiteY1739" fmla="*/ 1255727 h 2146918"/>
              <a:gd name="connsiteX1740" fmla="*/ 1209575 w 5521505"/>
              <a:gd name="connsiteY1740" fmla="*/ 1255423 h 2146918"/>
              <a:gd name="connsiteX1741" fmla="*/ 1209502 w 5521505"/>
              <a:gd name="connsiteY1741" fmla="*/ 1255155 h 2146918"/>
              <a:gd name="connsiteX1742" fmla="*/ 1209368 w 5521505"/>
              <a:gd name="connsiteY1742" fmla="*/ 1254668 h 2146918"/>
              <a:gd name="connsiteX1743" fmla="*/ 1209283 w 5521505"/>
              <a:gd name="connsiteY1743" fmla="*/ 1254327 h 2146918"/>
              <a:gd name="connsiteX1744" fmla="*/ 1209210 w 5521505"/>
              <a:gd name="connsiteY1744" fmla="*/ 1254035 h 2146918"/>
              <a:gd name="connsiteX1745" fmla="*/ 1209149 w 5521505"/>
              <a:gd name="connsiteY1745" fmla="*/ 1253815 h 2146918"/>
              <a:gd name="connsiteX1746" fmla="*/ 1209015 w 5521505"/>
              <a:gd name="connsiteY1746" fmla="*/ 1253815 h 2146918"/>
              <a:gd name="connsiteX1747" fmla="*/ 1208771 w 5521505"/>
              <a:gd name="connsiteY1747" fmla="*/ 1253815 h 2146918"/>
              <a:gd name="connsiteX1748" fmla="*/ 1207907 w 5521505"/>
              <a:gd name="connsiteY1748" fmla="*/ 1253815 h 2146918"/>
              <a:gd name="connsiteX1749" fmla="*/ 1207761 w 5521505"/>
              <a:gd name="connsiteY1749" fmla="*/ 1253815 h 2146918"/>
              <a:gd name="connsiteX1750" fmla="*/ 1207602 w 5521505"/>
              <a:gd name="connsiteY1750" fmla="*/ 1253815 h 2146918"/>
              <a:gd name="connsiteX1751" fmla="*/ 1207407 w 5521505"/>
              <a:gd name="connsiteY1751" fmla="*/ 1253815 h 2146918"/>
              <a:gd name="connsiteX1752" fmla="*/ 1207237 w 5521505"/>
              <a:gd name="connsiteY1752" fmla="*/ 1253815 h 2146918"/>
              <a:gd name="connsiteX1753" fmla="*/ 1207042 w 5521505"/>
              <a:gd name="connsiteY1753" fmla="*/ 1253815 h 2146918"/>
              <a:gd name="connsiteX1754" fmla="*/ 1206872 w 5521505"/>
              <a:gd name="connsiteY1754" fmla="*/ 1253815 h 2146918"/>
              <a:gd name="connsiteX1755" fmla="*/ 1206713 w 5521505"/>
              <a:gd name="connsiteY1755" fmla="*/ 1253815 h 2146918"/>
              <a:gd name="connsiteX1756" fmla="*/ 1206494 w 5521505"/>
              <a:gd name="connsiteY1756" fmla="*/ 1253815 h 2146918"/>
              <a:gd name="connsiteX1757" fmla="*/ 1206299 w 5521505"/>
              <a:gd name="connsiteY1757" fmla="*/ 1253815 h 2146918"/>
              <a:gd name="connsiteX1758" fmla="*/ 1206117 w 5521505"/>
              <a:gd name="connsiteY1758" fmla="*/ 1253815 h 2146918"/>
              <a:gd name="connsiteX1759" fmla="*/ 1205873 w 5521505"/>
              <a:gd name="connsiteY1759" fmla="*/ 1253815 h 2146918"/>
              <a:gd name="connsiteX1760" fmla="*/ 1205691 w 5521505"/>
              <a:gd name="connsiteY1760" fmla="*/ 1253815 h 2146918"/>
              <a:gd name="connsiteX1761" fmla="*/ 1205581 w 5521505"/>
              <a:gd name="connsiteY1761" fmla="*/ 1253815 h 2146918"/>
              <a:gd name="connsiteX1762" fmla="*/ 1205276 w 5521505"/>
              <a:gd name="connsiteY1762" fmla="*/ 1253815 h 2146918"/>
              <a:gd name="connsiteX1763" fmla="*/ 1204875 w 5521505"/>
              <a:gd name="connsiteY1763" fmla="*/ 1253876 h 2146918"/>
              <a:gd name="connsiteX1764" fmla="*/ 1204534 w 5521505"/>
              <a:gd name="connsiteY1764" fmla="*/ 1253876 h 2146918"/>
              <a:gd name="connsiteX1765" fmla="*/ 1204315 w 5521505"/>
              <a:gd name="connsiteY1765" fmla="*/ 1253876 h 2146918"/>
              <a:gd name="connsiteX1766" fmla="*/ 1203974 w 5521505"/>
              <a:gd name="connsiteY1766" fmla="*/ 1253876 h 2146918"/>
              <a:gd name="connsiteX1767" fmla="*/ 1203681 w 5521505"/>
              <a:gd name="connsiteY1767" fmla="*/ 1253876 h 2146918"/>
              <a:gd name="connsiteX1768" fmla="*/ 1203450 w 5521505"/>
              <a:gd name="connsiteY1768" fmla="*/ 1253876 h 2146918"/>
              <a:gd name="connsiteX1769" fmla="*/ 1203170 w 5521505"/>
              <a:gd name="connsiteY1769" fmla="*/ 1253876 h 2146918"/>
              <a:gd name="connsiteX1770" fmla="*/ 1202926 w 5521505"/>
              <a:gd name="connsiteY1770" fmla="*/ 1253876 h 2146918"/>
              <a:gd name="connsiteX1771" fmla="*/ 1202646 w 5521505"/>
              <a:gd name="connsiteY1771" fmla="*/ 1253876 h 2146918"/>
              <a:gd name="connsiteX1772" fmla="*/ 1202342 w 5521505"/>
              <a:gd name="connsiteY1772" fmla="*/ 1253876 h 2146918"/>
              <a:gd name="connsiteX1773" fmla="*/ 1201989 w 5521505"/>
              <a:gd name="connsiteY1773" fmla="*/ 1253876 h 2146918"/>
              <a:gd name="connsiteX1774" fmla="*/ 1201684 w 5521505"/>
              <a:gd name="connsiteY1774" fmla="*/ 1253876 h 2146918"/>
              <a:gd name="connsiteX1775" fmla="*/ 1201453 w 5521505"/>
              <a:gd name="connsiteY1775" fmla="*/ 1253876 h 2146918"/>
              <a:gd name="connsiteX1776" fmla="*/ 1201246 w 5521505"/>
              <a:gd name="connsiteY1776" fmla="*/ 1253876 h 2146918"/>
              <a:gd name="connsiteX1777" fmla="*/ 1200820 w 5521505"/>
              <a:gd name="connsiteY1777" fmla="*/ 1253937 h 2146918"/>
              <a:gd name="connsiteX1778" fmla="*/ 1200479 w 5521505"/>
              <a:gd name="connsiteY1778" fmla="*/ 1253937 h 2146918"/>
              <a:gd name="connsiteX1779" fmla="*/ 1200284 w 5521505"/>
              <a:gd name="connsiteY1779" fmla="*/ 1253937 h 2146918"/>
              <a:gd name="connsiteX1780" fmla="*/ 1200028 w 5521505"/>
              <a:gd name="connsiteY1780" fmla="*/ 1253937 h 2146918"/>
              <a:gd name="connsiteX1781" fmla="*/ 1199724 w 5521505"/>
              <a:gd name="connsiteY1781" fmla="*/ 1253937 h 2146918"/>
              <a:gd name="connsiteX1782" fmla="*/ 1199444 w 5521505"/>
              <a:gd name="connsiteY1782" fmla="*/ 1253937 h 2146918"/>
              <a:gd name="connsiteX1783" fmla="*/ 1199225 w 5521505"/>
              <a:gd name="connsiteY1783" fmla="*/ 1253937 h 2146918"/>
              <a:gd name="connsiteX1784" fmla="*/ 1198835 w 5521505"/>
              <a:gd name="connsiteY1784" fmla="*/ 1253998 h 2146918"/>
              <a:gd name="connsiteX1785" fmla="*/ 1198664 w 5521505"/>
              <a:gd name="connsiteY1785" fmla="*/ 1253998 h 2146918"/>
              <a:gd name="connsiteX1786" fmla="*/ 1198494 w 5521505"/>
              <a:gd name="connsiteY1786" fmla="*/ 1253998 h 2146918"/>
              <a:gd name="connsiteX1787" fmla="*/ 1198263 w 5521505"/>
              <a:gd name="connsiteY1787" fmla="*/ 1253998 h 2146918"/>
              <a:gd name="connsiteX1788" fmla="*/ 1198043 w 5521505"/>
              <a:gd name="connsiteY1788" fmla="*/ 1253998 h 2146918"/>
              <a:gd name="connsiteX1789" fmla="*/ 1197776 w 5521505"/>
              <a:gd name="connsiteY1789" fmla="*/ 1253998 h 2146918"/>
              <a:gd name="connsiteX1790" fmla="*/ 1197556 w 5521505"/>
              <a:gd name="connsiteY1790" fmla="*/ 1253998 h 2146918"/>
              <a:gd name="connsiteX1791" fmla="*/ 1197361 w 5521505"/>
              <a:gd name="connsiteY1791" fmla="*/ 1253998 h 2146918"/>
              <a:gd name="connsiteX1792" fmla="*/ 1197191 w 5521505"/>
              <a:gd name="connsiteY1792" fmla="*/ 1253998 h 2146918"/>
              <a:gd name="connsiteX1793" fmla="*/ 1196984 w 5521505"/>
              <a:gd name="connsiteY1793" fmla="*/ 1253998 h 2146918"/>
              <a:gd name="connsiteX1794" fmla="*/ 1196862 w 5521505"/>
              <a:gd name="connsiteY1794" fmla="*/ 1253998 h 2146918"/>
              <a:gd name="connsiteX1795" fmla="*/ 1196643 w 5521505"/>
              <a:gd name="connsiteY1795" fmla="*/ 1253998 h 2146918"/>
              <a:gd name="connsiteX1796" fmla="*/ 1196400 w 5521505"/>
              <a:gd name="connsiteY1796" fmla="*/ 1253998 h 2146918"/>
              <a:gd name="connsiteX1797" fmla="*/ 1196193 w 5521505"/>
              <a:gd name="connsiteY1797" fmla="*/ 1253998 h 2146918"/>
              <a:gd name="connsiteX1798" fmla="*/ 1195973 w 5521505"/>
              <a:gd name="connsiteY1798" fmla="*/ 1253998 h 2146918"/>
              <a:gd name="connsiteX1799" fmla="*/ 1195839 w 5521505"/>
              <a:gd name="connsiteY1799" fmla="*/ 1253998 h 2146918"/>
              <a:gd name="connsiteX1800" fmla="*/ 1195596 w 5521505"/>
              <a:gd name="connsiteY1800" fmla="*/ 1254059 h 2146918"/>
              <a:gd name="connsiteX1801" fmla="*/ 1195243 w 5521505"/>
              <a:gd name="connsiteY1801" fmla="*/ 1254132 h 2146918"/>
              <a:gd name="connsiteX1802" fmla="*/ 1195024 w 5521505"/>
              <a:gd name="connsiteY1802" fmla="*/ 1254132 h 2146918"/>
              <a:gd name="connsiteX1803" fmla="*/ 1194756 w 5521505"/>
              <a:gd name="connsiteY1803" fmla="*/ 1254205 h 2146918"/>
              <a:gd name="connsiteX1804" fmla="*/ 1194451 w 5521505"/>
              <a:gd name="connsiteY1804" fmla="*/ 1254278 h 2146918"/>
              <a:gd name="connsiteX1805" fmla="*/ 1194086 w 5521505"/>
              <a:gd name="connsiteY1805" fmla="*/ 1254376 h 2146918"/>
              <a:gd name="connsiteX1806" fmla="*/ 1194013 w 5521505"/>
              <a:gd name="connsiteY1806" fmla="*/ 1254376 h 2146918"/>
              <a:gd name="connsiteX1807" fmla="*/ 1193842 w 5521505"/>
              <a:gd name="connsiteY1807" fmla="*/ 1254376 h 2146918"/>
              <a:gd name="connsiteX1808" fmla="*/ 1193733 w 5521505"/>
              <a:gd name="connsiteY1808" fmla="*/ 1254376 h 2146918"/>
              <a:gd name="connsiteX1809" fmla="*/ 1193562 w 5521505"/>
              <a:gd name="connsiteY1809" fmla="*/ 1254376 h 2146918"/>
              <a:gd name="connsiteX1810" fmla="*/ 1193428 w 5521505"/>
              <a:gd name="connsiteY1810" fmla="*/ 1254376 h 2146918"/>
              <a:gd name="connsiteX1811" fmla="*/ 1193270 w 5521505"/>
              <a:gd name="connsiteY1811" fmla="*/ 1254376 h 2146918"/>
              <a:gd name="connsiteX1812" fmla="*/ 1193112 w 5521505"/>
              <a:gd name="connsiteY1812" fmla="*/ 1254376 h 2146918"/>
              <a:gd name="connsiteX1813" fmla="*/ 1192917 w 5521505"/>
              <a:gd name="connsiteY1813" fmla="*/ 1254376 h 2146918"/>
              <a:gd name="connsiteX1814" fmla="*/ 1192807 w 5521505"/>
              <a:gd name="connsiteY1814" fmla="*/ 1254376 h 2146918"/>
              <a:gd name="connsiteX1815" fmla="*/ 1192588 w 5521505"/>
              <a:gd name="connsiteY1815" fmla="*/ 1254449 h 2146918"/>
              <a:gd name="connsiteX1816" fmla="*/ 1192418 w 5521505"/>
              <a:gd name="connsiteY1816" fmla="*/ 1254449 h 2146918"/>
              <a:gd name="connsiteX1817" fmla="*/ 1192235 w 5521505"/>
              <a:gd name="connsiteY1817" fmla="*/ 1254509 h 2146918"/>
              <a:gd name="connsiteX1818" fmla="*/ 1192052 w 5521505"/>
              <a:gd name="connsiteY1818" fmla="*/ 1254582 h 2146918"/>
              <a:gd name="connsiteX1819" fmla="*/ 1191821 w 5521505"/>
              <a:gd name="connsiteY1819" fmla="*/ 1254668 h 2146918"/>
              <a:gd name="connsiteX1820" fmla="*/ 1191675 w 5521505"/>
              <a:gd name="connsiteY1820" fmla="*/ 1254729 h 2146918"/>
              <a:gd name="connsiteX1821" fmla="*/ 1191346 w 5521505"/>
              <a:gd name="connsiteY1821" fmla="*/ 1254851 h 2146918"/>
              <a:gd name="connsiteX1822" fmla="*/ 1191176 w 5521505"/>
              <a:gd name="connsiteY1822" fmla="*/ 1254936 h 2146918"/>
              <a:gd name="connsiteX1823" fmla="*/ 1190993 w 5521505"/>
              <a:gd name="connsiteY1823" fmla="*/ 1255009 h 2146918"/>
              <a:gd name="connsiteX1824" fmla="*/ 1190859 w 5521505"/>
              <a:gd name="connsiteY1824" fmla="*/ 1255069 h 2146918"/>
              <a:gd name="connsiteX1825" fmla="*/ 1190518 w 5521505"/>
              <a:gd name="connsiteY1825" fmla="*/ 1255228 h 2146918"/>
              <a:gd name="connsiteX1826" fmla="*/ 1190238 w 5521505"/>
              <a:gd name="connsiteY1826" fmla="*/ 1255362 h 2146918"/>
              <a:gd name="connsiteX1827" fmla="*/ 1190019 w 5521505"/>
              <a:gd name="connsiteY1827" fmla="*/ 1255484 h 2146918"/>
              <a:gd name="connsiteX1828" fmla="*/ 1189824 w 5521505"/>
              <a:gd name="connsiteY1828" fmla="*/ 1255581 h 2146918"/>
              <a:gd name="connsiteX1829" fmla="*/ 1189568 w 5521505"/>
              <a:gd name="connsiteY1829" fmla="*/ 1255727 h 2146918"/>
              <a:gd name="connsiteX1830" fmla="*/ 1189386 w 5521505"/>
              <a:gd name="connsiteY1830" fmla="*/ 1255837 h 2146918"/>
              <a:gd name="connsiteX1831" fmla="*/ 1189227 w 5521505"/>
              <a:gd name="connsiteY1831" fmla="*/ 1255922 h 2146918"/>
              <a:gd name="connsiteX1832" fmla="*/ 1189020 w 5521505"/>
              <a:gd name="connsiteY1832" fmla="*/ 1256056 h 2146918"/>
              <a:gd name="connsiteX1833" fmla="*/ 1188789 w 5521505"/>
              <a:gd name="connsiteY1833" fmla="*/ 1256214 h 2146918"/>
              <a:gd name="connsiteX1834" fmla="*/ 1188558 w 5521505"/>
              <a:gd name="connsiteY1834" fmla="*/ 1256360 h 2146918"/>
              <a:gd name="connsiteX1835" fmla="*/ 1188375 w 5521505"/>
              <a:gd name="connsiteY1835" fmla="*/ 1256495 h 2146918"/>
              <a:gd name="connsiteX1836" fmla="*/ 1188119 w 5521505"/>
              <a:gd name="connsiteY1836" fmla="*/ 1256677 h 2146918"/>
              <a:gd name="connsiteX1837" fmla="*/ 1187998 w 5521505"/>
              <a:gd name="connsiteY1837" fmla="*/ 1256775 h 2146918"/>
              <a:gd name="connsiteX1838" fmla="*/ 1187864 w 5521505"/>
              <a:gd name="connsiteY1838" fmla="*/ 1256884 h 2146918"/>
              <a:gd name="connsiteX1839" fmla="*/ 1187681 w 5521505"/>
              <a:gd name="connsiteY1839" fmla="*/ 1257018 h 2146918"/>
              <a:gd name="connsiteX1840" fmla="*/ 1187474 w 5521505"/>
              <a:gd name="connsiteY1840" fmla="*/ 1257200 h 2146918"/>
              <a:gd name="connsiteX1841" fmla="*/ 1187279 w 5521505"/>
              <a:gd name="connsiteY1841" fmla="*/ 1257359 h 2146918"/>
              <a:gd name="connsiteX1842" fmla="*/ 1187133 w 5521505"/>
              <a:gd name="connsiteY1842" fmla="*/ 1257493 h 2146918"/>
              <a:gd name="connsiteX1843" fmla="*/ 1186975 w 5521505"/>
              <a:gd name="connsiteY1843" fmla="*/ 1257627 h 2146918"/>
              <a:gd name="connsiteX1844" fmla="*/ 1186804 w 5521505"/>
              <a:gd name="connsiteY1844" fmla="*/ 1257797 h 2146918"/>
              <a:gd name="connsiteX1845" fmla="*/ 1186634 w 5521505"/>
              <a:gd name="connsiteY1845" fmla="*/ 1257968 h 2146918"/>
              <a:gd name="connsiteX1846" fmla="*/ 1186475 w 5521505"/>
              <a:gd name="connsiteY1846" fmla="*/ 1258102 h 2146918"/>
              <a:gd name="connsiteX1847" fmla="*/ 1186342 w 5521505"/>
              <a:gd name="connsiteY1847" fmla="*/ 1258248 h 2146918"/>
              <a:gd name="connsiteX1848" fmla="*/ 1186110 w 5521505"/>
              <a:gd name="connsiteY1848" fmla="*/ 1258479 h 2146918"/>
              <a:gd name="connsiteX1849" fmla="*/ 1185952 w 5521505"/>
              <a:gd name="connsiteY1849" fmla="*/ 1258662 h 2146918"/>
              <a:gd name="connsiteX1850" fmla="*/ 1185793 w 5521505"/>
              <a:gd name="connsiteY1850" fmla="*/ 1258832 h 2146918"/>
              <a:gd name="connsiteX1851" fmla="*/ 1185599 w 5521505"/>
              <a:gd name="connsiteY1851" fmla="*/ 1259039 h 2146918"/>
              <a:gd name="connsiteX1852" fmla="*/ 1185416 w 5521505"/>
              <a:gd name="connsiteY1852" fmla="*/ 1259246 h 2146918"/>
              <a:gd name="connsiteX1853" fmla="*/ 1185209 w 5521505"/>
              <a:gd name="connsiteY1853" fmla="*/ 1259502 h 2146918"/>
              <a:gd name="connsiteX1854" fmla="*/ 1185075 w 5521505"/>
              <a:gd name="connsiteY1854" fmla="*/ 1259648 h 2146918"/>
              <a:gd name="connsiteX1855" fmla="*/ 1184929 w 5521505"/>
              <a:gd name="connsiteY1855" fmla="*/ 1259843 h 2146918"/>
              <a:gd name="connsiteX1856" fmla="*/ 1184771 w 5521505"/>
              <a:gd name="connsiteY1856" fmla="*/ 1260038 h 2146918"/>
              <a:gd name="connsiteX1857" fmla="*/ 1183346 w 5521505"/>
              <a:gd name="connsiteY1857" fmla="*/ 1261962 h 2146918"/>
              <a:gd name="connsiteX1858" fmla="*/ 1181824 w 5521505"/>
              <a:gd name="connsiteY1858" fmla="*/ 1264226 h 2146918"/>
              <a:gd name="connsiteX1859" fmla="*/ 1180387 w 5521505"/>
              <a:gd name="connsiteY1859" fmla="*/ 1266528 h 2146918"/>
              <a:gd name="connsiteX1860" fmla="*/ 1178621 w 5521505"/>
              <a:gd name="connsiteY1860" fmla="*/ 1269438 h 2146918"/>
              <a:gd name="connsiteX1861" fmla="*/ 1177952 w 5521505"/>
              <a:gd name="connsiteY1861" fmla="*/ 1270546 h 2146918"/>
              <a:gd name="connsiteX1862" fmla="*/ 1178293 w 5521505"/>
              <a:gd name="connsiteY1862" fmla="*/ 1271277 h 2146918"/>
              <a:gd name="connsiteX1863" fmla="*/ 1178561 w 5521505"/>
              <a:gd name="connsiteY1863" fmla="*/ 1271861 h 2146918"/>
              <a:gd name="connsiteX1864" fmla="*/ 1178865 w 5521505"/>
              <a:gd name="connsiteY1864" fmla="*/ 1272300 h 2146918"/>
              <a:gd name="connsiteX1865" fmla="*/ 1179157 w 5521505"/>
              <a:gd name="connsiteY1865" fmla="*/ 1272568 h 2146918"/>
              <a:gd name="connsiteX1866" fmla="*/ 1179401 w 5521505"/>
              <a:gd name="connsiteY1866" fmla="*/ 1272701 h 2146918"/>
              <a:gd name="connsiteX1867" fmla="*/ 1179498 w 5521505"/>
              <a:gd name="connsiteY1867" fmla="*/ 1272701 h 2146918"/>
              <a:gd name="connsiteX1868" fmla="*/ 1179778 w 5521505"/>
              <a:gd name="connsiteY1868" fmla="*/ 1272836 h 2146918"/>
              <a:gd name="connsiteX1869" fmla="*/ 1180229 w 5521505"/>
              <a:gd name="connsiteY1869" fmla="*/ 1273067 h 2146918"/>
              <a:gd name="connsiteX1870" fmla="*/ 1180570 w 5521505"/>
              <a:gd name="connsiteY1870" fmla="*/ 1273262 h 2146918"/>
              <a:gd name="connsiteX1871" fmla="*/ 1180862 w 5521505"/>
              <a:gd name="connsiteY1871" fmla="*/ 1273469 h 2146918"/>
              <a:gd name="connsiteX1872" fmla="*/ 1181118 w 5521505"/>
              <a:gd name="connsiteY1872" fmla="*/ 1273663 h 2146918"/>
              <a:gd name="connsiteX1873" fmla="*/ 1181252 w 5521505"/>
              <a:gd name="connsiteY1873" fmla="*/ 1273773 h 2146918"/>
              <a:gd name="connsiteX1874" fmla="*/ 1181422 w 5521505"/>
              <a:gd name="connsiteY1874" fmla="*/ 1273932 h 2146918"/>
              <a:gd name="connsiteX1875" fmla="*/ 1181617 w 5521505"/>
              <a:gd name="connsiteY1875" fmla="*/ 1274151 h 2146918"/>
              <a:gd name="connsiteX1876" fmla="*/ 1181800 w 5521505"/>
              <a:gd name="connsiteY1876" fmla="*/ 1274394 h 2146918"/>
              <a:gd name="connsiteX1877" fmla="*/ 1182019 w 5521505"/>
              <a:gd name="connsiteY1877" fmla="*/ 1274772 h 2146918"/>
              <a:gd name="connsiteX1878" fmla="*/ 1182104 w 5521505"/>
              <a:gd name="connsiteY1878" fmla="*/ 1275003 h 2146918"/>
              <a:gd name="connsiteX1879" fmla="*/ 1182214 w 5521505"/>
              <a:gd name="connsiteY1879" fmla="*/ 1275392 h 2146918"/>
              <a:gd name="connsiteX1880" fmla="*/ 1182214 w 5521505"/>
              <a:gd name="connsiteY1880" fmla="*/ 1275697 h 2146918"/>
              <a:gd name="connsiteX1881" fmla="*/ 1182214 w 5521505"/>
              <a:gd name="connsiteY1881" fmla="*/ 1275989 h 2146918"/>
              <a:gd name="connsiteX1882" fmla="*/ 1182214 w 5521505"/>
              <a:gd name="connsiteY1882" fmla="*/ 1276245 h 2146918"/>
              <a:gd name="connsiteX1883" fmla="*/ 1182104 w 5521505"/>
              <a:gd name="connsiteY1883" fmla="*/ 1276781 h 2146918"/>
              <a:gd name="connsiteX1884" fmla="*/ 1182007 w 5521505"/>
              <a:gd name="connsiteY1884" fmla="*/ 1277122 h 2146918"/>
              <a:gd name="connsiteX1885" fmla="*/ 1181812 w 5521505"/>
              <a:gd name="connsiteY1885" fmla="*/ 1277609 h 2146918"/>
              <a:gd name="connsiteX1886" fmla="*/ 1181532 w 5521505"/>
              <a:gd name="connsiteY1886" fmla="*/ 1278169 h 2146918"/>
              <a:gd name="connsiteX1887" fmla="*/ 1181325 w 5521505"/>
              <a:gd name="connsiteY1887" fmla="*/ 1278522 h 2146918"/>
              <a:gd name="connsiteX1888" fmla="*/ 1181032 w 5521505"/>
              <a:gd name="connsiteY1888" fmla="*/ 1278985 h 2146918"/>
              <a:gd name="connsiteX1889" fmla="*/ 1180789 w 5521505"/>
              <a:gd name="connsiteY1889" fmla="*/ 1279326 h 2146918"/>
              <a:gd name="connsiteX1890" fmla="*/ 1180497 w 5521505"/>
              <a:gd name="connsiteY1890" fmla="*/ 1279728 h 2146918"/>
              <a:gd name="connsiteX1891" fmla="*/ 1180107 w 5521505"/>
              <a:gd name="connsiteY1891" fmla="*/ 1280191 h 2146918"/>
              <a:gd name="connsiteX1892" fmla="*/ 1179729 w 5521505"/>
              <a:gd name="connsiteY1892" fmla="*/ 1280592 h 2146918"/>
              <a:gd name="connsiteX1893" fmla="*/ 1179401 w 5521505"/>
              <a:gd name="connsiteY1893" fmla="*/ 1280921 h 2146918"/>
              <a:gd name="connsiteX1894" fmla="*/ 1178999 w 5521505"/>
              <a:gd name="connsiteY1894" fmla="*/ 1281274 h 2146918"/>
              <a:gd name="connsiteX1895" fmla="*/ 1178646 w 5521505"/>
              <a:gd name="connsiteY1895" fmla="*/ 1281591 h 2146918"/>
              <a:gd name="connsiteX1896" fmla="*/ 1178329 w 5521505"/>
              <a:gd name="connsiteY1896" fmla="*/ 1281847 h 2146918"/>
              <a:gd name="connsiteX1897" fmla="*/ 1177915 w 5521505"/>
              <a:gd name="connsiteY1897" fmla="*/ 1282187 h 2146918"/>
              <a:gd name="connsiteX1898" fmla="*/ 1177598 w 5521505"/>
              <a:gd name="connsiteY1898" fmla="*/ 1282431 h 2146918"/>
              <a:gd name="connsiteX1899" fmla="*/ 1177245 w 5521505"/>
              <a:gd name="connsiteY1899" fmla="*/ 1282687 h 2146918"/>
              <a:gd name="connsiteX1900" fmla="*/ 1176929 w 5521505"/>
              <a:gd name="connsiteY1900" fmla="*/ 1282918 h 2146918"/>
              <a:gd name="connsiteX1901" fmla="*/ 1176624 w 5521505"/>
              <a:gd name="connsiteY1901" fmla="*/ 1283137 h 2146918"/>
              <a:gd name="connsiteX1902" fmla="*/ 1176344 w 5521505"/>
              <a:gd name="connsiteY1902" fmla="*/ 1283332 h 2146918"/>
              <a:gd name="connsiteX1903" fmla="*/ 1176076 w 5521505"/>
              <a:gd name="connsiteY1903" fmla="*/ 1283515 h 2146918"/>
              <a:gd name="connsiteX1904" fmla="*/ 1175796 w 5521505"/>
              <a:gd name="connsiteY1904" fmla="*/ 1283697 h 2146918"/>
              <a:gd name="connsiteX1905" fmla="*/ 1175480 w 5521505"/>
              <a:gd name="connsiteY1905" fmla="*/ 1283904 h 2146918"/>
              <a:gd name="connsiteX1906" fmla="*/ 1175090 w 5521505"/>
              <a:gd name="connsiteY1906" fmla="*/ 1284160 h 2146918"/>
              <a:gd name="connsiteX1907" fmla="*/ 1174859 w 5521505"/>
              <a:gd name="connsiteY1907" fmla="*/ 1284294 h 2146918"/>
              <a:gd name="connsiteX1908" fmla="*/ 1174506 w 5521505"/>
              <a:gd name="connsiteY1908" fmla="*/ 1284513 h 2146918"/>
              <a:gd name="connsiteX1909" fmla="*/ 1174140 w 5521505"/>
              <a:gd name="connsiteY1909" fmla="*/ 1284733 h 2146918"/>
              <a:gd name="connsiteX1910" fmla="*/ 1173690 w 5521505"/>
              <a:gd name="connsiteY1910" fmla="*/ 1284988 h 2146918"/>
              <a:gd name="connsiteX1911" fmla="*/ 1173300 w 5521505"/>
              <a:gd name="connsiteY1911" fmla="*/ 1285207 h 2146918"/>
              <a:gd name="connsiteX1912" fmla="*/ 1173008 w 5521505"/>
              <a:gd name="connsiteY1912" fmla="*/ 1285378 h 2146918"/>
              <a:gd name="connsiteX1913" fmla="*/ 1172630 w 5521505"/>
              <a:gd name="connsiteY1913" fmla="*/ 1285573 h 2146918"/>
              <a:gd name="connsiteX1914" fmla="*/ 1172363 w 5521505"/>
              <a:gd name="connsiteY1914" fmla="*/ 1285707 h 2146918"/>
              <a:gd name="connsiteX1915" fmla="*/ 1171802 w 5521505"/>
              <a:gd name="connsiteY1915" fmla="*/ 1285987 h 2146918"/>
              <a:gd name="connsiteX1916" fmla="*/ 1171291 w 5521505"/>
              <a:gd name="connsiteY1916" fmla="*/ 1286230 h 2146918"/>
              <a:gd name="connsiteX1917" fmla="*/ 1170804 w 5521505"/>
              <a:gd name="connsiteY1917" fmla="*/ 1286462 h 2146918"/>
              <a:gd name="connsiteX1918" fmla="*/ 1170475 w 5521505"/>
              <a:gd name="connsiteY1918" fmla="*/ 1286595 h 2146918"/>
              <a:gd name="connsiteX1919" fmla="*/ 1170171 w 5521505"/>
              <a:gd name="connsiteY1919" fmla="*/ 1286729 h 2146918"/>
              <a:gd name="connsiteX1920" fmla="*/ 1169830 w 5521505"/>
              <a:gd name="connsiteY1920" fmla="*/ 1286864 h 2146918"/>
              <a:gd name="connsiteX1921" fmla="*/ 1169330 w 5521505"/>
              <a:gd name="connsiteY1921" fmla="*/ 1287046 h 2146918"/>
              <a:gd name="connsiteX1922" fmla="*/ 1168856 w 5521505"/>
              <a:gd name="connsiteY1922" fmla="*/ 1287204 h 2146918"/>
              <a:gd name="connsiteX1923" fmla="*/ 1168539 w 5521505"/>
              <a:gd name="connsiteY1923" fmla="*/ 1287302 h 2146918"/>
              <a:gd name="connsiteX1924" fmla="*/ 1168174 w 5521505"/>
              <a:gd name="connsiteY1924" fmla="*/ 1287411 h 2146918"/>
              <a:gd name="connsiteX1925" fmla="*/ 1167967 w 5521505"/>
              <a:gd name="connsiteY1925" fmla="*/ 1287472 h 2146918"/>
              <a:gd name="connsiteX1926" fmla="*/ 1167699 w 5521505"/>
              <a:gd name="connsiteY1926" fmla="*/ 1287472 h 2146918"/>
              <a:gd name="connsiteX1927" fmla="*/ 1167431 w 5521505"/>
              <a:gd name="connsiteY1927" fmla="*/ 1287472 h 2146918"/>
              <a:gd name="connsiteX1928" fmla="*/ 1167236 w 5521505"/>
              <a:gd name="connsiteY1928" fmla="*/ 1287472 h 2146918"/>
              <a:gd name="connsiteX1929" fmla="*/ 1167017 w 5521505"/>
              <a:gd name="connsiteY1929" fmla="*/ 1287472 h 2146918"/>
              <a:gd name="connsiteX1930" fmla="*/ 1166785 w 5521505"/>
              <a:gd name="connsiteY1930" fmla="*/ 1287472 h 2146918"/>
              <a:gd name="connsiteX1931" fmla="*/ 1166128 w 5521505"/>
              <a:gd name="connsiteY1931" fmla="*/ 1287472 h 2146918"/>
              <a:gd name="connsiteX1932" fmla="*/ 1165823 w 5521505"/>
              <a:gd name="connsiteY1932" fmla="*/ 1287472 h 2146918"/>
              <a:gd name="connsiteX1933" fmla="*/ 1165470 w 5521505"/>
              <a:gd name="connsiteY1933" fmla="*/ 1287472 h 2146918"/>
              <a:gd name="connsiteX1934" fmla="*/ 1165032 w 5521505"/>
              <a:gd name="connsiteY1934" fmla="*/ 1287472 h 2146918"/>
              <a:gd name="connsiteX1935" fmla="*/ 1163254 w 5521505"/>
              <a:gd name="connsiteY1935" fmla="*/ 1287472 h 2146918"/>
              <a:gd name="connsiteX1936" fmla="*/ 1162852 w 5521505"/>
              <a:gd name="connsiteY1936" fmla="*/ 1287472 h 2146918"/>
              <a:gd name="connsiteX1937" fmla="*/ 1162414 w 5521505"/>
              <a:gd name="connsiteY1937" fmla="*/ 1287472 h 2146918"/>
              <a:gd name="connsiteX1938" fmla="*/ 1162024 w 5521505"/>
              <a:gd name="connsiteY1938" fmla="*/ 1287472 h 2146918"/>
              <a:gd name="connsiteX1939" fmla="*/ 1161537 w 5521505"/>
              <a:gd name="connsiteY1939" fmla="*/ 1287472 h 2146918"/>
              <a:gd name="connsiteX1940" fmla="*/ 1160441 w 5521505"/>
              <a:gd name="connsiteY1940" fmla="*/ 1287618 h 2146918"/>
              <a:gd name="connsiteX1941" fmla="*/ 1159431 w 5521505"/>
              <a:gd name="connsiteY1941" fmla="*/ 1287801 h 2146918"/>
              <a:gd name="connsiteX1942" fmla="*/ 1158603 w 5521505"/>
              <a:gd name="connsiteY1942" fmla="*/ 1287984 h 2146918"/>
              <a:gd name="connsiteX1943" fmla="*/ 1157714 w 5521505"/>
              <a:gd name="connsiteY1943" fmla="*/ 1288203 h 2146918"/>
              <a:gd name="connsiteX1944" fmla="*/ 1156898 w 5521505"/>
              <a:gd name="connsiteY1944" fmla="*/ 1288434 h 2146918"/>
              <a:gd name="connsiteX1945" fmla="*/ 1155997 w 5521505"/>
              <a:gd name="connsiteY1945" fmla="*/ 1288702 h 2146918"/>
              <a:gd name="connsiteX1946" fmla="*/ 1155096 w 5521505"/>
              <a:gd name="connsiteY1946" fmla="*/ 1289006 h 2146918"/>
              <a:gd name="connsiteX1947" fmla="*/ 1154219 w 5521505"/>
              <a:gd name="connsiteY1947" fmla="*/ 1289323 h 2146918"/>
              <a:gd name="connsiteX1948" fmla="*/ 1153281 w 5521505"/>
              <a:gd name="connsiteY1948" fmla="*/ 1289677 h 2146918"/>
              <a:gd name="connsiteX1949" fmla="*/ 1152392 w 5521505"/>
              <a:gd name="connsiteY1949" fmla="*/ 1290042 h 2146918"/>
              <a:gd name="connsiteX1950" fmla="*/ 1151479 w 5521505"/>
              <a:gd name="connsiteY1950" fmla="*/ 1290431 h 2146918"/>
              <a:gd name="connsiteX1951" fmla="*/ 1150371 w 5521505"/>
              <a:gd name="connsiteY1951" fmla="*/ 1290918 h 2146918"/>
              <a:gd name="connsiteX1952" fmla="*/ 1149446 w 5521505"/>
              <a:gd name="connsiteY1952" fmla="*/ 1291357 h 2146918"/>
              <a:gd name="connsiteX1953" fmla="*/ 1148398 w 5521505"/>
              <a:gd name="connsiteY1953" fmla="*/ 1291868 h 2146918"/>
              <a:gd name="connsiteX1954" fmla="*/ 1147266 w 5521505"/>
              <a:gd name="connsiteY1954" fmla="*/ 1292428 h 2146918"/>
              <a:gd name="connsiteX1955" fmla="*/ 1146048 w 5521505"/>
              <a:gd name="connsiteY1955" fmla="*/ 1293061 h 2146918"/>
              <a:gd name="connsiteX1956" fmla="*/ 1144916 w 5521505"/>
              <a:gd name="connsiteY1956" fmla="*/ 1293658 h 2146918"/>
              <a:gd name="connsiteX1957" fmla="*/ 1143430 w 5521505"/>
              <a:gd name="connsiteY1957" fmla="*/ 1294462 h 2146918"/>
              <a:gd name="connsiteX1958" fmla="*/ 1142213 w 5521505"/>
              <a:gd name="connsiteY1958" fmla="*/ 1295132 h 2146918"/>
              <a:gd name="connsiteX1959" fmla="*/ 1141117 w 5521505"/>
              <a:gd name="connsiteY1959" fmla="*/ 1295692 h 2146918"/>
              <a:gd name="connsiteX1960" fmla="*/ 1140252 w 5521505"/>
              <a:gd name="connsiteY1960" fmla="*/ 1296130 h 2146918"/>
              <a:gd name="connsiteX1961" fmla="*/ 1139327 w 5521505"/>
              <a:gd name="connsiteY1961" fmla="*/ 1296568 h 2146918"/>
              <a:gd name="connsiteX1962" fmla="*/ 1138499 w 5521505"/>
              <a:gd name="connsiteY1962" fmla="*/ 1296958 h 2146918"/>
              <a:gd name="connsiteX1963" fmla="*/ 1137792 w 5521505"/>
              <a:gd name="connsiteY1963" fmla="*/ 1297275 h 2146918"/>
              <a:gd name="connsiteX1964" fmla="*/ 1137086 w 5521505"/>
              <a:gd name="connsiteY1964" fmla="*/ 1297579 h 2146918"/>
              <a:gd name="connsiteX1965" fmla="*/ 1136416 w 5521505"/>
              <a:gd name="connsiteY1965" fmla="*/ 1297872 h 2146918"/>
              <a:gd name="connsiteX1966" fmla="*/ 1135662 w 5521505"/>
              <a:gd name="connsiteY1966" fmla="*/ 1298176 h 2146918"/>
              <a:gd name="connsiteX1967" fmla="*/ 1135004 w 5521505"/>
              <a:gd name="connsiteY1967" fmla="*/ 1298432 h 2146918"/>
              <a:gd name="connsiteX1968" fmla="*/ 1134371 w 5521505"/>
              <a:gd name="connsiteY1968" fmla="*/ 1298675 h 2146918"/>
              <a:gd name="connsiteX1969" fmla="*/ 1133506 w 5521505"/>
              <a:gd name="connsiteY1969" fmla="*/ 1298979 h 2146918"/>
              <a:gd name="connsiteX1970" fmla="*/ 1132447 w 5521505"/>
              <a:gd name="connsiteY1970" fmla="*/ 1299320 h 2146918"/>
              <a:gd name="connsiteX1971" fmla="*/ 1131546 w 5521505"/>
              <a:gd name="connsiteY1971" fmla="*/ 1299601 h 2146918"/>
              <a:gd name="connsiteX1972" fmla="*/ 1130681 w 5521505"/>
              <a:gd name="connsiteY1972" fmla="*/ 1299844 h 2146918"/>
              <a:gd name="connsiteX1973" fmla="*/ 1129792 w 5521505"/>
              <a:gd name="connsiteY1973" fmla="*/ 1300063 h 2146918"/>
              <a:gd name="connsiteX1974" fmla="*/ 1129110 w 5521505"/>
              <a:gd name="connsiteY1974" fmla="*/ 1300221 h 2146918"/>
              <a:gd name="connsiteX1975" fmla="*/ 1128502 w 5521505"/>
              <a:gd name="connsiteY1975" fmla="*/ 1300343 h 2146918"/>
              <a:gd name="connsiteX1976" fmla="*/ 1128100 w 5521505"/>
              <a:gd name="connsiteY1976" fmla="*/ 1300416 h 2146918"/>
              <a:gd name="connsiteX1977" fmla="*/ 1127479 w 5521505"/>
              <a:gd name="connsiteY1977" fmla="*/ 1300526 h 2146918"/>
              <a:gd name="connsiteX1978" fmla="*/ 1126845 w 5521505"/>
              <a:gd name="connsiteY1978" fmla="*/ 1300611 h 2146918"/>
              <a:gd name="connsiteX1979" fmla="*/ 1126273 w 5521505"/>
              <a:gd name="connsiteY1979" fmla="*/ 1300684 h 2146918"/>
              <a:gd name="connsiteX1980" fmla="*/ 1125750 w 5521505"/>
              <a:gd name="connsiteY1980" fmla="*/ 1300684 h 2146918"/>
              <a:gd name="connsiteX1981" fmla="*/ 1125262 w 5521505"/>
              <a:gd name="connsiteY1981" fmla="*/ 1300684 h 2146918"/>
              <a:gd name="connsiteX1982" fmla="*/ 1124836 w 5521505"/>
              <a:gd name="connsiteY1982" fmla="*/ 1300684 h 2146918"/>
              <a:gd name="connsiteX1983" fmla="*/ 1124447 w 5521505"/>
              <a:gd name="connsiteY1983" fmla="*/ 1300684 h 2146918"/>
              <a:gd name="connsiteX1984" fmla="*/ 1122718 w 5521505"/>
              <a:gd name="connsiteY1984" fmla="*/ 1300684 h 2146918"/>
              <a:gd name="connsiteX1985" fmla="*/ 1122182 w 5521505"/>
              <a:gd name="connsiteY1985" fmla="*/ 1300684 h 2146918"/>
              <a:gd name="connsiteX1986" fmla="*/ 1121415 w 5521505"/>
              <a:gd name="connsiteY1986" fmla="*/ 1300611 h 2146918"/>
              <a:gd name="connsiteX1987" fmla="*/ 1120818 w 5521505"/>
              <a:gd name="connsiteY1987" fmla="*/ 1300526 h 2146918"/>
              <a:gd name="connsiteX1988" fmla="*/ 1120379 w 5521505"/>
              <a:gd name="connsiteY1988" fmla="*/ 1300453 h 2146918"/>
              <a:gd name="connsiteX1989" fmla="*/ 1119917 w 5521505"/>
              <a:gd name="connsiteY1989" fmla="*/ 1300355 h 2146918"/>
              <a:gd name="connsiteX1990" fmla="*/ 1119381 w 5521505"/>
              <a:gd name="connsiteY1990" fmla="*/ 1300234 h 2146918"/>
              <a:gd name="connsiteX1991" fmla="*/ 1118967 w 5521505"/>
              <a:gd name="connsiteY1991" fmla="*/ 1300136 h 2146918"/>
              <a:gd name="connsiteX1992" fmla="*/ 1118468 w 5521505"/>
              <a:gd name="connsiteY1992" fmla="*/ 1300002 h 2146918"/>
              <a:gd name="connsiteX1993" fmla="*/ 1118066 w 5521505"/>
              <a:gd name="connsiteY1993" fmla="*/ 1299917 h 2146918"/>
              <a:gd name="connsiteX1994" fmla="*/ 1117664 w 5521505"/>
              <a:gd name="connsiteY1994" fmla="*/ 1299844 h 2146918"/>
              <a:gd name="connsiteX1995" fmla="*/ 1117274 w 5521505"/>
              <a:gd name="connsiteY1995" fmla="*/ 1299844 h 2146918"/>
              <a:gd name="connsiteX1996" fmla="*/ 1116946 w 5521505"/>
              <a:gd name="connsiteY1996" fmla="*/ 1299844 h 2146918"/>
              <a:gd name="connsiteX1997" fmla="*/ 1116361 w 5521505"/>
              <a:gd name="connsiteY1997" fmla="*/ 1299844 h 2146918"/>
              <a:gd name="connsiteX1998" fmla="*/ 1115923 w 5521505"/>
              <a:gd name="connsiteY1998" fmla="*/ 1299844 h 2146918"/>
              <a:gd name="connsiteX1999" fmla="*/ 1113841 w 5521505"/>
              <a:gd name="connsiteY1999" fmla="*/ 1299844 h 2146918"/>
              <a:gd name="connsiteX2000" fmla="*/ 1113536 w 5521505"/>
              <a:gd name="connsiteY2000" fmla="*/ 1299844 h 2146918"/>
              <a:gd name="connsiteX2001" fmla="*/ 1113183 w 5521505"/>
              <a:gd name="connsiteY2001" fmla="*/ 1299844 h 2146918"/>
              <a:gd name="connsiteX2002" fmla="*/ 1112732 w 5521505"/>
              <a:gd name="connsiteY2002" fmla="*/ 1299844 h 2146918"/>
              <a:gd name="connsiteX2003" fmla="*/ 1112282 w 5521505"/>
              <a:gd name="connsiteY2003" fmla="*/ 1299844 h 2146918"/>
              <a:gd name="connsiteX2004" fmla="*/ 1111831 w 5521505"/>
              <a:gd name="connsiteY2004" fmla="*/ 1299844 h 2146918"/>
              <a:gd name="connsiteX2005" fmla="*/ 1111430 w 5521505"/>
              <a:gd name="connsiteY2005" fmla="*/ 1299905 h 2146918"/>
              <a:gd name="connsiteX2006" fmla="*/ 1111028 w 5521505"/>
              <a:gd name="connsiteY2006" fmla="*/ 1299966 h 2146918"/>
              <a:gd name="connsiteX2007" fmla="*/ 1110492 w 5521505"/>
              <a:gd name="connsiteY2007" fmla="*/ 1300063 h 2146918"/>
              <a:gd name="connsiteX2008" fmla="*/ 1109834 w 5521505"/>
              <a:gd name="connsiteY2008" fmla="*/ 1300185 h 2146918"/>
              <a:gd name="connsiteX2009" fmla="*/ 1109140 w 5521505"/>
              <a:gd name="connsiteY2009" fmla="*/ 1300319 h 2146918"/>
              <a:gd name="connsiteX2010" fmla="*/ 1108678 w 5521505"/>
              <a:gd name="connsiteY2010" fmla="*/ 1300428 h 2146918"/>
              <a:gd name="connsiteX2011" fmla="*/ 1108093 w 5521505"/>
              <a:gd name="connsiteY2011" fmla="*/ 1300563 h 2146918"/>
              <a:gd name="connsiteX2012" fmla="*/ 1107728 w 5521505"/>
              <a:gd name="connsiteY2012" fmla="*/ 1300648 h 2146918"/>
              <a:gd name="connsiteX2013" fmla="*/ 1107216 w 5521505"/>
              <a:gd name="connsiteY2013" fmla="*/ 1300781 h 2146918"/>
              <a:gd name="connsiteX2014" fmla="*/ 1106522 w 5521505"/>
              <a:gd name="connsiteY2014" fmla="*/ 1300964 h 2146918"/>
              <a:gd name="connsiteX2015" fmla="*/ 1105840 w 5521505"/>
              <a:gd name="connsiteY2015" fmla="*/ 1301159 h 2146918"/>
              <a:gd name="connsiteX2016" fmla="*/ 1105085 w 5521505"/>
              <a:gd name="connsiteY2016" fmla="*/ 1301366 h 2146918"/>
              <a:gd name="connsiteX2017" fmla="*/ 1104477 w 5521505"/>
              <a:gd name="connsiteY2017" fmla="*/ 1301561 h 2146918"/>
              <a:gd name="connsiteX2018" fmla="*/ 1103624 w 5521505"/>
              <a:gd name="connsiteY2018" fmla="*/ 1301816 h 2146918"/>
              <a:gd name="connsiteX2019" fmla="*/ 1102906 w 5521505"/>
              <a:gd name="connsiteY2019" fmla="*/ 1302048 h 2146918"/>
              <a:gd name="connsiteX2020" fmla="*/ 1101956 w 5521505"/>
              <a:gd name="connsiteY2020" fmla="*/ 1302377 h 2146918"/>
              <a:gd name="connsiteX2021" fmla="*/ 1100982 w 5521505"/>
              <a:gd name="connsiteY2021" fmla="*/ 1302705 h 2146918"/>
              <a:gd name="connsiteX2022" fmla="*/ 1100044 w 5521505"/>
              <a:gd name="connsiteY2022" fmla="*/ 1303034 h 2146918"/>
              <a:gd name="connsiteX2023" fmla="*/ 1099058 w 5521505"/>
              <a:gd name="connsiteY2023" fmla="*/ 1303399 h 2146918"/>
              <a:gd name="connsiteX2024" fmla="*/ 1098254 w 5521505"/>
              <a:gd name="connsiteY2024" fmla="*/ 1303692 h 2146918"/>
              <a:gd name="connsiteX2025" fmla="*/ 1097438 w 5521505"/>
              <a:gd name="connsiteY2025" fmla="*/ 1303996 h 2146918"/>
              <a:gd name="connsiteX2026" fmla="*/ 1096610 w 5521505"/>
              <a:gd name="connsiteY2026" fmla="*/ 1304301 h 2146918"/>
              <a:gd name="connsiteX2027" fmla="*/ 1095880 w 5521505"/>
              <a:gd name="connsiteY2027" fmla="*/ 1304581 h 2146918"/>
              <a:gd name="connsiteX2028" fmla="*/ 1095125 w 5521505"/>
              <a:gd name="connsiteY2028" fmla="*/ 1304873 h 2146918"/>
              <a:gd name="connsiteX2029" fmla="*/ 1094126 w 5521505"/>
              <a:gd name="connsiteY2029" fmla="*/ 1305250 h 2146918"/>
              <a:gd name="connsiteX2030" fmla="*/ 1093274 w 5521505"/>
              <a:gd name="connsiteY2030" fmla="*/ 1305579 h 2146918"/>
              <a:gd name="connsiteX2031" fmla="*/ 1092409 w 5521505"/>
              <a:gd name="connsiteY2031" fmla="*/ 1305908 h 2146918"/>
              <a:gd name="connsiteX2032" fmla="*/ 1091642 w 5521505"/>
              <a:gd name="connsiteY2032" fmla="*/ 1306188 h 2146918"/>
              <a:gd name="connsiteX2033" fmla="*/ 1090851 w 5521505"/>
              <a:gd name="connsiteY2033" fmla="*/ 1306456 h 2146918"/>
              <a:gd name="connsiteX2034" fmla="*/ 1090071 w 5521505"/>
              <a:gd name="connsiteY2034" fmla="*/ 1306712 h 2146918"/>
              <a:gd name="connsiteX2035" fmla="*/ 1089572 w 5521505"/>
              <a:gd name="connsiteY2035" fmla="*/ 1306858 h 2146918"/>
              <a:gd name="connsiteX2036" fmla="*/ 1089024 w 5521505"/>
              <a:gd name="connsiteY2036" fmla="*/ 1307016 h 2146918"/>
              <a:gd name="connsiteX2037" fmla="*/ 1088440 w 5521505"/>
              <a:gd name="connsiteY2037" fmla="*/ 1307162 h 2146918"/>
              <a:gd name="connsiteX2038" fmla="*/ 1087782 w 5521505"/>
              <a:gd name="connsiteY2038" fmla="*/ 1307333 h 2146918"/>
              <a:gd name="connsiteX2039" fmla="*/ 1087222 w 5521505"/>
              <a:gd name="connsiteY2039" fmla="*/ 1307454 h 2146918"/>
              <a:gd name="connsiteX2040" fmla="*/ 1086650 w 5521505"/>
              <a:gd name="connsiteY2040" fmla="*/ 1307564 h 2146918"/>
              <a:gd name="connsiteX2041" fmla="*/ 1085785 w 5521505"/>
              <a:gd name="connsiteY2041" fmla="*/ 1307710 h 2146918"/>
              <a:gd name="connsiteX2042" fmla="*/ 1085042 w 5521505"/>
              <a:gd name="connsiteY2042" fmla="*/ 1307807 h 2146918"/>
              <a:gd name="connsiteX2043" fmla="*/ 1084385 w 5521505"/>
              <a:gd name="connsiteY2043" fmla="*/ 1307881 h 2146918"/>
              <a:gd name="connsiteX2044" fmla="*/ 1083715 w 5521505"/>
              <a:gd name="connsiteY2044" fmla="*/ 1307881 h 2146918"/>
              <a:gd name="connsiteX2045" fmla="*/ 1082351 w 5521505"/>
              <a:gd name="connsiteY2045" fmla="*/ 1307881 h 2146918"/>
              <a:gd name="connsiteX2046" fmla="*/ 1081840 w 5521505"/>
              <a:gd name="connsiteY2046" fmla="*/ 1307881 h 2146918"/>
              <a:gd name="connsiteX2047" fmla="*/ 1081377 w 5521505"/>
              <a:gd name="connsiteY2047" fmla="*/ 1307881 h 2146918"/>
              <a:gd name="connsiteX2048" fmla="*/ 1081000 w 5521505"/>
              <a:gd name="connsiteY2048" fmla="*/ 1307820 h 2146918"/>
              <a:gd name="connsiteX2049" fmla="*/ 1080549 w 5521505"/>
              <a:gd name="connsiteY2049" fmla="*/ 1307734 h 2146918"/>
              <a:gd name="connsiteX2050" fmla="*/ 1080001 w 5521505"/>
              <a:gd name="connsiteY2050" fmla="*/ 1307613 h 2146918"/>
              <a:gd name="connsiteX2051" fmla="*/ 1079624 w 5521505"/>
              <a:gd name="connsiteY2051" fmla="*/ 1307491 h 2146918"/>
              <a:gd name="connsiteX2052" fmla="*/ 1079027 w 5521505"/>
              <a:gd name="connsiteY2052" fmla="*/ 1307272 h 2146918"/>
              <a:gd name="connsiteX2053" fmla="*/ 1078479 w 5521505"/>
              <a:gd name="connsiteY2053" fmla="*/ 1306992 h 2146918"/>
              <a:gd name="connsiteX2054" fmla="*/ 1077907 w 5521505"/>
              <a:gd name="connsiteY2054" fmla="*/ 1306638 h 2146918"/>
              <a:gd name="connsiteX2055" fmla="*/ 1077493 w 5521505"/>
              <a:gd name="connsiteY2055" fmla="*/ 1306298 h 2146918"/>
              <a:gd name="connsiteX2056" fmla="*/ 1077054 w 5521505"/>
              <a:gd name="connsiteY2056" fmla="*/ 1305847 h 2146918"/>
              <a:gd name="connsiteX2057" fmla="*/ 1076701 w 5521505"/>
              <a:gd name="connsiteY2057" fmla="*/ 1305385 h 2146918"/>
              <a:gd name="connsiteX2058" fmla="*/ 1076299 w 5521505"/>
              <a:gd name="connsiteY2058" fmla="*/ 1304641 h 2146918"/>
              <a:gd name="connsiteX2059" fmla="*/ 1076019 w 5521505"/>
              <a:gd name="connsiteY2059" fmla="*/ 1303850 h 2146918"/>
              <a:gd name="connsiteX2060" fmla="*/ 1075849 w 5521505"/>
              <a:gd name="connsiteY2060" fmla="*/ 1302949 h 2146918"/>
              <a:gd name="connsiteX2061" fmla="*/ 1075849 w 5521505"/>
              <a:gd name="connsiteY2061" fmla="*/ 1301963 h 2146918"/>
              <a:gd name="connsiteX2062" fmla="*/ 1075922 w 5521505"/>
              <a:gd name="connsiteY2062" fmla="*/ 1300854 h 2146918"/>
              <a:gd name="connsiteX2063" fmla="*/ 1076092 w 5521505"/>
              <a:gd name="connsiteY2063" fmla="*/ 1299807 h 2146918"/>
              <a:gd name="connsiteX2064" fmla="*/ 1076299 w 5521505"/>
              <a:gd name="connsiteY2064" fmla="*/ 1298930 h 2146918"/>
              <a:gd name="connsiteX2065" fmla="*/ 1076628 w 5521505"/>
              <a:gd name="connsiteY2065" fmla="*/ 1297883 h 2146918"/>
              <a:gd name="connsiteX2066" fmla="*/ 1077347 w 5521505"/>
              <a:gd name="connsiteY2066" fmla="*/ 1296471 h 2146918"/>
              <a:gd name="connsiteX2067" fmla="*/ 1078284 w 5521505"/>
              <a:gd name="connsiteY2067" fmla="*/ 1295156 h 2146918"/>
              <a:gd name="connsiteX2068" fmla="*/ 1079660 w 5521505"/>
              <a:gd name="connsiteY2068" fmla="*/ 1293475 h 2146918"/>
              <a:gd name="connsiteX2069" fmla="*/ 1080720 w 5521505"/>
              <a:gd name="connsiteY2069" fmla="*/ 1292258 h 2146918"/>
              <a:gd name="connsiteX2070" fmla="*/ 1081584 w 5521505"/>
              <a:gd name="connsiteY2070" fmla="*/ 1291247 h 2146918"/>
              <a:gd name="connsiteX2071" fmla="*/ 1082546 w 5521505"/>
              <a:gd name="connsiteY2071" fmla="*/ 1290115 h 2146918"/>
              <a:gd name="connsiteX2072" fmla="*/ 1083423 w 5521505"/>
              <a:gd name="connsiteY2072" fmla="*/ 1289019 h 2146918"/>
              <a:gd name="connsiteX2073" fmla="*/ 1081548 w 5521505"/>
              <a:gd name="connsiteY2073" fmla="*/ 1289019 h 2146918"/>
              <a:gd name="connsiteX2074" fmla="*/ 1079599 w 5521505"/>
              <a:gd name="connsiteY2074" fmla="*/ 1289019 h 2146918"/>
              <a:gd name="connsiteX2075" fmla="*/ 1077724 w 5521505"/>
              <a:gd name="connsiteY2075" fmla="*/ 1289019 h 2146918"/>
              <a:gd name="connsiteX2076" fmla="*/ 1077420 w 5521505"/>
              <a:gd name="connsiteY2076" fmla="*/ 1289019 h 2146918"/>
              <a:gd name="connsiteX2077" fmla="*/ 1077188 w 5521505"/>
              <a:gd name="connsiteY2077" fmla="*/ 1289299 h 2146918"/>
              <a:gd name="connsiteX2078" fmla="*/ 1077018 w 5521505"/>
              <a:gd name="connsiteY2078" fmla="*/ 1289506 h 2146918"/>
              <a:gd name="connsiteX2079" fmla="*/ 1076494 w 5521505"/>
              <a:gd name="connsiteY2079" fmla="*/ 1290115 h 2146918"/>
              <a:gd name="connsiteX2080" fmla="*/ 1075995 w 5521505"/>
              <a:gd name="connsiteY2080" fmla="*/ 1290687 h 2146918"/>
              <a:gd name="connsiteX2081" fmla="*/ 1075544 w 5521505"/>
              <a:gd name="connsiteY2081" fmla="*/ 1291211 h 2146918"/>
              <a:gd name="connsiteX2082" fmla="*/ 1075362 w 5521505"/>
              <a:gd name="connsiteY2082" fmla="*/ 1291406 h 2146918"/>
              <a:gd name="connsiteX2083" fmla="*/ 1074972 w 5521505"/>
              <a:gd name="connsiteY2083" fmla="*/ 1291856 h 2146918"/>
              <a:gd name="connsiteX2084" fmla="*/ 1074509 w 5521505"/>
              <a:gd name="connsiteY2084" fmla="*/ 1292379 h 2146918"/>
              <a:gd name="connsiteX2085" fmla="*/ 1074047 w 5521505"/>
              <a:gd name="connsiteY2085" fmla="*/ 1292879 h 2146918"/>
              <a:gd name="connsiteX2086" fmla="*/ 1073779 w 5521505"/>
              <a:gd name="connsiteY2086" fmla="*/ 1293171 h 2146918"/>
              <a:gd name="connsiteX2087" fmla="*/ 1073474 w 5521505"/>
              <a:gd name="connsiteY2087" fmla="*/ 1293488 h 2146918"/>
              <a:gd name="connsiteX2088" fmla="*/ 1073145 w 5521505"/>
              <a:gd name="connsiteY2088" fmla="*/ 1293828 h 2146918"/>
              <a:gd name="connsiteX2089" fmla="*/ 1072792 w 5521505"/>
              <a:gd name="connsiteY2089" fmla="*/ 1294194 h 2146918"/>
              <a:gd name="connsiteX2090" fmla="*/ 1072537 w 5521505"/>
              <a:gd name="connsiteY2090" fmla="*/ 1294462 h 2146918"/>
              <a:gd name="connsiteX2091" fmla="*/ 1072123 w 5521505"/>
              <a:gd name="connsiteY2091" fmla="*/ 1294888 h 2146918"/>
              <a:gd name="connsiteX2092" fmla="*/ 1071794 w 5521505"/>
              <a:gd name="connsiteY2092" fmla="*/ 1295204 h 2146918"/>
              <a:gd name="connsiteX2093" fmla="*/ 1071489 w 5521505"/>
              <a:gd name="connsiteY2093" fmla="*/ 1295497 h 2146918"/>
              <a:gd name="connsiteX2094" fmla="*/ 1071246 w 5521505"/>
              <a:gd name="connsiteY2094" fmla="*/ 1295728 h 2146918"/>
              <a:gd name="connsiteX2095" fmla="*/ 1070954 w 5521505"/>
              <a:gd name="connsiteY2095" fmla="*/ 1295996 h 2146918"/>
              <a:gd name="connsiteX2096" fmla="*/ 1070625 w 5521505"/>
              <a:gd name="connsiteY2096" fmla="*/ 1296288 h 2146918"/>
              <a:gd name="connsiteX2097" fmla="*/ 1070393 w 5521505"/>
              <a:gd name="connsiteY2097" fmla="*/ 1296495 h 2146918"/>
              <a:gd name="connsiteX2098" fmla="*/ 1070089 w 5521505"/>
              <a:gd name="connsiteY2098" fmla="*/ 1296763 h 2146918"/>
              <a:gd name="connsiteX2099" fmla="*/ 1069736 w 5521505"/>
              <a:gd name="connsiteY2099" fmla="*/ 1297055 h 2146918"/>
              <a:gd name="connsiteX2100" fmla="*/ 1069358 w 5521505"/>
              <a:gd name="connsiteY2100" fmla="*/ 1297372 h 2146918"/>
              <a:gd name="connsiteX2101" fmla="*/ 1068945 w 5521505"/>
              <a:gd name="connsiteY2101" fmla="*/ 1297688 h 2146918"/>
              <a:gd name="connsiteX2102" fmla="*/ 1068591 w 5521505"/>
              <a:gd name="connsiteY2102" fmla="*/ 1297957 h 2146918"/>
              <a:gd name="connsiteX2103" fmla="*/ 1068177 w 5521505"/>
              <a:gd name="connsiteY2103" fmla="*/ 1298248 h 2146918"/>
              <a:gd name="connsiteX2104" fmla="*/ 1067763 w 5521505"/>
              <a:gd name="connsiteY2104" fmla="*/ 1298529 h 2146918"/>
              <a:gd name="connsiteX2105" fmla="*/ 1067410 w 5521505"/>
              <a:gd name="connsiteY2105" fmla="*/ 1298760 h 2146918"/>
              <a:gd name="connsiteX2106" fmla="*/ 1066984 w 5521505"/>
              <a:gd name="connsiteY2106" fmla="*/ 1299016 h 2146918"/>
              <a:gd name="connsiteX2107" fmla="*/ 1066704 w 5521505"/>
              <a:gd name="connsiteY2107" fmla="*/ 1299174 h 2146918"/>
              <a:gd name="connsiteX2108" fmla="*/ 1066424 w 5521505"/>
              <a:gd name="connsiteY2108" fmla="*/ 1299320 h 2146918"/>
              <a:gd name="connsiteX2109" fmla="*/ 1066132 w 5521505"/>
              <a:gd name="connsiteY2109" fmla="*/ 1299466 h 2146918"/>
              <a:gd name="connsiteX2110" fmla="*/ 1065888 w 5521505"/>
              <a:gd name="connsiteY2110" fmla="*/ 1299588 h 2146918"/>
              <a:gd name="connsiteX2111" fmla="*/ 1065523 w 5521505"/>
              <a:gd name="connsiteY2111" fmla="*/ 1299759 h 2146918"/>
              <a:gd name="connsiteX2112" fmla="*/ 1065182 w 5521505"/>
              <a:gd name="connsiteY2112" fmla="*/ 1299892 h 2146918"/>
              <a:gd name="connsiteX2113" fmla="*/ 1064731 w 5521505"/>
              <a:gd name="connsiteY2113" fmla="*/ 1300063 h 2146918"/>
              <a:gd name="connsiteX2114" fmla="*/ 1064269 w 5521505"/>
              <a:gd name="connsiteY2114" fmla="*/ 1300209 h 2146918"/>
              <a:gd name="connsiteX2115" fmla="*/ 1063964 w 5521505"/>
              <a:gd name="connsiteY2115" fmla="*/ 1300307 h 2146918"/>
              <a:gd name="connsiteX2116" fmla="*/ 1063660 w 5521505"/>
              <a:gd name="connsiteY2116" fmla="*/ 1300379 h 2146918"/>
              <a:gd name="connsiteX2117" fmla="*/ 1063380 w 5521505"/>
              <a:gd name="connsiteY2117" fmla="*/ 1300379 h 2146918"/>
              <a:gd name="connsiteX2118" fmla="*/ 1063075 w 5521505"/>
              <a:gd name="connsiteY2118" fmla="*/ 1300441 h 2146918"/>
              <a:gd name="connsiteX2119" fmla="*/ 1062832 w 5521505"/>
              <a:gd name="connsiteY2119" fmla="*/ 1300441 h 2146918"/>
              <a:gd name="connsiteX2120" fmla="*/ 1062564 w 5521505"/>
              <a:gd name="connsiteY2120" fmla="*/ 1300441 h 2146918"/>
              <a:gd name="connsiteX2121" fmla="*/ 1062223 w 5521505"/>
              <a:gd name="connsiteY2121" fmla="*/ 1300441 h 2146918"/>
              <a:gd name="connsiteX2122" fmla="*/ 1061870 w 5521505"/>
              <a:gd name="connsiteY2122" fmla="*/ 1300441 h 2146918"/>
              <a:gd name="connsiteX2123" fmla="*/ 1061541 w 5521505"/>
              <a:gd name="connsiteY2123" fmla="*/ 1300441 h 2146918"/>
              <a:gd name="connsiteX2124" fmla="*/ 1060762 w 5521505"/>
              <a:gd name="connsiteY2124" fmla="*/ 1300441 h 2146918"/>
              <a:gd name="connsiteX2125" fmla="*/ 1060336 w 5521505"/>
              <a:gd name="connsiteY2125" fmla="*/ 1300441 h 2146918"/>
              <a:gd name="connsiteX2126" fmla="*/ 1059897 w 5521505"/>
              <a:gd name="connsiteY2126" fmla="*/ 1300441 h 2146918"/>
              <a:gd name="connsiteX2127" fmla="*/ 1059580 w 5521505"/>
              <a:gd name="connsiteY2127" fmla="*/ 1300441 h 2146918"/>
              <a:gd name="connsiteX2128" fmla="*/ 1059276 w 5521505"/>
              <a:gd name="connsiteY2128" fmla="*/ 1300441 h 2146918"/>
              <a:gd name="connsiteX2129" fmla="*/ 1058947 w 5521505"/>
              <a:gd name="connsiteY2129" fmla="*/ 1300441 h 2146918"/>
              <a:gd name="connsiteX2130" fmla="*/ 1058533 w 5521505"/>
              <a:gd name="connsiteY2130" fmla="*/ 1300368 h 2146918"/>
              <a:gd name="connsiteX2131" fmla="*/ 1057851 w 5521505"/>
              <a:gd name="connsiteY2131" fmla="*/ 1300234 h 2146918"/>
              <a:gd name="connsiteX2132" fmla="*/ 1057401 w 5521505"/>
              <a:gd name="connsiteY2132" fmla="*/ 1300124 h 2146918"/>
              <a:gd name="connsiteX2133" fmla="*/ 1056914 w 5521505"/>
              <a:gd name="connsiteY2133" fmla="*/ 1300002 h 2146918"/>
              <a:gd name="connsiteX2134" fmla="*/ 1056500 w 5521505"/>
              <a:gd name="connsiteY2134" fmla="*/ 1299881 h 2146918"/>
              <a:gd name="connsiteX2135" fmla="*/ 1055879 w 5521505"/>
              <a:gd name="connsiteY2135" fmla="*/ 1299698 h 2146918"/>
              <a:gd name="connsiteX2136" fmla="*/ 1055392 w 5521505"/>
              <a:gd name="connsiteY2136" fmla="*/ 1299539 h 2146918"/>
              <a:gd name="connsiteX2137" fmla="*/ 1054966 w 5521505"/>
              <a:gd name="connsiteY2137" fmla="*/ 1299394 h 2146918"/>
              <a:gd name="connsiteX2138" fmla="*/ 1054491 w 5521505"/>
              <a:gd name="connsiteY2138" fmla="*/ 1299223 h 2146918"/>
              <a:gd name="connsiteX2139" fmla="*/ 1053967 w 5521505"/>
              <a:gd name="connsiteY2139" fmla="*/ 1299052 h 2146918"/>
              <a:gd name="connsiteX2140" fmla="*/ 1053407 w 5521505"/>
              <a:gd name="connsiteY2140" fmla="*/ 1298894 h 2146918"/>
              <a:gd name="connsiteX2141" fmla="*/ 1052993 w 5521505"/>
              <a:gd name="connsiteY2141" fmla="*/ 1298797 h 2146918"/>
              <a:gd name="connsiteX2142" fmla="*/ 1052140 w 5521505"/>
              <a:gd name="connsiteY2142" fmla="*/ 1298626 h 2146918"/>
              <a:gd name="connsiteX2143" fmla="*/ 1051361 w 5521505"/>
              <a:gd name="connsiteY2143" fmla="*/ 1298492 h 2146918"/>
              <a:gd name="connsiteX2144" fmla="*/ 1050728 w 5521505"/>
              <a:gd name="connsiteY2144" fmla="*/ 1298419 h 2146918"/>
              <a:gd name="connsiteX2145" fmla="*/ 1049949 w 5521505"/>
              <a:gd name="connsiteY2145" fmla="*/ 1298346 h 2146918"/>
              <a:gd name="connsiteX2146" fmla="*/ 1049194 w 5521505"/>
              <a:gd name="connsiteY2146" fmla="*/ 1298346 h 2146918"/>
              <a:gd name="connsiteX2147" fmla="*/ 1048439 w 5521505"/>
              <a:gd name="connsiteY2147" fmla="*/ 1298346 h 2146918"/>
              <a:gd name="connsiteX2148" fmla="*/ 1046843 w 5521505"/>
              <a:gd name="connsiteY2148" fmla="*/ 1298346 h 2146918"/>
              <a:gd name="connsiteX2149" fmla="*/ 1045881 w 5521505"/>
              <a:gd name="connsiteY2149" fmla="*/ 1298346 h 2146918"/>
              <a:gd name="connsiteX2150" fmla="*/ 1044798 w 5521505"/>
              <a:gd name="connsiteY2150" fmla="*/ 1298419 h 2146918"/>
              <a:gd name="connsiteX2151" fmla="*/ 1043580 w 5521505"/>
              <a:gd name="connsiteY2151" fmla="*/ 1298541 h 2146918"/>
              <a:gd name="connsiteX2152" fmla="*/ 1042192 w 5521505"/>
              <a:gd name="connsiteY2152" fmla="*/ 1298712 h 2146918"/>
              <a:gd name="connsiteX2153" fmla="*/ 1040743 w 5521505"/>
              <a:gd name="connsiteY2153" fmla="*/ 1298930 h 2146918"/>
              <a:gd name="connsiteX2154" fmla="*/ 1038941 w 5521505"/>
              <a:gd name="connsiteY2154" fmla="*/ 1299235 h 2146918"/>
              <a:gd name="connsiteX2155" fmla="*/ 1037029 w 5521505"/>
              <a:gd name="connsiteY2155" fmla="*/ 1299588 h 2146918"/>
              <a:gd name="connsiteX2156" fmla="*/ 1035592 w 5521505"/>
              <a:gd name="connsiteY2156" fmla="*/ 1299881 h 2146918"/>
              <a:gd name="connsiteX2157" fmla="*/ 1034143 w 5521505"/>
              <a:gd name="connsiteY2157" fmla="*/ 1300209 h 2146918"/>
              <a:gd name="connsiteX2158" fmla="*/ 1032767 w 5521505"/>
              <a:gd name="connsiteY2158" fmla="*/ 1300684 h 2146918"/>
              <a:gd name="connsiteX2159" fmla="*/ 1030490 w 5521505"/>
              <a:gd name="connsiteY2159" fmla="*/ 1301756 h 2146918"/>
              <a:gd name="connsiteX2160" fmla="*/ 1028615 w 5521505"/>
              <a:gd name="connsiteY2160" fmla="*/ 1302815 h 2146918"/>
              <a:gd name="connsiteX2161" fmla="*/ 1027154 w 5521505"/>
              <a:gd name="connsiteY2161" fmla="*/ 1303741 h 2146918"/>
              <a:gd name="connsiteX2162" fmla="*/ 1025826 w 5521505"/>
              <a:gd name="connsiteY2162" fmla="*/ 1304641 h 2146918"/>
              <a:gd name="connsiteX2163" fmla="*/ 1023391 w 5521505"/>
              <a:gd name="connsiteY2163" fmla="*/ 1306358 h 2146918"/>
              <a:gd name="connsiteX2164" fmla="*/ 1022100 w 5521505"/>
              <a:gd name="connsiteY2164" fmla="*/ 1307199 h 2146918"/>
              <a:gd name="connsiteX2165" fmla="*/ 1021467 w 5521505"/>
              <a:gd name="connsiteY2165" fmla="*/ 1307600 h 2146918"/>
              <a:gd name="connsiteX2166" fmla="*/ 1021467 w 5521505"/>
              <a:gd name="connsiteY2166" fmla="*/ 1307600 h 2146918"/>
              <a:gd name="connsiteX2167" fmla="*/ 1020907 w 5521505"/>
              <a:gd name="connsiteY2167" fmla="*/ 1307942 h 2146918"/>
              <a:gd name="connsiteX2168" fmla="*/ 1020128 w 5521505"/>
              <a:gd name="connsiteY2168" fmla="*/ 1308429 h 2146918"/>
              <a:gd name="connsiteX2169" fmla="*/ 1019263 w 5521505"/>
              <a:gd name="connsiteY2169" fmla="*/ 1308928 h 2146918"/>
              <a:gd name="connsiteX2170" fmla="*/ 1018374 w 5521505"/>
              <a:gd name="connsiteY2170" fmla="*/ 1309440 h 2146918"/>
              <a:gd name="connsiteX2171" fmla="*/ 1017643 w 5521505"/>
              <a:gd name="connsiteY2171" fmla="*/ 1309841 h 2146918"/>
              <a:gd name="connsiteX2172" fmla="*/ 1016998 w 5521505"/>
              <a:gd name="connsiteY2172" fmla="*/ 1310194 h 2146918"/>
              <a:gd name="connsiteX2173" fmla="*/ 1016535 w 5521505"/>
              <a:gd name="connsiteY2173" fmla="*/ 1310450 h 2146918"/>
              <a:gd name="connsiteX2174" fmla="*/ 1015756 w 5521505"/>
              <a:gd name="connsiteY2174" fmla="*/ 1310852 h 2146918"/>
              <a:gd name="connsiteX2175" fmla="*/ 1015001 w 5521505"/>
              <a:gd name="connsiteY2175" fmla="*/ 1311242 h 2146918"/>
              <a:gd name="connsiteX2176" fmla="*/ 1013674 w 5521505"/>
              <a:gd name="connsiteY2176" fmla="*/ 1311899 h 2146918"/>
              <a:gd name="connsiteX2177" fmla="*/ 1012371 w 5521505"/>
              <a:gd name="connsiteY2177" fmla="*/ 1312520 h 2146918"/>
              <a:gd name="connsiteX2178" fmla="*/ 1011068 w 5521505"/>
              <a:gd name="connsiteY2178" fmla="*/ 1313117 h 2146918"/>
              <a:gd name="connsiteX2179" fmla="*/ 1010167 w 5521505"/>
              <a:gd name="connsiteY2179" fmla="*/ 1313518 h 2146918"/>
              <a:gd name="connsiteX2180" fmla="*/ 1009497 w 5521505"/>
              <a:gd name="connsiteY2180" fmla="*/ 1313811 h 2146918"/>
              <a:gd name="connsiteX2181" fmla="*/ 1008206 w 5521505"/>
              <a:gd name="connsiteY2181" fmla="*/ 1314358 h 2146918"/>
              <a:gd name="connsiteX2182" fmla="*/ 1006185 w 5521505"/>
              <a:gd name="connsiteY2182" fmla="*/ 1315187 h 2146918"/>
              <a:gd name="connsiteX2183" fmla="*/ 1004687 w 5521505"/>
              <a:gd name="connsiteY2183" fmla="*/ 1315784 h 2146918"/>
              <a:gd name="connsiteX2184" fmla="*/ 1002702 w 5521505"/>
              <a:gd name="connsiteY2184" fmla="*/ 1316538 h 2146918"/>
              <a:gd name="connsiteX2185" fmla="*/ 1000608 w 5521505"/>
              <a:gd name="connsiteY2185" fmla="*/ 1317318 h 2146918"/>
              <a:gd name="connsiteX2186" fmla="*/ 998282 w 5521505"/>
              <a:gd name="connsiteY2186" fmla="*/ 1318170 h 2146918"/>
              <a:gd name="connsiteX2187" fmla="*/ 995579 w 5521505"/>
              <a:gd name="connsiteY2187" fmla="*/ 1319157 h 2146918"/>
              <a:gd name="connsiteX2188" fmla="*/ 993716 w 5521505"/>
              <a:gd name="connsiteY2188" fmla="*/ 1319826 h 2146918"/>
              <a:gd name="connsiteX2189" fmla="*/ 992498 w 5521505"/>
              <a:gd name="connsiteY2189" fmla="*/ 1320264 h 2146918"/>
              <a:gd name="connsiteX2190" fmla="*/ 991914 w 5521505"/>
              <a:gd name="connsiteY2190" fmla="*/ 1320423 h 2146918"/>
              <a:gd name="connsiteX2191" fmla="*/ 991000 w 5521505"/>
              <a:gd name="connsiteY2191" fmla="*/ 1320520 h 2146918"/>
              <a:gd name="connsiteX2192" fmla="*/ 989637 w 5521505"/>
              <a:gd name="connsiteY2192" fmla="*/ 1320435 h 2146918"/>
              <a:gd name="connsiteX2193" fmla="*/ 988894 w 5521505"/>
              <a:gd name="connsiteY2193" fmla="*/ 1320313 h 2146918"/>
              <a:gd name="connsiteX2194" fmla="*/ 987579 w 5521505"/>
              <a:gd name="connsiteY2194" fmla="*/ 1320082 h 2146918"/>
              <a:gd name="connsiteX2195" fmla="*/ 986775 w 5521505"/>
              <a:gd name="connsiteY2195" fmla="*/ 1319997 h 2146918"/>
              <a:gd name="connsiteX2196" fmla="*/ 985910 w 5521505"/>
              <a:gd name="connsiteY2196" fmla="*/ 1320386 h 2146918"/>
              <a:gd name="connsiteX2197" fmla="*/ 985156 w 5521505"/>
              <a:gd name="connsiteY2197" fmla="*/ 1320715 h 2146918"/>
              <a:gd name="connsiteX2198" fmla="*/ 984486 w 5521505"/>
              <a:gd name="connsiteY2198" fmla="*/ 1321117 h 2146918"/>
              <a:gd name="connsiteX2199" fmla="*/ 983731 w 5521505"/>
              <a:gd name="connsiteY2199" fmla="*/ 1321738 h 2146918"/>
              <a:gd name="connsiteX2200" fmla="*/ 981502 w 5521505"/>
              <a:gd name="connsiteY2200" fmla="*/ 1323528 h 2146918"/>
              <a:gd name="connsiteX2201" fmla="*/ 976741 w 5521505"/>
              <a:gd name="connsiteY2201" fmla="*/ 1326901 h 2146918"/>
              <a:gd name="connsiteX2202" fmla="*/ 970653 w 5521505"/>
              <a:gd name="connsiteY2202" fmla="*/ 1330396 h 2146918"/>
              <a:gd name="connsiteX2203" fmla="*/ 968668 w 5521505"/>
              <a:gd name="connsiteY2203" fmla="*/ 1331345 h 2146918"/>
              <a:gd name="connsiteX2204" fmla="*/ 966318 w 5521505"/>
              <a:gd name="connsiteY2204" fmla="*/ 1332344 h 2146918"/>
              <a:gd name="connsiteX2205" fmla="*/ 961849 w 5521505"/>
              <a:gd name="connsiteY2205" fmla="*/ 1333903 h 2146918"/>
              <a:gd name="connsiteX2206" fmla="*/ 959730 w 5521505"/>
              <a:gd name="connsiteY2206" fmla="*/ 1334499 h 2146918"/>
              <a:gd name="connsiteX2207" fmla="*/ 957831 w 5521505"/>
              <a:gd name="connsiteY2207" fmla="*/ 1334950 h 2146918"/>
              <a:gd name="connsiteX2208" fmla="*/ 953484 w 5521505"/>
              <a:gd name="connsiteY2208" fmla="*/ 1335717 h 2146918"/>
              <a:gd name="connsiteX2209" fmla="*/ 949039 w 5521505"/>
              <a:gd name="connsiteY2209" fmla="*/ 1336167 h 2146918"/>
              <a:gd name="connsiteX2210" fmla="*/ 946312 w 5521505"/>
              <a:gd name="connsiteY2210" fmla="*/ 1336301 h 2146918"/>
              <a:gd name="connsiteX2211" fmla="*/ 941684 w 5521505"/>
              <a:gd name="connsiteY2211" fmla="*/ 1336630 h 2146918"/>
              <a:gd name="connsiteX2212" fmla="*/ 938384 w 5521505"/>
              <a:gd name="connsiteY2212" fmla="*/ 1337044 h 2146918"/>
              <a:gd name="connsiteX2213" fmla="*/ 933100 w 5521505"/>
              <a:gd name="connsiteY2213" fmla="*/ 1337933 h 2146918"/>
              <a:gd name="connsiteX2214" fmla="*/ 927279 w 5521505"/>
              <a:gd name="connsiteY2214" fmla="*/ 1339041 h 2146918"/>
              <a:gd name="connsiteX2215" fmla="*/ 923261 w 5521505"/>
              <a:gd name="connsiteY2215" fmla="*/ 1339808 h 2146918"/>
              <a:gd name="connsiteX2216" fmla="*/ 920521 w 5521505"/>
              <a:gd name="connsiteY2216" fmla="*/ 1340527 h 2146918"/>
              <a:gd name="connsiteX2217" fmla="*/ 916429 w 5521505"/>
              <a:gd name="connsiteY2217" fmla="*/ 1342134 h 2146918"/>
              <a:gd name="connsiteX2218" fmla="*/ 912253 w 5521505"/>
              <a:gd name="connsiteY2218" fmla="*/ 1344460 h 2146918"/>
              <a:gd name="connsiteX2219" fmla="*/ 908600 w 5521505"/>
              <a:gd name="connsiteY2219" fmla="*/ 1347041 h 2146918"/>
              <a:gd name="connsiteX2220" fmla="*/ 905543 w 5521505"/>
              <a:gd name="connsiteY2220" fmla="*/ 1349611 h 2146918"/>
              <a:gd name="connsiteX2221" fmla="*/ 903534 w 5521505"/>
              <a:gd name="connsiteY2221" fmla="*/ 1351510 h 2146918"/>
              <a:gd name="connsiteX2222" fmla="*/ 899699 w 5521505"/>
              <a:gd name="connsiteY2222" fmla="*/ 1355261 h 2146918"/>
              <a:gd name="connsiteX2223" fmla="*/ 896045 w 5521505"/>
              <a:gd name="connsiteY2223" fmla="*/ 1358719 h 2146918"/>
              <a:gd name="connsiteX2224" fmla="*/ 893452 w 5521505"/>
              <a:gd name="connsiteY2224" fmla="*/ 1361349 h 2146918"/>
              <a:gd name="connsiteX2225" fmla="*/ 890846 w 5521505"/>
              <a:gd name="connsiteY2225" fmla="*/ 1364065 h 2146918"/>
              <a:gd name="connsiteX2226" fmla="*/ 886998 w 5521505"/>
              <a:gd name="connsiteY2226" fmla="*/ 1367608 h 2146918"/>
              <a:gd name="connsiteX2227" fmla="*/ 882675 w 5521505"/>
              <a:gd name="connsiteY2227" fmla="*/ 1371054 h 2146918"/>
              <a:gd name="connsiteX2228" fmla="*/ 876441 w 5521505"/>
              <a:gd name="connsiteY2228" fmla="*/ 1375231 h 2146918"/>
              <a:gd name="connsiteX2229" fmla="*/ 869890 w 5521505"/>
              <a:gd name="connsiteY2229" fmla="*/ 1378884 h 2146918"/>
              <a:gd name="connsiteX2230" fmla="*/ 860233 w 5521505"/>
              <a:gd name="connsiteY2230" fmla="*/ 1383681 h 2146918"/>
              <a:gd name="connsiteX2231" fmla="*/ 851454 w 5521505"/>
              <a:gd name="connsiteY2231" fmla="*/ 1388041 h 2146918"/>
              <a:gd name="connsiteX2232" fmla="*/ 842272 w 5521505"/>
              <a:gd name="connsiteY2232" fmla="*/ 1392595 h 2146918"/>
              <a:gd name="connsiteX2233" fmla="*/ 833992 w 5521505"/>
              <a:gd name="connsiteY2233" fmla="*/ 1396723 h 2146918"/>
              <a:gd name="connsiteX2234" fmla="*/ 827575 w 5521505"/>
              <a:gd name="connsiteY2234" fmla="*/ 1399938 h 2146918"/>
              <a:gd name="connsiteX2235" fmla="*/ 820171 w 5521505"/>
              <a:gd name="connsiteY2235" fmla="*/ 1403591 h 2146918"/>
              <a:gd name="connsiteX2236" fmla="*/ 817407 w 5521505"/>
              <a:gd name="connsiteY2236" fmla="*/ 1404942 h 2146918"/>
              <a:gd name="connsiteX2237" fmla="*/ 810771 w 5521505"/>
              <a:gd name="connsiteY2237" fmla="*/ 1407986 h 2146918"/>
              <a:gd name="connsiteX2238" fmla="*/ 806192 w 5521505"/>
              <a:gd name="connsiteY2238" fmla="*/ 1409886 h 2146918"/>
              <a:gd name="connsiteX2239" fmla="*/ 802649 w 5521505"/>
              <a:gd name="connsiteY2239" fmla="*/ 1411201 h 2146918"/>
              <a:gd name="connsiteX2240" fmla="*/ 798034 w 5521505"/>
              <a:gd name="connsiteY2240" fmla="*/ 1412650 h 2146918"/>
              <a:gd name="connsiteX2241" fmla="*/ 794978 w 5521505"/>
              <a:gd name="connsiteY2241" fmla="*/ 1413430 h 2146918"/>
              <a:gd name="connsiteX2242" fmla="*/ 792153 w 5521505"/>
              <a:gd name="connsiteY2242" fmla="*/ 1413977 h 2146918"/>
              <a:gd name="connsiteX2243" fmla="*/ 790557 w 5521505"/>
              <a:gd name="connsiteY2243" fmla="*/ 1414282 h 2146918"/>
              <a:gd name="connsiteX2244" fmla="*/ 787672 w 5521505"/>
              <a:gd name="connsiteY2244" fmla="*/ 1415366 h 2146918"/>
              <a:gd name="connsiteX2245" fmla="*/ 782021 w 5521505"/>
              <a:gd name="connsiteY2245" fmla="*/ 1418374 h 2146918"/>
              <a:gd name="connsiteX2246" fmla="*/ 775750 w 5521505"/>
              <a:gd name="connsiteY2246" fmla="*/ 1421843 h 2146918"/>
              <a:gd name="connsiteX2247" fmla="*/ 766204 w 5521505"/>
              <a:gd name="connsiteY2247" fmla="*/ 1426142 h 2146918"/>
              <a:gd name="connsiteX2248" fmla="*/ 760870 w 5521505"/>
              <a:gd name="connsiteY2248" fmla="*/ 1427689 h 2146918"/>
              <a:gd name="connsiteX2249" fmla="*/ 755342 w 5521505"/>
              <a:gd name="connsiteY2249" fmla="*/ 1428407 h 2146918"/>
              <a:gd name="connsiteX2250" fmla="*/ 750703 w 5521505"/>
              <a:gd name="connsiteY2250" fmla="*/ 1429832 h 2146918"/>
              <a:gd name="connsiteX2251" fmla="*/ 744614 w 5521505"/>
              <a:gd name="connsiteY2251" fmla="*/ 1432693 h 2146918"/>
              <a:gd name="connsiteX2252" fmla="*/ 739329 w 5521505"/>
              <a:gd name="connsiteY2252" fmla="*/ 1434982 h 2146918"/>
              <a:gd name="connsiteX2253" fmla="*/ 731646 w 5521505"/>
              <a:gd name="connsiteY2253" fmla="*/ 1436298 h 2146918"/>
              <a:gd name="connsiteX2254" fmla="*/ 723353 w 5521505"/>
              <a:gd name="connsiteY2254" fmla="*/ 1434410 h 2146918"/>
              <a:gd name="connsiteX2255" fmla="*/ 720200 w 5521505"/>
              <a:gd name="connsiteY2255" fmla="*/ 1431171 h 2146918"/>
              <a:gd name="connsiteX2256" fmla="*/ 719749 w 5521505"/>
              <a:gd name="connsiteY2256" fmla="*/ 1425302 h 2146918"/>
              <a:gd name="connsiteX2257" fmla="*/ 719067 w 5521505"/>
              <a:gd name="connsiteY2257" fmla="*/ 1417886 h 2146918"/>
              <a:gd name="connsiteX2258" fmla="*/ 713722 w 5521505"/>
              <a:gd name="connsiteY2258" fmla="*/ 1413344 h 2146918"/>
              <a:gd name="connsiteX2259" fmla="*/ 706415 w 5521505"/>
              <a:gd name="connsiteY2259" fmla="*/ 1412005 h 2146918"/>
              <a:gd name="connsiteX2260" fmla="*/ 698123 w 5521505"/>
              <a:gd name="connsiteY2260" fmla="*/ 1412005 h 2146918"/>
              <a:gd name="connsiteX2261" fmla="*/ 690050 w 5521505"/>
              <a:gd name="connsiteY2261" fmla="*/ 1411639 h 2146918"/>
              <a:gd name="connsiteX2262" fmla="*/ 679712 w 5521505"/>
              <a:gd name="connsiteY2262" fmla="*/ 1411213 h 2146918"/>
              <a:gd name="connsiteX2263" fmla="*/ 669702 w 5521505"/>
              <a:gd name="connsiteY2263" fmla="*/ 1412358 h 2146918"/>
              <a:gd name="connsiteX2264" fmla="*/ 659632 w 5521505"/>
              <a:gd name="connsiteY2264" fmla="*/ 1414794 h 2146918"/>
              <a:gd name="connsiteX2265" fmla="*/ 652716 w 5521505"/>
              <a:gd name="connsiteY2265" fmla="*/ 1417119 h 2146918"/>
              <a:gd name="connsiteX2266" fmla="*/ 644192 w 5521505"/>
              <a:gd name="connsiteY2266" fmla="*/ 1419141 h 2146918"/>
              <a:gd name="connsiteX2267" fmla="*/ 640697 w 5521505"/>
              <a:gd name="connsiteY2267" fmla="*/ 1415256 h 2146918"/>
              <a:gd name="connsiteX2268" fmla="*/ 637641 w 5521505"/>
              <a:gd name="connsiteY2268" fmla="*/ 1412821 h 2146918"/>
              <a:gd name="connsiteX2269" fmla="*/ 624636 w 5521505"/>
              <a:gd name="connsiteY2269" fmla="*/ 1412967 h 2146918"/>
              <a:gd name="connsiteX2270" fmla="*/ 619534 w 5521505"/>
              <a:gd name="connsiteY2270" fmla="*/ 1412358 h 2146918"/>
              <a:gd name="connsiteX2271" fmla="*/ 616185 w 5521505"/>
              <a:gd name="connsiteY2271" fmla="*/ 1411213 h 2146918"/>
              <a:gd name="connsiteX2272" fmla="*/ 613750 w 5521505"/>
              <a:gd name="connsiteY2272" fmla="*/ 1410251 h 2146918"/>
              <a:gd name="connsiteX2273" fmla="*/ 607661 w 5521505"/>
              <a:gd name="connsiteY2273" fmla="*/ 1411177 h 2146918"/>
              <a:gd name="connsiteX2274" fmla="*/ 599844 w 5521505"/>
              <a:gd name="connsiteY2274" fmla="*/ 1412857 h 2146918"/>
              <a:gd name="connsiteX2275" fmla="*/ 589664 w 5521505"/>
              <a:gd name="connsiteY2275" fmla="*/ 1412455 h 2146918"/>
              <a:gd name="connsiteX2276" fmla="*/ 582613 w 5521505"/>
              <a:gd name="connsiteY2276" fmla="*/ 1409448 h 2146918"/>
              <a:gd name="connsiteX2277" fmla="*/ 577743 w 5521505"/>
              <a:gd name="connsiteY2277" fmla="*/ 1405685 h 2146918"/>
              <a:gd name="connsiteX2278" fmla="*/ 575636 w 5521505"/>
              <a:gd name="connsiteY2278" fmla="*/ 1402872 h 2146918"/>
              <a:gd name="connsiteX2279" fmla="*/ 573286 w 5521505"/>
              <a:gd name="connsiteY2279" fmla="*/ 1399499 h 2146918"/>
              <a:gd name="connsiteX2280" fmla="*/ 566564 w 5521505"/>
              <a:gd name="connsiteY2280" fmla="*/ 1399755 h 2146918"/>
              <a:gd name="connsiteX2281" fmla="*/ 559088 w 5521505"/>
              <a:gd name="connsiteY2281" fmla="*/ 1404419 h 2146918"/>
              <a:gd name="connsiteX2282" fmla="*/ 548421 w 5521505"/>
              <a:gd name="connsiteY2282" fmla="*/ 1412346 h 2146918"/>
              <a:gd name="connsiteX2283" fmla="*/ 548957 w 5521505"/>
              <a:gd name="connsiteY2283" fmla="*/ 1418641 h 2146918"/>
              <a:gd name="connsiteX2284" fmla="*/ 551112 w 5521505"/>
              <a:gd name="connsiteY2284" fmla="*/ 1425144 h 2146918"/>
              <a:gd name="connsiteX2285" fmla="*/ 555167 w 5521505"/>
              <a:gd name="connsiteY2285" fmla="*/ 1428991 h 2146918"/>
              <a:gd name="connsiteX2286" fmla="*/ 555228 w 5521505"/>
              <a:gd name="connsiteY2286" fmla="*/ 1428991 h 2146918"/>
              <a:gd name="connsiteX2287" fmla="*/ 555861 w 5521505"/>
              <a:gd name="connsiteY2287" fmla="*/ 1429198 h 2146918"/>
              <a:gd name="connsiteX2288" fmla="*/ 556068 w 5521505"/>
              <a:gd name="connsiteY2288" fmla="*/ 1429260 h 2146918"/>
              <a:gd name="connsiteX2289" fmla="*/ 563374 w 5521505"/>
              <a:gd name="connsiteY2289" fmla="*/ 1429990 h 2146918"/>
              <a:gd name="connsiteX2290" fmla="*/ 568245 w 5521505"/>
              <a:gd name="connsiteY2290" fmla="*/ 1429296 h 2146918"/>
              <a:gd name="connsiteX2291" fmla="*/ 574455 w 5521505"/>
              <a:gd name="connsiteY2291" fmla="*/ 1428773 h 2146918"/>
              <a:gd name="connsiteX2292" fmla="*/ 576160 w 5521505"/>
              <a:gd name="connsiteY2292" fmla="*/ 1428870 h 2146918"/>
              <a:gd name="connsiteX2293" fmla="*/ 578254 w 5521505"/>
              <a:gd name="connsiteY2293" fmla="*/ 1429271 h 2146918"/>
              <a:gd name="connsiteX2294" fmla="*/ 579472 w 5521505"/>
              <a:gd name="connsiteY2294" fmla="*/ 1429758 h 2146918"/>
              <a:gd name="connsiteX2295" fmla="*/ 580896 w 5521505"/>
              <a:gd name="connsiteY2295" fmla="*/ 1430660 h 2146918"/>
              <a:gd name="connsiteX2296" fmla="*/ 581956 w 5521505"/>
              <a:gd name="connsiteY2296" fmla="*/ 1431804 h 2146918"/>
              <a:gd name="connsiteX2297" fmla="*/ 582687 w 5521505"/>
              <a:gd name="connsiteY2297" fmla="*/ 1432571 h 2146918"/>
              <a:gd name="connsiteX2298" fmla="*/ 583673 w 5521505"/>
              <a:gd name="connsiteY2298" fmla="*/ 1432815 h 2146918"/>
              <a:gd name="connsiteX2299" fmla="*/ 585585 w 5521505"/>
              <a:gd name="connsiteY2299" fmla="*/ 1432913 h 2146918"/>
              <a:gd name="connsiteX2300" fmla="*/ 588410 w 5521505"/>
              <a:gd name="connsiteY2300" fmla="*/ 1433180 h 2146918"/>
              <a:gd name="connsiteX2301" fmla="*/ 590711 w 5521505"/>
              <a:gd name="connsiteY2301" fmla="*/ 1433497 h 2146918"/>
              <a:gd name="connsiteX2302" fmla="*/ 595971 w 5521505"/>
              <a:gd name="connsiteY2302" fmla="*/ 1434544 h 2146918"/>
              <a:gd name="connsiteX2303" fmla="*/ 599490 w 5521505"/>
              <a:gd name="connsiteY2303" fmla="*/ 1435482 h 2146918"/>
              <a:gd name="connsiteX2304" fmla="*/ 607320 w 5521505"/>
              <a:gd name="connsiteY2304" fmla="*/ 1438161 h 2146918"/>
              <a:gd name="connsiteX2305" fmla="*/ 613530 w 5521505"/>
              <a:gd name="connsiteY2305" fmla="*/ 1440596 h 2146918"/>
              <a:gd name="connsiteX2306" fmla="*/ 617683 w 5521505"/>
              <a:gd name="connsiteY2306" fmla="*/ 1442264 h 2146918"/>
              <a:gd name="connsiteX2307" fmla="*/ 621336 w 5521505"/>
              <a:gd name="connsiteY2307" fmla="*/ 1443567 h 2146918"/>
              <a:gd name="connsiteX2308" fmla="*/ 627156 w 5521505"/>
              <a:gd name="connsiteY2308" fmla="*/ 1444894 h 2146918"/>
              <a:gd name="connsiteX2309" fmla="*/ 631747 w 5521505"/>
              <a:gd name="connsiteY2309" fmla="*/ 1445321 h 2146918"/>
              <a:gd name="connsiteX2310" fmla="*/ 635071 w 5521505"/>
              <a:gd name="connsiteY2310" fmla="*/ 1445321 h 2146918"/>
              <a:gd name="connsiteX2311" fmla="*/ 638724 w 5521505"/>
              <a:gd name="connsiteY2311" fmla="*/ 1445065 h 2146918"/>
              <a:gd name="connsiteX2312" fmla="*/ 641221 w 5521505"/>
              <a:gd name="connsiteY2312" fmla="*/ 1444797 h 2146918"/>
              <a:gd name="connsiteX2313" fmla="*/ 642755 w 5521505"/>
              <a:gd name="connsiteY2313" fmla="*/ 1444797 h 2146918"/>
              <a:gd name="connsiteX2314" fmla="*/ 644861 w 5521505"/>
              <a:gd name="connsiteY2314" fmla="*/ 1445174 h 2146918"/>
              <a:gd name="connsiteX2315" fmla="*/ 646542 w 5521505"/>
              <a:gd name="connsiteY2315" fmla="*/ 1446563 h 2146918"/>
              <a:gd name="connsiteX2316" fmla="*/ 646944 w 5521505"/>
              <a:gd name="connsiteY2316" fmla="*/ 1448280 h 2146918"/>
              <a:gd name="connsiteX2317" fmla="*/ 646773 w 5521505"/>
              <a:gd name="connsiteY2317" fmla="*/ 1449814 h 2146918"/>
              <a:gd name="connsiteX2318" fmla="*/ 646116 w 5521505"/>
              <a:gd name="connsiteY2318" fmla="*/ 1451969 h 2146918"/>
              <a:gd name="connsiteX2319" fmla="*/ 644788 w 5521505"/>
              <a:gd name="connsiteY2319" fmla="*/ 1454880 h 2146918"/>
              <a:gd name="connsiteX2320" fmla="*/ 644094 w 5521505"/>
              <a:gd name="connsiteY2320" fmla="*/ 1456097 h 2146918"/>
              <a:gd name="connsiteX2321" fmla="*/ 643498 w 5521505"/>
              <a:gd name="connsiteY2321" fmla="*/ 1457120 h 2146918"/>
              <a:gd name="connsiteX2322" fmla="*/ 643144 w 5521505"/>
              <a:gd name="connsiteY2322" fmla="*/ 1457729 h 2146918"/>
              <a:gd name="connsiteX2323" fmla="*/ 642901 w 5521505"/>
              <a:gd name="connsiteY2323" fmla="*/ 1457729 h 2146918"/>
              <a:gd name="connsiteX2324" fmla="*/ 642572 w 5521505"/>
              <a:gd name="connsiteY2324" fmla="*/ 1457729 h 2146918"/>
              <a:gd name="connsiteX2325" fmla="*/ 640356 w 5521505"/>
              <a:gd name="connsiteY2325" fmla="*/ 1457960 h 2146918"/>
              <a:gd name="connsiteX2326" fmla="*/ 638603 w 5521505"/>
              <a:gd name="connsiteY2326" fmla="*/ 1458106 h 2146918"/>
              <a:gd name="connsiteX2327" fmla="*/ 637263 w 5521505"/>
              <a:gd name="connsiteY2327" fmla="*/ 1458106 h 2146918"/>
              <a:gd name="connsiteX2328" fmla="*/ 635278 w 5521505"/>
              <a:gd name="connsiteY2328" fmla="*/ 1457973 h 2146918"/>
              <a:gd name="connsiteX2329" fmla="*/ 631905 w 5521505"/>
              <a:gd name="connsiteY2329" fmla="*/ 1457863 h 2146918"/>
              <a:gd name="connsiteX2330" fmla="*/ 628934 w 5521505"/>
              <a:gd name="connsiteY2330" fmla="*/ 1458021 h 2146918"/>
              <a:gd name="connsiteX2331" fmla="*/ 626085 w 5521505"/>
              <a:gd name="connsiteY2331" fmla="*/ 1458411 h 2146918"/>
              <a:gd name="connsiteX2332" fmla="*/ 623455 w 5521505"/>
              <a:gd name="connsiteY2332" fmla="*/ 1458995 h 2146918"/>
              <a:gd name="connsiteX2333" fmla="*/ 621299 w 5521505"/>
              <a:gd name="connsiteY2333" fmla="*/ 1459640 h 2146918"/>
              <a:gd name="connsiteX2334" fmla="*/ 618426 w 5521505"/>
              <a:gd name="connsiteY2334" fmla="*/ 1460724 h 2146918"/>
              <a:gd name="connsiteX2335" fmla="*/ 616672 w 5521505"/>
              <a:gd name="connsiteY2335" fmla="*/ 1461504 h 2146918"/>
              <a:gd name="connsiteX2336" fmla="*/ 614626 w 5521505"/>
              <a:gd name="connsiteY2336" fmla="*/ 1462526 h 2146918"/>
              <a:gd name="connsiteX2337" fmla="*/ 612873 w 5521505"/>
              <a:gd name="connsiteY2337" fmla="*/ 1463477 h 2146918"/>
              <a:gd name="connsiteX2338" fmla="*/ 611472 w 5521505"/>
              <a:gd name="connsiteY2338" fmla="*/ 1464268 h 2146918"/>
              <a:gd name="connsiteX2339" fmla="*/ 608209 w 5521505"/>
              <a:gd name="connsiteY2339" fmla="*/ 1465814 h 2146918"/>
              <a:gd name="connsiteX2340" fmla="*/ 604678 w 5521505"/>
              <a:gd name="connsiteY2340" fmla="*/ 1466581 h 2146918"/>
              <a:gd name="connsiteX2341" fmla="*/ 602023 w 5521505"/>
              <a:gd name="connsiteY2341" fmla="*/ 1465364 h 2146918"/>
              <a:gd name="connsiteX2342" fmla="*/ 600733 w 5521505"/>
              <a:gd name="connsiteY2342" fmla="*/ 1463197 h 2146918"/>
              <a:gd name="connsiteX2343" fmla="*/ 599953 w 5521505"/>
              <a:gd name="connsiteY2343" fmla="*/ 1460761 h 2146918"/>
              <a:gd name="connsiteX2344" fmla="*/ 599393 w 5521505"/>
              <a:gd name="connsiteY2344" fmla="*/ 1459020 h 2146918"/>
              <a:gd name="connsiteX2345" fmla="*/ 598480 w 5521505"/>
              <a:gd name="connsiteY2345" fmla="*/ 1457424 h 2146918"/>
              <a:gd name="connsiteX2346" fmla="*/ 597554 w 5521505"/>
              <a:gd name="connsiteY2346" fmla="*/ 1456547 h 2146918"/>
              <a:gd name="connsiteX2347" fmla="*/ 596215 w 5521505"/>
              <a:gd name="connsiteY2347" fmla="*/ 1455914 h 2146918"/>
              <a:gd name="connsiteX2348" fmla="*/ 594693 w 5521505"/>
              <a:gd name="connsiteY2348" fmla="*/ 1455695 h 2146918"/>
              <a:gd name="connsiteX2349" fmla="*/ 593305 w 5521505"/>
              <a:gd name="connsiteY2349" fmla="*/ 1455780 h 2146918"/>
              <a:gd name="connsiteX2350" fmla="*/ 592087 w 5521505"/>
              <a:gd name="connsiteY2350" fmla="*/ 1456000 h 2146918"/>
              <a:gd name="connsiteX2351" fmla="*/ 590869 w 5521505"/>
              <a:gd name="connsiteY2351" fmla="*/ 1456316 h 2146918"/>
              <a:gd name="connsiteX2352" fmla="*/ 588970 w 5521505"/>
              <a:gd name="connsiteY2352" fmla="*/ 1456864 h 2146918"/>
              <a:gd name="connsiteX2353" fmla="*/ 586924 w 5521505"/>
              <a:gd name="connsiteY2353" fmla="*/ 1457583 h 2146918"/>
              <a:gd name="connsiteX2354" fmla="*/ 585828 w 5521505"/>
              <a:gd name="connsiteY2354" fmla="*/ 1458167 h 2146918"/>
              <a:gd name="connsiteX2355" fmla="*/ 585146 w 5521505"/>
              <a:gd name="connsiteY2355" fmla="*/ 1458715 h 2146918"/>
              <a:gd name="connsiteX2356" fmla="*/ 584659 w 5521505"/>
              <a:gd name="connsiteY2356" fmla="*/ 1459166 h 2146918"/>
              <a:gd name="connsiteX2357" fmla="*/ 581006 w 5521505"/>
              <a:gd name="connsiteY2357" fmla="*/ 1462149 h 2146918"/>
              <a:gd name="connsiteX2358" fmla="*/ 576135 w 5521505"/>
              <a:gd name="connsiteY2358" fmla="*/ 1465084 h 2146918"/>
              <a:gd name="connsiteX2359" fmla="*/ 570826 w 5521505"/>
              <a:gd name="connsiteY2359" fmla="*/ 1467117 h 2146918"/>
              <a:gd name="connsiteX2360" fmla="*/ 567660 w 5521505"/>
              <a:gd name="connsiteY2360" fmla="*/ 1467957 h 2146918"/>
              <a:gd name="connsiteX2361" fmla="*/ 564178 w 5521505"/>
              <a:gd name="connsiteY2361" fmla="*/ 1468786 h 2146918"/>
              <a:gd name="connsiteX2362" fmla="*/ 561742 w 5521505"/>
              <a:gd name="connsiteY2362" fmla="*/ 1469406 h 2146918"/>
              <a:gd name="connsiteX2363" fmla="*/ 558832 w 5521505"/>
              <a:gd name="connsiteY2363" fmla="*/ 1469991 h 2146918"/>
              <a:gd name="connsiteX2364" fmla="*/ 555508 w 5521505"/>
              <a:gd name="connsiteY2364" fmla="*/ 1469577 h 2146918"/>
              <a:gd name="connsiteX2365" fmla="*/ 554205 w 5521505"/>
              <a:gd name="connsiteY2365" fmla="*/ 1467726 h 2146918"/>
              <a:gd name="connsiteX2366" fmla="*/ 554412 w 5521505"/>
              <a:gd name="connsiteY2366" fmla="*/ 1464986 h 2146918"/>
              <a:gd name="connsiteX2367" fmla="*/ 556713 w 5521505"/>
              <a:gd name="connsiteY2367" fmla="*/ 1459750 h 2146918"/>
              <a:gd name="connsiteX2368" fmla="*/ 558430 w 5521505"/>
              <a:gd name="connsiteY2368" fmla="*/ 1456779 h 2146918"/>
              <a:gd name="connsiteX2369" fmla="*/ 559916 w 5521505"/>
              <a:gd name="connsiteY2369" fmla="*/ 1450009 h 2146918"/>
              <a:gd name="connsiteX2370" fmla="*/ 557054 w 5521505"/>
              <a:gd name="connsiteY2370" fmla="*/ 1448730 h 2146918"/>
              <a:gd name="connsiteX2371" fmla="*/ 553292 w 5521505"/>
              <a:gd name="connsiteY2371" fmla="*/ 1448487 h 2146918"/>
              <a:gd name="connsiteX2372" fmla="*/ 551014 w 5521505"/>
              <a:gd name="connsiteY2372" fmla="*/ 1448864 h 2146918"/>
              <a:gd name="connsiteX2373" fmla="*/ 547995 w 5521505"/>
              <a:gd name="connsiteY2373" fmla="*/ 1449595 h 2146918"/>
              <a:gd name="connsiteX2374" fmla="*/ 543453 w 5521505"/>
              <a:gd name="connsiteY2374" fmla="*/ 1450155 h 2146918"/>
              <a:gd name="connsiteX2375" fmla="*/ 536329 w 5521505"/>
              <a:gd name="connsiteY2375" fmla="*/ 1449217 h 2146918"/>
              <a:gd name="connsiteX2376" fmla="*/ 531178 w 5521505"/>
              <a:gd name="connsiteY2376" fmla="*/ 1446514 h 2146918"/>
              <a:gd name="connsiteX2377" fmla="*/ 524323 w 5521505"/>
              <a:gd name="connsiteY2377" fmla="*/ 1440365 h 2146918"/>
              <a:gd name="connsiteX2378" fmla="*/ 523190 w 5521505"/>
              <a:gd name="connsiteY2378" fmla="*/ 1439390 h 2146918"/>
              <a:gd name="connsiteX2379" fmla="*/ 521620 w 5521505"/>
              <a:gd name="connsiteY2379" fmla="*/ 1438173 h 2146918"/>
              <a:gd name="connsiteX2380" fmla="*/ 519537 w 5521505"/>
              <a:gd name="connsiteY2380" fmla="*/ 1436663 h 2146918"/>
              <a:gd name="connsiteX2381" fmla="*/ 517954 w 5521505"/>
              <a:gd name="connsiteY2381" fmla="*/ 1435616 h 2146918"/>
              <a:gd name="connsiteX2382" fmla="*/ 516250 w 5521505"/>
              <a:gd name="connsiteY2382" fmla="*/ 1434557 h 2146918"/>
              <a:gd name="connsiteX2383" fmla="*/ 511598 w 5521505"/>
              <a:gd name="connsiteY2383" fmla="*/ 1431987 h 2146918"/>
              <a:gd name="connsiteX2384" fmla="*/ 509260 w 5521505"/>
              <a:gd name="connsiteY2384" fmla="*/ 1430830 h 2146918"/>
              <a:gd name="connsiteX2385" fmla="*/ 504146 w 5521505"/>
              <a:gd name="connsiteY2385" fmla="*/ 1428516 h 2146918"/>
              <a:gd name="connsiteX2386" fmla="*/ 499275 w 5521505"/>
              <a:gd name="connsiteY2386" fmla="*/ 1427725 h 2146918"/>
              <a:gd name="connsiteX2387" fmla="*/ 484590 w 5521505"/>
              <a:gd name="connsiteY2387" fmla="*/ 1432133 h 2146918"/>
              <a:gd name="connsiteX2388" fmla="*/ 470404 w 5521505"/>
              <a:gd name="connsiteY2388" fmla="*/ 1440365 h 2146918"/>
              <a:gd name="connsiteX2389" fmla="*/ 460662 w 5521505"/>
              <a:gd name="connsiteY2389" fmla="*/ 1447110 h 2146918"/>
              <a:gd name="connsiteX2390" fmla="*/ 453832 w 5521505"/>
              <a:gd name="connsiteY2390" fmla="*/ 1445467 h 2146918"/>
              <a:gd name="connsiteX2391" fmla="*/ 453636 w 5521505"/>
              <a:gd name="connsiteY2391" fmla="*/ 1445114 h 2146918"/>
              <a:gd name="connsiteX2392" fmla="*/ 445782 w 5521505"/>
              <a:gd name="connsiteY2392" fmla="*/ 1438368 h 2146918"/>
              <a:gd name="connsiteX2393" fmla="*/ 436223 w 5521505"/>
              <a:gd name="connsiteY2393" fmla="*/ 1431195 h 2146918"/>
              <a:gd name="connsiteX2394" fmla="*/ 431998 w 5521505"/>
              <a:gd name="connsiteY2394" fmla="*/ 1424267 h 2146918"/>
              <a:gd name="connsiteX2395" fmla="*/ 426750 w 5521505"/>
              <a:gd name="connsiteY2395" fmla="*/ 1421832 h 2146918"/>
              <a:gd name="connsiteX2396" fmla="*/ 417008 w 5521505"/>
              <a:gd name="connsiteY2396" fmla="*/ 1418848 h 2146918"/>
              <a:gd name="connsiteX2397" fmla="*/ 409812 w 5521505"/>
              <a:gd name="connsiteY2397" fmla="*/ 1407146 h 2146918"/>
              <a:gd name="connsiteX2398" fmla="*/ 412138 w 5521505"/>
              <a:gd name="connsiteY2398" fmla="*/ 1390501 h 2146918"/>
              <a:gd name="connsiteX2399" fmla="*/ 414683 w 5521505"/>
              <a:gd name="connsiteY2399" fmla="*/ 1378555 h 2146918"/>
              <a:gd name="connsiteX2400" fmla="*/ 413002 w 5521505"/>
              <a:gd name="connsiteY2400" fmla="*/ 1369191 h 2146918"/>
              <a:gd name="connsiteX2401" fmla="*/ 413672 w 5521505"/>
              <a:gd name="connsiteY2401" fmla="*/ 1363992 h 2146918"/>
              <a:gd name="connsiteX2402" fmla="*/ 414889 w 5521505"/>
              <a:gd name="connsiteY2402" fmla="*/ 1358634 h 2146918"/>
              <a:gd name="connsiteX2403" fmla="*/ 416777 w 5521505"/>
              <a:gd name="connsiteY2403" fmla="*/ 1352399 h 2146918"/>
              <a:gd name="connsiteX2404" fmla="*/ 419298 w 5521505"/>
              <a:gd name="connsiteY2404" fmla="*/ 1344618 h 2146918"/>
              <a:gd name="connsiteX2405" fmla="*/ 420320 w 5521505"/>
              <a:gd name="connsiteY2405" fmla="*/ 1341306 h 2146918"/>
              <a:gd name="connsiteX2406" fmla="*/ 422841 w 5521505"/>
              <a:gd name="connsiteY2406" fmla="*/ 1332782 h 2146918"/>
              <a:gd name="connsiteX2407" fmla="*/ 424692 w 5521505"/>
              <a:gd name="connsiteY2407" fmla="*/ 1326792 h 2146918"/>
              <a:gd name="connsiteX2408" fmla="*/ 426604 w 5521505"/>
              <a:gd name="connsiteY2408" fmla="*/ 1320703 h 2146918"/>
              <a:gd name="connsiteX2409" fmla="*/ 429039 w 5521505"/>
              <a:gd name="connsiteY2409" fmla="*/ 1312946 h 2146918"/>
              <a:gd name="connsiteX2410" fmla="*/ 431791 w 5521505"/>
              <a:gd name="connsiteY2410" fmla="*/ 1303667 h 2146918"/>
              <a:gd name="connsiteX2411" fmla="*/ 433654 w 5521505"/>
              <a:gd name="connsiteY2411" fmla="*/ 1296812 h 2146918"/>
              <a:gd name="connsiteX2412" fmla="*/ 434993 w 5521505"/>
              <a:gd name="connsiteY2412" fmla="*/ 1291344 h 2146918"/>
              <a:gd name="connsiteX2413" fmla="*/ 436211 w 5521505"/>
              <a:gd name="connsiteY2413" fmla="*/ 1285524 h 2146918"/>
              <a:gd name="connsiteX2414" fmla="*/ 436917 w 5521505"/>
              <a:gd name="connsiteY2414" fmla="*/ 1280592 h 2146918"/>
              <a:gd name="connsiteX2415" fmla="*/ 437234 w 5521505"/>
              <a:gd name="connsiteY2415" fmla="*/ 1276732 h 2146918"/>
              <a:gd name="connsiteX2416" fmla="*/ 437380 w 5521505"/>
              <a:gd name="connsiteY2416" fmla="*/ 1272701 h 2146918"/>
              <a:gd name="connsiteX2417" fmla="*/ 437380 w 5521505"/>
              <a:gd name="connsiteY2417" fmla="*/ 1266284 h 2146918"/>
              <a:gd name="connsiteX2418" fmla="*/ 437173 w 5521505"/>
              <a:gd name="connsiteY2418" fmla="*/ 1256860 h 2146918"/>
              <a:gd name="connsiteX2419" fmla="*/ 437173 w 5521505"/>
              <a:gd name="connsiteY2419" fmla="*/ 1252452 h 2146918"/>
              <a:gd name="connsiteX2420" fmla="*/ 432704 w 5521505"/>
              <a:gd name="connsiteY2420" fmla="*/ 1252683 h 2146918"/>
              <a:gd name="connsiteX2421" fmla="*/ 427200 w 5521505"/>
              <a:gd name="connsiteY2421" fmla="*/ 1253815 h 2146918"/>
              <a:gd name="connsiteX2422" fmla="*/ 420820 w 5521505"/>
              <a:gd name="connsiteY2422" fmla="*/ 1255508 h 2146918"/>
              <a:gd name="connsiteX2423" fmla="*/ 413514 w 5521505"/>
              <a:gd name="connsiteY2423" fmla="*/ 1257091 h 2146918"/>
              <a:gd name="connsiteX2424" fmla="*/ 408643 w 5521505"/>
              <a:gd name="connsiteY2424" fmla="*/ 1257091 h 2146918"/>
              <a:gd name="connsiteX2425" fmla="*/ 404990 w 5521505"/>
              <a:gd name="connsiteY2425" fmla="*/ 1255155 h 2146918"/>
              <a:gd name="connsiteX2426" fmla="*/ 403309 w 5521505"/>
              <a:gd name="connsiteY2426" fmla="*/ 1250637 h 2146918"/>
              <a:gd name="connsiteX2427" fmla="*/ 417094 w 5521505"/>
              <a:gd name="connsiteY2427" fmla="*/ 1239179 h 2146918"/>
              <a:gd name="connsiteX2428" fmla="*/ 422427 w 5521505"/>
              <a:gd name="connsiteY2428" fmla="*/ 1234783 h 2146918"/>
              <a:gd name="connsiteX2429" fmla="*/ 427176 w 5521505"/>
              <a:gd name="connsiteY2429" fmla="*/ 1230874 h 2146918"/>
              <a:gd name="connsiteX2430" fmla="*/ 438135 w 5521505"/>
              <a:gd name="connsiteY2430" fmla="*/ 1229888 h 2146918"/>
              <a:gd name="connsiteX2431" fmla="*/ 445332 w 5521505"/>
              <a:gd name="connsiteY2431" fmla="*/ 1229462 h 2146918"/>
              <a:gd name="connsiteX2432" fmla="*/ 461880 w 5521505"/>
              <a:gd name="connsiteY2432" fmla="*/ 1228744 h 2146918"/>
              <a:gd name="connsiteX2433" fmla="*/ 438914 w 5521505"/>
              <a:gd name="connsiteY2433" fmla="*/ 1226868 h 2146918"/>
              <a:gd name="connsiteX2434" fmla="*/ 433130 w 5521505"/>
              <a:gd name="connsiteY2434" fmla="*/ 1227477 h 2146918"/>
              <a:gd name="connsiteX2435" fmla="*/ 428625 w 5521505"/>
              <a:gd name="connsiteY2435" fmla="*/ 1228378 h 2146918"/>
              <a:gd name="connsiteX2436" fmla="*/ 428625 w 5521505"/>
              <a:gd name="connsiteY2436" fmla="*/ 1227879 h 2146918"/>
              <a:gd name="connsiteX2437" fmla="*/ 428625 w 5521505"/>
              <a:gd name="connsiteY2437" fmla="*/ 1227879 h 2146918"/>
              <a:gd name="connsiteX2438" fmla="*/ 424619 w 5521505"/>
              <a:gd name="connsiteY2438" fmla="*/ 1229449 h 2146918"/>
              <a:gd name="connsiteX2439" fmla="*/ 421648 w 5521505"/>
              <a:gd name="connsiteY2439" fmla="*/ 1230874 h 2146918"/>
              <a:gd name="connsiteX2440" fmla="*/ 418640 w 5521505"/>
              <a:gd name="connsiteY2440" fmla="*/ 1232615 h 2146918"/>
              <a:gd name="connsiteX2441" fmla="*/ 413331 w 5521505"/>
              <a:gd name="connsiteY2441" fmla="*/ 1235282 h 2146918"/>
              <a:gd name="connsiteX2442" fmla="*/ 408460 w 5521505"/>
              <a:gd name="connsiteY2442" fmla="*/ 1236086 h 2146918"/>
              <a:gd name="connsiteX2443" fmla="*/ 406877 w 5521505"/>
              <a:gd name="connsiteY2443" fmla="*/ 1231386 h 2146918"/>
              <a:gd name="connsiteX2444" fmla="*/ 407023 w 5521505"/>
              <a:gd name="connsiteY2444" fmla="*/ 1224883 h 2146918"/>
              <a:gd name="connsiteX2445" fmla="*/ 399267 w 5521505"/>
              <a:gd name="connsiteY2445" fmla="*/ 1214765 h 2146918"/>
              <a:gd name="connsiteX2446" fmla="*/ 392740 w 5521505"/>
              <a:gd name="connsiteY2446" fmla="*/ 1207702 h 2146918"/>
              <a:gd name="connsiteX2447" fmla="*/ 397087 w 5521505"/>
              <a:gd name="connsiteY2447" fmla="*/ 1191202 h 2146918"/>
              <a:gd name="connsiteX2448" fmla="*/ 385945 w 5521505"/>
              <a:gd name="connsiteY2448" fmla="*/ 1190910 h 2146918"/>
              <a:gd name="connsiteX2449" fmla="*/ 384642 w 5521505"/>
              <a:gd name="connsiteY2449" fmla="*/ 1190276 h 2146918"/>
              <a:gd name="connsiteX2450" fmla="*/ 379905 w 5521505"/>
              <a:gd name="connsiteY2450" fmla="*/ 1185881 h 2146918"/>
              <a:gd name="connsiteX2451" fmla="*/ 374608 w 5521505"/>
              <a:gd name="connsiteY2451" fmla="*/ 1184395 h 2146918"/>
              <a:gd name="connsiteX2452" fmla="*/ 370225 w 5521505"/>
              <a:gd name="connsiteY2452" fmla="*/ 1184846 h 2146918"/>
              <a:gd name="connsiteX2453" fmla="*/ 369007 w 5521505"/>
              <a:gd name="connsiteY2453" fmla="*/ 1185016 h 2146918"/>
              <a:gd name="connsiteX2454" fmla="*/ 368788 w 5521505"/>
              <a:gd name="connsiteY2454" fmla="*/ 1184736 h 2146918"/>
              <a:gd name="connsiteX2455" fmla="*/ 368313 w 5521505"/>
              <a:gd name="connsiteY2455" fmla="*/ 1184042 h 2146918"/>
              <a:gd name="connsiteX2456" fmla="*/ 369044 w 5521505"/>
              <a:gd name="connsiteY2456" fmla="*/ 1175896 h 2146918"/>
              <a:gd name="connsiteX2457" fmla="*/ 357890 w 5521505"/>
              <a:gd name="connsiteY2457" fmla="*/ 1180499 h 2146918"/>
              <a:gd name="connsiteX2458" fmla="*/ 341439 w 5521505"/>
              <a:gd name="connsiteY2458" fmla="*/ 1186818 h 2146918"/>
              <a:gd name="connsiteX2459" fmla="*/ 328044 w 5521505"/>
              <a:gd name="connsiteY2459" fmla="*/ 1186818 h 2146918"/>
              <a:gd name="connsiteX2460" fmla="*/ 278911 w 5521505"/>
              <a:gd name="connsiteY2460" fmla="*/ 1223349 h 2146918"/>
              <a:gd name="connsiteX2461" fmla="*/ 264432 w 5521505"/>
              <a:gd name="connsiteY2461" fmla="*/ 1235757 h 2146918"/>
              <a:gd name="connsiteX2462" fmla="*/ 237887 w 5521505"/>
              <a:gd name="connsiteY2462" fmla="*/ 1249152 h 2146918"/>
              <a:gd name="connsiteX2463" fmla="*/ 216054 w 5521505"/>
              <a:gd name="connsiteY2463" fmla="*/ 1277012 h 2146918"/>
              <a:gd name="connsiteX2464" fmla="*/ 216334 w 5521505"/>
              <a:gd name="connsiteY2464" fmla="*/ 1284063 h 2146918"/>
              <a:gd name="connsiteX2465" fmla="*/ 203487 w 5521505"/>
              <a:gd name="connsiteY2465" fmla="*/ 1303424 h 2146918"/>
              <a:gd name="connsiteX2466" fmla="*/ 182641 w 5521505"/>
              <a:gd name="connsiteY2466" fmla="*/ 1329373 h 2146918"/>
              <a:gd name="connsiteX2467" fmla="*/ 164083 w 5521505"/>
              <a:gd name="connsiteY2467" fmla="*/ 1352509 h 2146918"/>
              <a:gd name="connsiteX2468" fmla="*/ 161806 w 5521505"/>
              <a:gd name="connsiteY2468" fmla="*/ 1350780 h 2146918"/>
              <a:gd name="connsiteX2469" fmla="*/ 162390 w 5521505"/>
              <a:gd name="connsiteY2469" fmla="*/ 1344691 h 2146918"/>
              <a:gd name="connsiteX2470" fmla="*/ 165240 w 5521505"/>
              <a:gd name="connsiteY2470" fmla="*/ 1338736 h 2146918"/>
              <a:gd name="connsiteX2471" fmla="*/ 167359 w 5521505"/>
              <a:gd name="connsiteY2471" fmla="*/ 1333866 h 2146918"/>
              <a:gd name="connsiteX2472" fmla="*/ 168040 w 5521505"/>
              <a:gd name="connsiteY2472" fmla="*/ 1330432 h 2146918"/>
              <a:gd name="connsiteX2473" fmla="*/ 164972 w 5521505"/>
              <a:gd name="connsiteY2473" fmla="*/ 1335132 h 2146918"/>
              <a:gd name="connsiteX2474" fmla="*/ 159736 w 5521505"/>
              <a:gd name="connsiteY2474" fmla="*/ 1342889 h 2146918"/>
              <a:gd name="connsiteX2475" fmla="*/ 152625 w 5521505"/>
              <a:gd name="connsiteY2475" fmla="*/ 1353227 h 2146918"/>
              <a:gd name="connsiteX2476" fmla="*/ 144369 w 5521505"/>
              <a:gd name="connsiteY2476" fmla="*/ 1365404 h 2146918"/>
              <a:gd name="connsiteX2477" fmla="*/ 138962 w 5521505"/>
              <a:gd name="connsiteY2477" fmla="*/ 1373855 h 2146918"/>
              <a:gd name="connsiteX2478" fmla="*/ 132618 w 5521505"/>
              <a:gd name="connsiteY2478" fmla="*/ 1384814 h 2146918"/>
              <a:gd name="connsiteX2479" fmla="*/ 130767 w 5521505"/>
              <a:gd name="connsiteY2479" fmla="*/ 1388394 h 2146918"/>
              <a:gd name="connsiteX2480" fmla="*/ 126554 w 5521505"/>
              <a:gd name="connsiteY2480" fmla="*/ 1395919 h 2146918"/>
              <a:gd name="connsiteX2481" fmla="*/ 119784 w 5521505"/>
              <a:gd name="connsiteY2481" fmla="*/ 1406257 h 2146918"/>
              <a:gd name="connsiteX2482" fmla="*/ 115193 w 5521505"/>
              <a:gd name="connsiteY2482" fmla="*/ 1413003 h 2146918"/>
              <a:gd name="connsiteX2483" fmla="*/ 102432 w 5521505"/>
              <a:gd name="connsiteY2483" fmla="*/ 1432413 h 2146918"/>
              <a:gd name="connsiteX2484" fmla="*/ 91753 w 5521505"/>
              <a:gd name="connsiteY2484" fmla="*/ 1448840 h 2146918"/>
              <a:gd name="connsiteX2485" fmla="*/ 79174 w 5521505"/>
              <a:gd name="connsiteY2485" fmla="*/ 1468384 h 2146918"/>
              <a:gd name="connsiteX2486" fmla="*/ 67776 w 5521505"/>
              <a:gd name="connsiteY2486" fmla="*/ 1486308 h 2146918"/>
              <a:gd name="connsiteX2487" fmla="*/ 58035 w 5521505"/>
              <a:gd name="connsiteY2487" fmla="*/ 1501821 h 2146918"/>
              <a:gd name="connsiteX2488" fmla="*/ 47076 w 5521505"/>
              <a:gd name="connsiteY2488" fmla="*/ 1519453 h 2146918"/>
              <a:gd name="connsiteX2489" fmla="*/ 39867 w 5521505"/>
              <a:gd name="connsiteY2489" fmla="*/ 1531155 h 2146918"/>
              <a:gd name="connsiteX2490" fmla="*/ 34753 w 5521505"/>
              <a:gd name="connsiteY2490" fmla="*/ 1540166 h 2146918"/>
              <a:gd name="connsiteX2491" fmla="*/ 28323 w 5521505"/>
              <a:gd name="connsiteY2491" fmla="*/ 1551746 h 2146918"/>
              <a:gd name="connsiteX2492" fmla="*/ 21017 w 5521505"/>
              <a:gd name="connsiteY2492" fmla="*/ 1562608 h 2146918"/>
              <a:gd name="connsiteX2493" fmla="*/ 10935 w 5521505"/>
              <a:gd name="connsiteY2493" fmla="*/ 1572593 h 2146918"/>
              <a:gd name="connsiteX2494" fmla="*/ 5260 w 5521505"/>
              <a:gd name="connsiteY2494" fmla="*/ 1578682 h 2146918"/>
              <a:gd name="connsiteX2495" fmla="*/ 1607 w 5521505"/>
              <a:gd name="connsiteY2495" fmla="*/ 1583284 h 2146918"/>
              <a:gd name="connsiteX2496" fmla="*/ 0 w 5521505"/>
              <a:gd name="connsiteY2496" fmla="*/ 1582882 h 2146918"/>
              <a:gd name="connsiteX2497" fmla="*/ 30089 w 5521505"/>
              <a:gd name="connsiteY2497" fmla="*/ 1530291 h 2146918"/>
              <a:gd name="connsiteX2498" fmla="*/ 72574 w 5521505"/>
              <a:gd name="connsiteY2498" fmla="*/ 1459592 h 2146918"/>
              <a:gd name="connsiteX2499" fmla="*/ 68202 w 5521505"/>
              <a:gd name="connsiteY2499" fmla="*/ 1462624 h 2146918"/>
              <a:gd name="connsiteX2500" fmla="*/ 60495 w 5521505"/>
              <a:gd name="connsiteY2500" fmla="*/ 1468347 h 2146918"/>
              <a:gd name="connsiteX2501" fmla="*/ 46296 w 5521505"/>
              <a:gd name="connsiteY2501" fmla="*/ 1483568 h 2146918"/>
              <a:gd name="connsiteX2502" fmla="*/ 42522 w 5521505"/>
              <a:gd name="connsiteY2502" fmla="*/ 1488500 h 2146918"/>
              <a:gd name="connsiteX2503" fmla="*/ 38527 w 5521505"/>
              <a:gd name="connsiteY2503" fmla="*/ 1493699 h 2146918"/>
              <a:gd name="connsiteX2504" fmla="*/ 29614 w 5521505"/>
              <a:gd name="connsiteY2504" fmla="*/ 1502637 h 2146918"/>
              <a:gd name="connsiteX2505" fmla="*/ 27812 w 5521505"/>
              <a:gd name="connsiteY2505" fmla="*/ 1504013 h 2146918"/>
              <a:gd name="connsiteX2506" fmla="*/ 26107 w 5521505"/>
              <a:gd name="connsiteY2506" fmla="*/ 1505292 h 2146918"/>
              <a:gd name="connsiteX2507" fmla="*/ 24402 w 5521505"/>
              <a:gd name="connsiteY2507" fmla="*/ 1506570 h 2146918"/>
              <a:gd name="connsiteX2508" fmla="*/ 26546 w 5521505"/>
              <a:gd name="connsiteY2508" fmla="*/ 1499654 h 2146918"/>
              <a:gd name="connsiteX2509" fmla="*/ 28750 w 5521505"/>
              <a:gd name="connsiteY2509" fmla="*/ 1492615 h 2146918"/>
              <a:gd name="connsiteX2510" fmla="*/ 30588 w 5521505"/>
              <a:gd name="connsiteY2510" fmla="*/ 1486722 h 2146918"/>
              <a:gd name="connsiteX2511" fmla="*/ 23769 w 5521505"/>
              <a:gd name="connsiteY2511" fmla="*/ 1494028 h 2146918"/>
              <a:gd name="connsiteX2512" fmla="*/ 19191 w 5521505"/>
              <a:gd name="connsiteY2512" fmla="*/ 1501115 h 2146918"/>
              <a:gd name="connsiteX2513" fmla="*/ 10935 w 5521505"/>
              <a:gd name="connsiteY2513" fmla="*/ 1508421 h 2146918"/>
              <a:gd name="connsiteX2514" fmla="*/ 4043 w 5521505"/>
              <a:gd name="connsiteY2514" fmla="*/ 1508811 h 2146918"/>
              <a:gd name="connsiteX2515" fmla="*/ 3446 w 5521505"/>
              <a:gd name="connsiteY2515" fmla="*/ 1503818 h 2146918"/>
              <a:gd name="connsiteX2516" fmla="*/ 5260 w 5521505"/>
              <a:gd name="connsiteY2516" fmla="*/ 1498606 h 2146918"/>
              <a:gd name="connsiteX2517" fmla="*/ 5260 w 5521505"/>
              <a:gd name="connsiteY2517" fmla="*/ 1494186 h 2146918"/>
              <a:gd name="connsiteX2518" fmla="*/ 4432 w 5521505"/>
              <a:gd name="connsiteY2518" fmla="*/ 1489644 h 2146918"/>
              <a:gd name="connsiteX2519" fmla="*/ 7623 w 5521505"/>
              <a:gd name="connsiteY2519" fmla="*/ 1477748 h 2146918"/>
              <a:gd name="connsiteX2520" fmla="*/ 14052 w 5521505"/>
              <a:gd name="connsiteY2520" fmla="*/ 1468079 h 2146918"/>
              <a:gd name="connsiteX2521" fmla="*/ 18570 w 5521505"/>
              <a:gd name="connsiteY2521" fmla="*/ 1461553 h 2146918"/>
              <a:gd name="connsiteX2522" fmla="*/ 18643 w 5521505"/>
              <a:gd name="connsiteY2522" fmla="*/ 1461443 h 2146918"/>
              <a:gd name="connsiteX2523" fmla="*/ 26947 w 5521505"/>
              <a:gd name="connsiteY2523" fmla="*/ 1447695 h 2146918"/>
              <a:gd name="connsiteX2524" fmla="*/ 38454 w 5521505"/>
              <a:gd name="connsiteY2524" fmla="*/ 1428553 h 2146918"/>
              <a:gd name="connsiteX2525" fmla="*/ 55575 w 5521505"/>
              <a:gd name="connsiteY2525" fmla="*/ 1403091 h 2146918"/>
              <a:gd name="connsiteX2526" fmla="*/ 70297 w 5521505"/>
              <a:gd name="connsiteY2526" fmla="*/ 1383170 h 2146918"/>
              <a:gd name="connsiteX2527" fmla="*/ 80099 w 5521505"/>
              <a:gd name="connsiteY2527" fmla="*/ 1370616 h 2146918"/>
              <a:gd name="connsiteX2528" fmla="*/ 84471 w 5521505"/>
              <a:gd name="connsiteY2528" fmla="*/ 1365063 h 2146918"/>
              <a:gd name="connsiteX2529" fmla="*/ 97025 w 5521505"/>
              <a:gd name="connsiteY2529" fmla="*/ 1346164 h 2146918"/>
              <a:gd name="connsiteX2530" fmla="*/ 98377 w 5521505"/>
              <a:gd name="connsiteY2530" fmla="*/ 1343620 h 2146918"/>
              <a:gd name="connsiteX2531" fmla="*/ 101871 w 5521505"/>
              <a:gd name="connsiteY2531" fmla="*/ 1335924 h 2146918"/>
              <a:gd name="connsiteX2532" fmla="*/ 94480 w 5521505"/>
              <a:gd name="connsiteY2532" fmla="*/ 1343571 h 2146918"/>
              <a:gd name="connsiteX2533" fmla="*/ 86565 w 5521505"/>
              <a:gd name="connsiteY2533" fmla="*/ 1351827 h 2146918"/>
              <a:gd name="connsiteX2534" fmla="*/ 70601 w 5521505"/>
              <a:gd name="connsiteY2534" fmla="*/ 1368619 h 2146918"/>
              <a:gd name="connsiteX2535" fmla="*/ 63965 w 5521505"/>
              <a:gd name="connsiteY2535" fmla="*/ 1375657 h 2146918"/>
              <a:gd name="connsiteX2536" fmla="*/ 54881 w 5521505"/>
              <a:gd name="connsiteY2536" fmla="*/ 1385399 h 2146918"/>
              <a:gd name="connsiteX2537" fmla="*/ 48318 w 5521505"/>
              <a:gd name="connsiteY2537" fmla="*/ 1392436 h 2146918"/>
              <a:gd name="connsiteX2538" fmla="*/ 45261 w 5521505"/>
              <a:gd name="connsiteY2538" fmla="*/ 1386178 h 2146918"/>
              <a:gd name="connsiteX2539" fmla="*/ 43837 w 5521505"/>
              <a:gd name="connsiteY2539" fmla="*/ 1379420 h 2146918"/>
              <a:gd name="connsiteX2540" fmla="*/ 49560 w 5521505"/>
              <a:gd name="connsiteY2540" fmla="*/ 1367913 h 2146918"/>
              <a:gd name="connsiteX2541" fmla="*/ 54857 w 5521505"/>
              <a:gd name="connsiteY2541" fmla="*/ 1361227 h 2146918"/>
              <a:gd name="connsiteX2542" fmla="*/ 65816 w 5521505"/>
              <a:gd name="connsiteY2542" fmla="*/ 1347626 h 2146918"/>
              <a:gd name="connsiteX2543" fmla="*/ 78285 w 5521505"/>
              <a:gd name="connsiteY2543" fmla="*/ 1332502 h 2146918"/>
              <a:gd name="connsiteX2544" fmla="*/ 91679 w 5521505"/>
              <a:gd name="connsiteY2544" fmla="*/ 1316611 h 2146918"/>
              <a:gd name="connsiteX2545" fmla="*/ 95698 w 5521505"/>
              <a:gd name="connsiteY2545" fmla="*/ 1312435 h 2146918"/>
              <a:gd name="connsiteX2546" fmla="*/ 101494 w 5521505"/>
              <a:gd name="connsiteY2546" fmla="*/ 1308185 h 2146918"/>
              <a:gd name="connsiteX2547" fmla="*/ 106499 w 5521505"/>
              <a:gd name="connsiteY2547" fmla="*/ 1303899 h 2146918"/>
              <a:gd name="connsiteX2548" fmla="*/ 121890 w 5521505"/>
              <a:gd name="connsiteY2548" fmla="*/ 1288288 h 2146918"/>
              <a:gd name="connsiteX2549" fmla="*/ 128855 w 5521505"/>
              <a:gd name="connsiteY2549" fmla="*/ 1279022 h 2146918"/>
              <a:gd name="connsiteX2550" fmla="*/ 135358 w 5521505"/>
              <a:gd name="connsiteY2550" fmla="*/ 1270290 h 2146918"/>
              <a:gd name="connsiteX2551" fmla="*/ 128819 w 5521505"/>
              <a:gd name="connsiteY2551" fmla="*/ 1273944 h 2146918"/>
              <a:gd name="connsiteX2552" fmla="*/ 120599 w 5521505"/>
              <a:gd name="connsiteY2552" fmla="*/ 1276720 h 2146918"/>
              <a:gd name="connsiteX2553" fmla="*/ 116216 w 5521505"/>
              <a:gd name="connsiteY2553" fmla="*/ 1277402 h 2146918"/>
              <a:gd name="connsiteX2554" fmla="*/ 113902 w 5521505"/>
              <a:gd name="connsiteY2554" fmla="*/ 1277609 h 2146918"/>
              <a:gd name="connsiteX2555" fmla="*/ 110371 w 5521505"/>
              <a:gd name="connsiteY2555" fmla="*/ 1277889 h 2146918"/>
              <a:gd name="connsiteX2556" fmla="*/ 107168 w 5521505"/>
              <a:gd name="connsiteY2556" fmla="*/ 1278230 h 2146918"/>
              <a:gd name="connsiteX2557" fmla="*/ 103174 w 5521505"/>
              <a:gd name="connsiteY2557" fmla="*/ 1278985 h 2146918"/>
              <a:gd name="connsiteX2558" fmla="*/ 105391 w 5521505"/>
              <a:gd name="connsiteY2558" fmla="*/ 1273737 h 2146918"/>
              <a:gd name="connsiteX2559" fmla="*/ 109470 w 5521505"/>
              <a:gd name="connsiteY2559" fmla="*/ 1266650 h 2146918"/>
              <a:gd name="connsiteX2560" fmla="*/ 117835 w 5521505"/>
              <a:gd name="connsiteY2560" fmla="*/ 1255459 h 2146918"/>
              <a:gd name="connsiteX2561" fmla="*/ 125653 w 5521505"/>
              <a:gd name="connsiteY2561" fmla="*/ 1246290 h 2146918"/>
              <a:gd name="connsiteX2562" fmla="*/ 131583 w 5521505"/>
              <a:gd name="connsiteY2562" fmla="*/ 1239398 h 2146918"/>
              <a:gd name="connsiteX2563" fmla="*/ 140022 w 5521505"/>
              <a:gd name="connsiteY2563" fmla="*/ 1229559 h 2146918"/>
              <a:gd name="connsiteX2564" fmla="*/ 148034 w 5521505"/>
              <a:gd name="connsiteY2564" fmla="*/ 1220000 h 2146918"/>
              <a:gd name="connsiteX2565" fmla="*/ 152491 w 5521505"/>
              <a:gd name="connsiteY2565" fmla="*/ 1214521 h 2146918"/>
              <a:gd name="connsiteX2566" fmla="*/ 156631 w 5521505"/>
              <a:gd name="connsiteY2566" fmla="*/ 1209261 h 2146918"/>
              <a:gd name="connsiteX2567" fmla="*/ 169051 w 5521505"/>
              <a:gd name="connsiteY2567" fmla="*/ 1193004 h 2146918"/>
              <a:gd name="connsiteX2568" fmla="*/ 179292 w 5521505"/>
              <a:gd name="connsiteY2568" fmla="*/ 1179439 h 2146918"/>
              <a:gd name="connsiteX2569" fmla="*/ 186598 w 5521505"/>
              <a:gd name="connsiteY2569" fmla="*/ 1169771 h 2146918"/>
              <a:gd name="connsiteX2570" fmla="*/ 194513 w 5521505"/>
              <a:gd name="connsiteY2570" fmla="*/ 1159506 h 2146918"/>
              <a:gd name="connsiteX2571" fmla="*/ 213472 w 5521505"/>
              <a:gd name="connsiteY2571" fmla="*/ 1137782 h 2146918"/>
              <a:gd name="connsiteX2572" fmla="*/ 219707 w 5521505"/>
              <a:gd name="connsiteY2572" fmla="*/ 1131499 h 2146918"/>
              <a:gd name="connsiteX2573" fmla="*/ 227244 w 5521505"/>
              <a:gd name="connsiteY2573" fmla="*/ 1124023 h 2146918"/>
              <a:gd name="connsiteX2574" fmla="*/ 235488 w 5521505"/>
              <a:gd name="connsiteY2574" fmla="*/ 1115937 h 2146918"/>
              <a:gd name="connsiteX2575" fmla="*/ 243062 w 5521505"/>
              <a:gd name="connsiteY2575" fmla="*/ 1108631 h 2146918"/>
              <a:gd name="connsiteX2576" fmla="*/ 251269 w 5521505"/>
              <a:gd name="connsiteY2576" fmla="*/ 1100801 h 2146918"/>
              <a:gd name="connsiteX2577" fmla="*/ 254460 w 5521505"/>
              <a:gd name="connsiteY2577" fmla="*/ 1097806 h 2146918"/>
              <a:gd name="connsiteX2578" fmla="*/ 258965 w 5521505"/>
              <a:gd name="connsiteY2578" fmla="*/ 1093641 h 2146918"/>
              <a:gd name="connsiteX2579" fmla="*/ 263653 w 5521505"/>
              <a:gd name="connsiteY2579" fmla="*/ 1089270 h 2146918"/>
              <a:gd name="connsiteX2580" fmla="*/ 276731 w 5521505"/>
              <a:gd name="connsiteY2580" fmla="*/ 1075096 h 2146918"/>
              <a:gd name="connsiteX2581" fmla="*/ 279921 w 5521505"/>
              <a:gd name="connsiteY2581" fmla="*/ 1071309 h 2146918"/>
              <a:gd name="connsiteX2582" fmla="*/ 291611 w 5521505"/>
              <a:gd name="connsiteY2582" fmla="*/ 1061263 h 2146918"/>
              <a:gd name="connsiteX2583" fmla="*/ 295995 w 5521505"/>
              <a:gd name="connsiteY2583" fmla="*/ 1057951 h 2146918"/>
              <a:gd name="connsiteX2584" fmla="*/ 312348 w 5521505"/>
              <a:gd name="connsiteY2584" fmla="*/ 1045774 h 2146918"/>
              <a:gd name="connsiteX2585" fmla="*/ 324805 w 5521505"/>
              <a:gd name="connsiteY2585" fmla="*/ 1036617 h 2146918"/>
              <a:gd name="connsiteX2586" fmla="*/ 338127 w 5521505"/>
              <a:gd name="connsiteY2586" fmla="*/ 1026875 h 2146918"/>
              <a:gd name="connsiteX2587" fmla="*/ 349500 w 5521505"/>
              <a:gd name="connsiteY2587" fmla="*/ 1018644 h 2146918"/>
              <a:gd name="connsiteX2588" fmla="*/ 359960 w 5521505"/>
              <a:gd name="connsiteY2588" fmla="*/ 1011107 h 2146918"/>
              <a:gd name="connsiteX2589" fmla="*/ 375790 w 5521505"/>
              <a:gd name="connsiteY2589" fmla="*/ 999721 h 2146918"/>
              <a:gd name="connsiteX2590" fmla="*/ 381123 w 5521505"/>
              <a:gd name="connsiteY2590" fmla="*/ 995873 h 2146918"/>
              <a:gd name="connsiteX2591" fmla="*/ 390146 w 5521505"/>
              <a:gd name="connsiteY2591" fmla="*/ 989273 h 2146918"/>
              <a:gd name="connsiteX2592" fmla="*/ 406962 w 5521505"/>
              <a:gd name="connsiteY2592" fmla="*/ 975806 h 2146918"/>
              <a:gd name="connsiteX2593" fmla="*/ 419005 w 5521505"/>
              <a:gd name="connsiteY2593" fmla="*/ 965772 h 2146918"/>
              <a:gd name="connsiteX2594" fmla="*/ 436053 w 5521505"/>
              <a:gd name="connsiteY2594" fmla="*/ 952378 h 2146918"/>
              <a:gd name="connsiteX2595" fmla="*/ 452248 w 5521505"/>
              <a:gd name="connsiteY2595" fmla="*/ 943391 h 2146918"/>
              <a:gd name="connsiteX2596" fmla="*/ 460772 w 5521505"/>
              <a:gd name="connsiteY2596" fmla="*/ 938630 h 2146918"/>
              <a:gd name="connsiteX2597" fmla="*/ 475165 w 5521505"/>
              <a:gd name="connsiteY2597" fmla="*/ 929254 h 2146918"/>
              <a:gd name="connsiteX2598" fmla="*/ 483859 w 5521505"/>
              <a:gd name="connsiteY2598" fmla="*/ 923896 h 2146918"/>
              <a:gd name="connsiteX2599" fmla="*/ 494343 w 5521505"/>
              <a:gd name="connsiteY2599" fmla="*/ 918368 h 2146918"/>
              <a:gd name="connsiteX2600" fmla="*/ 498423 w 5521505"/>
              <a:gd name="connsiteY2600" fmla="*/ 916127 h 2146918"/>
              <a:gd name="connsiteX2601" fmla="*/ 511951 w 5521505"/>
              <a:gd name="connsiteY2601" fmla="*/ 904571 h 2146918"/>
              <a:gd name="connsiteX2602" fmla="*/ 511951 w 5521505"/>
              <a:gd name="connsiteY2602" fmla="*/ 904571 h 2146918"/>
              <a:gd name="connsiteX2603" fmla="*/ 516712 w 5521505"/>
              <a:gd name="connsiteY2603" fmla="*/ 899128 h 2146918"/>
              <a:gd name="connsiteX2604" fmla="*/ 524579 w 5521505"/>
              <a:gd name="connsiteY2604" fmla="*/ 891530 h 2146918"/>
              <a:gd name="connsiteX2605" fmla="*/ 528585 w 5521505"/>
              <a:gd name="connsiteY2605" fmla="*/ 888023 h 2146918"/>
              <a:gd name="connsiteX2606" fmla="*/ 542235 w 5521505"/>
              <a:gd name="connsiteY2606" fmla="*/ 876613 h 2146918"/>
              <a:gd name="connsiteX2607" fmla="*/ 550479 w 5521505"/>
              <a:gd name="connsiteY2607" fmla="*/ 869636 h 2146918"/>
              <a:gd name="connsiteX2608" fmla="*/ 556238 w 5521505"/>
              <a:gd name="connsiteY2608" fmla="*/ 864705 h 2146918"/>
              <a:gd name="connsiteX2609" fmla="*/ 562497 w 5521505"/>
              <a:gd name="connsiteY2609" fmla="*/ 859346 h 2146918"/>
              <a:gd name="connsiteX2610" fmla="*/ 567746 w 5521505"/>
              <a:gd name="connsiteY2610" fmla="*/ 854829 h 2146918"/>
              <a:gd name="connsiteX2611" fmla="*/ 572774 w 5521505"/>
              <a:gd name="connsiteY2611" fmla="*/ 850518 h 2146918"/>
              <a:gd name="connsiteX2612" fmla="*/ 577645 w 5521505"/>
              <a:gd name="connsiteY2612" fmla="*/ 846329 h 2146918"/>
              <a:gd name="connsiteX2613" fmla="*/ 582942 w 5521505"/>
              <a:gd name="connsiteY2613" fmla="*/ 841836 h 2146918"/>
              <a:gd name="connsiteX2614" fmla="*/ 590699 w 5521505"/>
              <a:gd name="connsiteY2614" fmla="*/ 835321 h 2146918"/>
              <a:gd name="connsiteX2615" fmla="*/ 598273 w 5521505"/>
              <a:gd name="connsiteY2615" fmla="*/ 829306 h 2146918"/>
              <a:gd name="connsiteX2616" fmla="*/ 606517 w 5521505"/>
              <a:gd name="connsiteY2616" fmla="*/ 823364 h 2146918"/>
              <a:gd name="connsiteX2617" fmla="*/ 614626 w 5521505"/>
              <a:gd name="connsiteY2617" fmla="*/ 817275 h 2146918"/>
              <a:gd name="connsiteX2618" fmla="*/ 624136 w 5521505"/>
              <a:gd name="connsiteY2618" fmla="*/ 809847 h 2146918"/>
              <a:gd name="connsiteX2619" fmla="*/ 631345 w 5521505"/>
              <a:gd name="connsiteY2619" fmla="*/ 803503 h 2146918"/>
              <a:gd name="connsiteX2620" fmla="*/ 635400 w 5521505"/>
              <a:gd name="connsiteY2620" fmla="*/ 799704 h 2146918"/>
              <a:gd name="connsiteX2621" fmla="*/ 642329 w 5521505"/>
              <a:gd name="connsiteY2621" fmla="*/ 794833 h 2146918"/>
              <a:gd name="connsiteX2622" fmla="*/ 646846 w 5521505"/>
              <a:gd name="connsiteY2622" fmla="*/ 794590 h 2146918"/>
              <a:gd name="connsiteX2623" fmla="*/ 650122 w 5521505"/>
              <a:gd name="connsiteY2623" fmla="*/ 795552 h 2146918"/>
              <a:gd name="connsiteX2624" fmla="*/ 652021 w 5521505"/>
              <a:gd name="connsiteY2624" fmla="*/ 795954 h 2146918"/>
              <a:gd name="connsiteX2625" fmla="*/ 654323 w 5521505"/>
              <a:gd name="connsiteY2625" fmla="*/ 796112 h 2146918"/>
              <a:gd name="connsiteX2626" fmla="*/ 659291 w 5521505"/>
              <a:gd name="connsiteY2626" fmla="*/ 792885 h 2146918"/>
              <a:gd name="connsiteX2627" fmla="*/ 666305 w 5521505"/>
              <a:gd name="connsiteY2627" fmla="*/ 787856 h 2146918"/>
              <a:gd name="connsiteX2628" fmla="*/ 675157 w 5521505"/>
              <a:gd name="connsiteY2628" fmla="*/ 779527 h 2146918"/>
              <a:gd name="connsiteX2629" fmla="*/ 714951 w 5521505"/>
              <a:gd name="connsiteY2629" fmla="*/ 751825 h 2146918"/>
              <a:gd name="connsiteX2630" fmla="*/ 739561 w 5521505"/>
              <a:gd name="connsiteY2630" fmla="*/ 740184 h 2146918"/>
              <a:gd name="connsiteX2631" fmla="*/ 764828 w 5521505"/>
              <a:gd name="connsiteY2631" fmla="*/ 727800 h 2146918"/>
              <a:gd name="connsiteX2632" fmla="*/ 772450 w 5521505"/>
              <a:gd name="connsiteY2632" fmla="*/ 722320 h 2146918"/>
              <a:gd name="connsiteX2633" fmla="*/ 787063 w 5521505"/>
              <a:gd name="connsiteY2633" fmla="*/ 715392 h 2146918"/>
              <a:gd name="connsiteX2634" fmla="*/ 797949 w 5521505"/>
              <a:gd name="connsiteY2634" fmla="*/ 713212 h 2146918"/>
              <a:gd name="connsiteX2635" fmla="*/ 789218 w 5521505"/>
              <a:gd name="connsiteY2635" fmla="*/ 725207 h 2146918"/>
              <a:gd name="connsiteX2636" fmla="*/ 793760 w 5521505"/>
              <a:gd name="connsiteY2636" fmla="*/ 722771 h 2146918"/>
              <a:gd name="connsiteX2637" fmla="*/ 817554 w 5521505"/>
              <a:gd name="connsiteY2637" fmla="*/ 707988 h 2146918"/>
              <a:gd name="connsiteX2638" fmla="*/ 841128 w 5521505"/>
              <a:gd name="connsiteY2638" fmla="*/ 691063 h 2146918"/>
              <a:gd name="connsiteX2639" fmla="*/ 862827 w 5521505"/>
              <a:gd name="connsiteY2639" fmla="*/ 677668 h 2146918"/>
              <a:gd name="connsiteX2640" fmla="*/ 872361 w 5521505"/>
              <a:gd name="connsiteY2640" fmla="*/ 669497 h 2146918"/>
              <a:gd name="connsiteX2641" fmla="*/ 888191 w 5521505"/>
              <a:gd name="connsiteY2641" fmla="*/ 654666 h 2146918"/>
              <a:gd name="connsiteX2642" fmla="*/ 892319 w 5521505"/>
              <a:gd name="connsiteY2642" fmla="*/ 651780 h 2146918"/>
              <a:gd name="connsiteX2643" fmla="*/ 905239 w 5521505"/>
              <a:gd name="connsiteY2643" fmla="*/ 642562 h 2146918"/>
              <a:gd name="connsiteX2644" fmla="*/ 926914 w 5521505"/>
              <a:gd name="connsiteY2644" fmla="*/ 631274 h 2146918"/>
              <a:gd name="connsiteX2645" fmla="*/ 938701 w 5521505"/>
              <a:gd name="connsiteY2645" fmla="*/ 629021 h 2146918"/>
              <a:gd name="connsiteX2646" fmla="*/ 956516 w 5521505"/>
              <a:gd name="connsiteY2646" fmla="*/ 622007 h 2146918"/>
              <a:gd name="connsiteX2647" fmla="*/ 963554 w 5521505"/>
              <a:gd name="connsiteY2647" fmla="*/ 617843 h 2146918"/>
              <a:gd name="connsiteX2648" fmla="*/ 979810 w 5521505"/>
              <a:gd name="connsiteY2648" fmla="*/ 608308 h 2146918"/>
              <a:gd name="connsiteX2649" fmla="*/ 1008304 w 5521505"/>
              <a:gd name="connsiteY2649" fmla="*/ 591882 h 2146918"/>
              <a:gd name="connsiteX2650" fmla="*/ 1017509 w 5521505"/>
              <a:gd name="connsiteY2650" fmla="*/ 585928 h 2146918"/>
              <a:gd name="connsiteX2651" fmla="*/ 1028128 w 5521505"/>
              <a:gd name="connsiteY2651" fmla="*/ 577112 h 2146918"/>
              <a:gd name="connsiteX2652" fmla="*/ 1051081 w 5521505"/>
              <a:gd name="connsiteY2652" fmla="*/ 567297 h 2146918"/>
              <a:gd name="connsiteX2653" fmla="*/ 1060737 w 5521505"/>
              <a:gd name="connsiteY2653" fmla="*/ 564058 h 2146918"/>
              <a:gd name="connsiteX2654" fmla="*/ 1070272 w 5521505"/>
              <a:gd name="connsiteY2654" fmla="*/ 556484 h 2146918"/>
              <a:gd name="connsiteX2655" fmla="*/ 1083886 w 5521505"/>
              <a:gd name="connsiteY2655" fmla="*/ 543869 h 2146918"/>
              <a:gd name="connsiteX2656" fmla="*/ 1092007 w 5521505"/>
              <a:gd name="connsiteY2656" fmla="*/ 531278 h 2146918"/>
              <a:gd name="connsiteX2657" fmla="*/ 1092129 w 5521505"/>
              <a:gd name="connsiteY2657" fmla="*/ 530961 h 2146918"/>
              <a:gd name="connsiteX2658" fmla="*/ 1078455 w 5521505"/>
              <a:gd name="connsiteY2658" fmla="*/ 533104 h 2146918"/>
              <a:gd name="connsiteX2659" fmla="*/ 1082278 w 5521505"/>
              <a:gd name="connsiteY2659" fmla="*/ 522681 h 2146918"/>
              <a:gd name="connsiteX2660" fmla="*/ 1095673 w 5521505"/>
              <a:gd name="connsiteY2660" fmla="*/ 508592 h 2146918"/>
              <a:gd name="connsiteX2661" fmla="*/ 1120404 w 5521505"/>
              <a:gd name="connsiteY2661" fmla="*/ 490169 h 2146918"/>
              <a:gd name="connsiteX2662" fmla="*/ 1141677 w 5521505"/>
              <a:gd name="connsiteY2662" fmla="*/ 486077 h 2146918"/>
              <a:gd name="connsiteX2663" fmla="*/ 1143698 w 5521505"/>
              <a:gd name="connsiteY2663" fmla="*/ 496172 h 2146918"/>
              <a:gd name="connsiteX2664" fmla="*/ 1137305 w 5521505"/>
              <a:gd name="connsiteY2664" fmla="*/ 502601 h 2146918"/>
              <a:gd name="connsiteX2665" fmla="*/ 1140130 w 5521505"/>
              <a:gd name="connsiteY2665" fmla="*/ 502224 h 2146918"/>
              <a:gd name="connsiteX2666" fmla="*/ 1147169 w 5521505"/>
              <a:gd name="connsiteY2666" fmla="*/ 501359 h 2146918"/>
              <a:gd name="connsiteX2667" fmla="*/ 1150347 w 5521505"/>
              <a:gd name="connsiteY2667" fmla="*/ 508592 h 2146918"/>
              <a:gd name="connsiteX2668" fmla="*/ 1159017 w 5521505"/>
              <a:gd name="connsiteY2668" fmla="*/ 501177 h 2146918"/>
              <a:gd name="connsiteX2669" fmla="*/ 1177854 w 5521505"/>
              <a:gd name="connsiteY2669" fmla="*/ 491959 h 2146918"/>
              <a:gd name="connsiteX2670" fmla="*/ 1177282 w 5521505"/>
              <a:gd name="connsiteY2670" fmla="*/ 501067 h 2146918"/>
              <a:gd name="connsiteX2671" fmla="*/ 1170950 w 5521505"/>
              <a:gd name="connsiteY2671" fmla="*/ 507862 h 2146918"/>
              <a:gd name="connsiteX2672" fmla="*/ 1172168 w 5521505"/>
              <a:gd name="connsiteY2672" fmla="*/ 509079 h 2146918"/>
              <a:gd name="connsiteX2673" fmla="*/ 1188996 w 5521505"/>
              <a:gd name="connsiteY2673" fmla="*/ 501201 h 2146918"/>
              <a:gd name="connsiteX2674" fmla="*/ 1202622 w 5521505"/>
              <a:gd name="connsiteY2674" fmla="*/ 488634 h 2146918"/>
              <a:gd name="connsiteX2675" fmla="*/ 1218963 w 5521505"/>
              <a:gd name="connsiteY2675" fmla="*/ 471088 h 2146918"/>
              <a:gd name="connsiteX2676" fmla="*/ 1226428 w 5521505"/>
              <a:gd name="connsiteY2676" fmla="*/ 459081 h 2146918"/>
              <a:gd name="connsiteX2677" fmla="*/ 1210598 w 5521505"/>
              <a:gd name="connsiteY2677" fmla="*/ 462162 h 2146918"/>
              <a:gd name="connsiteX2678" fmla="*/ 1194281 w 5521505"/>
              <a:gd name="connsiteY2678" fmla="*/ 464731 h 2146918"/>
              <a:gd name="connsiteX2679" fmla="*/ 1191724 w 5521505"/>
              <a:gd name="connsiteY2679" fmla="*/ 455246 h 2146918"/>
              <a:gd name="connsiteX2680" fmla="*/ 1199030 w 5521505"/>
              <a:gd name="connsiteY2680" fmla="*/ 447075 h 2146918"/>
              <a:gd name="connsiteX2681" fmla="*/ 1220120 w 5521505"/>
              <a:gd name="connsiteY2681" fmla="*/ 426143 h 2146918"/>
              <a:gd name="connsiteX2682" fmla="*/ 1254288 w 5521505"/>
              <a:gd name="connsiteY2682" fmla="*/ 404870 h 2146918"/>
              <a:gd name="connsiteX2683" fmla="*/ 1264176 w 5521505"/>
              <a:gd name="connsiteY2683" fmla="*/ 400231 h 2146918"/>
              <a:gd name="connsiteX2684" fmla="*/ 1275525 w 5521505"/>
              <a:gd name="connsiteY2684" fmla="*/ 395445 h 2146918"/>
              <a:gd name="connsiteX2685" fmla="*/ 1306783 w 5521505"/>
              <a:gd name="connsiteY2685" fmla="*/ 381649 h 2146918"/>
              <a:gd name="connsiteX2686" fmla="*/ 1326631 w 5521505"/>
              <a:gd name="connsiteY2686" fmla="*/ 372285 h 2146918"/>
              <a:gd name="connsiteX2687" fmla="*/ 1336981 w 5521505"/>
              <a:gd name="connsiteY2687" fmla="*/ 368632 h 2146918"/>
              <a:gd name="connsiteX2688" fmla="*/ 1342169 w 5521505"/>
              <a:gd name="connsiteY2688" fmla="*/ 377277 h 2146918"/>
              <a:gd name="connsiteX2689" fmla="*/ 1366522 w 5521505"/>
              <a:gd name="connsiteY2689" fmla="*/ 366708 h 2146918"/>
              <a:gd name="connsiteX2690" fmla="*/ 1357000 w 5521505"/>
              <a:gd name="connsiteY2690" fmla="*/ 365490 h 2146918"/>
              <a:gd name="connsiteX2691" fmla="*/ 1352373 w 5521505"/>
              <a:gd name="connsiteY2691" fmla="*/ 359085 h 2146918"/>
              <a:gd name="connsiteX2692" fmla="*/ 1376836 w 5521505"/>
              <a:gd name="connsiteY2692" fmla="*/ 348905 h 2146918"/>
              <a:gd name="connsiteX2693" fmla="*/ 1408496 w 5521505"/>
              <a:gd name="connsiteY2693" fmla="*/ 342561 h 2146918"/>
              <a:gd name="connsiteX2694" fmla="*/ 1397707 w 5521505"/>
              <a:gd name="connsiteY2694" fmla="*/ 351389 h 2146918"/>
              <a:gd name="connsiteX2695" fmla="*/ 1417434 w 5521505"/>
              <a:gd name="connsiteY2695" fmla="*/ 348442 h 2146918"/>
              <a:gd name="connsiteX2696" fmla="*/ 1461709 w 5521505"/>
              <a:gd name="connsiteY2696" fmla="*/ 339492 h 2146918"/>
              <a:gd name="connsiteX2697" fmla="*/ 1496364 w 5521505"/>
              <a:gd name="connsiteY2697" fmla="*/ 337666 h 2146918"/>
              <a:gd name="connsiteX2698" fmla="*/ 1498982 w 5521505"/>
              <a:gd name="connsiteY2698" fmla="*/ 345934 h 2146918"/>
              <a:gd name="connsiteX2699" fmla="*/ 1484516 w 5521505"/>
              <a:gd name="connsiteY2699" fmla="*/ 356893 h 2146918"/>
              <a:gd name="connsiteX2700" fmla="*/ 1493295 w 5521505"/>
              <a:gd name="connsiteY2700" fmla="*/ 356053 h 2146918"/>
              <a:gd name="connsiteX2701" fmla="*/ 1506556 w 5521505"/>
              <a:gd name="connsiteY2701" fmla="*/ 354032 h 2146918"/>
              <a:gd name="connsiteX2702" fmla="*/ 1507457 w 5521505"/>
              <a:gd name="connsiteY2702" fmla="*/ 353837 h 2146918"/>
              <a:gd name="connsiteX2703" fmla="*/ 1526404 w 5521505"/>
              <a:gd name="connsiteY2703" fmla="*/ 350367 h 2146918"/>
              <a:gd name="connsiteX2704" fmla="*/ 1548323 w 5521505"/>
              <a:gd name="connsiteY2704" fmla="*/ 353204 h 2146918"/>
              <a:gd name="connsiteX2705" fmla="*/ 1543951 w 5521505"/>
              <a:gd name="connsiteY2705" fmla="*/ 363761 h 2146918"/>
              <a:gd name="connsiteX2706" fmla="*/ 1532992 w 5521505"/>
              <a:gd name="connsiteY2706" fmla="*/ 373503 h 2146918"/>
              <a:gd name="connsiteX2707" fmla="*/ 1523250 w 5521505"/>
              <a:gd name="connsiteY2707" fmla="*/ 382172 h 2146918"/>
              <a:gd name="connsiteX2708" fmla="*/ 1502672 w 5521505"/>
              <a:gd name="connsiteY2708" fmla="*/ 390136 h 2146918"/>
              <a:gd name="connsiteX2709" fmla="*/ 1499311 w 5521505"/>
              <a:gd name="connsiteY2709" fmla="*/ 389966 h 2146918"/>
              <a:gd name="connsiteX2710" fmla="*/ 1496741 w 5521505"/>
              <a:gd name="connsiteY2710" fmla="*/ 389819 h 2146918"/>
              <a:gd name="connsiteX2711" fmla="*/ 1490276 w 5521505"/>
              <a:gd name="connsiteY2711" fmla="*/ 388541 h 2146918"/>
              <a:gd name="connsiteX2712" fmla="*/ 1488412 w 5521505"/>
              <a:gd name="connsiteY2712" fmla="*/ 387323 h 2146918"/>
              <a:gd name="connsiteX2713" fmla="*/ 1481313 w 5521505"/>
              <a:gd name="connsiteY2713" fmla="*/ 386288 h 2146918"/>
              <a:gd name="connsiteX2714" fmla="*/ 1464984 w 5521505"/>
              <a:gd name="connsiteY2714" fmla="*/ 391743 h 2146918"/>
              <a:gd name="connsiteX2715" fmla="*/ 1451030 w 5521505"/>
              <a:gd name="connsiteY2715" fmla="*/ 399305 h 2146918"/>
              <a:gd name="connsiteX2716" fmla="*/ 1458165 w 5521505"/>
              <a:gd name="connsiteY2716" fmla="*/ 400389 h 2146918"/>
              <a:gd name="connsiteX2717" fmla="*/ 1463036 w 5521505"/>
              <a:gd name="connsiteY2717" fmla="*/ 400742 h 2146918"/>
              <a:gd name="connsiteX2718" fmla="*/ 1476431 w 5521505"/>
              <a:gd name="connsiteY2718" fmla="*/ 401168 h 2146918"/>
              <a:gd name="connsiteX2719" fmla="*/ 1485624 w 5521505"/>
              <a:gd name="connsiteY2719" fmla="*/ 412359 h 2146918"/>
              <a:gd name="connsiteX2720" fmla="*/ 1468236 w 5521505"/>
              <a:gd name="connsiteY2720" fmla="*/ 427860 h 2146918"/>
              <a:gd name="connsiteX2721" fmla="*/ 1456059 w 5521505"/>
              <a:gd name="connsiteY2721" fmla="*/ 432645 h 2146918"/>
              <a:gd name="connsiteX2722" fmla="*/ 1449970 w 5521505"/>
              <a:gd name="connsiteY2722" fmla="*/ 434167 h 2146918"/>
              <a:gd name="connsiteX2723" fmla="*/ 1432484 w 5521505"/>
              <a:gd name="connsiteY2723" fmla="*/ 437820 h 2146918"/>
              <a:gd name="connsiteX2724" fmla="*/ 1441873 w 5521505"/>
              <a:gd name="connsiteY2724" fmla="*/ 441949 h 2146918"/>
              <a:gd name="connsiteX2725" fmla="*/ 1447961 w 5521505"/>
              <a:gd name="connsiteY2725" fmla="*/ 445443 h 2146918"/>
              <a:gd name="connsiteX2726" fmla="*/ 1438548 w 5521505"/>
              <a:gd name="connsiteY2726" fmla="*/ 452189 h 2146918"/>
              <a:gd name="connsiteX2727" fmla="*/ 1432460 w 5521505"/>
              <a:gd name="connsiteY2727" fmla="*/ 454004 h 2146918"/>
              <a:gd name="connsiteX2728" fmla="*/ 1422524 w 5521505"/>
              <a:gd name="connsiteY2728" fmla="*/ 456634 h 2146918"/>
              <a:gd name="connsiteX2729" fmla="*/ 1410347 w 5521505"/>
              <a:gd name="connsiteY2729" fmla="*/ 459617 h 2146918"/>
              <a:gd name="connsiteX2730" fmla="*/ 1397208 w 5521505"/>
              <a:gd name="connsiteY2730" fmla="*/ 462625 h 2146918"/>
              <a:gd name="connsiteX2731" fmla="*/ 1385543 w 5521505"/>
              <a:gd name="connsiteY2731" fmla="*/ 464963 h 2146918"/>
              <a:gd name="connsiteX2732" fmla="*/ 1379892 w 5521505"/>
              <a:gd name="connsiteY2732" fmla="*/ 465377 h 2146918"/>
              <a:gd name="connsiteX2733" fmla="*/ 1374364 w 5521505"/>
              <a:gd name="connsiteY2733" fmla="*/ 463794 h 2146918"/>
              <a:gd name="connsiteX2734" fmla="*/ 1367691 w 5521505"/>
              <a:gd name="connsiteY2734" fmla="*/ 461602 h 2146918"/>
              <a:gd name="connsiteX2735" fmla="*/ 1361091 w 5521505"/>
              <a:gd name="connsiteY2735" fmla="*/ 459934 h 2146918"/>
              <a:gd name="connsiteX2736" fmla="*/ 1346759 w 5521505"/>
              <a:gd name="connsiteY2736" fmla="*/ 463721 h 2146918"/>
              <a:gd name="connsiteX2737" fmla="*/ 1342035 w 5521505"/>
              <a:gd name="connsiteY2737" fmla="*/ 466083 h 2146918"/>
              <a:gd name="connsiteX2738" fmla="*/ 1337602 w 5521505"/>
              <a:gd name="connsiteY2738" fmla="*/ 468226 h 2146918"/>
              <a:gd name="connsiteX2739" fmla="*/ 1331514 w 5521505"/>
              <a:gd name="connsiteY2739" fmla="*/ 471075 h 2146918"/>
              <a:gd name="connsiteX2740" fmla="*/ 1322722 w 5521505"/>
              <a:gd name="connsiteY2740" fmla="*/ 475070 h 2146918"/>
              <a:gd name="connsiteX2741" fmla="*/ 1312579 w 5521505"/>
              <a:gd name="connsiteY2741" fmla="*/ 479697 h 2146918"/>
              <a:gd name="connsiteX2742" fmla="*/ 1300402 w 5521505"/>
              <a:gd name="connsiteY2742" fmla="*/ 485335 h 2146918"/>
              <a:gd name="connsiteX2743" fmla="*/ 1291927 w 5521505"/>
              <a:gd name="connsiteY2743" fmla="*/ 490583 h 2146918"/>
              <a:gd name="connsiteX2744" fmla="*/ 1290709 w 5521505"/>
              <a:gd name="connsiteY2744" fmla="*/ 481243 h 2146918"/>
              <a:gd name="connsiteX2745" fmla="*/ 1319739 w 5521505"/>
              <a:gd name="connsiteY2745" fmla="*/ 464695 h 2146918"/>
              <a:gd name="connsiteX2746" fmla="*/ 1342595 w 5521505"/>
              <a:gd name="connsiteY2746" fmla="*/ 455745 h 2146918"/>
              <a:gd name="connsiteX2747" fmla="*/ 1357706 w 5521505"/>
              <a:gd name="connsiteY2747" fmla="*/ 446953 h 2146918"/>
              <a:gd name="connsiteX2748" fmla="*/ 1359180 w 5521505"/>
              <a:gd name="connsiteY2748" fmla="*/ 442082 h 2146918"/>
              <a:gd name="connsiteX2749" fmla="*/ 1371807 w 5521505"/>
              <a:gd name="connsiteY2749" fmla="*/ 429905 h 2146918"/>
              <a:gd name="connsiteX2750" fmla="*/ 1380538 w 5521505"/>
              <a:gd name="connsiteY2750" fmla="*/ 422758 h 2146918"/>
              <a:gd name="connsiteX2751" fmla="*/ 1392033 w 5521505"/>
              <a:gd name="connsiteY2751" fmla="*/ 410898 h 2146918"/>
              <a:gd name="connsiteX2752" fmla="*/ 1390243 w 5521505"/>
              <a:gd name="connsiteY2752" fmla="*/ 405783 h 2146918"/>
              <a:gd name="connsiteX2753" fmla="*/ 1389232 w 5521505"/>
              <a:gd name="connsiteY2753" fmla="*/ 405625 h 2146918"/>
              <a:gd name="connsiteX2754" fmla="*/ 1388014 w 5521505"/>
              <a:gd name="connsiteY2754" fmla="*/ 405552 h 2146918"/>
              <a:gd name="connsiteX2755" fmla="*/ 1386590 w 5521505"/>
              <a:gd name="connsiteY2755" fmla="*/ 405552 h 2146918"/>
              <a:gd name="connsiteX2756" fmla="*/ 1384849 w 5521505"/>
              <a:gd name="connsiteY2756" fmla="*/ 405674 h 2146918"/>
              <a:gd name="connsiteX2757" fmla="*/ 1383107 w 5521505"/>
              <a:gd name="connsiteY2757" fmla="*/ 405881 h 2146918"/>
              <a:gd name="connsiteX2758" fmla="*/ 1381889 w 5521505"/>
              <a:gd name="connsiteY2758" fmla="*/ 406063 h 2146918"/>
              <a:gd name="connsiteX2759" fmla="*/ 1379223 w 5521505"/>
              <a:gd name="connsiteY2759" fmla="*/ 406514 h 2146918"/>
              <a:gd name="connsiteX2760" fmla="*/ 1376593 w 5521505"/>
              <a:gd name="connsiteY2760" fmla="*/ 406879 h 2146918"/>
              <a:gd name="connsiteX2761" fmla="*/ 1374279 w 5521505"/>
              <a:gd name="connsiteY2761" fmla="*/ 407110 h 2146918"/>
              <a:gd name="connsiteX2762" fmla="*/ 1372391 w 5521505"/>
              <a:gd name="connsiteY2762" fmla="*/ 407232 h 2146918"/>
              <a:gd name="connsiteX2763" fmla="*/ 1370699 w 5521505"/>
              <a:gd name="connsiteY2763" fmla="*/ 407232 h 2146918"/>
              <a:gd name="connsiteX2764" fmla="*/ 1369019 w 5521505"/>
              <a:gd name="connsiteY2764" fmla="*/ 407232 h 2146918"/>
              <a:gd name="connsiteX2765" fmla="*/ 1367716 w 5521505"/>
              <a:gd name="connsiteY2765" fmla="*/ 407171 h 2146918"/>
              <a:gd name="connsiteX2766" fmla="*/ 1365780 w 5521505"/>
              <a:gd name="connsiteY2766" fmla="*/ 406989 h 2146918"/>
              <a:gd name="connsiteX2767" fmla="*/ 1363929 w 5521505"/>
              <a:gd name="connsiteY2767" fmla="*/ 406721 h 2146918"/>
              <a:gd name="connsiteX2768" fmla="*/ 1361566 w 5521505"/>
              <a:gd name="connsiteY2768" fmla="*/ 406368 h 2146918"/>
              <a:gd name="connsiteX2769" fmla="*/ 1359447 w 5521505"/>
              <a:gd name="connsiteY2769" fmla="*/ 406246 h 2146918"/>
              <a:gd name="connsiteX2770" fmla="*/ 1357463 w 5521505"/>
              <a:gd name="connsiteY2770" fmla="*/ 406246 h 2146918"/>
              <a:gd name="connsiteX2771" fmla="*/ 1353359 w 5521505"/>
              <a:gd name="connsiteY2771" fmla="*/ 406441 h 2146918"/>
              <a:gd name="connsiteX2772" fmla="*/ 1348488 w 5521505"/>
              <a:gd name="connsiteY2772" fmla="*/ 406843 h 2146918"/>
              <a:gd name="connsiteX2773" fmla="*/ 1344020 w 5521505"/>
              <a:gd name="connsiteY2773" fmla="*/ 407257 h 2146918"/>
              <a:gd name="connsiteX2774" fmla="*/ 1336458 w 5521505"/>
              <a:gd name="connsiteY2774" fmla="*/ 409838 h 2146918"/>
              <a:gd name="connsiteX2775" fmla="*/ 1335946 w 5521505"/>
              <a:gd name="connsiteY2775" fmla="*/ 410167 h 2146918"/>
              <a:gd name="connsiteX2776" fmla="*/ 1334729 w 5521505"/>
              <a:gd name="connsiteY2776" fmla="*/ 410959 h 2146918"/>
              <a:gd name="connsiteX2777" fmla="*/ 1331879 w 5521505"/>
              <a:gd name="connsiteY2777" fmla="*/ 412688 h 2146918"/>
              <a:gd name="connsiteX2778" fmla="*/ 1329176 w 5521505"/>
              <a:gd name="connsiteY2778" fmla="*/ 414222 h 2146918"/>
              <a:gd name="connsiteX2779" fmla="*/ 1326412 w 5521505"/>
              <a:gd name="connsiteY2779" fmla="*/ 415707 h 2146918"/>
              <a:gd name="connsiteX2780" fmla="*/ 1325060 w 5521505"/>
              <a:gd name="connsiteY2780" fmla="*/ 416402 h 2146918"/>
              <a:gd name="connsiteX2781" fmla="*/ 1321103 w 5521505"/>
              <a:gd name="connsiteY2781" fmla="*/ 418350 h 2146918"/>
              <a:gd name="connsiteX2782" fmla="*/ 1316963 w 5521505"/>
              <a:gd name="connsiteY2782" fmla="*/ 420262 h 2146918"/>
              <a:gd name="connsiteX2783" fmla="*/ 1312445 w 5521505"/>
              <a:gd name="connsiteY2783" fmla="*/ 422234 h 2146918"/>
              <a:gd name="connsiteX2784" fmla="*/ 1308889 w 5521505"/>
              <a:gd name="connsiteY2784" fmla="*/ 423720 h 2146918"/>
              <a:gd name="connsiteX2785" fmla="*/ 1304019 w 5521505"/>
              <a:gd name="connsiteY2785" fmla="*/ 425705 h 2146918"/>
              <a:gd name="connsiteX2786" fmla="*/ 1298649 w 5521505"/>
              <a:gd name="connsiteY2786" fmla="*/ 427860 h 2146918"/>
              <a:gd name="connsiteX2787" fmla="*/ 1293181 w 5521505"/>
              <a:gd name="connsiteY2787" fmla="*/ 430064 h 2146918"/>
              <a:gd name="connsiteX2788" fmla="*/ 1289906 w 5521505"/>
              <a:gd name="connsiteY2788" fmla="*/ 431415 h 2146918"/>
              <a:gd name="connsiteX2789" fmla="*/ 1284816 w 5521505"/>
              <a:gd name="connsiteY2789" fmla="*/ 433583 h 2146918"/>
              <a:gd name="connsiteX2790" fmla="*/ 1277704 w 5521505"/>
              <a:gd name="connsiteY2790" fmla="*/ 436700 h 2146918"/>
              <a:gd name="connsiteX2791" fmla="*/ 1271738 w 5521505"/>
              <a:gd name="connsiteY2791" fmla="*/ 439318 h 2146918"/>
              <a:gd name="connsiteX2792" fmla="*/ 1266867 w 5521505"/>
              <a:gd name="connsiteY2792" fmla="*/ 441486 h 2146918"/>
              <a:gd name="connsiteX2793" fmla="*/ 1268085 w 5521505"/>
              <a:gd name="connsiteY2793" fmla="*/ 442265 h 2146918"/>
              <a:gd name="connsiteX2794" fmla="*/ 1269083 w 5521505"/>
              <a:gd name="connsiteY2794" fmla="*/ 442423 h 2146918"/>
              <a:gd name="connsiteX2795" fmla="*/ 1271823 w 5521505"/>
              <a:gd name="connsiteY2795" fmla="*/ 442095 h 2146918"/>
              <a:gd name="connsiteX2796" fmla="*/ 1275939 w 5521505"/>
              <a:gd name="connsiteY2796" fmla="*/ 441839 h 2146918"/>
              <a:gd name="connsiteX2797" fmla="*/ 1278630 w 5521505"/>
              <a:gd name="connsiteY2797" fmla="*/ 449973 h 2146918"/>
              <a:gd name="connsiteX2798" fmla="*/ 1269680 w 5521505"/>
              <a:gd name="connsiteY2798" fmla="*/ 457876 h 2146918"/>
              <a:gd name="connsiteX2799" fmla="*/ 1265491 w 5521505"/>
              <a:gd name="connsiteY2799" fmla="*/ 465608 h 2146918"/>
              <a:gd name="connsiteX2800" fmla="*/ 1265722 w 5521505"/>
              <a:gd name="connsiteY2800" fmla="*/ 466826 h 2146918"/>
              <a:gd name="connsiteX2801" fmla="*/ 1256456 w 5521505"/>
              <a:gd name="connsiteY2801" fmla="*/ 476945 h 2146918"/>
              <a:gd name="connsiteX2802" fmla="*/ 1244376 w 5521505"/>
              <a:gd name="connsiteY2802" fmla="*/ 487733 h 2146918"/>
              <a:gd name="connsiteX2803" fmla="*/ 1234635 w 5521505"/>
              <a:gd name="connsiteY2803" fmla="*/ 496184 h 2146918"/>
              <a:gd name="connsiteX2804" fmla="*/ 1221959 w 5521505"/>
              <a:gd name="connsiteY2804" fmla="*/ 503709 h 2146918"/>
              <a:gd name="connsiteX2805" fmla="*/ 1212607 w 5521505"/>
              <a:gd name="connsiteY2805" fmla="*/ 506985 h 2146918"/>
              <a:gd name="connsiteX2806" fmla="*/ 1207054 w 5521505"/>
              <a:gd name="connsiteY2806" fmla="*/ 508933 h 2146918"/>
              <a:gd name="connsiteX2807" fmla="*/ 1193964 w 5521505"/>
              <a:gd name="connsiteY2807" fmla="*/ 517883 h 2146918"/>
              <a:gd name="connsiteX2808" fmla="*/ 1198141 w 5521505"/>
              <a:gd name="connsiteY2808" fmla="*/ 518042 h 2146918"/>
              <a:gd name="connsiteX2809" fmla="*/ 1208869 w 5521505"/>
              <a:gd name="connsiteY2809" fmla="*/ 518480 h 2146918"/>
              <a:gd name="connsiteX2810" fmla="*/ 1217392 w 5521505"/>
              <a:gd name="connsiteY2810" fmla="*/ 519405 h 2146918"/>
              <a:gd name="connsiteX2811" fmla="*/ 1222482 w 5521505"/>
              <a:gd name="connsiteY2811" fmla="*/ 520465 h 2146918"/>
              <a:gd name="connsiteX2812" fmla="*/ 1226209 w 5521505"/>
              <a:gd name="connsiteY2812" fmla="*/ 521366 h 2146918"/>
              <a:gd name="connsiteX2813" fmla="*/ 1230458 w 5521505"/>
              <a:gd name="connsiteY2813" fmla="*/ 522413 h 2146918"/>
              <a:gd name="connsiteX2814" fmla="*/ 1232382 w 5521505"/>
              <a:gd name="connsiteY2814" fmla="*/ 522864 h 2146918"/>
              <a:gd name="connsiteX2815" fmla="*/ 1232382 w 5521505"/>
              <a:gd name="connsiteY2815" fmla="*/ 523156 h 2146918"/>
              <a:gd name="connsiteX2816" fmla="*/ 1231359 w 5521505"/>
              <a:gd name="connsiteY2816" fmla="*/ 526748 h 2146918"/>
              <a:gd name="connsiteX2817" fmla="*/ 1225831 w 5521505"/>
              <a:gd name="connsiteY2817" fmla="*/ 531059 h 2146918"/>
              <a:gd name="connsiteX2818" fmla="*/ 1219743 w 5521505"/>
              <a:gd name="connsiteY2818" fmla="*/ 533214 h 2146918"/>
              <a:gd name="connsiteX2819" fmla="*/ 1217733 w 5521505"/>
              <a:gd name="connsiteY2819" fmla="*/ 533872 h 2146918"/>
              <a:gd name="connsiteX2820" fmla="*/ 1215298 w 5521505"/>
              <a:gd name="connsiteY2820" fmla="*/ 534614 h 2146918"/>
              <a:gd name="connsiteX2821" fmla="*/ 1213678 w 5521505"/>
              <a:gd name="connsiteY2821" fmla="*/ 534785 h 2146918"/>
              <a:gd name="connsiteX2822" fmla="*/ 1208126 w 5521505"/>
              <a:gd name="connsiteY2822" fmla="*/ 535759 h 2146918"/>
              <a:gd name="connsiteX2823" fmla="*/ 1192406 w 5521505"/>
              <a:gd name="connsiteY2823" fmla="*/ 543345 h 2146918"/>
              <a:gd name="connsiteX2824" fmla="*/ 1188339 w 5521505"/>
              <a:gd name="connsiteY2824" fmla="*/ 546389 h 2146918"/>
              <a:gd name="connsiteX2825" fmla="*/ 1184905 w 5521505"/>
              <a:gd name="connsiteY2825" fmla="*/ 549178 h 2146918"/>
              <a:gd name="connsiteX2826" fmla="*/ 1181483 w 5521505"/>
              <a:gd name="connsiteY2826" fmla="*/ 552076 h 2146918"/>
              <a:gd name="connsiteX2827" fmla="*/ 1177927 w 5521505"/>
              <a:gd name="connsiteY2827" fmla="*/ 555120 h 2146918"/>
              <a:gd name="connsiteX2828" fmla="*/ 1175833 w 5521505"/>
              <a:gd name="connsiteY2828" fmla="*/ 556922 h 2146918"/>
              <a:gd name="connsiteX2829" fmla="*/ 1173994 w 5521505"/>
              <a:gd name="connsiteY2829" fmla="*/ 558517 h 2146918"/>
              <a:gd name="connsiteX2830" fmla="*/ 1170804 w 5521505"/>
              <a:gd name="connsiteY2830" fmla="*/ 561294 h 2146918"/>
              <a:gd name="connsiteX2831" fmla="*/ 1168368 w 5521505"/>
              <a:gd name="connsiteY2831" fmla="*/ 563413 h 2146918"/>
              <a:gd name="connsiteX2832" fmla="*/ 1166420 w 5521505"/>
              <a:gd name="connsiteY2832" fmla="*/ 565117 h 2146918"/>
              <a:gd name="connsiteX2833" fmla="*/ 1164094 w 5521505"/>
              <a:gd name="connsiteY2833" fmla="*/ 567151 h 2146918"/>
              <a:gd name="connsiteX2834" fmla="*/ 1162195 w 5521505"/>
              <a:gd name="connsiteY2834" fmla="*/ 567394 h 2146918"/>
              <a:gd name="connsiteX2835" fmla="*/ 1160088 w 5521505"/>
              <a:gd name="connsiteY2835" fmla="*/ 567687 h 2146918"/>
              <a:gd name="connsiteX2836" fmla="*/ 1156849 w 5521505"/>
              <a:gd name="connsiteY2836" fmla="*/ 568113 h 2146918"/>
              <a:gd name="connsiteX2837" fmla="*/ 1154000 w 5521505"/>
              <a:gd name="connsiteY2837" fmla="*/ 568502 h 2146918"/>
              <a:gd name="connsiteX2838" fmla="*/ 1150128 w 5521505"/>
              <a:gd name="connsiteY2838" fmla="*/ 569026 h 2146918"/>
              <a:gd name="connsiteX2839" fmla="*/ 1146864 w 5521505"/>
              <a:gd name="connsiteY2839" fmla="*/ 569477 h 2146918"/>
              <a:gd name="connsiteX2840" fmla="*/ 1145549 w 5521505"/>
              <a:gd name="connsiteY2840" fmla="*/ 569659 h 2146918"/>
              <a:gd name="connsiteX2841" fmla="*/ 1144331 w 5521505"/>
              <a:gd name="connsiteY2841" fmla="*/ 569830 h 2146918"/>
              <a:gd name="connsiteX2842" fmla="*/ 1142797 w 5521505"/>
              <a:gd name="connsiteY2842" fmla="*/ 570037 h 2146918"/>
              <a:gd name="connsiteX2843" fmla="*/ 1143869 w 5521505"/>
              <a:gd name="connsiteY2843" fmla="*/ 568819 h 2146918"/>
              <a:gd name="connsiteX2844" fmla="*/ 1145086 w 5521505"/>
              <a:gd name="connsiteY2844" fmla="*/ 567443 h 2146918"/>
              <a:gd name="connsiteX2845" fmla="*/ 1146608 w 5521505"/>
              <a:gd name="connsiteY2845" fmla="*/ 565702 h 2146918"/>
              <a:gd name="connsiteX2846" fmla="*/ 1147826 w 5521505"/>
              <a:gd name="connsiteY2846" fmla="*/ 564301 h 2146918"/>
              <a:gd name="connsiteX2847" fmla="*/ 1149336 w 5521505"/>
              <a:gd name="connsiteY2847" fmla="*/ 562499 h 2146918"/>
              <a:gd name="connsiteX2848" fmla="*/ 1150298 w 5521505"/>
              <a:gd name="connsiteY2848" fmla="*/ 561282 h 2146918"/>
              <a:gd name="connsiteX2849" fmla="*/ 1151248 w 5521505"/>
              <a:gd name="connsiteY2849" fmla="*/ 560064 h 2146918"/>
              <a:gd name="connsiteX2850" fmla="*/ 1152100 w 5521505"/>
              <a:gd name="connsiteY2850" fmla="*/ 558943 h 2146918"/>
              <a:gd name="connsiteX2851" fmla="*/ 1152612 w 5521505"/>
              <a:gd name="connsiteY2851" fmla="*/ 558262 h 2146918"/>
              <a:gd name="connsiteX2852" fmla="*/ 1153622 w 5521505"/>
              <a:gd name="connsiteY2852" fmla="*/ 556825 h 2146918"/>
              <a:gd name="connsiteX2853" fmla="*/ 1154840 w 5521505"/>
              <a:gd name="connsiteY2853" fmla="*/ 554962 h 2146918"/>
              <a:gd name="connsiteX2854" fmla="*/ 1155960 w 5521505"/>
              <a:gd name="connsiteY2854" fmla="*/ 553087 h 2146918"/>
              <a:gd name="connsiteX2855" fmla="*/ 1156837 w 5521505"/>
              <a:gd name="connsiteY2855" fmla="*/ 551418 h 2146918"/>
              <a:gd name="connsiteX2856" fmla="*/ 1157507 w 5521505"/>
              <a:gd name="connsiteY2856" fmla="*/ 549933 h 2146918"/>
              <a:gd name="connsiteX2857" fmla="*/ 1158176 w 5521505"/>
              <a:gd name="connsiteY2857" fmla="*/ 548057 h 2146918"/>
              <a:gd name="connsiteX2858" fmla="*/ 1158603 w 5521505"/>
              <a:gd name="connsiteY2858" fmla="*/ 546389 h 2146918"/>
              <a:gd name="connsiteX2859" fmla="*/ 1158785 w 5521505"/>
              <a:gd name="connsiteY2859" fmla="*/ 545257 h 2146918"/>
              <a:gd name="connsiteX2860" fmla="*/ 1158870 w 5521505"/>
              <a:gd name="connsiteY2860" fmla="*/ 544307 h 2146918"/>
              <a:gd name="connsiteX2861" fmla="*/ 1158870 w 5521505"/>
              <a:gd name="connsiteY2861" fmla="*/ 543223 h 2146918"/>
              <a:gd name="connsiteX2862" fmla="*/ 1157519 w 5521505"/>
              <a:gd name="connsiteY2862" fmla="*/ 544709 h 2146918"/>
              <a:gd name="connsiteX2863" fmla="*/ 1156033 w 5521505"/>
              <a:gd name="connsiteY2863" fmla="*/ 546365 h 2146918"/>
              <a:gd name="connsiteX2864" fmla="*/ 1154353 w 5521505"/>
              <a:gd name="connsiteY2864" fmla="*/ 548204 h 2146918"/>
              <a:gd name="connsiteX2865" fmla="*/ 1153354 w 5521505"/>
              <a:gd name="connsiteY2865" fmla="*/ 549226 h 2146918"/>
              <a:gd name="connsiteX2866" fmla="*/ 1152587 w 5521505"/>
              <a:gd name="connsiteY2866" fmla="*/ 549957 h 2146918"/>
              <a:gd name="connsiteX2867" fmla="*/ 1151370 w 5521505"/>
              <a:gd name="connsiteY2867" fmla="*/ 551016 h 2146918"/>
              <a:gd name="connsiteX2868" fmla="*/ 1149482 w 5521505"/>
              <a:gd name="connsiteY2868" fmla="*/ 552599 h 2146918"/>
              <a:gd name="connsiteX2869" fmla="*/ 1147753 w 5521505"/>
              <a:gd name="connsiteY2869" fmla="*/ 554049 h 2146918"/>
              <a:gd name="connsiteX2870" fmla="*/ 1146365 w 5521505"/>
              <a:gd name="connsiteY2870" fmla="*/ 555205 h 2146918"/>
              <a:gd name="connsiteX2871" fmla="*/ 1142894 w 5521505"/>
              <a:gd name="connsiteY2871" fmla="*/ 558091 h 2146918"/>
              <a:gd name="connsiteX2872" fmla="*/ 1138742 w 5521505"/>
              <a:gd name="connsiteY2872" fmla="*/ 561537 h 2146918"/>
              <a:gd name="connsiteX2873" fmla="*/ 1134078 w 5521505"/>
              <a:gd name="connsiteY2873" fmla="*/ 565422 h 2146918"/>
              <a:gd name="connsiteX2874" fmla="*/ 1128282 w 5521505"/>
              <a:gd name="connsiteY2874" fmla="*/ 570292 h 2146918"/>
              <a:gd name="connsiteX2875" fmla="*/ 1124520 w 5521505"/>
              <a:gd name="connsiteY2875" fmla="*/ 573434 h 2146918"/>
              <a:gd name="connsiteX2876" fmla="*/ 1119576 w 5521505"/>
              <a:gd name="connsiteY2876" fmla="*/ 577574 h 2146918"/>
              <a:gd name="connsiteX2877" fmla="*/ 1115277 w 5521505"/>
              <a:gd name="connsiteY2877" fmla="*/ 581227 h 2146918"/>
              <a:gd name="connsiteX2878" fmla="*/ 1111174 w 5521505"/>
              <a:gd name="connsiteY2878" fmla="*/ 584710 h 2146918"/>
              <a:gd name="connsiteX2879" fmla="*/ 1106108 w 5521505"/>
              <a:gd name="connsiteY2879" fmla="*/ 589069 h 2146918"/>
              <a:gd name="connsiteX2880" fmla="*/ 1101371 w 5521505"/>
              <a:gd name="connsiteY2880" fmla="*/ 593343 h 2146918"/>
              <a:gd name="connsiteX2881" fmla="*/ 1097925 w 5521505"/>
              <a:gd name="connsiteY2881" fmla="*/ 596424 h 2146918"/>
              <a:gd name="connsiteX2882" fmla="*/ 1094078 w 5521505"/>
              <a:gd name="connsiteY2882" fmla="*/ 599785 h 2146918"/>
              <a:gd name="connsiteX2883" fmla="*/ 1084080 w 5521505"/>
              <a:gd name="connsiteY2883" fmla="*/ 609405 h 2146918"/>
              <a:gd name="connsiteX2884" fmla="*/ 1070917 w 5521505"/>
              <a:gd name="connsiteY2884" fmla="*/ 621240 h 2146918"/>
              <a:gd name="connsiteX2885" fmla="*/ 1059958 w 5521505"/>
              <a:gd name="connsiteY2885" fmla="*/ 628607 h 2146918"/>
              <a:gd name="connsiteX2886" fmla="*/ 1056037 w 5521505"/>
              <a:gd name="connsiteY2886" fmla="*/ 631128 h 2146918"/>
              <a:gd name="connsiteX2887" fmla="*/ 1044067 w 5521505"/>
              <a:gd name="connsiteY2887" fmla="*/ 640102 h 2146918"/>
              <a:gd name="connsiteX2888" fmla="*/ 1041973 w 5521505"/>
              <a:gd name="connsiteY2888" fmla="*/ 641856 h 2146918"/>
              <a:gd name="connsiteX2889" fmla="*/ 1040134 w 5521505"/>
              <a:gd name="connsiteY2889" fmla="*/ 643427 h 2146918"/>
              <a:gd name="connsiteX2890" fmla="*/ 1037260 w 5521505"/>
              <a:gd name="connsiteY2890" fmla="*/ 645959 h 2146918"/>
              <a:gd name="connsiteX2891" fmla="*/ 1034167 w 5521505"/>
              <a:gd name="connsiteY2891" fmla="*/ 648760 h 2146918"/>
              <a:gd name="connsiteX2892" fmla="*/ 1031732 w 5521505"/>
              <a:gd name="connsiteY2892" fmla="*/ 651037 h 2146918"/>
              <a:gd name="connsiteX2893" fmla="*/ 1030125 w 5521505"/>
              <a:gd name="connsiteY2893" fmla="*/ 652535 h 2146918"/>
              <a:gd name="connsiteX2894" fmla="*/ 1027044 w 5521505"/>
              <a:gd name="connsiteY2894" fmla="*/ 655457 h 2146918"/>
              <a:gd name="connsiteX2895" fmla="*/ 1025157 w 5521505"/>
              <a:gd name="connsiteY2895" fmla="*/ 657259 h 2146918"/>
              <a:gd name="connsiteX2896" fmla="*/ 1022514 w 5521505"/>
              <a:gd name="connsiteY2896" fmla="*/ 659792 h 2146918"/>
              <a:gd name="connsiteX2897" fmla="*/ 1021199 w 5521505"/>
              <a:gd name="connsiteY2897" fmla="*/ 661010 h 2146918"/>
              <a:gd name="connsiteX2898" fmla="*/ 1019275 w 5521505"/>
              <a:gd name="connsiteY2898" fmla="*/ 662873 h 2146918"/>
              <a:gd name="connsiteX2899" fmla="*/ 1016840 w 5521505"/>
              <a:gd name="connsiteY2899" fmla="*/ 665309 h 2146918"/>
              <a:gd name="connsiteX2900" fmla="*/ 1015537 w 5521505"/>
              <a:gd name="connsiteY2900" fmla="*/ 666611 h 2146918"/>
              <a:gd name="connsiteX2901" fmla="*/ 1013552 w 5521505"/>
              <a:gd name="connsiteY2901" fmla="*/ 668609 h 2146918"/>
              <a:gd name="connsiteX2902" fmla="*/ 1011933 w 5521505"/>
              <a:gd name="connsiteY2902" fmla="*/ 670264 h 2146918"/>
              <a:gd name="connsiteX2903" fmla="*/ 1008986 w 5521505"/>
              <a:gd name="connsiteY2903" fmla="*/ 673321 h 2146918"/>
              <a:gd name="connsiteX2904" fmla="*/ 1006441 w 5521505"/>
              <a:gd name="connsiteY2904" fmla="*/ 676024 h 2146918"/>
              <a:gd name="connsiteX2905" fmla="*/ 1004517 w 5521505"/>
              <a:gd name="connsiteY2905" fmla="*/ 678118 h 2146918"/>
              <a:gd name="connsiteX2906" fmla="*/ 1002605 w 5521505"/>
              <a:gd name="connsiteY2906" fmla="*/ 680249 h 2146918"/>
              <a:gd name="connsiteX2907" fmla="*/ 1001850 w 5521505"/>
              <a:gd name="connsiteY2907" fmla="*/ 681102 h 2146918"/>
              <a:gd name="connsiteX2908" fmla="*/ 1000170 w 5521505"/>
              <a:gd name="connsiteY2908" fmla="*/ 683026 h 2146918"/>
              <a:gd name="connsiteX2909" fmla="*/ 998550 w 5521505"/>
              <a:gd name="connsiteY2909" fmla="*/ 684950 h 2146918"/>
              <a:gd name="connsiteX2910" fmla="*/ 997065 w 5521505"/>
              <a:gd name="connsiteY2910" fmla="*/ 686739 h 2146918"/>
              <a:gd name="connsiteX2911" fmla="*/ 995689 w 5521505"/>
              <a:gd name="connsiteY2911" fmla="*/ 688445 h 2146918"/>
              <a:gd name="connsiteX2912" fmla="*/ 994191 w 5521505"/>
              <a:gd name="connsiteY2912" fmla="*/ 690344 h 2146918"/>
              <a:gd name="connsiteX2913" fmla="*/ 993229 w 5521505"/>
              <a:gd name="connsiteY2913" fmla="*/ 691561 h 2146918"/>
              <a:gd name="connsiteX2914" fmla="*/ 992011 w 5521505"/>
              <a:gd name="connsiteY2914" fmla="*/ 693218 h 2146918"/>
              <a:gd name="connsiteX2915" fmla="*/ 991366 w 5521505"/>
              <a:gd name="connsiteY2915" fmla="*/ 694107 h 2146918"/>
              <a:gd name="connsiteX2916" fmla="*/ 990574 w 5521505"/>
              <a:gd name="connsiteY2916" fmla="*/ 695214 h 2146918"/>
              <a:gd name="connsiteX2917" fmla="*/ 989953 w 5521505"/>
              <a:gd name="connsiteY2917" fmla="*/ 696091 h 2146918"/>
              <a:gd name="connsiteX2918" fmla="*/ 989101 w 5521505"/>
              <a:gd name="connsiteY2918" fmla="*/ 697309 h 2146918"/>
              <a:gd name="connsiteX2919" fmla="*/ 988589 w 5521505"/>
              <a:gd name="connsiteY2919" fmla="*/ 698076 h 2146918"/>
              <a:gd name="connsiteX2920" fmla="*/ 987968 w 5521505"/>
              <a:gd name="connsiteY2920" fmla="*/ 699002 h 2146918"/>
              <a:gd name="connsiteX2921" fmla="*/ 987530 w 5521505"/>
              <a:gd name="connsiteY2921" fmla="*/ 699684 h 2146918"/>
              <a:gd name="connsiteX2922" fmla="*/ 986714 w 5521505"/>
              <a:gd name="connsiteY2922" fmla="*/ 700902 h 2146918"/>
              <a:gd name="connsiteX2923" fmla="*/ 986093 w 5521505"/>
              <a:gd name="connsiteY2923" fmla="*/ 701912 h 2146918"/>
              <a:gd name="connsiteX2924" fmla="*/ 985338 w 5521505"/>
              <a:gd name="connsiteY2924" fmla="*/ 703129 h 2146918"/>
              <a:gd name="connsiteX2925" fmla="*/ 984875 w 5521505"/>
              <a:gd name="connsiteY2925" fmla="*/ 703921 h 2146918"/>
              <a:gd name="connsiteX2926" fmla="*/ 984072 w 5521505"/>
              <a:gd name="connsiteY2926" fmla="*/ 705346 h 2146918"/>
              <a:gd name="connsiteX2927" fmla="*/ 983560 w 5521505"/>
              <a:gd name="connsiteY2927" fmla="*/ 706296 h 2146918"/>
              <a:gd name="connsiteX2928" fmla="*/ 983073 w 5521505"/>
              <a:gd name="connsiteY2928" fmla="*/ 707197 h 2146918"/>
              <a:gd name="connsiteX2929" fmla="*/ 982464 w 5521505"/>
              <a:gd name="connsiteY2929" fmla="*/ 708415 h 2146918"/>
              <a:gd name="connsiteX2930" fmla="*/ 982026 w 5521505"/>
              <a:gd name="connsiteY2930" fmla="*/ 709303 h 2146918"/>
              <a:gd name="connsiteX2931" fmla="*/ 981710 w 5521505"/>
              <a:gd name="connsiteY2931" fmla="*/ 709961 h 2146918"/>
              <a:gd name="connsiteX2932" fmla="*/ 981235 w 5521505"/>
              <a:gd name="connsiteY2932" fmla="*/ 710972 h 2146918"/>
              <a:gd name="connsiteX2933" fmla="*/ 980699 w 5521505"/>
              <a:gd name="connsiteY2933" fmla="*/ 712190 h 2146918"/>
              <a:gd name="connsiteX2934" fmla="*/ 980321 w 5521505"/>
              <a:gd name="connsiteY2934" fmla="*/ 713103 h 2146918"/>
              <a:gd name="connsiteX2935" fmla="*/ 979956 w 5521505"/>
              <a:gd name="connsiteY2935" fmla="*/ 714004 h 2146918"/>
              <a:gd name="connsiteX2936" fmla="*/ 979579 w 5521505"/>
              <a:gd name="connsiteY2936" fmla="*/ 715026 h 2146918"/>
              <a:gd name="connsiteX2937" fmla="*/ 979323 w 5521505"/>
              <a:gd name="connsiteY2937" fmla="*/ 715769 h 2146918"/>
              <a:gd name="connsiteX2938" fmla="*/ 979457 w 5521505"/>
              <a:gd name="connsiteY2938" fmla="*/ 716427 h 2146918"/>
              <a:gd name="connsiteX2939" fmla="*/ 979676 w 5521505"/>
              <a:gd name="connsiteY2939" fmla="*/ 716804 h 2146918"/>
              <a:gd name="connsiteX2940" fmla="*/ 979859 w 5521505"/>
              <a:gd name="connsiteY2940" fmla="*/ 717206 h 2146918"/>
              <a:gd name="connsiteX2941" fmla="*/ 982939 w 5521505"/>
              <a:gd name="connsiteY2941" fmla="*/ 715988 h 2146918"/>
              <a:gd name="connsiteX2942" fmla="*/ 993667 w 5521505"/>
              <a:gd name="connsiteY2942" fmla="*/ 712031 h 2146918"/>
              <a:gd name="connsiteX2943" fmla="*/ 995287 w 5521505"/>
              <a:gd name="connsiteY2943" fmla="*/ 714466 h 2146918"/>
              <a:gd name="connsiteX2944" fmla="*/ 995201 w 5521505"/>
              <a:gd name="connsiteY2944" fmla="*/ 716463 h 2146918"/>
              <a:gd name="connsiteX2945" fmla="*/ 995031 w 5521505"/>
              <a:gd name="connsiteY2945" fmla="*/ 718704 h 2146918"/>
              <a:gd name="connsiteX2946" fmla="*/ 994921 w 5521505"/>
              <a:gd name="connsiteY2946" fmla="*/ 720421 h 2146918"/>
              <a:gd name="connsiteX2947" fmla="*/ 994824 w 5521505"/>
              <a:gd name="connsiteY2947" fmla="*/ 722442 h 2146918"/>
              <a:gd name="connsiteX2948" fmla="*/ 994824 w 5521505"/>
              <a:gd name="connsiteY2948" fmla="*/ 725900 h 2146918"/>
              <a:gd name="connsiteX2949" fmla="*/ 995238 w 5521505"/>
              <a:gd name="connsiteY2949" fmla="*/ 727459 h 2146918"/>
              <a:gd name="connsiteX2950" fmla="*/ 995567 w 5521505"/>
              <a:gd name="connsiteY2950" fmla="*/ 728506 h 2146918"/>
              <a:gd name="connsiteX2951" fmla="*/ 995725 w 5521505"/>
              <a:gd name="connsiteY2951" fmla="*/ 729054 h 2146918"/>
              <a:gd name="connsiteX2952" fmla="*/ 998234 w 5521505"/>
              <a:gd name="connsiteY2952" fmla="*/ 727654 h 2146918"/>
              <a:gd name="connsiteX2953" fmla="*/ 1001375 w 5521505"/>
              <a:gd name="connsiteY2953" fmla="*/ 725778 h 2146918"/>
              <a:gd name="connsiteX2954" fmla="*/ 1004419 w 5521505"/>
              <a:gd name="connsiteY2954" fmla="*/ 723477 h 2146918"/>
              <a:gd name="connsiteX2955" fmla="*/ 1016523 w 5521505"/>
              <a:gd name="connsiteY2955" fmla="*/ 715586 h 2146918"/>
              <a:gd name="connsiteX2956" fmla="*/ 1031135 w 5521505"/>
              <a:gd name="connsiteY2956" fmla="*/ 708877 h 2146918"/>
              <a:gd name="connsiteX2957" fmla="*/ 1032877 w 5521505"/>
              <a:gd name="connsiteY2957" fmla="*/ 708280 h 2146918"/>
              <a:gd name="connsiteX2958" fmla="*/ 1035677 w 5521505"/>
              <a:gd name="connsiteY2958" fmla="*/ 707428 h 2146918"/>
              <a:gd name="connsiteX2959" fmla="*/ 1039196 w 5521505"/>
              <a:gd name="connsiteY2959" fmla="*/ 706502 h 2146918"/>
              <a:gd name="connsiteX2960" fmla="*/ 1042168 w 5521505"/>
              <a:gd name="connsiteY2960" fmla="*/ 705857 h 2146918"/>
              <a:gd name="connsiteX2961" fmla="*/ 1045979 w 5521505"/>
              <a:gd name="connsiteY2961" fmla="*/ 705200 h 2146918"/>
              <a:gd name="connsiteX2962" fmla="*/ 1049108 w 5521505"/>
              <a:gd name="connsiteY2962" fmla="*/ 704810 h 2146918"/>
              <a:gd name="connsiteX2963" fmla="*/ 1052080 w 5521505"/>
              <a:gd name="connsiteY2963" fmla="*/ 704567 h 2146918"/>
              <a:gd name="connsiteX2964" fmla="*/ 1055002 w 5521505"/>
              <a:gd name="connsiteY2964" fmla="*/ 704433 h 2146918"/>
              <a:gd name="connsiteX2965" fmla="*/ 1057681 w 5521505"/>
              <a:gd name="connsiteY2965" fmla="*/ 704347 h 2146918"/>
              <a:gd name="connsiteX2966" fmla="*/ 1059215 w 5521505"/>
              <a:gd name="connsiteY2966" fmla="*/ 704165 h 2146918"/>
              <a:gd name="connsiteX2967" fmla="*/ 1060774 w 5521505"/>
              <a:gd name="connsiteY2967" fmla="*/ 703873 h 2146918"/>
              <a:gd name="connsiteX2968" fmla="*/ 1064281 w 5521505"/>
              <a:gd name="connsiteY2968" fmla="*/ 703033 h 2146918"/>
              <a:gd name="connsiteX2969" fmla="*/ 1069346 w 5521505"/>
              <a:gd name="connsiteY2969" fmla="*/ 701620 h 2146918"/>
              <a:gd name="connsiteX2970" fmla="*/ 1073389 w 5521505"/>
              <a:gd name="connsiteY2970" fmla="*/ 700524 h 2146918"/>
              <a:gd name="connsiteX2971" fmla="*/ 1080549 w 5521505"/>
              <a:gd name="connsiteY2971" fmla="*/ 698587 h 2146918"/>
              <a:gd name="connsiteX2972" fmla="*/ 1098887 w 5521505"/>
              <a:gd name="connsiteY2972" fmla="*/ 692572 h 2146918"/>
              <a:gd name="connsiteX2973" fmla="*/ 1112659 w 5521505"/>
              <a:gd name="connsiteY2973" fmla="*/ 685912 h 2146918"/>
              <a:gd name="connsiteX2974" fmla="*/ 1118894 w 5521505"/>
              <a:gd name="connsiteY2974" fmla="*/ 682636 h 2146918"/>
              <a:gd name="connsiteX2975" fmla="*/ 1121646 w 5521505"/>
              <a:gd name="connsiteY2975" fmla="*/ 681419 h 2146918"/>
              <a:gd name="connsiteX2976" fmla="*/ 1125299 w 5521505"/>
              <a:gd name="connsiteY2976" fmla="*/ 679982 h 2146918"/>
              <a:gd name="connsiteX2977" fmla="*/ 1129950 w 5521505"/>
              <a:gd name="connsiteY2977" fmla="*/ 678240 h 2146918"/>
              <a:gd name="connsiteX2978" fmla="*/ 1135868 w 5521505"/>
              <a:gd name="connsiteY2978" fmla="*/ 676073 h 2146918"/>
              <a:gd name="connsiteX2979" fmla="*/ 1141360 w 5521505"/>
              <a:gd name="connsiteY2979" fmla="*/ 673954 h 2146918"/>
              <a:gd name="connsiteX2980" fmla="*/ 1139753 w 5521505"/>
              <a:gd name="connsiteY2980" fmla="*/ 677084 h 2146918"/>
              <a:gd name="connsiteX2981" fmla="*/ 1137196 w 5521505"/>
              <a:gd name="connsiteY2981" fmla="*/ 681954 h 2146918"/>
              <a:gd name="connsiteX2982" fmla="*/ 1134760 w 5521505"/>
              <a:gd name="connsiteY2982" fmla="*/ 686995 h 2146918"/>
              <a:gd name="connsiteX2983" fmla="*/ 1132325 w 5521505"/>
              <a:gd name="connsiteY2983" fmla="*/ 693607 h 2146918"/>
              <a:gd name="connsiteX2984" fmla="*/ 1130218 w 5521505"/>
              <a:gd name="connsiteY2984" fmla="*/ 699951 h 2146918"/>
              <a:gd name="connsiteX2985" fmla="*/ 1129354 w 5521505"/>
              <a:gd name="connsiteY2985" fmla="*/ 710192 h 2146918"/>
              <a:gd name="connsiteX2986" fmla="*/ 1147619 w 5521505"/>
              <a:gd name="connsiteY2986" fmla="*/ 715161 h 2146918"/>
              <a:gd name="connsiteX2987" fmla="*/ 1156557 w 5521505"/>
              <a:gd name="connsiteY2987" fmla="*/ 708402 h 2146918"/>
              <a:gd name="connsiteX2988" fmla="*/ 1171559 w 5521505"/>
              <a:gd name="connsiteY2988" fmla="*/ 693510 h 2146918"/>
              <a:gd name="connsiteX2989" fmla="*/ 1176624 w 5521505"/>
              <a:gd name="connsiteY2989" fmla="*/ 677997 h 2146918"/>
              <a:gd name="connsiteX2990" fmla="*/ 1176624 w 5521505"/>
              <a:gd name="connsiteY2990" fmla="*/ 670216 h 2146918"/>
              <a:gd name="connsiteX2991" fmla="*/ 1176369 w 5521505"/>
              <a:gd name="connsiteY2991" fmla="*/ 667354 h 2146918"/>
              <a:gd name="connsiteX2992" fmla="*/ 1175078 w 5521505"/>
              <a:gd name="connsiteY2992" fmla="*/ 661887 h 2146918"/>
              <a:gd name="connsiteX2993" fmla="*/ 1191346 w 5521505"/>
              <a:gd name="connsiteY2993" fmla="*/ 646641 h 2146918"/>
              <a:gd name="connsiteX2994" fmla="*/ 1223639 w 5521505"/>
              <a:gd name="connsiteY2994" fmla="*/ 620632 h 2146918"/>
              <a:gd name="connsiteX2995" fmla="*/ 1240175 w 5521505"/>
              <a:gd name="connsiteY2995" fmla="*/ 597130 h 2146918"/>
              <a:gd name="connsiteX2996" fmla="*/ 1235779 w 5521505"/>
              <a:gd name="connsiteY2996" fmla="*/ 589824 h 2146918"/>
              <a:gd name="connsiteX2997" fmla="*/ 1228266 w 5521505"/>
              <a:gd name="connsiteY2997" fmla="*/ 589313 h 2146918"/>
              <a:gd name="connsiteX2998" fmla="*/ 1230495 w 5521505"/>
              <a:gd name="connsiteY2998" fmla="*/ 580363 h 2146918"/>
              <a:gd name="connsiteX2999" fmla="*/ 1240589 w 5521505"/>
              <a:gd name="connsiteY2999" fmla="*/ 572703 h 2146918"/>
              <a:gd name="connsiteX3000" fmla="*/ 1250769 w 5521505"/>
              <a:gd name="connsiteY3000" fmla="*/ 552173 h 2146918"/>
              <a:gd name="connsiteX3001" fmla="*/ 1250940 w 5521505"/>
              <a:gd name="connsiteY3001" fmla="*/ 548593 h 2146918"/>
              <a:gd name="connsiteX3002" fmla="*/ 1263116 w 5521505"/>
              <a:gd name="connsiteY3002" fmla="*/ 525129 h 2146918"/>
              <a:gd name="connsiteX3003" fmla="*/ 1290222 w 5521505"/>
              <a:gd name="connsiteY3003" fmla="*/ 509786 h 2146918"/>
              <a:gd name="connsiteX3004" fmla="*/ 1316439 w 5521505"/>
              <a:gd name="connsiteY3004" fmla="*/ 501031 h 2146918"/>
              <a:gd name="connsiteX3005" fmla="*/ 1332439 w 5521505"/>
              <a:gd name="connsiteY3005" fmla="*/ 492275 h 2146918"/>
              <a:gd name="connsiteX3006" fmla="*/ 1355234 w 5521505"/>
              <a:gd name="connsiteY3006" fmla="*/ 491594 h 2146918"/>
              <a:gd name="connsiteX3007" fmla="*/ 1364026 w 5521505"/>
              <a:gd name="connsiteY3007" fmla="*/ 491496 h 2146918"/>
              <a:gd name="connsiteX3008" fmla="*/ 1383205 w 5521505"/>
              <a:gd name="connsiteY3008" fmla="*/ 489134 h 2146918"/>
              <a:gd name="connsiteX3009" fmla="*/ 1379357 w 5521505"/>
              <a:gd name="connsiteY3009" fmla="*/ 500580 h 2146918"/>
              <a:gd name="connsiteX3010" fmla="*/ 1395284 w 5521505"/>
              <a:gd name="connsiteY3010" fmla="*/ 509018 h 2146918"/>
              <a:gd name="connsiteX3011" fmla="*/ 1431815 w 5521505"/>
              <a:gd name="connsiteY3011" fmla="*/ 484726 h 2146918"/>
              <a:gd name="connsiteX3012" fmla="*/ 1457849 w 5521505"/>
              <a:gd name="connsiteY3012" fmla="*/ 463051 h 2146918"/>
              <a:gd name="connsiteX3013" fmla="*/ 1464302 w 5521505"/>
              <a:gd name="connsiteY3013" fmla="*/ 467215 h 2146918"/>
              <a:gd name="connsiteX3014" fmla="*/ 1476077 w 5521505"/>
              <a:gd name="connsiteY3014" fmla="*/ 474875 h 2146918"/>
              <a:gd name="connsiteX3015" fmla="*/ 1485113 w 5521505"/>
              <a:gd name="connsiteY3015" fmla="*/ 481255 h 2146918"/>
              <a:gd name="connsiteX3016" fmla="*/ 1489496 w 5521505"/>
              <a:gd name="connsiteY3016" fmla="*/ 491935 h 2146918"/>
              <a:gd name="connsiteX3017" fmla="*/ 1488729 w 5521505"/>
              <a:gd name="connsiteY3017" fmla="*/ 494272 h 2146918"/>
              <a:gd name="connsiteX3018" fmla="*/ 1496790 w 5521505"/>
              <a:gd name="connsiteY3018" fmla="*/ 498595 h 2146918"/>
              <a:gd name="connsiteX3019" fmla="*/ 1511914 w 5521505"/>
              <a:gd name="connsiteY3019" fmla="*/ 499813 h 2146918"/>
              <a:gd name="connsiteX3020" fmla="*/ 1522118 w 5521505"/>
              <a:gd name="connsiteY3020" fmla="*/ 497694 h 2146918"/>
              <a:gd name="connsiteX3021" fmla="*/ 1536974 w 5521505"/>
              <a:gd name="connsiteY3021" fmla="*/ 494869 h 2146918"/>
              <a:gd name="connsiteX3022" fmla="*/ 1541686 w 5521505"/>
              <a:gd name="connsiteY3022" fmla="*/ 498230 h 2146918"/>
              <a:gd name="connsiteX3023" fmla="*/ 1543233 w 5521505"/>
              <a:gd name="connsiteY3023" fmla="*/ 499642 h 2146918"/>
              <a:gd name="connsiteX3024" fmla="*/ 1550794 w 5521505"/>
              <a:gd name="connsiteY3024" fmla="*/ 500142 h 2146918"/>
              <a:gd name="connsiteX3025" fmla="*/ 1558369 w 5521505"/>
              <a:gd name="connsiteY3025" fmla="*/ 501359 h 2146918"/>
              <a:gd name="connsiteX3026" fmla="*/ 1560548 w 5521505"/>
              <a:gd name="connsiteY3026" fmla="*/ 506230 h 2146918"/>
              <a:gd name="connsiteX3027" fmla="*/ 1560633 w 5521505"/>
              <a:gd name="connsiteY3027" fmla="*/ 512221 h 2146918"/>
              <a:gd name="connsiteX3028" fmla="*/ 1559330 w 5521505"/>
              <a:gd name="connsiteY3028" fmla="*/ 518127 h 2146918"/>
              <a:gd name="connsiteX3029" fmla="*/ 1554764 w 5521505"/>
              <a:gd name="connsiteY3029" fmla="*/ 523570 h 2146918"/>
              <a:gd name="connsiteX3030" fmla="*/ 1553790 w 5521505"/>
              <a:gd name="connsiteY3030" fmla="*/ 525092 h 2146918"/>
              <a:gd name="connsiteX3031" fmla="*/ 1554387 w 5521505"/>
              <a:gd name="connsiteY3031" fmla="*/ 528063 h 2146918"/>
              <a:gd name="connsiteX3032" fmla="*/ 1553826 w 5521505"/>
              <a:gd name="connsiteY3032" fmla="*/ 530316 h 2146918"/>
              <a:gd name="connsiteX3033" fmla="*/ 1552938 w 5521505"/>
              <a:gd name="connsiteY3033" fmla="*/ 531911 h 2146918"/>
              <a:gd name="connsiteX3034" fmla="*/ 1550076 w 5521505"/>
              <a:gd name="connsiteY3034" fmla="*/ 536563 h 2146918"/>
              <a:gd name="connsiteX3035" fmla="*/ 1547251 w 5521505"/>
              <a:gd name="connsiteY3035" fmla="*/ 540898 h 2146918"/>
              <a:gd name="connsiteX3036" fmla="*/ 1543756 w 5521505"/>
              <a:gd name="connsiteY3036" fmla="*/ 546280 h 2146918"/>
              <a:gd name="connsiteX3037" fmla="*/ 1549199 w 5521505"/>
              <a:gd name="connsiteY3037" fmla="*/ 548472 h 2146918"/>
              <a:gd name="connsiteX3038" fmla="*/ 1552390 w 5521505"/>
              <a:gd name="connsiteY3038" fmla="*/ 549019 h 2146918"/>
              <a:gd name="connsiteX3039" fmla="*/ 1565139 w 5521505"/>
              <a:gd name="connsiteY3039" fmla="*/ 543930 h 2146918"/>
              <a:gd name="connsiteX3040" fmla="*/ 1578058 w 5521505"/>
              <a:gd name="connsiteY3040" fmla="*/ 537756 h 2146918"/>
              <a:gd name="connsiteX3041" fmla="*/ 1586485 w 5521505"/>
              <a:gd name="connsiteY3041" fmla="*/ 537683 h 2146918"/>
              <a:gd name="connsiteX3042" fmla="*/ 1585498 w 5521505"/>
              <a:gd name="connsiteY3042" fmla="*/ 542079 h 2146918"/>
              <a:gd name="connsiteX3043" fmla="*/ 1584476 w 5521505"/>
              <a:gd name="connsiteY3043" fmla="*/ 546633 h 2146918"/>
              <a:gd name="connsiteX3044" fmla="*/ 1582990 w 5521505"/>
              <a:gd name="connsiteY3044" fmla="*/ 553306 h 2146918"/>
              <a:gd name="connsiteX3045" fmla="*/ 1581711 w 5521505"/>
              <a:gd name="connsiteY3045" fmla="*/ 559126 h 2146918"/>
              <a:gd name="connsiteX3046" fmla="*/ 1594814 w 5521505"/>
              <a:gd name="connsiteY3046" fmla="*/ 557665 h 2146918"/>
              <a:gd name="connsiteX3047" fmla="*/ 1593596 w 5521505"/>
              <a:gd name="connsiteY3047" fmla="*/ 559358 h 2146918"/>
              <a:gd name="connsiteX3048" fmla="*/ 1590053 w 5521505"/>
              <a:gd name="connsiteY3048" fmla="*/ 564447 h 2146918"/>
              <a:gd name="connsiteX3049" fmla="*/ 1586680 w 5521505"/>
              <a:gd name="connsiteY3049" fmla="*/ 568856 h 2146918"/>
              <a:gd name="connsiteX3050" fmla="*/ 1580993 w 5521505"/>
              <a:gd name="connsiteY3050" fmla="*/ 572509 h 2146918"/>
              <a:gd name="connsiteX3051" fmla="*/ 1575233 w 5521505"/>
              <a:gd name="connsiteY3051" fmla="*/ 573872 h 2146918"/>
              <a:gd name="connsiteX3052" fmla="*/ 1561498 w 5521505"/>
              <a:gd name="connsiteY3052" fmla="*/ 577038 h 2146918"/>
              <a:gd name="connsiteX3053" fmla="*/ 1549589 w 5521505"/>
              <a:gd name="connsiteY3053" fmla="*/ 578767 h 2146918"/>
              <a:gd name="connsiteX3054" fmla="*/ 1532931 w 5521505"/>
              <a:gd name="connsiteY3054" fmla="*/ 583480 h 2146918"/>
              <a:gd name="connsiteX3055" fmla="*/ 1529716 w 5521505"/>
              <a:gd name="connsiteY3055" fmla="*/ 584941 h 2146918"/>
              <a:gd name="connsiteX3056" fmla="*/ 1525479 w 5521505"/>
              <a:gd name="connsiteY3056" fmla="*/ 586841 h 2146918"/>
              <a:gd name="connsiteX3057" fmla="*/ 1521412 w 5521505"/>
              <a:gd name="connsiteY3057" fmla="*/ 588643 h 2146918"/>
              <a:gd name="connsiteX3058" fmla="*/ 1518112 w 5521505"/>
              <a:gd name="connsiteY3058" fmla="*/ 590080 h 2146918"/>
              <a:gd name="connsiteX3059" fmla="*/ 1515043 w 5521505"/>
              <a:gd name="connsiteY3059" fmla="*/ 591407 h 2146918"/>
              <a:gd name="connsiteX3060" fmla="*/ 1511074 w 5521505"/>
              <a:gd name="connsiteY3060" fmla="*/ 593100 h 2146918"/>
              <a:gd name="connsiteX3061" fmla="*/ 1509089 w 5521505"/>
              <a:gd name="connsiteY3061" fmla="*/ 593952 h 2146918"/>
              <a:gd name="connsiteX3062" fmla="*/ 1506069 w 5521505"/>
              <a:gd name="connsiteY3062" fmla="*/ 595231 h 2146918"/>
              <a:gd name="connsiteX3063" fmla="*/ 1503634 w 5521505"/>
              <a:gd name="connsiteY3063" fmla="*/ 596278 h 2146918"/>
              <a:gd name="connsiteX3064" fmla="*/ 1501356 w 5521505"/>
              <a:gd name="connsiteY3064" fmla="*/ 597240 h 2146918"/>
              <a:gd name="connsiteX3065" fmla="*/ 1498495 w 5521505"/>
              <a:gd name="connsiteY3065" fmla="*/ 598458 h 2146918"/>
              <a:gd name="connsiteX3066" fmla="*/ 1494501 w 5521505"/>
              <a:gd name="connsiteY3066" fmla="*/ 600138 h 2146918"/>
              <a:gd name="connsiteX3067" fmla="*/ 1489630 w 5521505"/>
              <a:gd name="connsiteY3067" fmla="*/ 602220 h 2146918"/>
              <a:gd name="connsiteX3068" fmla="*/ 1485283 w 5521505"/>
              <a:gd name="connsiteY3068" fmla="*/ 604071 h 2146918"/>
              <a:gd name="connsiteX3069" fmla="*/ 1482531 w 5521505"/>
              <a:gd name="connsiteY3069" fmla="*/ 604899 h 2146918"/>
              <a:gd name="connsiteX3070" fmla="*/ 1480412 w 5521505"/>
              <a:gd name="connsiteY3070" fmla="*/ 605130 h 2146918"/>
              <a:gd name="connsiteX3071" fmla="*/ 1477088 w 5521505"/>
              <a:gd name="connsiteY3071" fmla="*/ 605508 h 2146918"/>
              <a:gd name="connsiteX3072" fmla="*/ 1479609 w 5521505"/>
              <a:gd name="connsiteY3072" fmla="*/ 601855 h 2146918"/>
              <a:gd name="connsiteX3073" fmla="*/ 1486050 w 5521505"/>
              <a:gd name="connsiteY3073" fmla="*/ 594439 h 2146918"/>
              <a:gd name="connsiteX3074" fmla="*/ 1489362 w 5521505"/>
              <a:gd name="connsiteY3074" fmla="*/ 591310 h 2146918"/>
              <a:gd name="connsiteX3075" fmla="*/ 1495134 w 5521505"/>
              <a:gd name="connsiteY3075" fmla="*/ 585307 h 2146918"/>
              <a:gd name="connsiteX3076" fmla="*/ 1499895 w 5521505"/>
              <a:gd name="connsiteY3076" fmla="*/ 579815 h 2146918"/>
              <a:gd name="connsiteX3077" fmla="*/ 1505618 w 5521505"/>
              <a:gd name="connsiteY3077" fmla="*/ 572582 h 2146918"/>
              <a:gd name="connsiteX3078" fmla="*/ 1510647 w 5521505"/>
              <a:gd name="connsiteY3078" fmla="*/ 565836 h 2146918"/>
              <a:gd name="connsiteX3079" fmla="*/ 1515823 w 5521505"/>
              <a:gd name="connsiteY3079" fmla="*/ 558871 h 2146918"/>
              <a:gd name="connsiteX3080" fmla="*/ 1519622 w 5521505"/>
              <a:gd name="connsiteY3080" fmla="*/ 554000 h 2146918"/>
              <a:gd name="connsiteX3081" fmla="*/ 1524493 w 5521505"/>
              <a:gd name="connsiteY3081" fmla="*/ 548155 h 2146918"/>
              <a:gd name="connsiteX3082" fmla="*/ 1529704 w 5521505"/>
              <a:gd name="connsiteY3082" fmla="*/ 542067 h 2146918"/>
              <a:gd name="connsiteX3083" fmla="*/ 1534015 w 5521505"/>
              <a:gd name="connsiteY3083" fmla="*/ 537001 h 2146918"/>
              <a:gd name="connsiteX3084" fmla="*/ 1530106 w 5521505"/>
              <a:gd name="connsiteY3084" fmla="*/ 538085 h 2146918"/>
              <a:gd name="connsiteX3085" fmla="*/ 1520133 w 5521505"/>
              <a:gd name="connsiteY3085" fmla="*/ 541896 h 2146918"/>
              <a:gd name="connsiteX3086" fmla="*/ 1513874 w 5521505"/>
              <a:gd name="connsiteY3086" fmla="*/ 545342 h 2146918"/>
              <a:gd name="connsiteX3087" fmla="*/ 1510428 w 5521505"/>
              <a:gd name="connsiteY3087" fmla="*/ 547704 h 2146918"/>
              <a:gd name="connsiteX3088" fmla="*/ 1507554 w 5521505"/>
              <a:gd name="connsiteY3088" fmla="*/ 549994 h 2146918"/>
              <a:gd name="connsiteX3089" fmla="*/ 1504291 w 5521505"/>
              <a:gd name="connsiteY3089" fmla="*/ 552916 h 2146918"/>
              <a:gd name="connsiteX3090" fmla="*/ 1501673 w 5521505"/>
              <a:gd name="connsiteY3090" fmla="*/ 555266 h 2146918"/>
              <a:gd name="connsiteX3091" fmla="*/ 1498422 w 5521505"/>
              <a:gd name="connsiteY3091" fmla="*/ 558091 h 2146918"/>
              <a:gd name="connsiteX3092" fmla="*/ 1495670 w 5521505"/>
              <a:gd name="connsiteY3092" fmla="*/ 560417 h 2146918"/>
              <a:gd name="connsiteX3093" fmla="*/ 1493356 w 5521505"/>
              <a:gd name="connsiteY3093" fmla="*/ 562329 h 2146918"/>
              <a:gd name="connsiteX3094" fmla="*/ 1490129 w 5521505"/>
              <a:gd name="connsiteY3094" fmla="*/ 564874 h 2146918"/>
              <a:gd name="connsiteX3095" fmla="*/ 1486939 w 5521505"/>
              <a:gd name="connsiteY3095" fmla="*/ 567309 h 2146918"/>
              <a:gd name="connsiteX3096" fmla="*/ 1482836 w 5521505"/>
              <a:gd name="connsiteY3096" fmla="*/ 570195 h 2146918"/>
              <a:gd name="connsiteX3097" fmla="*/ 1479609 w 5521505"/>
              <a:gd name="connsiteY3097" fmla="*/ 572326 h 2146918"/>
              <a:gd name="connsiteX3098" fmla="*/ 1477539 w 5521505"/>
              <a:gd name="connsiteY3098" fmla="*/ 573617 h 2146918"/>
              <a:gd name="connsiteX3099" fmla="*/ 1473325 w 5521505"/>
              <a:gd name="connsiteY3099" fmla="*/ 576052 h 2146918"/>
              <a:gd name="connsiteX3100" fmla="*/ 1469295 w 5521505"/>
              <a:gd name="connsiteY3100" fmla="*/ 578232 h 2146918"/>
              <a:gd name="connsiteX3101" fmla="*/ 1465471 w 5521505"/>
              <a:gd name="connsiteY3101" fmla="*/ 580192 h 2146918"/>
              <a:gd name="connsiteX3102" fmla="*/ 1463279 w 5521505"/>
              <a:gd name="connsiteY3102" fmla="*/ 581276 h 2146918"/>
              <a:gd name="connsiteX3103" fmla="*/ 1459103 w 5521505"/>
              <a:gd name="connsiteY3103" fmla="*/ 583261 h 2146918"/>
              <a:gd name="connsiteX3104" fmla="*/ 1454573 w 5521505"/>
              <a:gd name="connsiteY3104" fmla="*/ 585246 h 2146918"/>
              <a:gd name="connsiteX3105" fmla="*/ 1449325 w 5521505"/>
              <a:gd name="connsiteY3105" fmla="*/ 587352 h 2146918"/>
              <a:gd name="connsiteX3106" fmla="*/ 1445513 w 5521505"/>
              <a:gd name="connsiteY3106" fmla="*/ 588801 h 2146918"/>
              <a:gd name="connsiteX3107" fmla="*/ 1441105 w 5521505"/>
              <a:gd name="connsiteY3107" fmla="*/ 590457 h 2146918"/>
              <a:gd name="connsiteX3108" fmla="*/ 1436149 w 5521505"/>
              <a:gd name="connsiteY3108" fmla="*/ 592320 h 2146918"/>
              <a:gd name="connsiteX3109" fmla="*/ 1432022 w 5521505"/>
              <a:gd name="connsiteY3109" fmla="*/ 593928 h 2146918"/>
              <a:gd name="connsiteX3110" fmla="*/ 1429124 w 5521505"/>
              <a:gd name="connsiteY3110" fmla="*/ 595146 h 2146918"/>
              <a:gd name="connsiteX3111" fmla="*/ 1426018 w 5521505"/>
              <a:gd name="connsiteY3111" fmla="*/ 596473 h 2146918"/>
              <a:gd name="connsiteX3112" fmla="*/ 1422463 w 5521505"/>
              <a:gd name="connsiteY3112" fmla="*/ 598080 h 2146918"/>
              <a:gd name="connsiteX3113" fmla="*/ 1416520 w 5521505"/>
              <a:gd name="connsiteY3113" fmla="*/ 600808 h 2146918"/>
              <a:gd name="connsiteX3114" fmla="*/ 1407607 w 5521505"/>
              <a:gd name="connsiteY3114" fmla="*/ 605045 h 2146918"/>
              <a:gd name="connsiteX3115" fmla="*/ 1393080 w 5521505"/>
              <a:gd name="connsiteY3115" fmla="*/ 611974 h 2146918"/>
              <a:gd name="connsiteX3116" fmla="*/ 1380903 w 5521505"/>
              <a:gd name="connsiteY3116" fmla="*/ 617904 h 2146918"/>
              <a:gd name="connsiteX3117" fmla="*/ 1372379 w 5521505"/>
              <a:gd name="connsiteY3117" fmla="*/ 622178 h 2146918"/>
              <a:gd name="connsiteX3118" fmla="*/ 1358693 w 5521505"/>
              <a:gd name="connsiteY3118" fmla="*/ 630568 h 2146918"/>
              <a:gd name="connsiteX3119" fmla="*/ 1345493 w 5521505"/>
              <a:gd name="connsiteY3119" fmla="*/ 640711 h 2146918"/>
              <a:gd name="connsiteX3120" fmla="*/ 1332610 w 5521505"/>
              <a:gd name="connsiteY3120" fmla="*/ 650550 h 2146918"/>
              <a:gd name="connsiteX3121" fmla="*/ 1321651 w 5521505"/>
              <a:gd name="connsiteY3121" fmla="*/ 660632 h 2146918"/>
              <a:gd name="connsiteX3122" fmla="*/ 1318192 w 5521505"/>
              <a:gd name="connsiteY3122" fmla="*/ 665844 h 2146918"/>
              <a:gd name="connsiteX3123" fmla="*/ 1325681 w 5521505"/>
              <a:gd name="connsiteY3123" fmla="*/ 661607 h 2146918"/>
              <a:gd name="connsiteX3124" fmla="*/ 1336372 w 5521505"/>
              <a:gd name="connsiteY3124" fmla="*/ 652048 h 2146918"/>
              <a:gd name="connsiteX3125" fmla="*/ 1360324 w 5521505"/>
              <a:gd name="connsiteY3125" fmla="*/ 636218 h 2146918"/>
              <a:gd name="connsiteX3126" fmla="*/ 1382644 w 5521505"/>
              <a:gd name="connsiteY3126" fmla="*/ 625502 h 2146918"/>
              <a:gd name="connsiteX3127" fmla="*/ 1398998 w 5521505"/>
              <a:gd name="connsiteY3127" fmla="*/ 628218 h 2146918"/>
              <a:gd name="connsiteX3128" fmla="*/ 1392910 w 5521505"/>
              <a:gd name="connsiteY3128" fmla="*/ 634562 h 2146918"/>
              <a:gd name="connsiteX3129" fmla="*/ 1388721 w 5521505"/>
              <a:gd name="connsiteY3129" fmla="*/ 652499 h 2146918"/>
              <a:gd name="connsiteX3130" fmla="*/ 1411589 w 5521505"/>
              <a:gd name="connsiteY3130" fmla="*/ 654118 h 2146918"/>
              <a:gd name="connsiteX3131" fmla="*/ 1426603 w 5521505"/>
              <a:gd name="connsiteY3131" fmla="*/ 649551 h 2146918"/>
              <a:gd name="connsiteX3132" fmla="*/ 1438926 w 5521505"/>
              <a:gd name="connsiteY3132" fmla="*/ 646641 h 2146918"/>
              <a:gd name="connsiteX3133" fmla="*/ 1441799 w 5521505"/>
              <a:gd name="connsiteY3133" fmla="*/ 646958 h 2146918"/>
              <a:gd name="connsiteX3134" fmla="*/ 1443894 w 5521505"/>
              <a:gd name="connsiteY3134" fmla="*/ 647238 h 2146918"/>
              <a:gd name="connsiteX3135" fmla="*/ 1441203 w 5521505"/>
              <a:gd name="connsiteY3135" fmla="*/ 649126 h 2146918"/>
              <a:gd name="connsiteX3136" fmla="*/ 1438694 w 5521505"/>
              <a:gd name="connsiteY3136" fmla="*/ 650879 h 2146918"/>
              <a:gd name="connsiteX3137" fmla="*/ 1435114 w 5521505"/>
              <a:gd name="connsiteY3137" fmla="*/ 653387 h 2146918"/>
              <a:gd name="connsiteX3138" fmla="*/ 1430000 w 5521505"/>
              <a:gd name="connsiteY3138" fmla="*/ 657041 h 2146918"/>
              <a:gd name="connsiteX3139" fmla="*/ 1426688 w 5521505"/>
              <a:gd name="connsiteY3139" fmla="*/ 659378 h 2146918"/>
              <a:gd name="connsiteX3140" fmla="*/ 1422475 w 5521505"/>
              <a:gd name="connsiteY3140" fmla="*/ 662361 h 2146918"/>
              <a:gd name="connsiteX3141" fmla="*/ 1417604 w 5521505"/>
              <a:gd name="connsiteY3141" fmla="*/ 665747 h 2146918"/>
              <a:gd name="connsiteX3142" fmla="*/ 1412307 w 5521505"/>
              <a:gd name="connsiteY3142" fmla="*/ 669497 h 2146918"/>
              <a:gd name="connsiteX3143" fmla="*/ 1406219 w 5521505"/>
              <a:gd name="connsiteY3143" fmla="*/ 673808 h 2146918"/>
              <a:gd name="connsiteX3144" fmla="*/ 1400569 w 5521505"/>
              <a:gd name="connsiteY3144" fmla="*/ 677364 h 2146918"/>
              <a:gd name="connsiteX3145" fmla="*/ 1396721 w 5521505"/>
              <a:gd name="connsiteY3145" fmla="*/ 679031 h 2146918"/>
              <a:gd name="connsiteX3146" fmla="*/ 1395162 w 5521505"/>
              <a:gd name="connsiteY3146" fmla="*/ 679519 h 2146918"/>
              <a:gd name="connsiteX3147" fmla="*/ 1392289 w 5521505"/>
              <a:gd name="connsiteY3147" fmla="*/ 680602 h 2146918"/>
              <a:gd name="connsiteX3148" fmla="*/ 1385177 w 5521505"/>
              <a:gd name="connsiteY3148" fmla="*/ 684877 h 2146918"/>
              <a:gd name="connsiteX3149" fmla="*/ 1384191 w 5521505"/>
              <a:gd name="connsiteY3149" fmla="*/ 685729 h 2146918"/>
              <a:gd name="connsiteX3150" fmla="*/ 1383253 w 5521505"/>
              <a:gd name="connsiteY3150" fmla="*/ 686594 h 2146918"/>
              <a:gd name="connsiteX3151" fmla="*/ 1382571 w 5521505"/>
              <a:gd name="connsiteY3151" fmla="*/ 687288 h 2146918"/>
              <a:gd name="connsiteX3152" fmla="*/ 1381475 w 5521505"/>
              <a:gd name="connsiteY3152" fmla="*/ 688505 h 2146918"/>
              <a:gd name="connsiteX3153" fmla="*/ 1380647 w 5521505"/>
              <a:gd name="connsiteY3153" fmla="*/ 689455 h 2146918"/>
              <a:gd name="connsiteX3154" fmla="*/ 1379880 w 5521505"/>
              <a:gd name="connsiteY3154" fmla="*/ 690381 h 2146918"/>
              <a:gd name="connsiteX3155" fmla="*/ 1377603 w 5521505"/>
              <a:gd name="connsiteY3155" fmla="*/ 693315 h 2146918"/>
              <a:gd name="connsiteX3156" fmla="*/ 1375472 w 5521505"/>
              <a:gd name="connsiteY3156" fmla="*/ 696116 h 2146918"/>
              <a:gd name="connsiteX3157" fmla="*/ 1373134 w 5521505"/>
              <a:gd name="connsiteY3157" fmla="*/ 699087 h 2146918"/>
              <a:gd name="connsiteX3158" fmla="*/ 1363088 w 5521505"/>
              <a:gd name="connsiteY3158" fmla="*/ 708195 h 2146918"/>
              <a:gd name="connsiteX3159" fmla="*/ 1351995 w 5521505"/>
              <a:gd name="connsiteY3159" fmla="*/ 709206 h 2146918"/>
              <a:gd name="connsiteX3160" fmla="*/ 1352543 w 5521505"/>
              <a:gd name="connsiteY3160" fmla="*/ 704140 h 2146918"/>
              <a:gd name="connsiteX3161" fmla="*/ 1360909 w 5521505"/>
              <a:gd name="connsiteY3161" fmla="*/ 693510 h 2146918"/>
              <a:gd name="connsiteX3162" fmla="*/ 1369274 w 5521505"/>
              <a:gd name="connsiteY3162" fmla="*/ 684743 h 2146918"/>
              <a:gd name="connsiteX3163" fmla="*/ 1376045 w 5521505"/>
              <a:gd name="connsiteY3163" fmla="*/ 679275 h 2146918"/>
              <a:gd name="connsiteX3164" fmla="*/ 1377494 w 5521505"/>
              <a:gd name="connsiteY3164" fmla="*/ 678118 h 2146918"/>
              <a:gd name="connsiteX3165" fmla="*/ 1379052 w 5521505"/>
              <a:gd name="connsiteY3165" fmla="*/ 675440 h 2146918"/>
              <a:gd name="connsiteX3166" fmla="*/ 1377287 w 5521505"/>
              <a:gd name="connsiteY3166" fmla="*/ 676572 h 2146918"/>
              <a:gd name="connsiteX3167" fmla="*/ 1375180 w 5521505"/>
              <a:gd name="connsiteY3167" fmla="*/ 677899 h 2146918"/>
              <a:gd name="connsiteX3168" fmla="*/ 1372489 w 5521505"/>
              <a:gd name="connsiteY3168" fmla="*/ 679604 h 2146918"/>
              <a:gd name="connsiteX3169" fmla="*/ 1369859 w 5521505"/>
              <a:gd name="connsiteY3169" fmla="*/ 681260 h 2146918"/>
              <a:gd name="connsiteX3170" fmla="*/ 1367423 w 5521505"/>
              <a:gd name="connsiteY3170" fmla="*/ 682758 h 2146918"/>
              <a:gd name="connsiteX3171" fmla="*/ 1363770 w 5521505"/>
              <a:gd name="connsiteY3171" fmla="*/ 685108 h 2146918"/>
              <a:gd name="connsiteX3172" fmla="*/ 1360276 w 5521505"/>
              <a:gd name="connsiteY3172" fmla="*/ 687348 h 2146918"/>
              <a:gd name="connsiteX3173" fmla="*/ 1355015 w 5521505"/>
              <a:gd name="connsiteY3173" fmla="*/ 690794 h 2146918"/>
              <a:gd name="connsiteX3174" fmla="*/ 1351460 w 5521505"/>
              <a:gd name="connsiteY3174" fmla="*/ 693230 h 2146918"/>
              <a:gd name="connsiteX3175" fmla="*/ 1346065 w 5521505"/>
              <a:gd name="connsiteY3175" fmla="*/ 697017 h 2146918"/>
              <a:gd name="connsiteX3176" fmla="*/ 1342095 w 5521505"/>
              <a:gd name="connsiteY3176" fmla="*/ 699927 h 2146918"/>
              <a:gd name="connsiteX3177" fmla="*/ 1338442 w 5521505"/>
              <a:gd name="connsiteY3177" fmla="*/ 702728 h 2146918"/>
              <a:gd name="connsiteX3178" fmla="*/ 1333998 w 5521505"/>
              <a:gd name="connsiteY3178" fmla="*/ 706381 h 2146918"/>
              <a:gd name="connsiteX3179" fmla="*/ 1329030 w 5521505"/>
              <a:gd name="connsiteY3179" fmla="*/ 710472 h 2146918"/>
              <a:gd name="connsiteX3180" fmla="*/ 1322941 w 5521505"/>
              <a:gd name="connsiteY3180" fmla="*/ 714856 h 2146918"/>
              <a:gd name="connsiteX3181" fmla="*/ 1317097 w 5521505"/>
              <a:gd name="connsiteY3181" fmla="*/ 718874 h 2146918"/>
              <a:gd name="connsiteX3182" fmla="*/ 1315282 w 5521505"/>
              <a:gd name="connsiteY3182" fmla="*/ 720092 h 2146918"/>
              <a:gd name="connsiteX3183" fmla="*/ 1312847 w 5521505"/>
              <a:gd name="connsiteY3183" fmla="*/ 721383 h 2146918"/>
              <a:gd name="connsiteX3184" fmla="*/ 1312031 w 5521505"/>
              <a:gd name="connsiteY3184" fmla="*/ 722320 h 2146918"/>
              <a:gd name="connsiteX3185" fmla="*/ 1304092 w 5521505"/>
              <a:gd name="connsiteY3185" fmla="*/ 730552 h 2146918"/>
              <a:gd name="connsiteX3186" fmla="*/ 1287969 w 5521505"/>
              <a:gd name="connsiteY3186" fmla="*/ 743301 h 2146918"/>
              <a:gd name="connsiteX3187" fmla="*/ 1275403 w 5521505"/>
              <a:gd name="connsiteY3187" fmla="*/ 757219 h 2146918"/>
              <a:gd name="connsiteX3188" fmla="*/ 1271945 w 5521505"/>
              <a:gd name="connsiteY3188" fmla="*/ 768312 h 2146918"/>
              <a:gd name="connsiteX3189" fmla="*/ 1269132 w 5521505"/>
              <a:gd name="connsiteY3189" fmla="*/ 776836 h 2146918"/>
              <a:gd name="connsiteX3190" fmla="*/ 1266514 w 5521505"/>
              <a:gd name="connsiteY3190" fmla="*/ 779150 h 2146918"/>
              <a:gd name="connsiteX3191" fmla="*/ 1263896 w 5521505"/>
              <a:gd name="connsiteY3191" fmla="*/ 781463 h 2146918"/>
              <a:gd name="connsiteX3192" fmla="*/ 1260937 w 5521505"/>
              <a:gd name="connsiteY3192" fmla="*/ 784033 h 2146918"/>
              <a:gd name="connsiteX3193" fmla="*/ 1247542 w 5521505"/>
              <a:gd name="connsiteY3193" fmla="*/ 793774 h 2146918"/>
              <a:gd name="connsiteX3194" fmla="*/ 1241028 w 5521505"/>
              <a:gd name="connsiteY3194" fmla="*/ 797634 h 2146918"/>
              <a:gd name="connsiteX3195" fmla="*/ 1226756 w 5521505"/>
              <a:gd name="connsiteY3195" fmla="*/ 808594 h 2146918"/>
              <a:gd name="connsiteX3196" fmla="*/ 1210695 w 5521505"/>
              <a:gd name="connsiteY3196" fmla="*/ 822670 h 2146918"/>
              <a:gd name="connsiteX3197" fmla="*/ 1208369 w 5521505"/>
              <a:gd name="connsiteY3197" fmla="*/ 825702 h 2146918"/>
              <a:gd name="connsiteX3198" fmla="*/ 1205252 w 5521505"/>
              <a:gd name="connsiteY3198" fmla="*/ 833860 h 2146918"/>
              <a:gd name="connsiteX3199" fmla="*/ 1197361 w 5521505"/>
              <a:gd name="connsiteY3199" fmla="*/ 844820 h 2146918"/>
              <a:gd name="connsiteX3200" fmla="*/ 1191139 w 5521505"/>
              <a:gd name="connsiteY3200" fmla="*/ 852357 h 2146918"/>
              <a:gd name="connsiteX3201" fmla="*/ 1185733 w 5521505"/>
              <a:gd name="connsiteY3201" fmla="*/ 860881 h 2146918"/>
              <a:gd name="connsiteX3202" fmla="*/ 1182494 w 5521505"/>
              <a:gd name="connsiteY3202" fmla="*/ 868686 h 2146918"/>
              <a:gd name="connsiteX3203" fmla="*/ 1178767 w 5521505"/>
              <a:gd name="connsiteY3203" fmla="*/ 876491 h 2146918"/>
              <a:gd name="connsiteX3204" fmla="*/ 1173641 w 5521505"/>
              <a:gd name="connsiteY3204" fmla="*/ 877015 h 2146918"/>
              <a:gd name="connsiteX3205" fmla="*/ 1171206 w 5521505"/>
              <a:gd name="connsiteY3205" fmla="*/ 875797 h 2146918"/>
              <a:gd name="connsiteX3206" fmla="*/ 1168673 w 5521505"/>
              <a:gd name="connsiteY3206" fmla="*/ 878233 h 2146918"/>
              <a:gd name="connsiteX3207" fmla="*/ 1171729 w 5521505"/>
              <a:gd name="connsiteY3207" fmla="*/ 886842 h 2146918"/>
              <a:gd name="connsiteX3208" fmla="*/ 1173446 w 5521505"/>
              <a:gd name="connsiteY3208" fmla="*/ 903414 h 2146918"/>
              <a:gd name="connsiteX3209" fmla="*/ 1167053 w 5521505"/>
              <a:gd name="connsiteY3209" fmla="*/ 915104 h 2146918"/>
              <a:gd name="connsiteX3210" fmla="*/ 1163546 w 5521505"/>
              <a:gd name="connsiteY3210" fmla="*/ 921619 h 2146918"/>
              <a:gd name="connsiteX3211" fmla="*/ 1162414 w 5521505"/>
              <a:gd name="connsiteY3211" fmla="*/ 926843 h 2146918"/>
              <a:gd name="connsiteX3212" fmla="*/ 1156131 w 5521505"/>
              <a:gd name="connsiteY3212" fmla="*/ 932200 h 2146918"/>
              <a:gd name="connsiteX3213" fmla="*/ 1149567 w 5521505"/>
              <a:gd name="connsiteY3213" fmla="*/ 936840 h 2146918"/>
              <a:gd name="connsiteX3214" fmla="*/ 1141397 w 5521505"/>
              <a:gd name="connsiteY3214" fmla="*/ 944146 h 2146918"/>
              <a:gd name="connsiteX3215" fmla="*/ 1137914 w 5521505"/>
              <a:gd name="connsiteY3215" fmla="*/ 948797 h 2146918"/>
              <a:gd name="connsiteX3216" fmla="*/ 1136002 w 5521505"/>
              <a:gd name="connsiteY3216" fmla="*/ 952560 h 2146918"/>
              <a:gd name="connsiteX3217" fmla="*/ 1133945 w 5521505"/>
              <a:gd name="connsiteY3217" fmla="*/ 955081 h 2146918"/>
              <a:gd name="connsiteX3218" fmla="*/ 1128197 w 5521505"/>
              <a:gd name="connsiteY3218" fmla="*/ 960049 h 2146918"/>
              <a:gd name="connsiteX3219" fmla="*/ 1124118 w 5521505"/>
              <a:gd name="connsiteY3219" fmla="*/ 963921 h 2146918"/>
              <a:gd name="connsiteX3220" fmla="*/ 1118370 w 5521505"/>
              <a:gd name="connsiteY3220" fmla="*/ 970010 h 2146918"/>
              <a:gd name="connsiteX3221" fmla="*/ 1113414 w 5521505"/>
              <a:gd name="connsiteY3221" fmla="*/ 975855 h 2146918"/>
              <a:gd name="connsiteX3222" fmla="*/ 1109506 w 5521505"/>
              <a:gd name="connsiteY3222" fmla="*/ 980725 h 2146918"/>
              <a:gd name="connsiteX3223" fmla="*/ 1106035 w 5521505"/>
              <a:gd name="connsiteY3223" fmla="*/ 985121 h 2146918"/>
              <a:gd name="connsiteX3224" fmla="*/ 1100531 w 5521505"/>
              <a:gd name="connsiteY3224" fmla="*/ 991916 h 2146918"/>
              <a:gd name="connsiteX3225" fmla="*/ 1092994 w 5521505"/>
              <a:gd name="connsiteY3225" fmla="*/ 1000440 h 2146918"/>
              <a:gd name="connsiteX3226" fmla="*/ 1089341 w 5521505"/>
              <a:gd name="connsiteY3226" fmla="*/ 1005432 h 2146918"/>
              <a:gd name="connsiteX3227" fmla="*/ 1087855 w 5521505"/>
              <a:gd name="connsiteY3227" fmla="*/ 1008050 h 2146918"/>
              <a:gd name="connsiteX3228" fmla="*/ 1085956 w 5521505"/>
              <a:gd name="connsiteY3228" fmla="*/ 1012203 h 2146918"/>
              <a:gd name="connsiteX3229" fmla="*/ 1083593 w 5521505"/>
              <a:gd name="connsiteY3229" fmla="*/ 1019703 h 2146918"/>
              <a:gd name="connsiteX3230" fmla="*/ 1081961 w 5521505"/>
              <a:gd name="connsiteY3230" fmla="*/ 1026255 h 2146918"/>
              <a:gd name="connsiteX3231" fmla="*/ 1083094 w 5521505"/>
              <a:gd name="connsiteY3231" fmla="*/ 1035107 h 2146918"/>
              <a:gd name="connsiteX3232" fmla="*/ 1105341 w 5521505"/>
              <a:gd name="connsiteY3232" fmla="*/ 1053153 h 2146918"/>
              <a:gd name="connsiteX3233" fmla="*/ 1109493 w 5521505"/>
              <a:gd name="connsiteY3233" fmla="*/ 1079735 h 2146918"/>
              <a:gd name="connsiteX3234" fmla="*/ 1097024 w 5521505"/>
              <a:gd name="connsiteY3234" fmla="*/ 1092180 h 2146918"/>
              <a:gd name="connsiteX3235" fmla="*/ 1095198 w 5521505"/>
              <a:gd name="connsiteY3235" fmla="*/ 1091948 h 2146918"/>
              <a:gd name="connsiteX3236" fmla="*/ 1083350 w 5521505"/>
              <a:gd name="connsiteY3236" fmla="*/ 1090293 h 2146918"/>
              <a:gd name="connsiteX3237" fmla="*/ 1070418 w 5521505"/>
              <a:gd name="connsiteY3237" fmla="*/ 1086737 h 2146918"/>
              <a:gd name="connsiteX3238" fmla="*/ 1062393 w 5521505"/>
              <a:gd name="connsiteY3238" fmla="*/ 1081769 h 2146918"/>
              <a:gd name="connsiteX3239" fmla="*/ 1057912 w 5521505"/>
              <a:gd name="connsiteY3239" fmla="*/ 1076898 h 2146918"/>
              <a:gd name="connsiteX3240" fmla="*/ 1056390 w 5521505"/>
              <a:gd name="connsiteY3240" fmla="*/ 1071467 h 2146918"/>
              <a:gd name="connsiteX3241" fmla="*/ 1055453 w 5521505"/>
              <a:gd name="connsiteY3241" fmla="*/ 1067814 h 2146918"/>
              <a:gd name="connsiteX3242" fmla="*/ 1050143 w 5521505"/>
              <a:gd name="connsiteY3242" fmla="*/ 1066596 h 2146918"/>
              <a:gd name="connsiteX3243" fmla="*/ 1047708 w 5521505"/>
              <a:gd name="connsiteY3243" fmla="*/ 1066791 h 2146918"/>
              <a:gd name="connsiteX3244" fmla="*/ 1043665 w 5521505"/>
              <a:gd name="connsiteY3244" fmla="*/ 1066986 h 2146918"/>
              <a:gd name="connsiteX3245" fmla="*/ 1038076 w 5521505"/>
              <a:gd name="connsiteY3245" fmla="*/ 1067205 h 2146918"/>
              <a:gd name="connsiteX3246" fmla="*/ 1033899 w 5521505"/>
              <a:gd name="connsiteY3246" fmla="*/ 1070517 h 2146918"/>
              <a:gd name="connsiteX3247" fmla="*/ 1028773 w 5521505"/>
              <a:gd name="connsiteY3247" fmla="*/ 1074609 h 2146918"/>
              <a:gd name="connsiteX3248" fmla="*/ 1023233 w 5521505"/>
              <a:gd name="connsiteY3248" fmla="*/ 1079053 h 2146918"/>
              <a:gd name="connsiteX3249" fmla="*/ 1018191 w 5521505"/>
              <a:gd name="connsiteY3249" fmla="*/ 1083096 h 2146918"/>
              <a:gd name="connsiteX3250" fmla="*/ 1015305 w 5521505"/>
              <a:gd name="connsiteY3250" fmla="*/ 1082658 h 2146918"/>
              <a:gd name="connsiteX3251" fmla="*/ 1009692 w 5521505"/>
              <a:gd name="connsiteY3251" fmla="*/ 1082098 h 2146918"/>
              <a:gd name="connsiteX3252" fmla="*/ 996419 w 5521505"/>
              <a:gd name="connsiteY3252" fmla="*/ 1086043 h 2146918"/>
              <a:gd name="connsiteX3253" fmla="*/ 993911 w 5521505"/>
              <a:gd name="connsiteY3253" fmla="*/ 1087857 h 2146918"/>
              <a:gd name="connsiteX3254" fmla="*/ 993290 w 5521505"/>
              <a:gd name="connsiteY3254" fmla="*/ 1088381 h 2146918"/>
              <a:gd name="connsiteX3255" fmla="*/ 992803 w 5521505"/>
              <a:gd name="connsiteY3255" fmla="*/ 1088782 h 2146918"/>
              <a:gd name="connsiteX3256" fmla="*/ 992401 w 5521505"/>
              <a:gd name="connsiteY3256" fmla="*/ 1089111 h 2146918"/>
              <a:gd name="connsiteX3257" fmla="*/ 991914 w 5521505"/>
              <a:gd name="connsiteY3257" fmla="*/ 1089501 h 2146918"/>
              <a:gd name="connsiteX3258" fmla="*/ 991232 w 5521505"/>
              <a:gd name="connsiteY3258" fmla="*/ 1090037 h 2146918"/>
              <a:gd name="connsiteX3259" fmla="*/ 990684 w 5521505"/>
              <a:gd name="connsiteY3259" fmla="*/ 1090463 h 2146918"/>
              <a:gd name="connsiteX3260" fmla="*/ 990343 w 5521505"/>
              <a:gd name="connsiteY3260" fmla="*/ 1090731 h 2146918"/>
              <a:gd name="connsiteX3261" fmla="*/ 989856 w 5521505"/>
              <a:gd name="connsiteY3261" fmla="*/ 1091096 h 2146918"/>
              <a:gd name="connsiteX3262" fmla="*/ 989077 w 5521505"/>
              <a:gd name="connsiteY3262" fmla="*/ 1091681 h 2146918"/>
              <a:gd name="connsiteX3263" fmla="*/ 988797 w 5521505"/>
              <a:gd name="connsiteY3263" fmla="*/ 1091888 h 2146918"/>
              <a:gd name="connsiteX3264" fmla="*/ 988334 w 5521505"/>
              <a:gd name="connsiteY3264" fmla="*/ 1092228 h 2146918"/>
              <a:gd name="connsiteX3265" fmla="*/ 987664 w 5521505"/>
              <a:gd name="connsiteY3265" fmla="*/ 1092716 h 2146918"/>
              <a:gd name="connsiteX3266" fmla="*/ 986739 w 5521505"/>
              <a:gd name="connsiteY3266" fmla="*/ 1093386 h 2146918"/>
              <a:gd name="connsiteX3267" fmla="*/ 985874 w 5521505"/>
              <a:gd name="connsiteY3267" fmla="*/ 1093994 h 2146918"/>
              <a:gd name="connsiteX3268" fmla="*/ 984997 w 5521505"/>
              <a:gd name="connsiteY3268" fmla="*/ 1094628 h 2146918"/>
              <a:gd name="connsiteX3269" fmla="*/ 984157 w 5521505"/>
              <a:gd name="connsiteY3269" fmla="*/ 1095212 h 2146918"/>
              <a:gd name="connsiteX3270" fmla="*/ 982939 w 5521505"/>
              <a:gd name="connsiteY3270" fmla="*/ 1096065 h 2146918"/>
              <a:gd name="connsiteX3271" fmla="*/ 982014 w 5521505"/>
              <a:gd name="connsiteY3271" fmla="*/ 1096722 h 2146918"/>
              <a:gd name="connsiteX3272" fmla="*/ 981308 w 5521505"/>
              <a:gd name="connsiteY3272" fmla="*/ 1097209 h 2146918"/>
              <a:gd name="connsiteX3273" fmla="*/ 980261 w 5521505"/>
              <a:gd name="connsiteY3273" fmla="*/ 1097952 h 2146918"/>
              <a:gd name="connsiteX3274" fmla="*/ 979043 w 5521505"/>
              <a:gd name="connsiteY3274" fmla="*/ 1098780 h 2146918"/>
              <a:gd name="connsiteX3275" fmla="*/ 978056 w 5521505"/>
              <a:gd name="connsiteY3275" fmla="*/ 1099498 h 2146918"/>
              <a:gd name="connsiteX3276" fmla="*/ 977070 w 5521505"/>
              <a:gd name="connsiteY3276" fmla="*/ 1100205 h 2146918"/>
              <a:gd name="connsiteX3277" fmla="*/ 975974 w 5521505"/>
              <a:gd name="connsiteY3277" fmla="*/ 1101032 h 2146918"/>
              <a:gd name="connsiteX3278" fmla="*/ 974964 w 5521505"/>
              <a:gd name="connsiteY3278" fmla="*/ 1101800 h 2146918"/>
              <a:gd name="connsiteX3279" fmla="*/ 974148 w 5521505"/>
              <a:gd name="connsiteY3279" fmla="*/ 1102433 h 2146918"/>
              <a:gd name="connsiteX3280" fmla="*/ 973015 w 5521505"/>
              <a:gd name="connsiteY3280" fmla="*/ 1103334 h 2146918"/>
              <a:gd name="connsiteX3281" fmla="*/ 972126 w 5521505"/>
              <a:gd name="connsiteY3281" fmla="*/ 1104065 h 2146918"/>
              <a:gd name="connsiteX3282" fmla="*/ 971420 w 5521505"/>
              <a:gd name="connsiteY3282" fmla="*/ 1104661 h 2146918"/>
              <a:gd name="connsiteX3283" fmla="*/ 970872 w 5521505"/>
              <a:gd name="connsiteY3283" fmla="*/ 1105149 h 2146918"/>
              <a:gd name="connsiteX3284" fmla="*/ 970336 w 5521505"/>
              <a:gd name="connsiteY3284" fmla="*/ 1105611 h 2146918"/>
              <a:gd name="connsiteX3285" fmla="*/ 969691 w 5521505"/>
              <a:gd name="connsiteY3285" fmla="*/ 1106196 h 2146918"/>
              <a:gd name="connsiteX3286" fmla="*/ 969119 w 5521505"/>
              <a:gd name="connsiteY3286" fmla="*/ 1106719 h 2146918"/>
              <a:gd name="connsiteX3287" fmla="*/ 968741 w 5521505"/>
              <a:gd name="connsiteY3287" fmla="*/ 1107084 h 2146918"/>
              <a:gd name="connsiteX3288" fmla="*/ 967523 w 5521505"/>
              <a:gd name="connsiteY3288" fmla="*/ 1108302 h 2146918"/>
              <a:gd name="connsiteX3289" fmla="*/ 966732 w 5521505"/>
              <a:gd name="connsiteY3289" fmla="*/ 1109118 h 2146918"/>
              <a:gd name="connsiteX3290" fmla="*/ 966147 w 5521505"/>
              <a:gd name="connsiteY3290" fmla="*/ 1109739 h 2146918"/>
              <a:gd name="connsiteX3291" fmla="*/ 965612 w 5521505"/>
              <a:gd name="connsiteY3291" fmla="*/ 1110299 h 2146918"/>
              <a:gd name="connsiteX3292" fmla="*/ 965295 w 5521505"/>
              <a:gd name="connsiteY3292" fmla="*/ 1110591 h 2146918"/>
              <a:gd name="connsiteX3293" fmla="*/ 964711 w 5521505"/>
              <a:gd name="connsiteY3293" fmla="*/ 1111127 h 2146918"/>
              <a:gd name="connsiteX3294" fmla="*/ 964175 w 5521505"/>
              <a:gd name="connsiteY3294" fmla="*/ 1111578 h 2146918"/>
              <a:gd name="connsiteX3295" fmla="*/ 963566 w 5521505"/>
              <a:gd name="connsiteY3295" fmla="*/ 1112089 h 2146918"/>
              <a:gd name="connsiteX3296" fmla="*/ 962909 w 5521505"/>
              <a:gd name="connsiteY3296" fmla="*/ 1112588 h 2146918"/>
              <a:gd name="connsiteX3297" fmla="*/ 962117 w 5521505"/>
              <a:gd name="connsiteY3297" fmla="*/ 1113173 h 2146918"/>
              <a:gd name="connsiteX3298" fmla="*/ 961679 w 5521505"/>
              <a:gd name="connsiteY3298" fmla="*/ 1113489 h 2146918"/>
              <a:gd name="connsiteX3299" fmla="*/ 960704 w 5521505"/>
              <a:gd name="connsiteY3299" fmla="*/ 1114171 h 2146918"/>
              <a:gd name="connsiteX3300" fmla="*/ 959852 w 5521505"/>
              <a:gd name="connsiteY3300" fmla="*/ 1114744 h 2146918"/>
              <a:gd name="connsiteX3301" fmla="*/ 958257 w 5521505"/>
              <a:gd name="connsiteY3301" fmla="*/ 1115766 h 2146918"/>
              <a:gd name="connsiteX3302" fmla="*/ 957039 w 5521505"/>
              <a:gd name="connsiteY3302" fmla="*/ 1116533 h 2146918"/>
              <a:gd name="connsiteX3303" fmla="*/ 955822 w 5521505"/>
              <a:gd name="connsiteY3303" fmla="*/ 1117313 h 2146918"/>
              <a:gd name="connsiteX3304" fmla="*/ 954506 w 5521505"/>
              <a:gd name="connsiteY3304" fmla="*/ 1118129 h 2146918"/>
              <a:gd name="connsiteX3305" fmla="*/ 954007 w 5521505"/>
              <a:gd name="connsiteY3305" fmla="*/ 1118433 h 2146918"/>
              <a:gd name="connsiteX3306" fmla="*/ 952717 w 5521505"/>
              <a:gd name="connsiteY3306" fmla="*/ 1119224 h 2146918"/>
              <a:gd name="connsiteX3307" fmla="*/ 951206 w 5521505"/>
              <a:gd name="connsiteY3307" fmla="*/ 1120162 h 2146918"/>
              <a:gd name="connsiteX3308" fmla="*/ 949684 w 5521505"/>
              <a:gd name="connsiteY3308" fmla="*/ 1121148 h 2146918"/>
              <a:gd name="connsiteX3309" fmla="*/ 948576 w 5521505"/>
              <a:gd name="connsiteY3309" fmla="*/ 1121867 h 2146918"/>
              <a:gd name="connsiteX3310" fmla="*/ 947712 w 5521505"/>
              <a:gd name="connsiteY3310" fmla="*/ 1122452 h 2146918"/>
              <a:gd name="connsiteX3311" fmla="*/ 948418 w 5521505"/>
              <a:gd name="connsiteY3311" fmla="*/ 1123511 h 2146918"/>
              <a:gd name="connsiteX3312" fmla="*/ 949344 w 5521505"/>
              <a:gd name="connsiteY3312" fmla="*/ 1124863 h 2146918"/>
              <a:gd name="connsiteX3313" fmla="*/ 950269 w 5521505"/>
              <a:gd name="connsiteY3313" fmla="*/ 1126226 h 2146918"/>
              <a:gd name="connsiteX3314" fmla="*/ 951730 w 5521505"/>
              <a:gd name="connsiteY3314" fmla="*/ 1128394 h 2146918"/>
              <a:gd name="connsiteX3315" fmla="*/ 952838 w 5521505"/>
              <a:gd name="connsiteY3315" fmla="*/ 1130014 h 2146918"/>
              <a:gd name="connsiteX3316" fmla="*/ 954178 w 5521505"/>
              <a:gd name="connsiteY3316" fmla="*/ 1131998 h 2146918"/>
              <a:gd name="connsiteX3317" fmla="*/ 949210 w 5521505"/>
              <a:gd name="connsiteY3317" fmla="*/ 1134202 h 2146918"/>
              <a:gd name="connsiteX3318" fmla="*/ 936180 w 5521505"/>
              <a:gd name="connsiteY3318" fmla="*/ 1142458 h 2146918"/>
              <a:gd name="connsiteX3319" fmla="*/ 934488 w 5521505"/>
              <a:gd name="connsiteY3319" fmla="*/ 1143676 h 2146918"/>
              <a:gd name="connsiteX3320" fmla="*/ 933270 w 5521505"/>
              <a:gd name="connsiteY3320" fmla="*/ 1144553 h 2146918"/>
              <a:gd name="connsiteX3321" fmla="*/ 925319 w 5521505"/>
              <a:gd name="connsiteY3321" fmla="*/ 1149582 h 2146918"/>
              <a:gd name="connsiteX3322" fmla="*/ 921215 w 5521505"/>
              <a:gd name="connsiteY3322" fmla="*/ 1151591 h 2146918"/>
              <a:gd name="connsiteX3323" fmla="*/ 918451 w 5521505"/>
              <a:gd name="connsiteY3323" fmla="*/ 1152650 h 2146918"/>
              <a:gd name="connsiteX3324" fmla="*/ 916734 w 5521505"/>
              <a:gd name="connsiteY3324" fmla="*/ 1153161 h 2146918"/>
              <a:gd name="connsiteX3325" fmla="*/ 915066 w 5521505"/>
              <a:gd name="connsiteY3325" fmla="*/ 1154525 h 2146918"/>
              <a:gd name="connsiteX3326" fmla="*/ 913848 w 5521505"/>
              <a:gd name="connsiteY3326" fmla="*/ 1155390 h 2146918"/>
              <a:gd name="connsiteX3327" fmla="*/ 912789 w 5521505"/>
              <a:gd name="connsiteY3327" fmla="*/ 1156157 h 2146918"/>
              <a:gd name="connsiteX3328" fmla="*/ 911510 w 5521505"/>
              <a:gd name="connsiteY3328" fmla="*/ 1157034 h 2146918"/>
              <a:gd name="connsiteX3329" fmla="*/ 910451 w 5521505"/>
              <a:gd name="connsiteY3329" fmla="*/ 1157716 h 2146918"/>
              <a:gd name="connsiteX3330" fmla="*/ 908941 w 5521505"/>
              <a:gd name="connsiteY3330" fmla="*/ 1158654 h 2146918"/>
              <a:gd name="connsiteX3331" fmla="*/ 907723 w 5521505"/>
              <a:gd name="connsiteY3331" fmla="*/ 1159408 h 2146918"/>
              <a:gd name="connsiteX3332" fmla="*/ 906603 w 5521505"/>
              <a:gd name="connsiteY3332" fmla="*/ 1160041 h 2146918"/>
              <a:gd name="connsiteX3333" fmla="*/ 904606 w 5521505"/>
              <a:gd name="connsiteY3333" fmla="*/ 1161125 h 2146918"/>
              <a:gd name="connsiteX3334" fmla="*/ 904411 w 5521505"/>
              <a:gd name="connsiteY3334" fmla="*/ 1161223 h 2146918"/>
              <a:gd name="connsiteX3335" fmla="*/ 901976 w 5521505"/>
              <a:gd name="connsiteY3335" fmla="*/ 1162440 h 2146918"/>
              <a:gd name="connsiteX3336" fmla="*/ 899394 w 5521505"/>
              <a:gd name="connsiteY3336" fmla="*/ 1163719 h 2146918"/>
              <a:gd name="connsiteX3337" fmla="*/ 895960 w 5521505"/>
              <a:gd name="connsiteY3337" fmla="*/ 1165400 h 2146918"/>
              <a:gd name="connsiteX3338" fmla="*/ 893099 w 5521505"/>
              <a:gd name="connsiteY3338" fmla="*/ 1166849 h 2146918"/>
              <a:gd name="connsiteX3339" fmla="*/ 890298 w 5521505"/>
              <a:gd name="connsiteY3339" fmla="*/ 1168322 h 2146918"/>
              <a:gd name="connsiteX3340" fmla="*/ 880008 w 5521505"/>
              <a:gd name="connsiteY3340" fmla="*/ 1176079 h 2146918"/>
              <a:gd name="connsiteX3341" fmla="*/ 878024 w 5521505"/>
              <a:gd name="connsiteY3341" fmla="*/ 1178112 h 2146918"/>
              <a:gd name="connsiteX3342" fmla="*/ 876014 w 5521505"/>
              <a:gd name="connsiteY3342" fmla="*/ 1180292 h 2146918"/>
              <a:gd name="connsiteX3343" fmla="*/ 874590 w 5521505"/>
              <a:gd name="connsiteY3343" fmla="*/ 1181875 h 2146918"/>
              <a:gd name="connsiteX3344" fmla="*/ 872982 w 5521505"/>
              <a:gd name="connsiteY3344" fmla="*/ 1183701 h 2146918"/>
              <a:gd name="connsiteX3345" fmla="*/ 870961 w 5521505"/>
              <a:gd name="connsiteY3345" fmla="*/ 1186063 h 2146918"/>
              <a:gd name="connsiteX3346" fmla="*/ 869634 w 5521505"/>
              <a:gd name="connsiteY3346" fmla="*/ 1187671 h 2146918"/>
              <a:gd name="connsiteX3347" fmla="*/ 867479 w 5521505"/>
              <a:gd name="connsiteY3347" fmla="*/ 1190338 h 2146918"/>
              <a:gd name="connsiteX3348" fmla="*/ 863241 w 5521505"/>
              <a:gd name="connsiteY3348" fmla="*/ 1195720 h 2146918"/>
              <a:gd name="connsiteX3349" fmla="*/ 860416 w 5521505"/>
              <a:gd name="connsiteY3349" fmla="*/ 1199287 h 2146918"/>
              <a:gd name="connsiteX3350" fmla="*/ 852014 w 5521505"/>
              <a:gd name="connsiteY3350" fmla="*/ 1209029 h 2146918"/>
              <a:gd name="connsiteX3351" fmla="*/ 834638 w 5521505"/>
              <a:gd name="connsiteY3351" fmla="*/ 1232335 h 2146918"/>
              <a:gd name="connsiteX3352" fmla="*/ 828476 w 5521505"/>
              <a:gd name="connsiteY3352" fmla="*/ 1253937 h 2146918"/>
              <a:gd name="connsiteX3353" fmla="*/ 832129 w 5521505"/>
              <a:gd name="connsiteY3353" fmla="*/ 1270766 h 2146918"/>
              <a:gd name="connsiteX3354" fmla="*/ 831131 w 5521505"/>
              <a:gd name="connsiteY3354" fmla="*/ 1288154 h 2146918"/>
              <a:gd name="connsiteX3355" fmla="*/ 834491 w 5521505"/>
              <a:gd name="connsiteY3355" fmla="*/ 1302669 h 2146918"/>
              <a:gd name="connsiteX3356" fmla="*/ 840202 w 5521505"/>
              <a:gd name="connsiteY3356" fmla="*/ 1310487 h 2146918"/>
              <a:gd name="connsiteX3357" fmla="*/ 844635 w 5521505"/>
              <a:gd name="connsiteY3357" fmla="*/ 1315138 h 2146918"/>
              <a:gd name="connsiteX3358" fmla="*/ 856178 w 5521505"/>
              <a:gd name="connsiteY3358" fmla="*/ 1323820 h 2146918"/>
              <a:gd name="connsiteX3359" fmla="*/ 873859 w 5521505"/>
              <a:gd name="connsiteY3359" fmla="*/ 1327717 h 2146918"/>
              <a:gd name="connsiteX3360" fmla="*/ 888642 w 5521505"/>
              <a:gd name="connsiteY3360" fmla="*/ 1323028 h 2146918"/>
              <a:gd name="connsiteX3361" fmla="*/ 891747 w 5521505"/>
              <a:gd name="connsiteY3361" fmla="*/ 1321458 h 2146918"/>
              <a:gd name="connsiteX3362" fmla="*/ 894925 w 5521505"/>
              <a:gd name="connsiteY3362" fmla="*/ 1321336 h 2146918"/>
              <a:gd name="connsiteX3363" fmla="*/ 911474 w 5521505"/>
              <a:gd name="connsiteY3363" fmla="*/ 1310986 h 2146918"/>
              <a:gd name="connsiteX3364" fmla="*/ 943231 w 5521505"/>
              <a:gd name="connsiteY3364" fmla="*/ 1286230 h 2146918"/>
              <a:gd name="connsiteX3365" fmla="*/ 956625 w 5521505"/>
              <a:gd name="connsiteY3365" fmla="*/ 1266845 h 2146918"/>
              <a:gd name="connsiteX3366" fmla="*/ 956102 w 5521505"/>
              <a:gd name="connsiteY3366" fmla="*/ 1259368 h 2146918"/>
              <a:gd name="connsiteX3367" fmla="*/ 955602 w 5521505"/>
              <a:gd name="connsiteY3367" fmla="*/ 1249943 h 2146918"/>
              <a:gd name="connsiteX3368" fmla="*/ 955895 w 5521505"/>
              <a:gd name="connsiteY3368" fmla="*/ 1243721 h 2146918"/>
              <a:gd name="connsiteX3369" fmla="*/ 965052 w 5521505"/>
              <a:gd name="connsiteY3369" fmla="*/ 1232299 h 2146918"/>
              <a:gd name="connsiteX3370" fmla="*/ 982525 w 5521505"/>
              <a:gd name="connsiteY3370" fmla="*/ 1216152 h 2146918"/>
              <a:gd name="connsiteX3371" fmla="*/ 1003530 w 5521505"/>
              <a:gd name="connsiteY3371" fmla="*/ 1201540 h 2146918"/>
              <a:gd name="connsiteX3372" fmla="*/ 1012773 w 5521505"/>
              <a:gd name="connsiteY3372" fmla="*/ 1198691 h 2146918"/>
              <a:gd name="connsiteX3373" fmla="*/ 1013990 w 5521505"/>
              <a:gd name="connsiteY3373" fmla="*/ 1206241 h 2146918"/>
              <a:gd name="connsiteX3374" fmla="*/ 1011555 w 5521505"/>
              <a:gd name="connsiteY3374" fmla="*/ 1212865 h 2146918"/>
              <a:gd name="connsiteX3375" fmla="*/ 1011786 w 5521505"/>
              <a:gd name="connsiteY3375" fmla="*/ 1215300 h 2146918"/>
              <a:gd name="connsiteX3376" fmla="*/ 1014380 w 5521505"/>
              <a:gd name="connsiteY3376" fmla="*/ 1227221 h 2146918"/>
              <a:gd name="connsiteX3377" fmla="*/ 1010228 w 5521505"/>
              <a:gd name="connsiteY3377" fmla="*/ 1250357 h 2146918"/>
              <a:gd name="connsiteX3378" fmla="*/ 1008669 w 5521505"/>
              <a:gd name="connsiteY3378" fmla="*/ 1258491 h 2146918"/>
              <a:gd name="connsiteX3379" fmla="*/ 1010398 w 5521505"/>
              <a:gd name="connsiteY3379" fmla="*/ 1267173 h 2146918"/>
              <a:gd name="connsiteX3380" fmla="*/ 1006745 w 5521505"/>
              <a:gd name="connsiteY3380" fmla="*/ 1278205 h 2146918"/>
              <a:gd name="connsiteX3381" fmla="*/ 1014538 w 5521505"/>
              <a:gd name="connsiteY3381" fmla="*/ 1275466 h 2146918"/>
              <a:gd name="connsiteX3382" fmla="*/ 1043349 w 5521505"/>
              <a:gd name="connsiteY3382" fmla="*/ 1254364 h 2146918"/>
              <a:gd name="connsiteX3383" fmla="*/ 1066034 w 5521505"/>
              <a:gd name="connsiteY3383" fmla="*/ 1238716 h 2146918"/>
              <a:gd name="connsiteX3384" fmla="*/ 1077761 w 5521505"/>
              <a:gd name="connsiteY3384" fmla="*/ 1233955 h 2146918"/>
              <a:gd name="connsiteX3385" fmla="*/ 1096026 w 5521505"/>
              <a:gd name="connsiteY3385" fmla="*/ 1229949 h 2146918"/>
              <a:gd name="connsiteX3386" fmla="*/ 1099228 w 5521505"/>
              <a:gd name="connsiteY3386" fmla="*/ 1233322 h 2146918"/>
              <a:gd name="connsiteX3387" fmla="*/ 1101822 w 5521505"/>
              <a:gd name="connsiteY3387" fmla="*/ 1243441 h 2146918"/>
              <a:gd name="connsiteX3388" fmla="*/ 1101591 w 5521505"/>
              <a:gd name="connsiteY3388" fmla="*/ 1248872 h 2146918"/>
              <a:gd name="connsiteX3389" fmla="*/ 1103563 w 5521505"/>
              <a:gd name="connsiteY3389" fmla="*/ 1258954 h 2146918"/>
              <a:gd name="connsiteX3390" fmla="*/ 1105475 w 5521505"/>
              <a:gd name="connsiteY3390" fmla="*/ 1270851 h 2146918"/>
              <a:gd name="connsiteX3391" fmla="*/ 1107910 w 5521505"/>
              <a:gd name="connsiteY3391" fmla="*/ 1278157 h 2146918"/>
              <a:gd name="connsiteX3392" fmla="*/ 1120428 w 5521505"/>
              <a:gd name="connsiteY3392" fmla="*/ 1284136 h 2146918"/>
              <a:gd name="connsiteX3393" fmla="*/ 1127101 w 5521505"/>
              <a:gd name="connsiteY3393" fmla="*/ 1283454 h 2146918"/>
              <a:gd name="connsiteX3394" fmla="*/ 1134225 w 5521505"/>
              <a:gd name="connsiteY3394" fmla="*/ 1282102 h 2146918"/>
              <a:gd name="connsiteX3395" fmla="*/ 1145427 w 5521505"/>
              <a:gd name="connsiteY3395" fmla="*/ 1279874 h 2146918"/>
              <a:gd name="connsiteX3396" fmla="*/ 1168003 w 5521505"/>
              <a:gd name="connsiteY3396" fmla="*/ 1264970 h 2146918"/>
              <a:gd name="connsiteX3397" fmla="*/ 1174250 w 5521505"/>
              <a:gd name="connsiteY3397" fmla="*/ 1258662 h 2146918"/>
              <a:gd name="connsiteX3398" fmla="*/ 1181860 w 5521505"/>
              <a:gd name="connsiteY3398" fmla="*/ 1251843 h 2146918"/>
              <a:gd name="connsiteX3399" fmla="*/ 1206689 w 5521505"/>
              <a:gd name="connsiteY3399" fmla="*/ 1239459 h 2146918"/>
              <a:gd name="connsiteX3400" fmla="*/ 1224747 w 5521505"/>
              <a:gd name="connsiteY3400" fmla="*/ 1239033 h 2146918"/>
              <a:gd name="connsiteX3401" fmla="*/ 1229752 w 5521505"/>
              <a:gd name="connsiteY3401" fmla="*/ 1231264 h 2146918"/>
              <a:gd name="connsiteX3402" fmla="*/ 1236632 w 5521505"/>
              <a:gd name="connsiteY3402" fmla="*/ 1220305 h 2146918"/>
              <a:gd name="connsiteX3403" fmla="*/ 1239664 w 5521505"/>
              <a:gd name="connsiteY3403" fmla="*/ 1210977 h 2146918"/>
              <a:gd name="connsiteX3404" fmla="*/ 1239335 w 5521505"/>
              <a:gd name="connsiteY3404" fmla="*/ 1209005 h 2146918"/>
              <a:gd name="connsiteX3405" fmla="*/ 1239189 w 5521505"/>
              <a:gd name="connsiteY3405" fmla="*/ 1207337 h 2146918"/>
              <a:gd name="connsiteX3406" fmla="*/ 1246264 w 5521505"/>
              <a:gd name="connsiteY3406" fmla="*/ 1191847 h 2146918"/>
              <a:gd name="connsiteX3407" fmla="*/ 1259817 w 5521505"/>
              <a:gd name="connsiteY3407" fmla="*/ 1179403 h 2146918"/>
              <a:gd name="connsiteX3408" fmla="*/ 1262459 w 5521505"/>
              <a:gd name="connsiteY3408" fmla="*/ 1177357 h 2146918"/>
              <a:gd name="connsiteX3409" fmla="*/ 1268279 w 5521505"/>
              <a:gd name="connsiteY3409" fmla="*/ 1172779 h 2146918"/>
              <a:gd name="connsiteX3410" fmla="*/ 1277790 w 5521505"/>
              <a:gd name="connsiteY3410" fmla="*/ 1164608 h 2146918"/>
              <a:gd name="connsiteX3411" fmla="*/ 1285242 w 5521505"/>
              <a:gd name="connsiteY3411" fmla="*/ 1156486 h 2146918"/>
              <a:gd name="connsiteX3412" fmla="*/ 1288639 w 5521505"/>
              <a:gd name="connsiteY3412" fmla="*/ 1151481 h 2146918"/>
              <a:gd name="connsiteX3413" fmla="*/ 1293863 w 5521505"/>
              <a:gd name="connsiteY3413" fmla="*/ 1145795 h 2146918"/>
              <a:gd name="connsiteX3414" fmla="*/ 1298490 w 5521505"/>
              <a:gd name="connsiteY3414" fmla="*/ 1143298 h 2146918"/>
              <a:gd name="connsiteX3415" fmla="*/ 1301900 w 5521505"/>
              <a:gd name="connsiteY3415" fmla="*/ 1141947 h 2146918"/>
              <a:gd name="connsiteX3416" fmla="*/ 1303434 w 5521505"/>
              <a:gd name="connsiteY3416" fmla="*/ 1141435 h 2146918"/>
              <a:gd name="connsiteX3417" fmla="*/ 1303970 w 5521505"/>
              <a:gd name="connsiteY3417" fmla="*/ 1141362 h 2146918"/>
              <a:gd name="connsiteX3418" fmla="*/ 1305443 w 5521505"/>
              <a:gd name="connsiteY3418" fmla="*/ 1141606 h 2146918"/>
              <a:gd name="connsiteX3419" fmla="*/ 1307659 w 5521505"/>
              <a:gd name="connsiteY3419" fmla="*/ 1143664 h 2146918"/>
              <a:gd name="connsiteX3420" fmla="*/ 1304006 w 5521505"/>
              <a:gd name="connsiteY3420" fmla="*/ 1150446 h 2146918"/>
              <a:gd name="connsiteX3421" fmla="*/ 1300134 w 5521505"/>
              <a:gd name="connsiteY3421" fmla="*/ 1156181 h 2146918"/>
              <a:gd name="connsiteX3422" fmla="*/ 1304932 w 5521505"/>
              <a:gd name="connsiteY3422" fmla="*/ 1158167 h 2146918"/>
              <a:gd name="connsiteX3423" fmla="*/ 1311982 w 5521505"/>
              <a:gd name="connsiteY3423" fmla="*/ 1150544 h 2146918"/>
              <a:gd name="connsiteX3424" fmla="*/ 1319520 w 5521505"/>
              <a:gd name="connsiteY3424" fmla="*/ 1141886 h 2146918"/>
              <a:gd name="connsiteX3425" fmla="*/ 1327374 w 5521505"/>
              <a:gd name="connsiteY3425" fmla="*/ 1131889 h 2146918"/>
              <a:gd name="connsiteX3426" fmla="*/ 1337030 w 5521505"/>
              <a:gd name="connsiteY3426" fmla="*/ 1132875 h 2146918"/>
              <a:gd name="connsiteX3427" fmla="*/ 1358291 w 5521505"/>
              <a:gd name="connsiteY3427" fmla="*/ 1126482 h 2146918"/>
              <a:gd name="connsiteX3428" fmla="*/ 1378200 w 5521505"/>
              <a:gd name="connsiteY3428" fmla="*/ 1120394 h 2146918"/>
              <a:gd name="connsiteX3429" fmla="*/ 1400118 w 5521505"/>
              <a:gd name="connsiteY3429" fmla="*/ 1112175 h 2146918"/>
              <a:gd name="connsiteX3430" fmla="*/ 1422036 w 5521505"/>
              <a:gd name="connsiteY3430" fmla="*/ 1103346 h 2146918"/>
              <a:gd name="connsiteX3431" fmla="*/ 1429915 w 5521505"/>
              <a:gd name="connsiteY3431" fmla="*/ 1095699 h 2146918"/>
              <a:gd name="connsiteX3432" fmla="*/ 1433738 w 5521505"/>
              <a:gd name="connsiteY3432" fmla="*/ 1092228 h 2146918"/>
              <a:gd name="connsiteX3433" fmla="*/ 1436844 w 5521505"/>
              <a:gd name="connsiteY3433" fmla="*/ 1090597 h 2146918"/>
              <a:gd name="connsiteX3434" fmla="*/ 1453428 w 5521505"/>
              <a:gd name="connsiteY3434" fmla="*/ 1082146 h 2146918"/>
              <a:gd name="connsiteX3435" fmla="*/ 1463754 w 5521505"/>
              <a:gd name="connsiteY3435" fmla="*/ 1076983 h 2146918"/>
              <a:gd name="connsiteX3436" fmla="*/ 1464083 w 5521505"/>
              <a:gd name="connsiteY3436" fmla="*/ 1079638 h 2146918"/>
              <a:gd name="connsiteX3437" fmla="*/ 1464887 w 5521505"/>
              <a:gd name="connsiteY3437" fmla="*/ 1083790 h 2146918"/>
              <a:gd name="connsiteX3438" fmla="*/ 1467322 w 5521505"/>
              <a:gd name="connsiteY3438" fmla="*/ 1084131 h 2146918"/>
              <a:gd name="connsiteX3439" fmla="*/ 1470500 w 5521505"/>
              <a:gd name="connsiteY3439" fmla="*/ 1083948 h 2146918"/>
              <a:gd name="connsiteX3440" fmla="*/ 1470927 w 5521505"/>
              <a:gd name="connsiteY3440" fmla="*/ 1076557 h 2146918"/>
              <a:gd name="connsiteX3441" fmla="*/ 1471572 w 5521505"/>
              <a:gd name="connsiteY3441" fmla="*/ 1073123 h 2146918"/>
              <a:gd name="connsiteX3442" fmla="*/ 1483566 w 5521505"/>
              <a:gd name="connsiteY3442" fmla="*/ 1067035 h 2146918"/>
              <a:gd name="connsiteX3443" fmla="*/ 1487524 w 5521505"/>
              <a:gd name="connsiteY3443" fmla="*/ 1070359 h 2146918"/>
              <a:gd name="connsiteX3444" fmla="*/ 1483030 w 5521505"/>
              <a:gd name="connsiteY3444" fmla="*/ 1079845 h 2146918"/>
              <a:gd name="connsiteX3445" fmla="*/ 1491018 w 5521505"/>
              <a:gd name="connsiteY3445" fmla="*/ 1079930 h 2146918"/>
              <a:gd name="connsiteX3446" fmla="*/ 1495037 w 5521505"/>
              <a:gd name="connsiteY3446" fmla="*/ 1087017 h 2146918"/>
              <a:gd name="connsiteX3447" fmla="*/ 1516651 w 5521505"/>
              <a:gd name="connsiteY3447" fmla="*/ 1081196 h 2146918"/>
              <a:gd name="connsiteX3448" fmla="*/ 1534368 w 5521505"/>
              <a:gd name="connsiteY3448" fmla="*/ 1080442 h 2146918"/>
              <a:gd name="connsiteX3449" fmla="*/ 1539896 w 5521505"/>
              <a:gd name="connsiteY3449" fmla="*/ 1083108 h 2146918"/>
              <a:gd name="connsiteX3450" fmla="*/ 1542624 w 5521505"/>
              <a:gd name="connsiteY3450" fmla="*/ 1084326 h 2146918"/>
              <a:gd name="connsiteX3451" fmla="*/ 1550015 w 5521505"/>
              <a:gd name="connsiteY3451" fmla="*/ 1084971 h 2146918"/>
              <a:gd name="connsiteX3452" fmla="*/ 1561133 w 5521505"/>
              <a:gd name="connsiteY3452" fmla="*/ 1084582 h 2146918"/>
              <a:gd name="connsiteX3453" fmla="*/ 1565650 w 5521505"/>
              <a:gd name="connsiteY3453" fmla="*/ 1084947 h 2146918"/>
              <a:gd name="connsiteX3454" fmla="*/ 1588056 w 5521505"/>
              <a:gd name="connsiteY3454" fmla="*/ 1078018 h 2146918"/>
              <a:gd name="connsiteX3455" fmla="*/ 1613298 w 5521505"/>
              <a:gd name="connsiteY3455" fmla="*/ 1067705 h 2146918"/>
              <a:gd name="connsiteX3456" fmla="*/ 1629128 w 5521505"/>
              <a:gd name="connsiteY3456" fmla="*/ 1063455 h 2146918"/>
              <a:gd name="connsiteX3457" fmla="*/ 1639759 w 5521505"/>
              <a:gd name="connsiteY3457" fmla="*/ 1060362 h 2146918"/>
              <a:gd name="connsiteX3458" fmla="*/ 1641865 w 5521505"/>
              <a:gd name="connsiteY3458" fmla="*/ 1060045 h 2146918"/>
              <a:gd name="connsiteX3459" fmla="*/ 1647844 w 5521505"/>
              <a:gd name="connsiteY3459" fmla="*/ 1060959 h 2146918"/>
              <a:gd name="connsiteX3460" fmla="*/ 1658328 w 5521505"/>
              <a:gd name="connsiteY3460" fmla="*/ 1061665 h 2146918"/>
              <a:gd name="connsiteX3461" fmla="*/ 1666852 w 5521505"/>
              <a:gd name="connsiteY3461" fmla="*/ 1062176 h 2146918"/>
              <a:gd name="connsiteX3462" fmla="*/ 1683242 w 5521505"/>
              <a:gd name="connsiteY3462" fmla="*/ 1066401 h 2146918"/>
              <a:gd name="connsiteX3463" fmla="*/ 1688734 w 5521505"/>
              <a:gd name="connsiteY3463" fmla="*/ 1072344 h 2146918"/>
              <a:gd name="connsiteX3464" fmla="*/ 1690706 w 5521505"/>
              <a:gd name="connsiteY3464" fmla="*/ 1074231 h 2146918"/>
              <a:gd name="connsiteX3465" fmla="*/ 1701179 w 5521505"/>
              <a:gd name="connsiteY3465" fmla="*/ 1078761 h 2146918"/>
              <a:gd name="connsiteX3466" fmla="*/ 1705538 w 5521505"/>
              <a:gd name="connsiteY3466" fmla="*/ 1080417 h 2146918"/>
              <a:gd name="connsiteX3467" fmla="*/ 1710543 w 5521505"/>
              <a:gd name="connsiteY3467" fmla="*/ 1085690 h 2146918"/>
              <a:gd name="connsiteX3468" fmla="*/ 1714403 w 5521505"/>
              <a:gd name="connsiteY3468" fmla="*/ 1091315 h 2146918"/>
              <a:gd name="connsiteX3469" fmla="*/ 1731170 w 5521505"/>
              <a:gd name="connsiteY3469" fmla="*/ 1091315 h 2146918"/>
              <a:gd name="connsiteX3470" fmla="*/ 1741935 w 5521505"/>
              <a:gd name="connsiteY3470" fmla="*/ 1088661 h 2146918"/>
              <a:gd name="connsiteX3471" fmla="*/ 1748205 w 5521505"/>
              <a:gd name="connsiteY3471" fmla="*/ 1093130 h 2146918"/>
              <a:gd name="connsiteX3472" fmla="*/ 1752601 w 5521505"/>
              <a:gd name="connsiteY3472" fmla="*/ 1090134 h 2146918"/>
              <a:gd name="connsiteX3473" fmla="*/ 1769893 w 5521505"/>
              <a:gd name="connsiteY3473" fmla="*/ 1084228 h 2146918"/>
              <a:gd name="connsiteX3474" fmla="*/ 1781655 w 5521505"/>
              <a:gd name="connsiteY3474" fmla="*/ 1082609 h 2146918"/>
              <a:gd name="connsiteX3475" fmla="*/ 1794405 w 5521505"/>
              <a:gd name="connsiteY3475" fmla="*/ 1080587 h 2146918"/>
              <a:gd name="connsiteX3476" fmla="*/ 1811988 w 5521505"/>
              <a:gd name="connsiteY3476" fmla="*/ 1080587 h 2146918"/>
              <a:gd name="connsiteX3477" fmla="*/ 1820110 w 5521505"/>
              <a:gd name="connsiteY3477" fmla="*/ 1085008 h 2146918"/>
              <a:gd name="connsiteX3478" fmla="*/ 1832969 w 5521505"/>
              <a:gd name="connsiteY3478" fmla="*/ 1078603 h 2146918"/>
              <a:gd name="connsiteX3479" fmla="*/ 1852098 w 5521505"/>
              <a:gd name="connsiteY3479" fmla="*/ 1075218 h 2146918"/>
              <a:gd name="connsiteX3480" fmla="*/ 1870632 w 5521505"/>
              <a:gd name="connsiteY3480" fmla="*/ 1071625 h 2146918"/>
              <a:gd name="connsiteX3481" fmla="*/ 1877110 w 5521505"/>
              <a:gd name="connsiteY3481" fmla="*/ 1069543 h 2146918"/>
              <a:gd name="connsiteX3482" fmla="*/ 1879801 w 5521505"/>
              <a:gd name="connsiteY3482" fmla="*/ 1068496 h 2146918"/>
              <a:gd name="connsiteX3483" fmla="*/ 1884671 w 5521505"/>
              <a:gd name="connsiteY3483" fmla="*/ 1066353 h 2146918"/>
              <a:gd name="connsiteX3484" fmla="*/ 1886096 w 5521505"/>
              <a:gd name="connsiteY3484" fmla="*/ 1065659 h 2146918"/>
              <a:gd name="connsiteX3485" fmla="*/ 1887228 w 5521505"/>
              <a:gd name="connsiteY3485" fmla="*/ 1065086 h 2146918"/>
              <a:gd name="connsiteX3486" fmla="*/ 1891052 w 5521505"/>
              <a:gd name="connsiteY3486" fmla="*/ 1063540 h 2146918"/>
              <a:gd name="connsiteX3487" fmla="*/ 1896690 w 5521505"/>
              <a:gd name="connsiteY3487" fmla="*/ 1062103 h 2146918"/>
              <a:gd name="connsiteX3488" fmla="*/ 1900343 w 5521505"/>
              <a:gd name="connsiteY3488" fmla="*/ 1061568 h 2146918"/>
              <a:gd name="connsiteX3489" fmla="*/ 1903619 w 5521505"/>
              <a:gd name="connsiteY3489" fmla="*/ 1061324 h 2146918"/>
              <a:gd name="connsiteX3490" fmla="*/ 1907698 w 5521505"/>
              <a:gd name="connsiteY3490" fmla="*/ 1061166 h 2146918"/>
              <a:gd name="connsiteX3491" fmla="*/ 1912155 w 5521505"/>
              <a:gd name="connsiteY3491" fmla="*/ 1061166 h 2146918"/>
              <a:gd name="connsiteX3492" fmla="*/ 1915990 w 5521505"/>
              <a:gd name="connsiteY3492" fmla="*/ 1061275 h 2146918"/>
              <a:gd name="connsiteX3493" fmla="*/ 1919521 w 5521505"/>
              <a:gd name="connsiteY3493" fmla="*/ 1061470 h 2146918"/>
              <a:gd name="connsiteX3494" fmla="*/ 1923321 w 5521505"/>
              <a:gd name="connsiteY3494" fmla="*/ 1061823 h 2146918"/>
              <a:gd name="connsiteX3495" fmla="*/ 1927108 w 5521505"/>
              <a:gd name="connsiteY3495" fmla="*/ 1062310 h 2146918"/>
              <a:gd name="connsiteX3496" fmla="*/ 1929799 w 5521505"/>
              <a:gd name="connsiteY3496" fmla="*/ 1062748 h 2146918"/>
              <a:gd name="connsiteX3497" fmla="*/ 1931187 w 5521505"/>
              <a:gd name="connsiteY3497" fmla="*/ 1063004 h 2146918"/>
              <a:gd name="connsiteX3498" fmla="*/ 1934438 w 5521505"/>
              <a:gd name="connsiteY3498" fmla="*/ 1063698 h 2146918"/>
              <a:gd name="connsiteX3499" fmla="*/ 1939613 w 5521505"/>
              <a:gd name="connsiteY3499" fmla="*/ 1064916 h 2146918"/>
              <a:gd name="connsiteX3500" fmla="*/ 1943827 w 5521505"/>
              <a:gd name="connsiteY3500" fmla="*/ 1065634 h 2146918"/>
              <a:gd name="connsiteX3501" fmla="*/ 1950378 w 5521505"/>
              <a:gd name="connsiteY3501" fmla="*/ 1065999 h 2146918"/>
              <a:gd name="connsiteX3502" fmla="*/ 1954822 w 5521505"/>
              <a:gd name="connsiteY3502" fmla="*/ 1065708 h 2146918"/>
              <a:gd name="connsiteX3503" fmla="*/ 1959413 w 5521505"/>
              <a:gd name="connsiteY3503" fmla="*/ 1064989 h 2146918"/>
              <a:gd name="connsiteX3504" fmla="*/ 1961215 w 5521505"/>
              <a:gd name="connsiteY3504" fmla="*/ 1064599 h 2146918"/>
              <a:gd name="connsiteX3505" fmla="*/ 1963176 w 5521505"/>
              <a:gd name="connsiteY3505" fmla="*/ 1064112 h 2146918"/>
              <a:gd name="connsiteX3506" fmla="*/ 1964698 w 5521505"/>
              <a:gd name="connsiteY3506" fmla="*/ 1063759 h 2146918"/>
              <a:gd name="connsiteX3507" fmla="*/ 1966366 w 5521505"/>
              <a:gd name="connsiteY3507" fmla="*/ 1063394 h 2146918"/>
              <a:gd name="connsiteX3508" fmla="*/ 1967937 w 5521505"/>
              <a:gd name="connsiteY3508" fmla="*/ 1063077 h 2146918"/>
              <a:gd name="connsiteX3509" fmla="*/ 1969690 w 5521505"/>
              <a:gd name="connsiteY3509" fmla="*/ 1062773 h 2146918"/>
              <a:gd name="connsiteX3510" fmla="*/ 1972320 w 5521505"/>
              <a:gd name="connsiteY3510" fmla="*/ 1062420 h 2146918"/>
              <a:gd name="connsiteX3511" fmla="*/ 1974817 w 5521505"/>
              <a:gd name="connsiteY3511" fmla="*/ 1062213 h 2146918"/>
              <a:gd name="connsiteX3512" fmla="*/ 1976740 w 5521505"/>
              <a:gd name="connsiteY3512" fmla="*/ 1062213 h 2146918"/>
              <a:gd name="connsiteX3513" fmla="*/ 1979091 w 5521505"/>
              <a:gd name="connsiteY3513" fmla="*/ 1062310 h 2146918"/>
              <a:gd name="connsiteX3514" fmla="*/ 1981015 w 5521505"/>
              <a:gd name="connsiteY3514" fmla="*/ 1062517 h 2146918"/>
              <a:gd name="connsiteX3515" fmla="*/ 1982683 w 5521505"/>
              <a:gd name="connsiteY3515" fmla="*/ 1062810 h 2146918"/>
              <a:gd name="connsiteX3516" fmla="*/ 1984217 w 5521505"/>
              <a:gd name="connsiteY3516" fmla="*/ 1063163 h 2146918"/>
              <a:gd name="connsiteX3517" fmla="*/ 1986105 w 5521505"/>
              <a:gd name="connsiteY3517" fmla="*/ 1063759 h 2146918"/>
              <a:gd name="connsiteX3518" fmla="*/ 1987468 w 5521505"/>
              <a:gd name="connsiteY3518" fmla="*/ 1064344 h 2146918"/>
              <a:gd name="connsiteX3519" fmla="*/ 1988917 w 5521505"/>
              <a:gd name="connsiteY3519" fmla="*/ 1065221 h 2146918"/>
              <a:gd name="connsiteX3520" fmla="*/ 1990354 w 5521505"/>
              <a:gd name="connsiteY3520" fmla="*/ 1066231 h 2146918"/>
              <a:gd name="connsiteX3521" fmla="*/ 1992059 w 5521505"/>
              <a:gd name="connsiteY3521" fmla="*/ 1067558 h 2146918"/>
              <a:gd name="connsiteX3522" fmla="*/ 1993179 w 5521505"/>
              <a:gd name="connsiteY3522" fmla="*/ 1068508 h 2146918"/>
              <a:gd name="connsiteX3523" fmla="*/ 1994263 w 5521505"/>
              <a:gd name="connsiteY3523" fmla="*/ 1069507 h 2146918"/>
              <a:gd name="connsiteX3524" fmla="*/ 1995578 w 5521505"/>
              <a:gd name="connsiteY3524" fmla="*/ 1070821 h 2146918"/>
              <a:gd name="connsiteX3525" fmla="*/ 1996698 w 5521505"/>
              <a:gd name="connsiteY3525" fmla="*/ 1072039 h 2146918"/>
              <a:gd name="connsiteX3526" fmla="*/ 1997685 w 5521505"/>
              <a:gd name="connsiteY3526" fmla="*/ 1073257 h 2146918"/>
              <a:gd name="connsiteX3527" fmla="*/ 1998574 w 5521505"/>
              <a:gd name="connsiteY3527" fmla="*/ 1074475 h 2146918"/>
              <a:gd name="connsiteX3528" fmla="*/ 1999633 w 5521505"/>
              <a:gd name="connsiteY3528" fmla="*/ 1076119 h 2146918"/>
              <a:gd name="connsiteX3529" fmla="*/ 2000558 w 5521505"/>
              <a:gd name="connsiteY3529" fmla="*/ 1077823 h 2146918"/>
              <a:gd name="connsiteX3530" fmla="*/ 1122036 w 5521505"/>
              <a:gd name="connsiteY3530" fmla="*/ 844625 h 2146918"/>
              <a:gd name="connsiteX3531" fmla="*/ 1084531 w 5521505"/>
              <a:gd name="connsiteY3531" fmla="*/ 876808 h 2146918"/>
              <a:gd name="connsiteX3532" fmla="*/ 1122036 w 5521505"/>
              <a:gd name="connsiteY3532" fmla="*/ 844673 h 2146918"/>
              <a:gd name="connsiteX3533" fmla="*/ 944887 w 5521505"/>
              <a:gd name="connsiteY3533" fmla="*/ 894330 h 2146918"/>
              <a:gd name="connsiteX3534" fmla="*/ 953544 w 5521505"/>
              <a:gd name="connsiteY3534" fmla="*/ 888437 h 2146918"/>
              <a:gd name="connsiteX3535" fmla="*/ 966781 w 5521505"/>
              <a:gd name="connsiteY3535" fmla="*/ 879389 h 2146918"/>
              <a:gd name="connsiteX3536" fmla="*/ 985302 w 5521505"/>
              <a:gd name="connsiteY3536" fmla="*/ 866080 h 2146918"/>
              <a:gd name="connsiteX3537" fmla="*/ 993217 w 5521505"/>
              <a:gd name="connsiteY3537" fmla="*/ 861380 h 2146918"/>
              <a:gd name="connsiteX3538" fmla="*/ 999816 w 5521505"/>
              <a:gd name="connsiteY3538" fmla="*/ 859785 h 2146918"/>
              <a:gd name="connsiteX3539" fmla="*/ 1024256 w 5521505"/>
              <a:gd name="connsiteY3539" fmla="*/ 845818 h 2146918"/>
              <a:gd name="connsiteX3540" fmla="*/ 1054612 w 5521505"/>
              <a:gd name="connsiteY3540" fmla="*/ 833239 h 2146918"/>
              <a:gd name="connsiteX3541" fmla="*/ 1058083 w 5521505"/>
              <a:gd name="connsiteY3541" fmla="*/ 832716 h 2146918"/>
              <a:gd name="connsiteX3542" fmla="*/ 1062564 w 5521505"/>
              <a:gd name="connsiteY3542" fmla="*/ 830585 h 2146918"/>
              <a:gd name="connsiteX3543" fmla="*/ 1060676 w 5521505"/>
              <a:gd name="connsiteY3543" fmla="*/ 833544 h 2146918"/>
              <a:gd name="connsiteX3544" fmla="*/ 1053188 w 5521505"/>
              <a:gd name="connsiteY3544" fmla="*/ 839803 h 2146918"/>
              <a:gd name="connsiteX3545" fmla="*/ 1046917 w 5521505"/>
              <a:gd name="connsiteY3545" fmla="*/ 842713 h 2146918"/>
              <a:gd name="connsiteX3546" fmla="*/ 1030624 w 5521505"/>
              <a:gd name="connsiteY3546" fmla="*/ 853977 h 2146918"/>
              <a:gd name="connsiteX3547" fmla="*/ 1010812 w 5521505"/>
              <a:gd name="connsiteY3547" fmla="*/ 870744 h 2146918"/>
              <a:gd name="connsiteX3548" fmla="*/ 998976 w 5521505"/>
              <a:gd name="connsiteY3548" fmla="*/ 887512 h 2146918"/>
              <a:gd name="connsiteX3549" fmla="*/ 987067 w 5521505"/>
              <a:gd name="connsiteY3549" fmla="*/ 908955 h 2146918"/>
              <a:gd name="connsiteX3550" fmla="*/ 984766 w 5521505"/>
              <a:gd name="connsiteY3550" fmla="*/ 929948 h 2146918"/>
              <a:gd name="connsiteX3551" fmla="*/ 989430 w 5521505"/>
              <a:gd name="connsiteY3551" fmla="*/ 934977 h 2146918"/>
              <a:gd name="connsiteX3552" fmla="*/ 1006477 w 5521505"/>
              <a:gd name="connsiteY3552" fmla="*/ 911305 h 2146918"/>
              <a:gd name="connsiteX3553" fmla="*/ 1009875 w 5521505"/>
              <a:gd name="connsiteY3553" fmla="*/ 892869 h 2146918"/>
              <a:gd name="connsiteX3554" fmla="*/ 1028615 w 5521505"/>
              <a:gd name="connsiteY3554" fmla="*/ 863754 h 2146918"/>
              <a:gd name="connsiteX3555" fmla="*/ 1042569 w 5521505"/>
              <a:gd name="connsiteY3555" fmla="*/ 847596 h 2146918"/>
              <a:gd name="connsiteX3556" fmla="*/ 1046661 w 5521505"/>
              <a:gd name="connsiteY3556" fmla="*/ 846378 h 2146918"/>
              <a:gd name="connsiteX3557" fmla="*/ 1067361 w 5521505"/>
              <a:gd name="connsiteY3557" fmla="*/ 842908 h 2146918"/>
              <a:gd name="connsiteX3558" fmla="*/ 1057523 w 5521505"/>
              <a:gd name="connsiteY3558" fmla="*/ 862135 h 2146918"/>
              <a:gd name="connsiteX3559" fmla="*/ 1073462 w 5521505"/>
              <a:gd name="connsiteY3559" fmla="*/ 854561 h 2146918"/>
              <a:gd name="connsiteX3560" fmla="*/ 1078004 w 5521505"/>
              <a:gd name="connsiteY3560" fmla="*/ 862342 h 2146918"/>
              <a:gd name="connsiteX3561" fmla="*/ 1099411 w 5521505"/>
              <a:gd name="connsiteY3561" fmla="*/ 825081 h 2146918"/>
              <a:gd name="connsiteX3562" fmla="*/ 1114888 w 5521505"/>
              <a:gd name="connsiteY3562" fmla="*/ 821160 h 2146918"/>
              <a:gd name="connsiteX3563" fmla="*/ 1103441 w 5521505"/>
              <a:gd name="connsiteY3563" fmla="*/ 813854 h 2146918"/>
              <a:gd name="connsiteX3564" fmla="*/ 1076713 w 5521505"/>
              <a:gd name="connsiteY3564" fmla="*/ 824350 h 2146918"/>
              <a:gd name="connsiteX3565" fmla="*/ 1061870 w 5521505"/>
              <a:gd name="connsiteY3565" fmla="*/ 830122 h 2146918"/>
              <a:gd name="connsiteX3566" fmla="*/ 1046466 w 5521505"/>
              <a:gd name="connsiteY3566" fmla="*/ 819273 h 2146918"/>
              <a:gd name="connsiteX3567" fmla="*/ 1026545 w 5521505"/>
              <a:gd name="connsiteY3567" fmla="*/ 822573 h 2146918"/>
              <a:gd name="connsiteX3568" fmla="*/ 1010715 w 5521505"/>
              <a:gd name="connsiteY3568" fmla="*/ 831778 h 2146918"/>
              <a:gd name="connsiteX3569" fmla="*/ 976547 w 5521505"/>
              <a:gd name="connsiteY3569" fmla="*/ 862354 h 2146918"/>
              <a:gd name="connsiteX3570" fmla="*/ 944887 w 5521505"/>
              <a:gd name="connsiteY3570" fmla="*/ 894330 h 2146918"/>
              <a:gd name="connsiteX3571" fmla="*/ 516822 w 5521505"/>
              <a:gd name="connsiteY3571" fmla="*/ 901466 h 2146918"/>
              <a:gd name="connsiteX3572" fmla="*/ 516822 w 5521505"/>
              <a:gd name="connsiteY3572" fmla="*/ 901466 h 2146918"/>
              <a:gd name="connsiteX3573" fmla="*/ 516773 w 5521505"/>
              <a:gd name="connsiteY3573" fmla="*/ 901466 h 2146918"/>
              <a:gd name="connsiteX3574" fmla="*/ 1154682 w 5521505"/>
              <a:gd name="connsiteY3574" fmla="*/ 1073854 h 2146918"/>
              <a:gd name="connsiteX3575" fmla="*/ 1153878 w 5521505"/>
              <a:gd name="connsiteY3575" fmla="*/ 1065464 h 2146918"/>
              <a:gd name="connsiteX3576" fmla="*/ 1143321 w 5521505"/>
              <a:gd name="connsiteY3576" fmla="*/ 1065793 h 2146918"/>
              <a:gd name="connsiteX3577" fmla="*/ 1143089 w 5521505"/>
              <a:gd name="connsiteY3577" fmla="*/ 1072856 h 2146918"/>
              <a:gd name="connsiteX3578" fmla="*/ 1151150 w 5521505"/>
              <a:gd name="connsiteY3578" fmla="*/ 1073756 h 2146918"/>
              <a:gd name="connsiteX3579" fmla="*/ 1370066 w 5521505"/>
              <a:gd name="connsiteY3579" fmla="*/ 1025244 h 2146918"/>
              <a:gd name="connsiteX3580" fmla="*/ 1363490 w 5521505"/>
              <a:gd name="connsiteY3580" fmla="*/ 1027777 h 2146918"/>
              <a:gd name="connsiteX3581" fmla="*/ 1360190 w 5521505"/>
              <a:gd name="connsiteY3581" fmla="*/ 1028994 h 2146918"/>
              <a:gd name="connsiteX3582" fmla="*/ 1359131 w 5521505"/>
              <a:gd name="connsiteY3582" fmla="*/ 1029299 h 2146918"/>
              <a:gd name="connsiteX3583" fmla="*/ 1355052 w 5521505"/>
              <a:gd name="connsiteY3583" fmla="*/ 1031320 h 2146918"/>
              <a:gd name="connsiteX3584" fmla="*/ 1354893 w 5521505"/>
              <a:gd name="connsiteY3584" fmla="*/ 1031490 h 2146918"/>
              <a:gd name="connsiteX3585" fmla="*/ 1352714 w 5521505"/>
              <a:gd name="connsiteY3585" fmla="*/ 1033731 h 2146918"/>
              <a:gd name="connsiteX3586" fmla="*/ 1350376 w 5521505"/>
              <a:gd name="connsiteY3586" fmla="*/ 1036532 h 2146918"/>
              <a:gd name="connsiteX3587" fmla="*/ 1349913 w 5521505"/>
              <a:gd name="connsiteY3587" fmla="*/ 1038785 h 2146918"/>
              <a:gd name="connsiteX3588" fmla="*/ 1353566 w 5521505"/>
              <a:gd name="connsiteY3588" fmla="*/ 1040441 h 2146918"/>
              <a:gd name="connsiteX3589" fmla="*/ 1366961 w 5521505"/>
              <a:gd name="connsiteY3589" fmla="*/ 1034352 h 2146918"/>
              <a:gd name="connsiteX3590" fmla="*/ 1372586 w 5521505"/>
              <a:gd name="connsiteY3590" fmla="*/ 1028921 h 2146918"/>
              <a:gd name="connsiteX3591" fmla="*/ 1373329 w 5521505"/>
              <a:gd name="connsiteY3591" fmla="*/ 1026084 h 2146918"/>
              <a:gd name="connsiteX3592" fmla="*/ 1370066 w 5521505"/>
              <a:gd name="connsiteY3592" fmla="*/ 1025280 h 2146918"/>
              <a:gd name="connsiteX3593" fmla="*/ 1233478 w 5521505"/>
              <a:gd name="connsiteY3593" fmla="*/ 1103882 h 2146918"/>
              <a:gd name="connsiteX3594" fmla="*/ 1237131 w 5521505"/>
              <a:gd name="connsiteY3594" fmla="*/ 1102567 h 2146918"/>
              <a:gd name="connsiteX3595" fmla="*/ 1242404 w 5521505"/>
              <a:gd name="connsiteY3595" fmla="*/ 1100192 h 2146918"/>
              <a:gd name="connsiteX3596" fmla="*/ 1247494 w 5521505"/>
              <a:gd name="connsiteY3596" fmla="*/ 1097867 h 2146918"/>
              <a:gd name="connsiteX3597" fmla="*/ 1255482 w 5521505"/>
              <a:gd name="connsiteY3597" fmla="*/ 1094214 h 2146918"/>
              <a:gd name="connsiteX3598" fmla="*/ 1260352 w 5521505"/>
              <a:gd name="connsiteY3598" fmla="*/ 1092010 h 2146918"/>
              <a:gd name="connsiteX3599" fmla="*/ 1269327 w 5521505"/>
              <a:gd name="connsiteY3599" fmla="*/ 1087906 h 2146918"/>
              <a:gd name="connsiteX3600" fmla="*/ 1279409 w 5521505"/>
              <a:gd name="connsiteY3600" fmla="*/ 1082098 h 2146918"/>
              <a:gd name="connsiteX3601" fmla="*/ 1286533 w 5521505"/>
              <a:gd name="connsiteY3601" fmla="*/ 1075400 h 2146918"/>
              <a:gd name="connsiteX3602" fmla="*/ 1291842 w 5521505"/>
              <a:gd name="connsiteY3602" fmla="*/ 1071662 h 2146918"/>
              <a:gd name="connsiteX3603" fmla="*/ 1295884 w 5521505"/>
              <a:gd name="connsiteY3603" fmla="*/ 1069299 h 2146918"/>
              <a:gd name="connsiteX3604" fmla="*/ 1302216 w 5521505"/>
              <a:gd name="connsiteY3604" fmla="*/ 1065501 h 2146918"/>
              <a:gd name="connsiteX3605" fmla="*/ 1304457 w 5521505"/>
              <a:gd name="connsiteY3605" fmla="*/ 1063297 h 2146918"/>
              <a:gd name="connsiteX3606" fmla="*/ 1311252 w 5521505"/>
              <a:gd name="connsiteY3606" fmla="*/ 1057926 h 2146918"/>
              <a:gd name="connsiteX3607" fmla="*/ 1320567 w 5521505"/>
              <a:gd name="connsiteY3607" fmla="*/ 1054066 h 2146918"/>
              <a:gd name="connsiteX3608" fmla="*/ 1322393 w 5521505"/>
              <a:gd name="connsiteY3608" fmla="*/ 1053336 h 2146918"/>
              <a:gd name="connsiteX3609" fmla="*/ 1327654 w 5521505"/>
              <a:gd name="connsiteY3609" fmla="*/ 1048294 h 2146918"/>
              <a:gd name="connsiteX3610" fmla="*/ 1323087 w 5521505"/>
              <a:gd name="connsiteY3610" fmla="*/ 1044776 h 2146918"/>
              <a:gd name="connsiteX3611" fmla="*/ 1319227 w 5521505"/>
              <a:gd name="connsiteY3611" fmla="*/ 1045250 h 2146918"/>
              <a:gd name="connsiteX3612" fmla="*/ 1315574 w 5521505"/>
              <a:gd name="connsiteY3612" fmla="*/ 1046030 h 2146918"/>
              <a:gd name="connsiteX3613" fmla="*/ 1311532 w 5521505"/>
              <a:gd name="connsiteY3613" fmla="*/ 1047077 h 2146918"/>
              <a:gd name="connsiteX3614" fmla="*/ 1307879 w 5521505"/>
              <a:gd name="connsiteY3614" fmla="*/ 1048075 h 2146918"/>
              <a:gd name="connsiteX3615" fmla="*/ 1303239 w 5521505"/>
              <a:gd name="connsiteY3615" fmla="*/ 1049585 h 2146918"/>
              <a:gd name="connsiteX3616" fmla="*/ 1298369 w 5521505"/>
              <a:gd name="connsiteY3616" fmla="*/ 1051253 h 2146918"/>
              <a:gd name="connsiteX3617" fmla="*/ 1294253 w 5521505"/>
              <a:gd name="connsiteY3617" fmla="*/ 1052605 h 2146918"/>
              <a:gd name="connsiteX3618" fmla="*/ 1290015 w 5521505"/>
              <a:gd name="connsiteY3618" fmla="*/ 1053823 h 2146918"/>
              <a:gd name="connsiteX3619" fmla="*/ 1286752 w 5521505"/>
              <a:gd name="connsiteY3619" fmla="*/ 1054468 h 2146918"/>
              <a:gd name="connsiteX3620" fmla="*/ 1284682 w 5521505"/>
              <a:gd name="connsiteY3620" fmla="*/ 1054724 h 2146918"/>
              <a:gd name="connsiteX3621" fmla="*/ 1280590 w 5521505"/>
              <a:gd name="connsiteY3621" fmla="*/ 1055455 h 2146918"/>
              <a:gd name="connsiteX3622" fmla="*/ 1278618 w 5521505"/>
              <a:gd name="connsiteY3622" fmla="*/ 1056356 h 2146918"/>
              <a:gd name="connsiteX3623" fmla="*/ 1275549 w 5521505"/>
              <a:gd name="connsiteY3623" fmla="*/ 1058000 h 2146918"/>
              <a:gd name="connsiteX3624" fmla="*/ 1268608 w 5521505"/>
              <a:gd name="connsiteY3624" fmla="*/ 1061859 h 2146918"/>
              <a:gd name="connsiteX3625" fmla="*/ 1260766 w 5521505"/>
              <a:gd name="connsiteY3625" fmla="*/ 1066365 h 2146918"/>
              <a:gd name="connsiteX3626" fmla="*/ 1254300 w 5521505"/>
              <a:gd name="connsiteY3626" fmla="*/ 1070018 h 2146918"/>
              <a:gd name="connsiteX3627" fmla="*/ 1252523 w 5521505"/>
              <a:gd name="connsiteY3627" fmla="*/ 1070919 h 2146918"/>
              <a:gd name="connsiteX3628" fmla="*/ 1246653 w 5521505"/>
              <a:gd name="connsiteY3628" fmla="*/ 1073720 h 2146918"/>
              <a:gd name="connsiteX3629" fmla="*/ 1240297 w 5521505"/>
              <a:gd name="connsiteY3629" fmla="*/ 1078931 h 2146918"/>
              <a:gd name="connsiteX3630" fmla="*/ 1243548 w 5521505"/>
              <a:gd name="connsiteY3630" fmla="*/ 1080149 h 2146918"/>
              <a:gd name="connsiteX3631" fmla="*/ 1250854 w 5521505"/>
              <a:gd name="connsiteY3631" fmla="*/ 1080295 h 2146918"/>
              <a:gd name="connsiteX3632" fmla="*/ 1254167 w 5521505"/>
              <a:gd name="connsiteY3632" fmla="*/ 1083035 h 2146918"/>
              <a:gd name="connsiteX3633" fmla="*/ 1243000 w 5521505"/>
              <a:gd name="connsiteY3633" fmla="*/ 1092046 h 2146918"/>
              <a:gd name="connsiteX3634" fmla="*/ 1227913 w 5521505"/>
              <a:gd name="connsiteY3634" fmla="*/ 1105574 h 2146918"/>
              <a:gd name="connsiteX3635" fmla="*/ 1229740 w 5521505"/>
              <a:gd name="connsiteY3635" fmla="*/ 1104990 h 2146918"/>
              <a:gd name="connsiteX3636" fmla="*/ 1173105 w 5521505"/>
              <a:gd name="connsiteY3636" fmla="*/ 1118421 h 2146918"/>
              <a:gd name="connsiteX3637" fmla="*/ 1174323 w 5521505"/>
              <a:gd name="connsiteY3637" fmla="*/ 1117690 h 2146918"/>
              <a:gd name="connsiteX3638" fmla="*/ 1181824 w 5521505"/>
              <a:gd name="connsiteY3638" fmla="*/ 1113160 h 2146918"/>
              <a:gd name="connsiteX3639" fmla="*/ 1189958 w 5521505"/>
              <a:gd name="connsiteY3639" fmla="*/ 1107145 h 2146918"/>
              <a:gd name="connsiteX3640" fmla="*/ 1204436 w 5521505"/>
              <a:gd name="connsiteY3640" fmla="*/ 1101167 h 2146918"/>
              <a:gd name="connsiteX3641" fmla="*/ 1209161 w 5521505"/>
              <a:gd name="connsiteY3641" fmla="*/ 1100119 h 2146918"/>
              <a:gd name="connsiteX3642" fmla="*/ 1220254 w 5521505"/>
              <a:gd name="connsiteY3642" fmla="*/ 1093702 h 2146918"/>
              <a:gd name="connsiteX3643" fmla="*/ 1227207 w 5521505"/>
              <a:gd name="connsiteY3643" fmla="*/ 1086031 h 2146918"/>
              <a:gd name="connsiteX3644" fmla="*/ 1224479 w 5521505"/>
              <a:gd name="connsiteY3644" fmla="*/ 1082244 h 2146918"/>
              <a:gd name="connsiteX3645" fmla="*/ 1219377 w 5521505"/>
              <a:gd name="connsiteY3645" fmla="*/ 1083255 h 2146918"/>
              <a:gd name="connsiteX3646" fmla="*/ 1212376 w 5521505"/>
              <a:gd name="connsiteY3646" fmla="*/ 1084984 h 2146918"/>
              <a:gd name="connsiteX3647" fmla="*/ 1198750 w 5521505"/>
              <a:gd name="connsiteY3647" fmla="*/ 1088417 h 2146918"/>
              <a:gd name="connsiteX3648" fmla="*/ 1185562 w 5521505"/>
              <a:gd name="connsiteY3648" fmla="*/ 1091973 h 2146918"/>
              <a:gd name="connsiteX3649" fmla="*/ 1172983 w 5521505"/>
              <a:gd name="connsiteY3649" fmla="*/ 1094774 h 2146918"/>
              <a:gd name="connsiteX3650" fmla="*/ 1165763 w 5521505"/>
              <a:gd name="connsiteY3650" fmla="*/ 1095638 h 2146918"/>
              <a:gd name="connsiteX3651" fmla="*/ 1161111 w 5521505"/>
              <a:gd name="connsiteY3651" fmla="*/ 1095784 h 2146918"/>
              <a:gd name="connsiteX3652" fmla="*/ 1157081 w 5521505"/>
              <a:gd name="connsiteY3652" fmla="*/ 1096028 h 2146918"/>
              <a:gd name="connsiteX3653" fmla="*/ 1147924 w 5521505"/>
              <a:gd name="connsiteY3653" fmla="*/ 1098281 h 2146918"/>
              <a:gd name="connsiteX3654" fmla="*/ 1129561 w 5521505"/>
              <a:gd name="connsiteY3654" fmla="*/ 1105453 h 2146918"/>
              <a:gd name="connsiteX3655" fmla="*/ 1119454 w 5521505"/>
              <a:gd name="connsiteY3655" fmla="*/ 1108704 h 2146918"/>
              <a:gd name="connsiteX3656" fmla="*/ 1111576 w 5521505"/>
              <a:gd name="connsiteY3656" fmla="*/ 1111541 h 2146918"/>
              <a:gd name="connsiteX3657" fmla="*/ 1085456 w 5521505"/>
              <a:gd name="connsiteY3657" fmla="*/ 1125301 h 2146918"/>
              <a:gd name="connsiteX3658" fmla="*/ 1065218 w 5521505"/>
              <a:gd name="connsiteY3658" fmla="*/ 1140815 h 2146918"/>
              <a:gd name="connsiteX3659" fmla="*/ 1052067 w 5521505"/>
              <a:gd name="connsiteY3659" fmla="*/ 1154416 h 2146918"/>
              <a:gd name="connsiteX3660" fmla="*/ 1045675 w 5521505"/>
              <a:gd name="connsiteY3660" fmla="*/ 1165046 h 2146918"/>
              <a:gd name="connsiteX3661" fmla="*/ 1044457 w 5521505"/>
              <a:gd name="connsiteY3661" fmla="*/ 1173716 h 2146918"/>
              <a:gd name="connsiteX3662" fmla="*/ 1064049 w 5521505"/>
              <a:gd name="connsiteY3662" fmla="*/ 1156218 h 2146918"/>
              <a:gd name="connsiteX3663" fmla="*/ 1070138 w 5521505"/>
              <a:gd name="connsiteY3663" fmla="*/ 1149545 h 2146918"/>
              <a:gd name="connsiteX3664" fmla="*/ 1089207 w 5521505"/>
              <a:gd name="connsiteY3664" fmla="*/ 1136796 h 2146918"/>
              <a:gd name="connsiteX3665" fmla="*/ 1105037 w 5521505"/>
              <a:gd name="connsiteY3665" fmla="*/ 1130123 h 2146918"/>
              <a:gd name="connsiteX3666" fmla="*/ 1116702 w 5521505"/>
              <a:gd name="connsiteY3666" fmla="*/ 1124108 h 2146918"/>
              <a:gd name="connsiteX3667" fmla="*/ 1132763 w 5521505"/>
              <a:gd name="connsiteY3667" fmla="*/ 1118799 h 2146918"/>
              <a:gd name="connsiteX3668" fmla="*/ 1145074 w 5521505"/>
              <a:gd name="connsiteY3668" fmla="*/ 1114354 h 2146918"/>
              <a:gd name="connsiteX3669" fmla="*/ 1152648 w 5521505"/>
              <a:gd name="connsiteY3669" fmla="*/ 1114695 h 2146918"/>
              <a:gd name="connsiteX3670" fmla="*/ 1162938 w 5521505"/>
              <a:gd name="connsiteY3670" fmla="*/ 1111943 h 2146918"/>
              <a:gd name="connsiteX3671" fmla="*/ 1169343 w 5521505"/>
              <a:gd name="connsiteY3671" fmla="*/ 1110177 h 2146918"/>
              <a:gd name="connsiteX3672" fmla="*/ 1171108 w 5521505"/>
              <a:gd name="connsiteY3672" fmla="*/ 1114220 h 2146918"/>
              <a:gd name="connsiteX3673" fmla="*/ 1173117 w 5521505"/>
              <a:gd name="connsiteY3673" fmla="*/ 1118421 h 2146918"/>
              <a:gd name="connsiteX3674" fmla="*/ 1045504 w 5521505"/>
              <a:gd name="connsiteY3674" fmla="*/ 553318 h 2146918"/>
              <a:gd name="connsiteX3675" fmla="*/ 1026959 w 5521505"/>
              <a:gd name="connsiteY3675" fmla="*/ 567041 h 2146918"/>
              <a:gd name="connsiteX3676" fmla="*/ 1007415 w 5521505"/>
              <a:gd name="connsiteY3676" fmla="*/ 583456 h 2146918"/>
              <a:gd name="connsiteX3677" fmla="*/ 1057449 w 5521505"/>
              <a:gd name="connsiteY3677" fmla="*/ 560746 h 2146918"/>
              <a:gd name="connsiteX3678" fmla="*/ 1071855 w 5521505"/>
              <a:gd name="connsiteY3678" fmla="*/ 548313 h 2146918"/>
              <a:gd name="connsiteX3679" fmla="*/ 1045516 w 5521505"/>
              <a:gd name="connsiteY3679" fmla="*/ 553318 h 2146918"/>
              <a:gd name="connsiteX3680" fmla="*/ 716729 w 5521505"/>
              <a:gd name="connsiteY3680" fmla="*/ 737505 h 2146918"/>
              <a:gd name="connsiteX3681" fmla="*/ 729868 w 5521505"/>
              <a:gd name="connsiteY3681" fmla="*/ 728981 h 2146918"/>
              <a:gd name="connsiteX3682" fmla="*/ 737625 w 5521505"/>
              <a:gd name="connsiteY3682" fmla="*/ 722016 h 2146918"/>
              <a:gd name="connsiteX3683" fmla="*/ 748913 w 5521505"/>
              <a:gd name="connsiteY3683" fmla="*/ 712275 h 2146918"/>
              <a:gd name="connsiteX3684" fmla="*/ 774484 w 5521505"/>
              <a:gd name="connsiteY3684" fmla="*/ 691294 h 2146918"/>
              <a:gd name="connsiteX3685" fmla="*/ 778831 w 5521505"/>
              <a:gd name="connsiteY3685" fmla="*/ 690259 h 2146918"/>
              <a:gd name="connsiteX3686" fmla="*/ 783702 w 5521505"/>
              <a:gd name="connsiteY3686" fmla="*/ 692901 h 2146918"/>
              <a:gd name="connsiteX3687" fmla="*/ 784286 w 5521505"/>
              <a:gd name="connsiteY3687" fmla="*/ 697625 h 2146918"/>
              <a:gd name="connsiteX3688" fmla="*/ 788183 w 5521505"/>
              <a:gd name="connsiteY3688" fmla="*/ 699136 h 2146918"/>
              <a:gd name="connsiteX3689" fmla="*/ 775093 w 5521505"/>
              <a:gd name="connsiteY3689" fmla="*/ 713857 h 2146918"/>
              <a:gd name="connsiteX3690" fmla="*/ 777126 w 5521505"/>
              <a:gd name="connsiteY3690" fmla="*/ 714832 h 2146918"/>
              <a:gd name="connsiteX3691" fmla="*/ 788560 w 5521505"/>
              <a:gd name="connsiteY3691" fmla="*/ 713334 h 2146918"/>
              <a:gd name="connsiteX3692" fmla="*/ 804865 w 5521505"/>
              <a:gd name="connsiteY3692" fmla="*/ 705419 h 2146918"/>
              <a:gd name="connsiteX3693" fmla="*/ 814254 w 5521505"/>
              <a:gd name="connsiteY3693" fmla="*/ 701230 h 2146918"/>
              <a:gd name="connsiteX3694" fmla="*/ 819611 w 5521505"/>
              <a:gd name="connsiteY3694" fmla="*/ 699416 h 2146918"/>
              <a:gd name="connsiteX3695" fmla="*/ 835612 w 5521505"/>
              <a:gd name="connsiteY3695" fmla="*/ 690612 h 2146918"/>
              <a:gd name="connsiteX3696" fmla="*/ 854535 w 5521505"/>
              <a:gd name="connsiteY3696" fmla="*/ 678362 h 2146918"/>
              <a:gd name="connsiteX3697" fmla="*/ 864848 w 5521505"/>
              <a:gd name="connsiteY3697" fmla="*/ 671141 h 2146918"/>
              <a:gd name="connsiteX3698" fmla="*/ 871156 w 5521505"/>
              <a:gd name="connsiteY3698" fmla="*/ 666575 h 2146918"/>
              <a:gd name="connsiteX3699" fmla="*/ 873275 w 5521505"/>
              <a:gd name="connsiteY3699" fmla="*/ 665028 h 2146918"/>
              <a:gd name="connsiteX3700" fmla="*/ 875941 w 5521505"/>
              <a:gd name="connsiteY3700" fmla="*/ 663056 h 2146918"/>
              <a:gd name="connsiteX3701" fmla="*/ 883065 w 5521505"/>
              <a:gd name="connsiteY3701" fmla="*/ 657746 h 2146918"/>
              <a:gd name="connsiteX3702" fmla="*/ 893440 w 5521505"/>
              <a:gd name="connsiteY3702" fmla="*/ 650100 h 2146918"/>
              <a:gd name="connsiteX3703" fmla="*/ 904983 w 5521505"/>
              <a:gd name="connsiteY3703" fmla="*/ 642245 h 2146918"/>
              <a:gd name="connsiteX3704" fmla="*/ 921653 w 5521505"/>
              <a:gd name="connsiteY3704" fmla="*/ 632589 h 2146918"/>
              <a:gd name="connsiteX3705" fmla="*/ 934622 w 5521505"/>
              <a:gd name="connsiteY3705" fmla="*/ 626647 h 2146918"/>
              <a:gd name="connsiteX3706" fmla="*/ 939030 w 5521505"/>
              <a:gd name="connsiteY3706" fmla="*/ 624918 h 2146918"/>
              <a:gd name="connsiteX3707" fmla="*/ 952595 w 5521505"/>
              <a:gd name="connsiteY3707" fmla="*/ 618111 h 2146918"/>
              <a:gd name="connsiteX3708" fmla="*/ 955712 w 5521505"/>
              <a:gd name="connsiteY3708" fmla="*/ 616309 h 2146918"/>
              <a:gd name="connsiteX3709" fmla="*/ 962543 w 5521505"/>
              <a:gd name="connsiteY3709" fmla="*/ 612217 h 2146918"/>
              <a:gd name="connsiteX3710" fmla="*/ 971457 w 5521505"/>
              <a:gd name="connsiteY3710" fmla="*/ 606884 h 2146918"/>
              <a:gd name="connsiteX3711" fmla="*/ 979213 w 5521505"/>
              <a:gd name="connsiteY3711" fmla="*/ 601916 h 2146918"/>
              <a:gd name="connsiteX3712" fmla="*/ 982525 w 5521505"/>
              <a:gd name="connsiteY3712" fmla="*/ 598604 h 2146918"/>
              <a:gd name="connsiteX3713" fmla="*/ 983000 w 5521505"/>
              <a:gd name="connsiteY3713" fmla="*/ 597751 h 2146918"/>
              <a:gd name="connsiteX3714" fmla="*/ 986032 w 5521505"/>
              <a:gd name="connsiteY3714" fmla="*/ 593538 h 2146918"/>
              <a:gd name="connsiteX3715" fmla="*/ 993558 w 5521505"/>
              <a:gd name="connsiteY3715" fmla="*/ 586658 h 2146918"/>
              <a:gd name="connsiteX3716" fmla="*/ 996212 w 5521505"/>
              <a:gd name="connsiteY3716" fmla="*/ 584649 h 2146918"/>
              <a:gd name="connsiteX3717" fmla="*/ 999865 w 5521505"/>
              <a:gd name="connsiteY3717" fmla="*/ 581994 h 2146918"/>
              <a:gd name="connsiteX3718" fmla="*/ 1003177 w 5521505"/>
              <a:gd name="connsiteY3718" fmla="*/ 579559 h 2146918"/>
              <a:gd name="connsiteX3719" fmla="*/ 1004127 w 5521505"/>
              <a:gd name="connsiteY3719" fmla="*/ 578743 h 2146918"/>
              <a:gd name="connsiteX3720" fmla="*/ 1008048 w 5521505"/>
              <a:gd name="connsiteY3720" fmla="*/ 573349 h 2146918"/>
              <a:gd name="connsiteX3721" fmla="*/ 1002179 w 5521505"/>
              <a:gd name="connsiteY3721" fmla="*/ 571230 h 2146918"/>
              <a:gd name="connsiteX3722" fmla="*/ 1001180 w 5521505"/>
              <a:gd name="connsiteY3722" fmla="*/ 571328 h 2146918"/>
              <a:gd name="connsiteX3723" fmla="*/ 999622 w 5521505"/>
              <a:gd name="connsiteY3723" fmla="*/ 571559 h 2146918"/>
              <a:gd name="connsiteX3724" fmla="*/ 996529 w 5521505"/>
              <a:gd name="connsiteY3724" fmla="*/ 572216 h 2146918"/>
              <a:gd name="connsiteX3725" fmla="*/ 991816 w 5521505"/>
              <a:gd name="connsiteY3725" fmla="*/ 573434 h 2146918"/>
              <a:gd name="connsiteX3726" fmla="*/ 983950 w 5521505"/>
              <a:gd name="connsiteY3726" fmla="*/ 575602 h 2146918"/>
              <a:gd name="connsiteX3727" fmla="*/ 984462 w 5521505"/>
              <a:gd name="connsiteY3727" fmla="*/ 574080 h 2146918"/>
              <a:gd name="connsiteX3728" fmla="*/ 985472 w 5521505"/>
              <a:gd name="connsiteY3728" fmla="*/ 571120 h 2146918"/>
              <a:gd name="connsiteX3729" fmla="*/ 986519 w 5521505"/>
              <a:gd name="connsiteY3729" fmla="*/ 568040 h 2146918"/>
              <a:gd name="connsiteX3730" fmla="*/ 987883 w 5521505"/>
              <a:gd name="connsiteY3730" fmla="*/ 564314 h 2146918"/>
              <a:gd name="connsiteX3731" fmla="*/ 989466 w 5521505"/>
              <a:gd name="connsiteY3731" fmla="*/ 560015 h 2146918"/>
              <a:gd name="connsiteX3732" fmla="*/ 989941 w 5521505"/>
              <a:gd name="connsiteY3732" fmla="*/ 558396 h 2146918"/>
              <a:gd name="connsiteX3733" fmla="*/ 990172 w 5521505"/>
              <a:gd name="connsiteY3733" fmla="*/ 557288 h 2146918"/>
              <a:gd name="connsiteX3734" fmla="*/ 990465 w 5521505"/>
              <a:gd name="connsiteY3734" fmla="*/ 555364 h 2146918"/>
              <a:gd name="connsiteX3735" fmla="*/ 990465 w 5521505"/>
              <a:gd name="connsiteY3735" fmla="*/ 553781 h 2146918"/>
              <a:gd name="connsiteX3736" fmla="*/ 983390 w 5521505"/>
              <a:gd name="connsiteY3736" fmla="*/ 551089 h 2146918"/>
              <a:gd name="connsiteX3737" fmla="*/ 981271 w 5521505"/>
              <a:gd name="connsiteY3737" fmla="*/ 551552 h 2146918"/>
              <a:gd name="connsiteX3738" fmla="*/ 979566 w 5521505"/>
              <a:gd name="connsiteY3738" fmla="*/ 552003 h 2146918"/>
              <a:gd name="connsiteX3739" fmla="*/ 975475 w 5521505"/>
              <a:gd name="connsiteY3739" fmla="*/ 553220 h 2146918"/>
              <a:gd name="connsiteX3740" fmla="*/ 961666 w 5521505"/>
              <a:gd name="connsiteY3740" fmla="*/ 561026 h 2146918"/>
              <a:gd name="connsiteX3741" fmla="*/ 959402 w 5521505"/>
              <a:gd name="connsiteY3741" fmla="*/ 563108 h 2146918"/>
              <a:gd name="connsiteX3742" fmla="*/ 956966 w 5521505"/>
              <a:gd name="connsiteY3742" fmla="*/ 565544 h 2146918"/>
              <a:gd name="connsiteX3743" fmla="*/ 953752 w 5521505"/>
              <a:gd name="connsiteY3743" fmla="*/ 569197 h 2146918"/>
              <a:gd name="connsiteX3744" fmla="*/ 950038 w 5521505"/>
              <a:gd name="connsiteY3744" fmla="*/ 573653 h 2146918"/>
              <a:gd name="connsiteX3745" fmla="*/ 946384 w 5521505"/>
              <a:gd name="connsiteY3745" fmla="*/ 578207 h 2146918"/>
              <a:gd name="connsiteX3746" fmla="*/ 941940 w 5521505"/>
              <a:gd name="connsiteY3746" fmla="*/ 583760 h 2146918"/>
              <a:gd name="connsiteX3747" fmla="*/ 937349 w 5521505"/>
              <a:gd name="connsiteY3747" fmla="*/ 583602 h 2146918"/>
              <a:gd name="connsiteX3748" fmla="*/ 934780 w 5521505"/>
              <a:gd name="connsiteY3748" fmla="*/ 583602 h 2146918"/>
              <a:gd name="connsiteX3749" fmla="*/ 932539 w 5521505"/>
              <a:gd name="connsiteY3749" fmla="*/ 583821 h 2146918"/>
              <a:gd name="connsiteX3750" fmla="*/ 931115 w 5521505"/>
              <a:gd name="connsiteY3750" fmla="*/ 584101 h 2146918"/>
              <a:gd name="connsiteX3751" fmla="*/ 920947 w 5521505"/>
              <a:gd name="connsiteY3751" fmla="*/ 589727 h 2146918"/>
              <a:gd name="connsiteX3752" fmla="*/ 919364 w 5521505"/>
              <a:gd name="connsiteY3752" fmla="*/ 590884 h 2146918"/>
              <a:gd name="connsiteX3753" fmla="*/ 915078 w 5521505"/>
              <a:gd name="connsiteY3753" fmla="*/ 594098 h 2146918"/>
              <a:gd name="connsiteX3754" fmla="*/ 907394 w 5521505"/>
              <a:gd name="connsiteY3754" fmla="*/ 598969 h 2146918"/>
              <a:gd name="connsiteX3755" fmla="*/ 904240 w 5521505"/>
              <a:gd name="connsiteY3755" fmla="*/ 600564 h 2146918"/>
              <a:gd name="connsiteX3756" fmla="*/ 891163 w 5521505"/>
              <a:gd name="connsiteY3756" fmla="*/ 607213 h 2146918"/>
              <a:gd name="connsiteX3757" fmla="*/ 873384 w 5521505"/>
              <a:gd name="connsiteY3757" fmla="*/ 616321 h 2146918"/>
              <a:gd name="connsiteX3758" fmla="*/ 868587 w 5521505"/>
              <a:gd name="connsiteY3758" fmla="*/ 615542 h 2146918"/>
              <a:gd name="connsiteX3759" fmla="*/ 858748 w 5521505"/>
              <a:gd name="connsiteY3759" fmla="*/ 614324 h 2146918"/>
              <a:gd name="connsiteX3760" fmla="*/ 843624 w 5521505"/>
              <a:gd name="connsiteY3760" fmla="*/ 620960 h 2146918"/>
              <a:gd name="connsiteX3761" fmla="*/ 831886 w 5521505"/>
              <a:gd name="connsiteY3761" fmla="*/ 629155 h 2146918"/>
              <a:gd name="connsiteX3762" fmla="*/ 817273 w 5521505"/>
              <a:gd name="connsiteY3762" fmla="*/ 636814 h 2146918"/>
              <a:gd name="connsiteX3763" fmla="*/ 803599 w 5521505"/>
              <a:gd name="connsiteY3763" fmla="*/ 643062 h 2146918"/>
              <a:gd name="connsiteX3764" fmla="*/ 794369 w 5521505"/>
              <a:gd name="connsiteY3764" fmla="*/ 649150 h 2146918"/>
              <a:gd name="connsiteX3765" fmla="*/ 789498 w 5521505"/>
              <a:gd name="connsiteY3765" fmla="*/ 652608 h 2146918"/>
              <a:gd name="connsiteX3766" fmla="*/ 782387 w 5521505"/>
              <a:gd name="connsiteY3766" fmla="*/ 657479 h 2146918"/>
              <a:gd name="connsiteX3767" fmla="*/ 782155 w 5521505"/>
              <a:gd name="connsiteY3767" fmla="*/ 657649 h 2146918"/>
              <a:gd name="connsiteX3768" fmla="*/ 774654 w 5521505"/>
              <a:gd name="connsiteY3768" fmla="*/ 662800 h 2146918"/>
              <a:gd name="connsiteX3769" fmla="*/ 752736 w 5521505"/>
              <a:gd name="connsiteY3769" fmla="*/ 680237 h 2146918"/>
              <a:gd name="connsiteX3770" fmla="*/ 741521 w 5521505"/>
              <a:gd name="connsiteY3770" fmla="*/ 691050 h 2146918"/>
              <a:gd name="connsiteX3771" fmla="*/ 729624 w 5521505"/>
              <a:gd name="connsiteY3771" fmla="*/ 703044 h 2146918"/>
              <a:gd name="connsiteX3772" fmla="*/ 714257 w 5521505"/>
              <a:gd name="connsiteY3772" fmla="*/ 718716 h 2146918"/>
              <a:gd name="connsiteX3773" fmla="*/ 699743 w 5521505"/>
              <a:gd name="connsiteY3773" fmla="*/ 734156 h 2146918"/>
              <a:gd name="connsiteX3774" fmla="*/ 699268 w 5521505"/>
              <a:gd name="connsiteY3774" fmla="*/ 742850 h 2146918"/>
              <a:gd name="connsiteX3775" fmla="*/ 716790 w 5521505"/>
              <a:gd name="connsiteY3775" fmla="*/ 737505 h 2146918"/>
              <a:gd name="connsiteX3776" fmla="*/ 829389 w 5521505"/>
              <a:gd name="connsiteY3776" fmla="*/ 613642 h 2146918"/>
              <a:gd name="connsiteX3777" fmla="*/ 842589 w 5521505"/>
              <a:gd name="connsiteY3777" fmla="*/ 606531 h 2146918"/>
              <a:gd name="connsiteX3778" fmla="*/ 857798 w 5521505"/>
              <a:gd name="connsiteY3778" fmla="*/ 596047 h 2146918"/>
              <a:gd name="connsiteX3779" fmla="*/ 866492 w 5521505"/>
              <a:gd name="connsiteY3779" fmla="*/ 589057 h 2146918"/>
              <a:gd name="connsiteX3780" fmla="*/ 870839 w 5521505"/>
              <a:gd name="connsiteY3780" fmla="*/ 585745 h 2146918"/>
              <a:gd name="connsiteX3781" fmla="*/ 877926 w 5521505"/>
              <a:gd name="connsiteY3781" fmla="*/ 580533 h 2146918"/>
              <a:gd name="connsiteX3782" fmla="*/ 886742 w 5521505"/>
              <a:gd name="connsiteY3782" fmla="*/ 574250 h 2146918"/>
              <a:gd name="connsiteX3783" fmla="*/ 895437 w 5521505"/>
              <a:gd name="connsiteY3783" fmla="*/ 568088 h 2146918"/>
              <a:gd name="connsiteX3784" fmla="*/ 903960 w 5521505"/>
              <a:gd name="connsiteY3784" fmla="*/ 562097 h 2146918"/>
              <a:gd name="connsiteX3785" fmla="*/ 915285 w 5521505"/>
              <a:gd name="connsiteY3785" fmla="*/ 554219 h 2146918"/>
              <a:gd name="connsiteX3786" fmla="*/ 924795 w 5521505"/>
              <a:gd name="connsiteY3786" fmla="*/ 545695 h 2146918"/>
              <a:gd name="connsiteX3787" fmla="*/ 924003 w 5521505"/>
              <a:gd name="connsiteY3787" fmla="*/ 543905 h 2146918"/>
              <a:gd name="connsiteX3788" fmla="*/ 921836 w 5521505"/>
              <a:gd name="connsiteY3788" fmla="*/ 544831 h 2146918"/>
              <a:gd name="connsiteX3789" fmla="*/ 915748 w 5521505"/>
              <a:gd name="connsiteY3789" fmla="*/ 547375 h 2146918"/>
              <a:gd name="connsiteX3790" fmla="*/ 910548 w 5521505"/>
              <a:gd name="connsiteY3790" fmla="*/ 549982 h 2146918"/>
              <a:gd name="connsiteX3791" fmla="*/ 907784 w 5521505"/>
              <a:gd name="connsiteY3791" fmla="*/ 551637 h 2146918"/>
              <a:gd name="connsiteX3792" fmla="*/ 905799 w 5521505"/>
              <a:gd name="connsiteY3792" fmla="*/ 552855 h 2146918"/>
              <a:gd name="connsiteX3793" fmla="*/ 900624 w 5521505"/>
              <a:gd name="connsiteY3793" fmla="*/ 555972 h 2146918"/>
              <a:gd name="connsiteX3794" fmla="*/ 895083 w 5521505"/>
              <a:gd name="connsiteY3794" fmla="*/ 559333 h 2146918"/>
              <a:gd name="connsiteX3795" fmla="*/ 889994 w 5521505"/>
              <a:gd name="connsiteY3795" fmla="*/ 562451 h 2146918"/>
              <a:gd name="connsiteX3796" fmla="*/ 884027 w 5521505"/>
              <a:gd name="connsiteY3796" fmla="*/ 566104 h 2146918"/>
              <a:gd name="connsiteX3797" fmla="*/ 876222 w 5521505"/>
              <a:gd name="connsiteY3797" fmla="*/ 571048 h 2146918"/>
              <a:gd name="connsiteX3798" fmla="*/ 870316 w 5521505"/>
              <a:gd name="connsiteY3798" fmla="*/ 574883 h 2146918"/>
              <a:gd name="connsiteX3799" fmla="*/ 864300 w 5521505"/>
              <a:gd name="connsiteY3799" fmla="*/ 578914 h 2146918"/>
              <a:gd name="connsiteX3800" fmla="*/ 859430 w 5521505"/>
              <a:gd name="connsiteY3800" fmla="*/ 582226 h 2146918"/>
              <a:gd name="connsiteX3801" fmla="*/ 849420 w 5521505"/>
              <a:gd name="connsiteY3801" fmla="*/ 589593 h 2146918"/>
              <a:gd name="connsiteX3802" fmla="*/ 849238 w 5521505"/>
              <a:gd name="connsiteY3802" fmla="*/ 589727 h 2146918"/>
              <a:gd name="connsiteX3803" fmla="*/ 839728 w 5521505"/>
              <a:gd name="connsiteY3803" fmla="*/ 597240 h 2146918"/>
              <a:gd name="connsiteX3804" fmla="*/ 832032 w 5521505"/>
              <a:gd name="connsiteY3804" fmla="*/ 603535 h 2146918"/>
              <a:gd name="connsiteX3805" fmla="*/ 824969 w 5521505"/>
              <a:gd name="connsiteY3805" fmla="*/ 609380 h 2146918"/>
              <a:gd name="connsiteX3806" fmla="*/ 821048 w 5521505"/>
              <a:gd name="connsiteY3806" fmla="*/ 613228 h 2146918"/>
              <a:gd name="connsiteX3807" fmla="*/ 816701 w 5521505"/>
              <a:gd name="connsiteY3807" fmla="*/ 619535 h 2146918"/>
              <a:gd name="connsiteX3808" fmla="*/ 819721 w 5521505"/>
              <a:gd name="connsiteY3808" fmla="*/ 618196 h 2146918"/>
              <a:gd name="connsiteX3809" fmla="*/ 829450 w 5521505"/>
              <a:gd name="connsiteY3809" fmla="*/ 613642 h 2146918"/>
              <a:gd name="connsiteX3810" fmla="*/ 887997 w 5521505"/>
              <a:gd name="connsiteY3810" fmla="*/ 578731 h 2146918"/>
              <a:gd name="connsiteX3811" fmla="*/ 875357 w 5521505"/>
              <a:gd name="connsiteY3811" fmla="*/ 594184 h 2146918"/>
              <a:gd name="connsiteX3812" fmla="*/ 881056 w 5521505"/>
              <a:gd name="connsiteY3812" fmla="*/ 591748 h 2146918"/>
              <a:gd name="connsiteX3813" fmla="*/ 894000 w 5521505"/>
              <a:gd name="connsiteY3813" fmla="*/ 585660 h 2146918"/>
              <a:gd name="connsiteX3814" fmla="*/ 904959 w 5521505"/>
              <a:gd name="connsiteY3814" fmla="*/ 579425 h 2146918"/>
              <a:gd name="connsiteX3815" fmla="*/ 918268 w 5521505"/>
              <a:gd name="connsiteY3815" fmla="*/ 573118 h 2146918"/>
              <a:gd name="connsiteX3816" fmla="*/ 938969 w 5521505"/>
              <a:gd name="connsiteY3816" fmla="*/ 562560 h 2146918"/>
              <a:gd name="connsiteX3817" fmla="*/ 964138 w 5521505"/>
              <a:gd name="connsiteY3817" fmla="*/ 547948 h 2146918"/>
              <a:gd name="connsiteX3818" fmla="*/ 977070 w 5521505"/>
              <a:gd name="connsiteY3818" fmla="*/ 539729 h 2146918"/>
              <a:gd name="connsiteX3819" fmla="*/ 996553 w 5521505"/>
              <a:gd name="connsiteY3819" fmla="*/ 528136 h 2146918"/>
              <a:gd name="connsiteX3820" fmla="*/ 1005966 w 5521505"/>
              <a:gd name="connsiteY3820" fmla="*/ 522754 h 2146918"/>
              <a:gd name="connsiteX3821" fmla="*/ 1015074 w 5521505"/>
              <a:gd name="connsiteY3821" fmla="*/ 517579 h 2146918"/>
              <a:gd name="connsiteX3822" fmla="*/ 1024170 w 5521505"/>
              <a:gd name="connsiteY3822" fmla="*/ 512306 h 2146918"/>
              <a:gd name="connsiteX3823" fmla="*/ 1035665 w 5521505"/>
              <a:gd name="connsiteY3823" fmla="*/ 502382 h 2146918"/>
              <a:gd name="connsiteX3824" fmla="*/ 1039757 w 5521505"/>
              <a:gd name="connsiteY3824" fmla="*/ 492190 h 2146918"/>
              <a:gd name="connsiteX3825" fmla="*/ 1018983 w 5521505"/>
              <a:gd name="connsiteY3825" fmla="*/ 503393 h 2146918"/>
              <a:gd name="connsiteX3826" fmla="*/ 1012310 w 5521505"/>
              <a:gd name="connsiteY3826" fmla="*/ 501359 h 2146918"/>
              <a:gd name="connsiteX3827" fmla="*/ 1003165 w 5521505"/>
              <a:gd name="connsiteY3827" fmla="*/ 506230 h 2146918"/>
              <a:gd name="connsiteX3828" fmla="*/ 995676 w 5521505"/>
              <a:gd name="connsiteY3828" fmla="*/ 510553 h 2146918"/>
              <a:gd name="connsiteX3829" fmla="*/ 990635 w 5521505"/>
              <a:gd name="connsiteY3829" fmla="*/ 516300 h 2146918"/>
              <a:gd name="connsiteX3830" fmla="*/ 985764 w 5521505"/>
              <a:gd name="connsiteY3830" fmla="*/ 522657 h 2146918"/>
              <a:gd name="connsiteX3831" fmla="*/ 961411 w 5521505"/>
              <a:gd name="connsiteY3831" fmla="*/ 536307 h 2146918"/>
              <a:gd name="connsiteX3832" fmla="*/ 957539 w 5521505"/>
              <a:gd name="connsiteY3832" fmla="*/ 537354 h 2146918"/>
              <a:gd name="connsiteX3833" fmla="*/ 955517 w 5521505"/>
              <a:gd name="connsiteY3833" fmla="*/ 538073 h 2146918"/>
              <a:gd name="connsiteX3834" fmla="*/ 951560 w 5521505"/>
              <a:gd name="connsiteY3834" fmla="*/ 539108 h 2146918"/>
              <a:gd name="connsiteX3835" fmla="*/ 950196 w 5521505"/>
              <a:gd name="connsiteY3835" fmla="*/ 539315 h 2146918"/>
              <a:gd name="connsiteX3836" fmla="*/ 944400 w 5521505"/>
              <a:gd name="connsiteY3836" fmla="*/ 540630 h 2146918"/>
              <a:gd name="connsiteX3837" fmla="*/ 914469 w 5521505"/>
              <a:gd name="connsiteY3837" fmla="*/ 557495 h 2146918"/>
              <a:gd name="connsiteX3838" fmla="*/ 888057 w 5521505"/>
              <a:gd name="connsiteY3838" fmla="*/ 578731 h 2146918"/>
              <a:gd name="connsiteX3839" fmla="*/ 1004285 w 5521505"/>
              <a:gd name="connsiteY3839" fmla="*/ 498145 h 2146918"/>
              <a:gd name="connsiteX3840" fmla="*/ 1025753 w 5521505"/>
              <a:gd name="connsiteY3840" fmla="*/ 480659 h 2146918"/>
              <a:gd name="connsiteX3841" fmla="*/ 1011141 w 5521505"/>
              <a:gd name="connsiteY3841" fmla="*/ 485785 h 2146918"/>
              <a:gd name="connsiteX3842" fmla="*/ 983037 w 5521505"/>
              <a:gd name="connsiteY3842" fmla="*/ 506997 h 2146918"/>
              <a:gd name="connsiteX3843" fmla="*/ 1004346 w 5521505"/>
              <a:gd name="connsiteY3843" fmla="*/ 498145 h 2146918"/>
              <a:gd name="connsiteX3844" fmla="*/ 1066972 w 5521505"/>
              <a:gd name="connsiteY3844" fmla="*/ 479283 h 2146918"/>
              <a:gd name="connsiteX3845" fmla="*/ 1077931 w 5521505"/>
              <a:gd name="connsiteY3845" fmla="*/ 476007 h 2146918"/>
              <a:gd name="connsiteX3846" fmla="*/ 1080659 w 5521505"/>
              <a:gd name="connsiteY3846" fmla="*/ 474789 h 2146918"/>
              <a:gd name="connsiteX3847" fmla="*/ 1089182 w 5521505"/>
              <a:gd name="connsiteY3847" fmla="*/ 468591 h 2146918"/>
              <a:gd name="connsiteX3848" fmla="*/ 1089925 w 5521505"/>
              <a:gd name="connsiteY3848" fmla="*/ 464817 h 2146918"/>
              <a:gd name="connsiteX3849" fmla="*/ 1082132 w 5521505"/>
              <a:gd name="connsiteY3849" fmla="*/ 463964 h 2146918"/>
              <a:gd name="connsiteX3850" fmla="*/ 1074521 w 5521505"/>
              <a:gd name="connsiteY3850" fmla="*/ 466399 h 2146918"/>
              <a:gd name="connsiteX3851" fmla="*/ 1070868 w 5521505"/>
              <a:gd name="connsiteY3851" fmla="*/ 467617 h 2146918"/>
              <a:gd name="connsiteX3852" fmla="*/ 1061541 w 5521505"/>
              <a:gd name="connsiteY3852" fmla="*/ 477006 h 2146918"/>
              <a:gd name="connsiteX3853" fmla="*/ 1067033 w 5521505"/>
              <a:gd name="connsiteY3853" fmla="*/ 479283 h 2146918"/>
              <a:gd name="connsiteX3854" fmla="*/ 1114230 w 5521505"/>
              <a:gd name="connsiteY3854" fmla="*/ 462625 h 2146918"/>
              <a:gd name="connsiteX3855" fmla="*/ 1132873 w 5521505"/>
              <a:gd name="connsiteY3855" fmla="*/ 451848 h 2146918"/>
              <a:gd name="connsiteX3856" fmla="*/ 1148471 w 5521505"/>
              <a:gd name="connsiteY3856" fmla="*/ 438673 h 2146918"/>
              <a:gd name="connsiteX3857" fmla="*/ 1161988 w 5521505"/>
              <a:gd name="connsiteY3857" fmla="*/ 425583 h 2146918"/>
              <a:gd name="connsiteX3858" fmla="*/ 1154280 w 5521505"/>
              <a:gd name="connsiteY3858" fmla="*/ 426801 h 2146918"/>
              <a:gd name="connsiteX3859" fmla="*/ 1151430 w 5521505"/>
              <a:gd name="connsiteY3859" fmla="*/ 427714 h 2146918"/>
              <a:gd name="connsiteX3860" fmla="*/ 1142907 w 5521505"/>
              <a:gd name="connsiteY3860" fmla="*/ 431598 h 2146918"/>
              <a:gd name="connsiteX3861" fmla="*/ 1136404 w 5521505"/>
              <a:gd name="connsiteY3861" fmla="*/ 434581 h 2146918"/>
              <a:gd name="connsiteX3862" fmla="*/ 1121792 w 5521505"/>
              <a:gd name="connsiteY3862" fmla="*/ 442009 h 2146918"/>
              <a:gd name="connsiteX3863" fmla="*/ 1097438 w 5521505"/>
              <a:gd name="connsiteY3863" fmla="*/ 463161 h 2146918"/>
              <a:gd name="connsiteX3864" fmla="*/ 1100982 w 5521505"/>
              <a:gd name="connsiteY3864" fmla="*/ 466509 h 2146918"/>
              <a:gd name="connsiteX3865" fmla="*/ 1114291 w 5521505"/>
              <a:gd name="connsiteY3865" fmla="*/ 462576 h 2146918"/>
              <a:gd name="connsiteX3866" fmla="*/ 1035848 w 5521505"/>
              <a:gd name="connsiteY3866" fmla="*/ 525129 h 2146918"/>
              <a:gd name="connsiteX3867" fmla="*/ 1033193 w 5521505"/>
              <a:gd name="connsiteY3867" fmla="*/ 529585 h 2146918"/>
              <a:gd name="connsiteX3868" fmla="*/ 1034837 w 5521505"/>
              <a:gd name="connsiteY3868" fmla="*/ 534261 h 2146918"/>
              <a:gd name="connsiteX3869" fmla="*/ 1042265 w 5521505"/>
              <a:gd name="connsiteY3869" fmla="*/ 533567 h 2146918"/>
              <a:gd name="connsiteX3870" fmla="*/ 1053480 w 5521505"/>
              <a:gd name="connsiteY3870" fmla="*/ 531619 h 2146918"/>
              <a:gd name="connsiteX3871" fmla="*/ 1072391 w 5521505"/>
              <a:gd name="connsiteY3871" fmla="*/ 523095 h 2146918"/>
              <a:gd name="connsiteX3872" fmla="*/ 1077943 w 5521505"/>
              <a:gd name="connsiteY3872" fmla="*/ 519332 h 2146918"/>
              <a:gd name="connsiteX3873" fmla="*/ 1084032 w 5521505"/>
              <a:gd name="connsiteY3873" fmla="*/ 515010 h 2146918"/>
              <a:gd name="connsiteX3874" fmla="*/ 1093043 w 5521505"/>
              <a:gd name="connsiteY3874" fmla="*/ 508215 h 2146918"/>
              <a:gd name="connsiteX3875" fmla="*/ 1106790 w 5521505"/>
              <a:gd name="connsiteY3875" fmla="*/ 496720 h 2146918"/>
              <a:gd name="connsiteX3876" fmla="*/ 1111089 w 5521505"/>
              <a:gd name="connsiteY3876" fmla="*/ 486772 h 2146918"/>
              <a:gd name="connsiteX3877" fmla="*/ 1111332 w 5521505"/>
              <a:gd name="connsiteY3877" fmla="*/ 483447 h 2146918"/>
              <a:gd name="connsiteX3878" fmla="*/ 1112160 w 5521505"/>
              <a:gd name="connsiteY3878" fmla="*/ 481730 h 2146918"/>
              <a:gd name="connsiteX3879" fmla="*/ 1113828 w 5521505"/>
              <a:gd name="connsiteY3879" fmla="*/ 478552 h 2146918"/>
              <a:gd name="connsiteX3880" fmla="*/ 1118224 w 5521505"/>
              <a:gd name="connsiteY3880" fmla="*/ 470954 h 2146918"/>
              <a:gd name="connsiteX3881" fmla="*/ 1112550 w 5521505"/>
              <a:gd name="connsiteY3881" fmla="*/ 472926 h 2146918"/>
              <a:gd name="connsiteX3882" fmla="*/ 1101384 w 5521505"/>
              <a:gd name="connsiteY3882" fmla="*/ 477505 h 2146918"/>
              <a:gd name="connsiteX3883" fmla="*/ 1094650 w 5521505"/>
              <a:gd name="connsiteY3883" fmla="*/ 481158 h 2146918"/>
              <a:gd name="connsiteX3884" fmla="*/ 1083520 w 5521505"/>
              <a:gd name="connsiteY3884" fmla="*/ 487356 h 2146918"/>
              <a:gd name="connsiteX3885" fmla="*/ 1068068 w 5521505"/>
              <a:gd name="connsiteY3885" fmla="*/ 495880 h 2146918"/>
              <a:gd name="connsiteX3886" fmla="*/ 1056159 w 5521505"/>
              <a:gd name="connsiteY3886" fmla="*/ 508057 h 2146918"/>
              <a:gd name="connsiteX3887" fmla="*/ 1055940 w 5521505"/>
              <a:gd name="connsiteY3887" fmla="*/ 511259 h 2146918"/>
              <a:gd name="connsiteX3888" fmla="*/ 1035909 w 5521505"/>
              <a:gd name="connsiteY3888" fmla="*/ 525129 h 2146918"/>
              <a:gd name="connsiteX3889" fmla="*/ 1136782 w 5521505"/>
              <a:gd name="connsiteY3889" fmla="*/ 465645 h 2146918"/>
              <a:gd name="connsiteX3890" fmla="*/ 1132702 w 5521505"/>
              <a:gd name="connsiteY3890" fmla="*/ 469943 h 2146918"/>
              <a:gd name="connsiteX3891" fmla="*/ 1129841 w 5521505"/>
              <a:gd name="connsiteY3891" fmla="*/ 473085 h 2146918"/>
              <a:gd name="connsiteX3892" fmla="*/ 1126261 w 5521505"/>
              <a:gd name="connsiteY3892" fmla="*/ 479270 h 2146918"/>
              <a:gd name="connsiteX3893" fmla="*/ 1126188 w 5521505"/>
              <a:gd name="connsiteY3893" fmla="*/ 482522 h 2146918"/>
              <a:gd name="connsiteX3894" fmla="*/ 1127661 w 5521505"/>
              <a:gd name="connsiteY3894" fmla="*/ 485542 h 2146918"/>
              <a:gd name="connsiteX3895" fmla="*/ 1133007 w 5521505"/>
              <a:gd name="connsiteY3895" fmla="*/ 482656 h 2146918"/>
              <a:gd name="connsiteX3896" fmla="*/ 1136051 w 5521505"/>
              <a:gd name="connsiteY3896" fmla="*/ 481048 h 2146918"/>
              <a:gd name="connsiteX3897" fmla="*/ 1143357 w 5521505"/>
              <a:gd name="connsiteY3897" fmla="*/ 476421 h 2146918"/>
              <a:gd name="connsiteX3898" fmla="*/ 1145330 w 5521505"/>
              <a:gd name="connsiteY3898" fmla="*/ 474899 h 2146918"/>
              <a:gd name="connsiteX3899" fmla="*/ 1146548 w 5521505"/>
              <a:gd name="connsiteY3899" fmla="*/ 473962 h 2146918"/>
              <a:gd name="connsiteX3900" fmla="*/ 1148191 w 5521505"/>
              <a:gd name="connsiteY3900" fmla="*/ 472744 h 2146918"/>
              <a:gd name="connsiteX3901" fmla="*/ 1150481 w 5521505"/>
              <a:gd name="connsiteY3901" fmla="*/ 471173 h 2146918"/>
              <a:gd name="connsiteX3902" fmla="*/ 1152222 w 5521505"/>
              <a:gd name="connsiteY3902" fmla="*/ 470028 h 2146918"/>
              <a:gd name="connsiteX3903" fmla="*/ 1165190 w 5521505"/>
              <a:gd name="connsiteY3903" fmla="*/ 462466 h 2146918"/>
              <a:gd name="connsiteX3904" fmla="*/ 1169744 w 5521505"/>
              <a:gd name="connsiteY3904" fmla="*/ 460031 h 2146918"/>
              <a:gd name="connsiteX3905" fmla="*/ 1173799 w 5521505"/>
              <a:gd name="connsiteY3905" fmla="*/ 457985 h 2146918"/>
              <a:gd name="connsiteX3906" fmla="*/ 1183675 w 5521505"/>
              <a:gd name="connsiteY3906" fmla="*/ 452360 h 2146918"/>
              <a:gd name="connsiteX3907" fmla="*/ 1189020 w 5521505"/>
              <a:gd name="connsiteY3907" fmla="*/ 448524 h 2146918"/>
              <a:gd name="connsiteX3908" fmla="*/ 1192929 w 5521505"/>
              <a:gd name="connsiteY3908" fmla="*/ 445480 h 2146918"/>
              <a:gd name="connsiteX3909" fmla="*/ 1195170 w 5521505"/>
              <a:gd name="connsiteY3909" fmla="*/ 443641 h 2146918"/>
              <a:gd name="connsiteX3910" fmla="*/ 1199115 w 5521505"/>
              <a:gd name="connsiteY3910" fmla="*/ 440268 h 2146918"/>
              <a:gd name="connsiteX3911" fmla="*/ 1202439 w 5521505"/>
              <a:gd name="connsiteY3911" fmla="*/ 437248 h 2146918"/>
              <a:gd name="connsiteX3912" fmla="*/ 1209137 w 5521505"/>
              <a:gd name="connsiteY3912" fmla="*/ 430563 h 2146918"/>
              <a:gd name="connsiteX3913" fmla="*/ 1211815 w 5521505"/>
              <a:gd name="connsiteY3913" fmla="*/ 427543 h 2146918"/>
              <a:gd name="connsiteX3914" fmla="*/ 1214312 w 5521505"/>
              <a:gd name="connsiteY3914" fmla="*/ 424329 h 2146918"/>
              <a:gd name="connsiteX3915" fmla="*/ 1207006 w 5521505"/>
              <a:gd name="connsiteY3915" fmla="*/ 427141 h 2146918"/>
              <a:gd name="connsiteX3916" fmla="*/ 1204205 w 5521505"/>
              <a:gd name="connsiteY3916" fmla="*/ 428225 h 2146918"/>
              <a:gd name="connsiteX3917" fmla="*/ 1190141 w 5521505"/>
              <a:gd name="connsiteY3917" fmla="*/ 434314 h 2146918"/>
              <a:gd name="connsiteX3918" fmla="*/ 1184564 w 5521505"/>
              <a:gd name="connsiteY3918" fmla="*/ 437017 h 2146918"/>
              <a:gd name="connsiteX3919" fmla="*/ 1174092 w 5521505"/>
              <a:gd name="connsiteY3919" fmla="*/ 441279 h 2146918"/>
              <a:gd name="connsiteX3920" fmla="*/ 1158761 w 5521505"/>
              <a:gd name="connsiteY3920" fmla="*/ 447976 h 2146918"/>
              <a:gd name="connsiteX3921" fmla="*/ 1146889 w 5521505"/>
              <a:gd name="connsiteY3921" fmla="*/ 456122 h 2146918"/>
              <a:gd name="connsiteX3922" fmla="*/ 1136843 w 5521505"/>
              <a:gd name="connsiteY3922" fmla="*/ 465645 h 2146918"/>
              <a:gd name="connsiteX3923" fmla="*/ 1160514 w 5521505"/>
              <a:gd name="connsiteY3923" fmla="*/ 441778 h 2146918"/>
              <a:gd name="connsiteX3924" fmla="*/ 1175407 w 5521505"/>
              <a:gd name="connsiteY3924" fmla="*/ 438393 h 2146918"/>
              <a:gd name="connsiteX3925" fmla="*/ 1191480 w 5521505"/>
              <a:gd name="connsiteY3925" fmla="*/ 428298 h 2146918"/>
              <a:gd name="connsiteX3926" fmla="*/ 1193246 w 5521505"/>
              <a:gd name="connsiteY3926" fmla="*/ 423135 h 2146918"/>
              <a:gd name="connsiteX3927" fmla="*/ 1192028 w 5521505"/>
              <a:gd name="connsiteY3927" fmla="*/ 421455 h 2146918"/>
              <a:gd name="connsiteX3928" fmla="*/ 1183212 w 5521505"/>
              <a:gd name="connsiteY3928" fmla="*/ 422672 h 2146918"/>
              <a:gd name="connsiteX3929" fmla="*/ 1167735 w 5521505"/>
              <a:gd name="connsiteY3929" fmla="*/ 431282 h 2146918"/>
              <a:gd name="connsiteX3930" fmla="*/ 1155631 w 5521505"/>
              <a:gd name="connsiteY3930" fmla="*/ 442046 h 2146918"/>
              <a:gd name="connsiteX3931" fmla="*/ 1157507 w 5521505"/>
              <a:gd name="connsiteY3931" fmla="*/ 441973 h 2146918"/>
              <a:gd name="connsiteX3932" fmla="*/ 1160575 w 5521505"/>
              <a:gd name="connsiteY3932" fmla="*/ 441778 h 2146918"/>
              <a:gd name="connsiteX3933" fmla="*/ 1122669 w 5521505"/>
              <a:gd name="connsiteY3933" fmla="*/ 425047 h 2146918"/>
              <a:gd name="connsiteX3934" fmla="*/ 1132739 w 5521505"/>
              <a:gd name="connsiteY3934" fmla="*/ 422612 h 2146918"/>
              <a:gd name="connsiteX3935" fmla="*/ 1153038 w 5521505"/>
              <a:gd name="connsiteY3935" fmla="*/ 415135 h 2146918"/>
              <a:gd name="connsiteX3936" fmla="*/ 1168941 w 5521505"/>
              <a:gd name="connsiteY3936" fmla="*/ 406002 h 2146918"/>
              <a:gd name="connsiteX3937" fmla="*/ 1171827 w 5521505"/>
              <a:gd name="connsiteY3937" fmla="*/ 402520 h 2146918"/>
              <a:gd name="connsiteX3938" fmla="*/ 1174104 w 5521505"/>
              <a:gd name="connsiteY3938" fmla="*/ 399610 h 2146918"/>
              <a:gd name="connsiteX3939" fmla="*/ 1170828 w 5521505"/>
              <a:gd name="connsiteY3939" fmla="*/ 399756 h 2146918"/>
              <a:gd name="connsiteX3940" fmla="*/ 1164740 w 5521505"/>
              <a:gd name="connsiteY3940" fmla="*/ 400364 h 2146918"/>
              <a:gd name="connsiteX3941" fmla="*/ 1155571 w 5521505"/>
              <a:gd name="connsiteY3941" fmla="*/ 403080 h 2146918"/>
              <a:gd name="connsiteX3942" fmla="*/ 1146791 w 5521505"/>
              <a:gd name="connsiteY3942" fmla="*/ 405929 h 2146918"/>
              <a:gd name="connsiteX3943" fmla="*/ 1140569 w 5521505"/>
              <a:gd name="connsiteY3943" fmla="*/ 408024 h 2146918"/>
              <a:gd name="connsiteX3944" fmla="*/ 1137939 w 5521505"/>
              <a:gd name="connsiteY3944" fmla="*/ 408913 h 2146918"/>
              <a:gd name="connsiteX3945" fmla="*/ 1131534 w 5521505"/>
              <a:gd name="connsiteY3945" fmla="*/ 411640 h 2146918"/>
              <a:gd name="connsiteX3946" fmla="*/ 1129524 w 5521505"/>
              <a:gd name="connsiteY3946" fmla="*/ 412602 h 2146918"/>
              <a:gd name="connsiteX3947" fmla="*/ 1127211 w 5521505"/>
              <a:gd name="connsiteY3947" fmla="*/ 413820 h 2146918"/>
              <a:gd name="connsiteX3948" fmla="*/ 1125786 w 5521505"/>
              <a:gd name="connsiteY3948" fmla="*/ 414526 h 2146918"/>
              <a:gd name="connsiteX3949" fmla="*/ 1123351 w 5521505"/>
              <a:gd name="connsiteY3949" fmla="*/ 416121 h 2146918"/>
              <a:gd name="connsiteX3950" fmla="*/ 1121134 w 5521505"/>
              <a:gd name="connsiteY3950" fmla="*/ 418021 h 2146918"/>
              <a:gd name="connsiteX3951" fmla="*/ 1119247 w 5521505"/>
              <a:gd name="connsiteY3951" fmla="*/ 419738 h 2146918"/>
              <a:gd name="connsiteX3952" fmla="*/ 1117530 w 5521505"/>
              <a:gd name="connsiteY3952" fmla="*/ 422575 h 2146918"/>
              <a:gd name="connsiteX3953" fmla="*/ 1117944 w 5521505"/>
              <a:gd name="connsiteY3953" fmla="*/ 423294 h 2146918"/>
              <a:gd name="connsiteX3954" fmla="*/ 1122669 w 5521505"/>
              <a:gd name="connsiteY3954" fmla="*/ 425047 h 2146918"/>
              <a:gd name="connsiteX3955" fmla="*/ 1176710 w 5521505"/>
              <a:gd name="connsiteY3955" fmla="*/ 414964 h 2146918"/>
              <a:gd name="connsiteX3956" fmla="*/ 1219170 w 5521505"/>
              <a:gd name="connsiteY3956" fmla="*/ 396456 h 2146918"/>
              <a:gd name="connsiteX3957" fmla="*/ 1176685 w 5521505"/>
              <a:gd name="connsiteY3957" fmla="*/ 414964 h 2146918"/>
              <a:gd name="connsiteX3958" fmla="*/ 1205569 w 5521505"/>
              <a:gd name="connsiteY3958" fmla="*/ 391828 h 2146918"/>
              <a:gd name="connsiteX3959" fmla="*/ 1226562 w 5521505"/>
              <a:gd name="connsiteY3959" fmla="*/ 384328 h 2146918"/>
              <a:gd name="connsiteX3960" fmla="*/ 1231432 w 5521505"/>
              <a:gd name="connsiteY3960" fmla="*/ 381454 h 2146918"/>
              <a:gd name="connsiteX3961" fmla="*/ 1234976 w 5521505"/>
              <a:gd name="connsiteY3961" fmla="*/ 376741 h 2146918"/>
              <a:gd name="connsiteX3962" fmla="*/ 1229971 w 5521505"/>
              <a:gd name="connsiteY3962" fmla="*/ 375280 h 2146918"/>
              <a:gd name="connsiteX3963" fmla="*/ 1214056 w 5521505"/>
              <a:gd name="connsiteY3963" fmla="*/ 379591 h 2146918"/>
              <a:gd name="connsiteX3964" fmla="*/ 1201392 w 5521505"/>
              <a:gd name="connsiteY3964" fmla="*/ 385119 h 2146918"/>
              <a:gd name="connsiteX3965" fmla="*/ 1193708 w 5521505"/>
              <a:gd name="connsiteY3965" fmla="*/ 389417 h 2146918"/>
              <a:gd name="connsiteX3966" fmla="*/ 1192832 w 5521505"/>
              <a:gd name="connsiteY3966" fmla="*/ 390526 h 2146918"/>
              <a:gd name="connsiteX3967" fmla="*/ 1192442 w 5521505"/>
              <a:gd name="connsiteY3967" fmla="*/ 391305 h 2146918"/>
              <a:gd name="connsiteX3968" fmla="*/ 1191821 w 5521505"/>
              <a:gd name="connsiteY3968" fmla="*/ 392449 h 2146918"/>
              <a:gd name="connsiteX3969" fmla="*/ 1205544 w 5521505"/>
              <a:gd name="connsiteY3969" fmla="*/ 391950 h 2146918"/>
              <a:gd name="connsiteX3970" fmla="*/ 1226805 w 5521505"/>
              <a:gd name="connsiteY3970" fmla="*/ 395896 h 2146918"/>
              <a:gd name="connsiteX3971" fmla="*/ 1224662 w 5521505"/>
              <a:gd name="connsiteY3971" fmla="*/ 399549 h 2146918"/>
              <a:gd name="connsiteX3972" fmla="*/ 1218902 w 5521505"/>
              <a:gd name="connsiteY3972" fmla="*/ 406465 h 2146918"/>
              <a:gd name="connsiteX3973" fmla="*/ 1216370 w 5521505"/>
              <a:gd name="connsiteY3973" fmla="*/ 408426 h 2146918"/>
              <a:gd name="connsiteX3974" fmla="*/ 1213849 w 5521505"/>
              <a:gd name="connsiteY3974" fmla="*/ 411165 h 2146918"/>
              <a:gd name="connsiteX3975" fmla="*/ 1212169 w 5521505"/>
              <a:gd name="connsiteY3975" fmla="*/ 413601 h 2146918"/>
              <a:gd name="connsiteX3976" fmla="*/ 1222628 w 5521505"/>
              <a:gd name="connsiteY3976" fmla="*/ 412225 h 2146918"/>
              <a:gd name="connsiteX3977" fmla="*/ 1229935 w 5521505"/>
              <a:gd name="connsiteY3977" fmla="*/ 409083 h 2146918"/>
              <a:gd name="connsiteX3978" fmla="*/ 1235426 w 5521505"/>
              <a:gd name="connsiteY3978" fmla="*/ 406404 h 2146918"/>
              <a:gd name="connsiteX3979" fmla="*/ 1261680 w 5521505"/>
              <a:gd name="connsiteY3979" fmla="*/ 394641 h 2146918"/>
              <a:gd name="connsiteX3980" fmla="*/ 1296469 w 5521505"/>
              <a:gd name="connsiteY3980" fmla="*/ 381831 h 2146918"/>
              <a:gd name="connsiteX3981" fmla="*/ 1334010 w 5521505"/>
              <a:gd name="connsiteY3981" fmla="*/ 366001 h 2146918"/>
              <a:gd name="connsiteX3982" fmla="*/ 1361396 w 5521505"/>
              <a:gd name="connsiteY3982" fmla="*/ 350866 h 2146918"/>
              <a:gd name="connsiteX3983" fmla="*/ 1374790 w 5521505"/>
              <a:gd name="connsiteY3983" fmla="*/ 338494 h 2146918"/>
              <a:gd name="connsiteX3984" fmla="*/ 1375911 w 5521505"/>
              <a:gd name="connsiteY3984" fmla="*/ 332515 h 2146918"/>
              <a:gd name="connsiteX3985" fmla="*/ 1351070 w 5521505"/>
              <a:gd name="connsiteY3985" fmla="*/ 340917 h 2146918"/>
              <a:gd name="connsiteX3986" fmla="*/ 1338406 w 5521505"/>
              <a:gd name="connsiteY3986" fmla="*/ 346762 h 2146918"/>
              <a:gd name="connsiteX3987" fmla="*/ 1323112 w 5521505"/>
              <a:gd name="connsiteY3987" fmla="*/ 353861 h 2146918"/>
              <a:gd name="connsiteX3988" fmla="*/ 1306320 w 5521505"/>
              <a:gd name="connsiteY3988" fmla="*/ 361703 h 2146918"/>
              <a:gd name="connsiteX3989" fmla="*/ 1291963 w 5521505"/>
              <a:gd name="connsiteY3989" fmla="*/ 368449 h 2146918"/>
              <a:gd name="connsiteX3990" fmla="*/ 1284207 w 5521505"/>
              <a:gd name="connsiteY3990" fmla="*/ 372102 h 2146918"/>
              <a:gd name="connsiteX3991" fmla="*/ 1281150 w 5521505"/>
              <a:gd name="connsiteY3991" fmla="*/ 373551 h 2146918"/>
              <a:gd name="connsiteX3992" fmla="*/ 1262142 w 5521505"/>
              <a:gd name="connsiteY3992" fmla="*/ 379226 h 2146918"/>
              <a:gd name="connsiteX3993" fmla="*/ 1240650 w 5521505"/>
              <a:gd name="connsiteY3993" fmla="*/ 384863 h 2146918"/>
              <a:gd name="connsiteX3994" fmla="*/ 1226781 w 5521505"/>
              <a:gd name="connsiteY3994" fmla="*/ 395957 h 2146918"/>
              <a:gd name="connsiteX3995" fmla="*/ 1275513 w 5521505"/>
              <a:gd name="connsiteY3995" fmla="*/ 354494 h 2146918"/>
              <a:gd name="connsiteX3996" fmla="*/ 1291062 w 5521505"/>
              <a:gd name="connsiteY3996" fmla="*/ 348296 h 2146918"/>
              <a:gd name="connsiteX3997" fmla="*/ 1294253 w 5521505"/>
              <a:gd name="connsiteY3997" fmla="*/ 346616 h 2146918"/>
              <a:gd name="connsiteX3998" fmla="*/ 1302460 w 5521505"/>
              <a:gd name="connsiteY3998" fmla="*/ 342172 h 2146918"/>
              <a:gd name="connsiteX3999" fmla="*/ 1339295 w 5521505"/>
              <a:gd name="connsiteY3999" fmla="*/ 322360 h 2146918"/>
              <a:gd name="connsiteX4000" fmla="*/ 1356342 w 5521505"/>
              <a:gd name="connsiteY4000" fmla="*/ 313324 h 2146918"/>
              <a:gd name="connsiteX4001" fmla="*/ 1363868 w 5521505"/>
              <a:gd name="connsiteY4001" fmla="*/ 309379 h 2146918"/>
              <a:gd name="connsiteX4002" fmla="*/ 1369542 w 5521505"/>
              <a:gd name="connsiteY4002" fmla="*/ 306481 h 2146918"/>
              <a:gd name="connsiteX4003" fmla="*/ 1372452 w 5521505"/>
              <a:gd name="connsiteY4003" fmla="*/ 304667 h 2146918"/>
              <a:gd name="connsiteX4004" fmla="*/ 1376471 w 5521505"/>
              <a:gd name="connsiteY4004" fmla="*/ 300332 h 2146918"/>
              <a:gd name="connsiteX4005" fmla="*/ 1370468 w 5521505"/>
              <a:gd name="connsiteY4005" fmla="*/ 298603 h 2146918"/>
              <a:gd name="connsiteX4006" fmla="*/ 1362090 w 5521505"/>
              <a:gd name="connsiteY4006" fmla="*/ 299686 h 2146918"/>
              <a:gd name="connsiteX4007" fmla="*/ 1340805 w 5521505"/>
              <a:gd name="connsiteY4007" fmla="*/ 303449 h 2146918"/>
              <a:gd name="connsiteX4008" fmla="*/ 1307623 w 5521505"/>
              <a:gd name="connsiteY4008" fmla="*/ 315894 h 2146918"/>
              <a:gd name="connsiteX4009" fmla="*/ 1275561 w 5521505"/>
              <a:gd name="connsiteY4009" fmla="*/ 336996 h 2146918"/>
              <a:gd name="connsiteX4010" fmla="*/ 1258294 w 5521505"/>
              <a:gd name="connsiteY4010" fmla="*/ 348588 h 2146918"/>
              <a:gd name="connsiteX4011" fmla="*/ 1264188 w 5521505"/>
              <a:gd name="connsiteY4011" fmla="*/ 356394 h 2146918"/>
              <a:gd name="connsiteX4012" fmla="*/ 1275525 w 5521505"/>
              <a:gd name="connsiteY4012" fmla="*/ 354567 h 2146918"/>
              <a:gd name="connsiteX4013" fmla="*/ 1362053 w 5521505"/>
              <a:gd name="connsiteY4013" fmla="*/ 292770 h 2146918"/>
              <a:gd name="connsiteX4014" fmla="*/ 1384045 w 5521505"/>
              <a:gd name="connsiteY4014" fmla="*/ 286949 h 2146918"/>
              <a:gd name="connsiteX4015" fmla="*/ 1399168 w 5521505"/>
              <a:gd name="connsiteY4015" fmla="*/ 282212 h 2146918"/>
              <a:gd name="connsiteX4016" fmla="*/ 1394066 w 5521505"/>
              <a:gd name="connsiteY4016" fmla="*/ 287485 h 2146918"/>
              <a:gd name="connsiteX4017" fmla="*/ 1393567 w 5521505"/>
              <a:gd name="connsiteY4017" fmla="*/ 291832 h 2146918"/>
              <a:gd name="connsiteX4018" fmla="*/ 1395065 w 5521505"/>
              <a:gd name="connsiteY4018" fmla="*/ 293220 h 2146918"/>
              <a:gd name="connsiteX4019" fmla="*/ 1391412 w 5521505"/>
              <a:gd name="connsiteY4019" fmla="*/ 296642 h 2146918"/>
              <a:gd name="connsiteX4020" fmla="*/ 1382547 w 5521505"/>
              <a:gd name="connsiteY4020" fmla="*/ 303778 h 2146918"/>
              <a:gd name="connsiteX4021" fmla="*/ 1376459 w 5521505"/>
              <a:gd name="connsiteY4021" fmla="*/ 307991 h 2146918"/>
              <a:gd name="connsiteX4022" fmla="*/ 1372708 w 5521505"/>
              <a:gd name="connsiteY4022" fmla="*/ 310426 h 2146918"/>
              <a:gd name="connsiteX4023" fmla="*/ 1345152 w 5521505"/>
              <a:gd name="connsiteY4023" fmla="*/ 324479 h 2146918"/>
              <a:gd name="connsiteX4024" fmla="*/ 1340659 w 5521505"/>
              <a:gd name="connsiteY4024" fmla="*/ 326366 h 2146918"/>
              <a:gd name="connsiteX4025" fmla="*/ 1327033 w 5521505"/>
              <a:gd name="connsiteY4025" fmla="*/ 333976 h 2146918"/>
              <a:gd name="connsiteX4026" fmla="*/ 1324171 w 5521505"/>
              <a:gd name="connsiteY4026" fmla="*/ 336668 h 2146918"/>
              <a:gd name="connsiteX4027" fmla="*/ 1303994 w 5521505"/>
              <a:gd name="connsiteY4027" fmla="*/ 349405 h 2146918"/>
              <a:gd name="connsiteX4028" fmla="*/ 1297845 w 5521505"/>
              <a:gd name="connsiteY4028" fmla="*/ 352790 h 2146918"/>
              <a:gd name="connsiteX4029" fmla="*/ 1293169 w 5521505"/>
              <a:gd name="connsiteY4029" fmla="*/ 355566 h 2146918"/>
              <a:gd name="connsiteX4030" fmla="*/ 1287397 w 5521505"/>
              <a:gd name="connsiteY4030" fmla="*/ 359389 h 2146918"/>
              <a:gd name="connsiteX4031" fmla="*/ 1281930 w 5521505"/>
              <a:gd name="connsiteY4031" fmla="*/ 363323 h 2146918"/>
              <a:gd name="connsiteX4032" fmla="*/ 1278350 w 5521505"/>
              <a:gd name="connsiteY4032" fmla="*/ 366014 h 2146918"/>
              <a:gd name="connsiteX4033" fmla="*/ 1274697 w 5521505"/>
              <a:gd name="connsiteY4033" fmla="*/ 370592 h 2146918"/>
              <a:gd name="connsiteX4034" fmla="*/ 1272943 w 5521505"/>
              <a:gd name="connsiteY4034" fmla="*/ 373624 h 2146918"/>
              <a:gd name="connsiteX4035" fmla="*/ 1278070 w 5521505"/>
              <a:gd name="connsiteY4035" fmla="*/ 371712 h 2146918"/>
              <a:gd name="connsiteX4036" fmla="*/ 1300451 w 5521505"/>
              <a:gd name="connsiteY4036" fmla="*/ 362397 h 2146918"/>
              <a:gd name="connsiteX4037" fmla="*/ 1328457 w 5521505"/>
              <a:gd name="connsiteY4037" fmla="*/ 348929 h 2146918"/>
              <a:gd name="connsiteX4038" fmla="*/ 1348537 w 5521505"/>
              <a:gd name="connsiteY4038" fmla="*/ 339079 h 2146918"/>
              <a:gd name="connsiteX4039" fmla="*/ 1372586 w 5521505"/>
              <a:gd name="connsiteY4039" fmla="*/ 328996 h 2146918"/>
              <a:gd name="connsiteX4040" fmla="*/ 1403942 w 5521505"/>
              <a:gd name="connsiteY4040" fmla="*/ 315943 h 2146918"/>
              <a:gd name="connsiteX4041" fmla="*/ 1424642 w 5521505"/>
              <a:gd name="connsiteY4041" fmla="*/ 300904 h 2146918"/>
              <a:gd name="connsiteX4042" fmla="*/ 1428916 w 5521505"/>
              <a:gd name="connsiteY4042" fmla="*/ 296922 h 2146918"/>
              <a:gd name="connsiteX4043" fmla="*/ 1433105 w 5521505"/>
              <a:gd name="connsiteY4043" fmla="*/ 294487 h 2146918"/>
              <a:gd name="connsiteX4044" fmla="*/ 1469904 w 5521505"/>
              <a:gd name="connsiteY4044" fmla="*/ 273786 h 2146918"/>
              <a:gd name="connsiteX4045" fmla="*/ 1487317 w 5521505"/>
              <a:gd name="connsiteY4045" fmla="*/ 264179 h 2146918"/>
              <a:gd name="connsiteX4046" fmla="*/ 1502806 w 5521505"/>
              <a:gd name="connsiteY4046" fmla="*/ 255204 h 2146918"/>
              <a:gd name="connsiteX4047" fmla="*/ 1539056 w 5521505"/>
              <a:gd name="connsiteY4047" fmla="*/ 237073 h 2146918"/>
              <a:gd name="connsiteX4048" fmla="*/ 1551744 w 5521505"/>
              <a:gd name="connsiteY4048" fmla="*/ 231179 h 2146918"/>
              <a:gd name="connsiteX4049" fmla="*/ 1587508 w 5521505"/>
              <a:gd name="connsiteY4049" fmla="*/ 214034 h 2146918"/>
              <a:gd name="connsiteX4050" fmla="*/ 1628751 w 5521505"/>
              <a:gd name="connsiteY4050" fmla="*/ 193797 h 2146918"/>
              <a:gd name="connsiteX4051" fmla="*/ 1653470 w 5521505"/>
              <a:gd name="connsiteY4051" fmla="*/ 181802 h 2146918"/>
              <a:gd name="connsiteX4052" fmla="*/ 1692850 w 5521505"/>
              <a:gd name="connsiteY4052" fmla="*/ 163720 h 2146918"/>
              <a:gd name="connsiteX4053" fmla="*/ 1706171 w 5521505"/>
              <a:gd name="connsiteY4053" fmla="*/ 157826 h 2146918"/>
              <a:gd name="connsiteX4054" fmla="*/ 1714597 w 5521505"/>
              <a:gd name="connsiteY4054" fmla="*/ 154100 h 2146918"/>
              <a:gd name="connsiteX4055" fmla="*/ 1721782 w 5521505"/>
              <a:gd name="connsiteY4055" fmla="*/ 150350 h 2146918"/>
              <a:gd name="connsiteX4056" fmla="*/ 1723767 w 5521505"/>
              <a:gd name="connsiteY4056" fmla="*/ 149241 h 2146918"/>
              <a:gd name="connsiteX4057" fmla="*/ 1721660 w 5521505"/>
              <a:gd name="connsiteY4057" fmla="*/ 148791 h 2146918"/>
              <a:gd name="connsiteX4058" fmla="*/ 1720601 w 5521505"/>
              <a:gd name="connsiteY4058" fmla="*/ 148791 h 2146918"/>
              <a:gd name="connsiteX4059" fmla="*/ 1707109 w 5521505"/>
              <a:gd name="connsiteY4059" fmla="*/ 151336 h 2146918"/>
              <a:gd name="connsiteX4060" fmla="*/ 1651850 w 5521505"/>
              <a:gd name="connsiteY4060" fmla="*/ 167774 h 2146918"/>
              <a:gd name="connsiteX4061" fmla="*/ 1641122 w 5521505"/>
              <a:gd name="connsiteY4061" fmla="*/ 172244 h 2146918"/>
              <a:gd name="connsiteX4062" fmla="*/ 1625938 w 5521505"/>
              <a:gd name="connsiteY4062" fmla="*/ 178466 h 2146918"/>
              <a:gd name="connsiteX4063" fmla="*/ 1560901 w 5521505"/>
              <a:gd name="connsiteY4063" fmla="*/ 200664 h 2146918"/>
              <a:gd name="connsiteX4064" fmla="*/ 1531592 w 5521505"/>
              <a:gd name="connsiteY4064" fmla="*/ 210028 h 2146918"/>
              <a:gd name="connsiteX4065" fmla="*/ 1472071 w 5521505"/>
              <a:gd name="connsiteY4065" fmla="*/ 233639 h 2146918"/>
              <a:gd name="connsiteX4066" fmla="*/ 1435991 w 5521505"/>
              <a:gd name="connsiteY4066" fmla="*/ 250979 h 2146918"/>
              <a:gd name="connsiteX4067" fmla="*/ 1425787 w 5521505"/>
              <a:gd name="connsiteY4067" fmla="*/ 256239 h 2146918"/>
              <a:gd name="connsiteX4068" fmla="*/ 1411832 w 5521505"/>
              <a:gd name="connsiteY4068" fmla="*/ 263485 h 2146918"/>
              <a:gd name="connsiteX4069" fmla="*/ 1387941 w 5521505"/>
              <a:gd name="connsiteY4069" fmla="*/ 275381 h 2146918"/>
              <a:gd name="connsiteX4070" fmla="*/ 1370955 w 5521505"/>
              <a:gd name="connsiteY4070" fmla="*/ 283029 h 2146918"/>
              <a:gd name="connsiteX4071" fmla="*/ 1361213 w 5521505"/>
              <a:gd name="connsiteY4071" fmla="*/ 287473 h 2146918"/>
              <a:gd name="connsiteX4072" fmla="*/ 1357974 w 5521505"/>
              <a:gd name="connsiteY4072" fmla="*/ 289263 h 2146918"/>
              <a:gd name="connsiteX4073" fmla="*/ 1354711 w 5521505"/>
              <a:gd name="connsiteY4073" fmla="*/ 291126 h 2146918"/>
              <a:gd name="connsiteX4074" fmla="*/ 1350668 w 5521505"/>
              <a:gd name="connsiteY4074" fmla="*/ 293367 h 2146918"/>
              <a:gd name="connsiteX4075" fmla="*/ 1362066 w 5521505"/>
              <a:gd name="connsiteY4075" fmla="*/ 292843 h 2146918"/>
              <a:gd name="connsiteX4076" fmla="*/ 2147618 w 5521505"/>
              <a:gd name="connsiteY4076" fmla="*/ 155707 h 2146918"/>
              <a:gd name="connsiteX4077" fmla="*/ 2150054 w 5521505"/>
              <a:gd name="connsiteY4077" fmla="*/ 154636 h 2146918"/>
              <a:gd name="connsiteX4078" fmla="*/ 2163667 w 5521505"/>
              <a:gd name="connsiteY4078" fmla="*/ 148973 h 2146918"/>
              <a:gd name="connsiteX4079" fmla="*/ 2169878 w 5521505"/>
              <a:gd name="connsiteY4079" fmla="*/ 146648 h 2146918"/>
              <a:gd name="connsiteX4080" fmla="*/ 2174967 w 5521505"/>
              <a:gd name="connsiteY4080" fmla="*/ 144736 h 2146918"/>
              <a:gd name="connsiteX4081" fmla="*/ 2176624 w 5521505"/>
              <a:gd name="connsiteY4081" fmla="*/ 144091 h 2146918"/>
              <a:gd name="connsiteX4082" fmla="*/ 2177671 w 5521505"/>
              <a:gd name="connsiteY4082" fmla="*/ 143652 h 2146918"/>
              <a:gd name="connsiteX4083" fmla="*/ 2181263 w 5521505"/>
              <a:gd name="connsiteY4083" fmla="*/ 139658 h 2146918"/>
              <a:gd name="connsiteX4084" fmla="*/ 2180727 w 5521505"/>
              <a:gd name="connsiteY4084" fmla="*/ 136821 h 2146918"/>
              <a:gd name="connsiteX4085" fmla="*/ 2192673 w 5521505"/>
              <a:gd name="connsiteY4085" fmla="*/ 134069 h 2146918"/>
              <a:gd name="connsiteX4086" fmla="*/ 2203157 w 5521505"/>
              <a:gd name="connsiteY4086" fmla="*/ 129198 h 2146918"/>
              <a:gd name="connsiteX4087" fmla="*/ 2200600 w 5521505"/>
              <a:gd name="connsiteY4087" fmla="*/ 120675 h 2146918"/>
              <a:gd name="connsiteX4088" fmla="*/ 2185513 w 5521505"/>
              <a:gd name="connsiteY4088" fmla="*/ 117777 h 2146918"/>
              <a:gd name="connsiteX4089" fmla="*/ 2177257 w 5521505"/>
              <a:gd name="connsiteY4089" fmla="*/ 117777 h 2146918"/>
              <a:gd name="connsiteX4090" fmla="*/ 2169378 w 5521505"/>
              <a:gd name="connsiteY4090" fmla="*/ 117082 h 2146918"/>
              <a:gd name="connsiteX4091" fmla="*/ 2166626 w 5521505"/>
              <a:gd name="connsiteY4091" fmla="*/ 115475 h 2146918"/>
              <a:gd name="connsiteX4092" fmla="*/ 2191236 w 5521505"/>
              <a:gd name="connsiteY4092" fmla="*/ 107292 h 2146918"/>
              <a:gd name="connsiteX4093" fmla="*/ 2201830 w 5521505"/>
              <a:gd name="connsiteY4093" fmla="*/ 105015 h 2146918"/>
              <a:gd name="connsiteX4094" fmla="*/ 2214299 w 5521505"/>
              <a:gd name="connsiteY4094" fmla="*/ 101910 h 2146918"/>
              <a:gd name="connsiteX4095" fmla="*/ 2247395 w 5521505"/>
              <a:gd name="connsiteY4095" fmla="*/ 86397 h 2146918"/>
              <a:gd name="connsiteX4096" fmla="*/ 2252948 w 5521505"/>
              <a:gd name="connsiteY4096" fmla="*/ 81879 h 2146918"/>
              <a:gd name="connsiteX4097" fmla="*/ 2256711 w 5521505"/>
              <a:gd name="connsiteY4097" fmla="*/ 79091 h 2146918"/>
              <a:gd name="connsiteX4098" fmla="*/ 2259451 w 5521505"/>
              <a:gd name="connsiteY4098" fmla="*/ 76874 h 2146918"/>
              <a:gd name="connsiteX4099" fmla="*/ 2260279 w 5521505"/>
              <a:gd name="connsiteY4099" fmla="*/ 76059 h 2146918"/>
              <a:gd name="connsiteX4100" fmla="*/ 2258635 w 5521505"/>
              <a:gd name="connsiteY4100" fmla="*/ 68753 h 2146918"/>
              <a:gd name="connsiteX4101" fmla="*/ 2256406 w 5521505"/>
              <a:gd name="connsiteY4101" fmla="*/ 66950 h 2146918"/>
              <a:gd name="connsiteX4102" fmla="*/ 2253618 w 5521505"/>
              <a:gd name="connsiteY4102" fmla="*/ 64515 h 2146918"/>
              <a:gd name="connsiteX4103" fmla="*/ 2256224 w 5521505"/>
              <a:gd name="connsiteY4103" fmla="*/ 63736 h 2146918"/>
              <a:gd name="connsiteX4104" fmla="*/ 2259463 w 5521505"/>
              <a:gd name="connsiteY4104" fmla="*/ 62774 h 2146918"/>
              <a:gd name="connsiteX4105" fmla="*/ 2261594 w 5521505"/>
              <a:gd name="connsiteY4105" fmla="*/ 62189 h 2146918"/>
              <a:gd name="connsiteX4106" fmla="*/ 2263396 w 5521505"/>
              <a:gd name="connsiteY4106" fmla="*/ 61726 h 2146918"/>
              <a:gd name="connsiteX4107" fmla="*/ 2275841 w 5521505"/>
              <a:gd name="connsiteY4107" fmla="*/ 57124 h 2146918"/>
              <a:gd name="connsiteX4108" fmla="*/ 2277801 w 5521505"/>
              <a:gd name="connsiteY4108" fmla="*/ 52606 h 2146918"/>
              <a:gd name="connsiteX4109" fmla="*/ 2269813 w 5521505"/>
              <a:gd name="connsiteY4109" fmla="*/ 50073 h 2146918"/>
              <a:gd name="connsiteX4110" fmla="*/ 2262361 w 5521505"/>
              <a:gd name="connsiteY4110" fmla="*/ 49282 h 2146918"/>
              <a:gd name="connsiteX4111" fmla="*/ 2269509 w 5521505"/>
              <a:gd name="connsiteY4111" fmla="*/ 45495 h 2146918"/>
              <a:gd name="connsiteX4112" fmla="*/ 2274939 w 5521505"/>
              <a:gd name="connsiteY4112" fmla="*/ 42609 h 2146918"/>
              <a:gd name="connsiteX4113" fmla="*/ 2301278 w 5521505"/>
              <a:gd name="connsiteY4113" fmla="*/ 30870 h 2146918"/>
              <a:gd name="connsiteX4114" fmla="*/ 2336834 w 5521505"/>
              <a:gd name="connsiteY4114" fmla="*/ 19594 h 2146918"/>
              <a:gd name="connsiteX4115" fmla="*/ 2352104 w 5521505"/>
              <a:gd name="connsiteY4115" fmla="*/ 15004 h 2146918"/>
              <a:gd name="connsiteX4116" fmla="*/ 2362795 w 5521505"/>
              <a:gd name="connsiteY4116" fmla="*/ 11923 h 2146918"/>
              <a:gd name="connsiteX4117" fmla="*/ 2377286 w 5521505"/>
              <a:gd name="connsiteY4117" fmla="*/ 7820 h 2146918"/>
              <a:gd name="connsiteX4118" fmla="*/ 2383265 w 5521505"/>
              <a:gd name="connsiteY4118" fmla="*/ 6102 h 2146918"/>
              <a:gd name="connsiteX4119" fmla="*/ 2387015 w 5521505"/>
              <a:gd name="connsiteY4119" fmla="*/ 5019 h 2146918"/>
              <a:gd name="connsiteX4120" fmla="*/ 2391241 w 5521505"/>
              <a:gd name="connsiteY4120" fmla="*/ 3229 h 2146918"/>
              <a:gd name="connsiteX4121" fmla="*/ 2393846 w 5521505"/>
              <a:gd name="connsiteY4121" fmla="*/ 1609 h 2146918"/>
              <a:gd name="connsiteX4122" fmla="*/ 2395210 w 5521505"/>
              <a:gd name="connsiteY4122" fmla="*/ 781 h 2146918"/>
              <a:gd name="connsiteX4123" fmla="*/ 2396197 w 5521505"/>
              <a:gd name="connsiteY4123" fmla="*/ 221 h 2146918"/>
              <a:gd name="connsiteX4124" fmla="*/ 2379149 w 5521505"/>
              <a:gd name="connsiteY4124" fmla="*/ 416 h 2146918"/>
              <a:gd name="connsiteX4125" fmla="*/ 2357231 w 5521505"/>
              <a:gd name="connsiteY4125" fmla="*/ 3363 h 2146918"/>
              <a:gd name="connsiteX4126" fmla="*/ 2346844 w 5521505"/>
              <a:gd name="connsiteY4126" fmla="*/ 5177 h 2146918"/>
              <a:gd name="connsiteX4127" fmla="*/ 2340999 w 5521505"/>
              <a:gd name="connsiteY4127" fmla="*/ 6151 h 2146918"/>
              <a:gd name="connsiteX4128" fmla="*/ 2337346 w 5521505"/>
              <a:gd name="connsiteY4128" fmla="*/ 6711 h 2146918"/>
              <a:gd name="connsiteX4129" fmla="*/ 2333035 w 5521505"/>
              <a:gd name="connsiteY4129" fmla="*/ 7308 h 2146918"/>
              <a:gd name="connsiteX4130" fmla="*/ 2324865 w 5521505"/>
              <a:gd name="connsiteY4130" fmla="*/ 8416 h 2146918"/>
              <a:gd name="connsiteX4131" fmla="*/ 2305272 w 5521505"/>
              <a:gd name="connsiteY4131" fmla="*/ 11217 h 2146918"/>
              <a:gd name="connsiteX4132" fmla="*/ 2288127 w 5521505"/>
              <a:gd name="connsiteY4132" fmla="*/ 13798 h 2146918"/>
              <a:gd name="connsiteX4133" fmla="*/ 2273880 w 5521505"/>
              <a:gd name="connsiteY4133" fmla="*/ 15978 h 2146918"/>
              <a:gd name="connsiteX4134" fmla="*/ 2271627 w 5521505"/>
              <a:gd name="connsiteY4134" fmla="*/ 13543 h 2146918"/>
              <a:gd name="connsiteX4135" fmla="*/ 2255968 w 5521505"/>
              <a:gd name="connsiteY4135" fmla="*/ 13421 h 2146918"/>
              <a:gd name="connsiteX4136" fmla="*/ 2227693 w 5521505"/>
              <a:gd name="connsiteY4136" fmla="*/ 15503 h 2146918"/>
              <a:gd name="connsiteX4137" fmla="*/ 2188423 w 5521505"/>
              <a:gd name="connsiteY4137" fmla="*/ 20654 h 2146918"/>
              <a:gd name="connsiteX4138" fmla="*/ 2141822 w 5521505"/>
              <a:gd name="connsiteY4138" fmla="*/ 29896 h 2146918"/>
              <a:gd name="connsiteX4139" fmla="*/ 2116153 w 5521505"/>
              <a:gd name="connsiteY4139" fmla="*/ 36325 h 2146918"/>
              <a:gd name="connsiteX4140" fmla="*/ 2111551 w 5521505"/>
              <a:gd name="connsiteY4140" fmla="*/ 37543 h 2146918"/>
              <a:gd name="connsiteX4141" fmla="*/ 2101809 w 5521505"/>
              <a:gd name="connsiteY4141" fmla="*/ 40125 h 2146918"/>
              <a:gd name="connsiteX4142" fmla="*/ 2094503 w 5521505"/>
              <a:gd name="connsiteY4142" fmla="*/ 42012 h 2146918"/>
              <a:gd name="connsiteX4143" fmla="*/ 2085054 w 5521505"/>
              <a:gd name="connsiteY4143" fmla="*/ 44448 h 2146918"/>
              <a:gd name="connsiteX4144" fmla="*/ 2079038 w 5521505"/>
              <a:gd name="connsiteY4144" fmla="*/ 45945 h 2146918"/>
              <a:gd name="connsiteX4145" fmla="*/ 2068286 w 5521505"/>
              <a:gd name="connsiteY4145" fmla="*/ 48624 h 2146918"/>
              <a:gd name="connsiteX4146" fmla="*/ 2060188 w 5521505"/>
              <a:gd name="connsiteY4146" fmla="*/ 50633 h 2146918"/>
              <a:gd name="connsiteX4147" fmla="*/ 2052493 w 5521505"/>
              <a:gd name="connsiteY4147" fmla="*/ 52509 h 2146918"/>
              <a:gd name="connsiteX4148" fmla="*/ 2044359 w 5521505"/>
              <a:gd name="connsiteY4148" fmla="*/ 54469 h 2146918"/>
              <a:gd name="connsiteX4149" fmla="*/ 2038952 w 5521505"/>
              <a:gd name="connsiteY4149" fmla="*/ 55760 h 2146918"/>
              <a:gd name="connsiteX4150" fmla="*/ 2027774 w 5521505"/>
              <a:gd name="connsiteY4150" fmla="*/ 58475 h 2146918"/>
              <a:gd name="connsiteX4151" fmla="*/ 2020468 w 5521505"/>
              <a:gd name="connsiteY4151" fmla="*/ 60289 h 2146918"/>
              <a:gd name="connsiteX4152" fmla="*/ 2014318 w 5521505"/>
              <a:gd name="connsiteY4152" fmla="*/ 61860 h 2146918"/>
              <a:gd name="connsiteX4153" fmla="*/ 1986032 w 5521505"/>
              <a:gd name="connsiteY4153" fmla="*/ 69897 h 2146918"/>
              <a:gd name="connsiteX4154" fmla="*/ 1979505 w 5521505"/>
              <a:gd name="connsiteY4154" fmla="*/ 71967 h 2146918"/>
              <a:gd name="connsiteX4155" fmla="*/ 1969130 w 5521505"/>
              <a:gd name="connsiteY4155" fmla="*/ 75218 h 2146918"/>
              <a:gd name="connsiteX4156" fmla="*/ 1956356 w 5521505"/>
              <a:gd name="connsiteY4156" fmla="*/ 79152 h 2146918"/>
              <a:gd name="connsiteX4157" fmla="*/ 1941744 w 5521505"/>
              <a:gd name="connsiteY4157" fmla="*/ 83596 h 2146918"/>
              <a:gd name="connsiteX4158" fmla="*/ 1925366 w 5521505"/>
              <a:gd name="connsiteY4158" fmla="*/ 88528 h 2146918"/>
              <a:gd name="connsiteX4159" fmla="*/ 1911071 w 5521505"/>
              <a:gd name="connsiteY4159" fmla="*/ 92826 h 2146918"/>
              <a:gd name="connsiteX4160" fmla="*/ 1903327 w 5521505"/>
              <a:gd name="connsiteY4160" fmla="*/ 95164 h 2146918"/>
              <a:gd name="connsiteX4161" fmla="*/ 1890845 w 5521505"/>
              <a:gd name="connsiteY4161" fmla="*/ 98963 h 2146918"/>
              <a:gd name="connsiteX4162" fmla="*/ 1880763 w 5521505"/>
              <a:gd name="connsiteY4162" fmla="*/ 101947 h 2146918"/>
              <a:gd name="connsiteX4163" fmla="*/ 1863715 w 5521505"/>
              <a:gd name="connsiteY4163" fmla="*/ 106744 h 2146918"/>
              <a:gd name="connsiteX4164" fmla="*/ 1853657 w 5521505"/>
              <a:gd name="connsiteY4164" fmla="*/ 109545 h 2146918"/>
              <a:gd name="connsiteX4165" fmla="*/ 1838521 w 5521505"/>
              <a:gd name="connsiteY4165" fmla="*/ 113892 h 2146918"/>
              <a:gd name="connsiteX4166" fmla="*/ 1831215 w 5521505"/>
              <a:gd name="connsiteY4166" fmla="*/ 116120 h 2146918"/>
              <a:gd name="connsiteX4167" fmla="*/ 1804682 w 5521505"/>
              <a:gd name="connsiteY4167" fmla="*/ 125496 h 2146918"/>
              <a:gd name="connsiteX4168" fmla="*/ 1798922 w 5521505"/>
              <a:gd name="connsiteY4168" fmla="*/ 127932 h 2146918"/>
              <a:gd name="connsiteX4169" fmla="*/ 1797144 w 5521505"/>
              <a:gd name="connsiteY4169" fmla="*/ 128711 h 2146918"/>
              <a:gd name="connsiteX4170" fmla="*/ 1796085 w 5521505"/>
              <a:gd name="connsiteY4170" fmla="*/ 129186 h 2146918"/>
              <a:gd name="connsiteX4171" fmla="*/ 1795330 w 5521505"/>
              <a:gd name="connsiteY4171" fmla="*/ 129515 h 2146918"/>
              <a:gd name="connsiteX4172" fmla="*/ 1795123 w 5521505"/>
              <a:gd name="connsiteY4172" fmla="*/ 129588 h 2146918"/>
              <a:gd name="connsiteX4173" fmla="*/ 1794879 w 5521505"/>
              <a:gd name="connsiteY4173" fmla="*/ 129673 h 2146918"/>
              <a:gd name="connsiteX4174" fmla="*/ 1794551 w 5521505"/>
              <a:gd name="connsiteY4174" fmla="*/ 129783 h 2146918"/>
              <a:gd name="connsiteX4175" fmla="*/ 1793211 w 5521505"/>
              <a:gd name="connsiteY4175" fmla="*/ 130185 h 2146918"/>
              <a:gd name="connsiteX4176" fmla="*/ 1791774 w 5521505"/>
              <a:gd name="connsiteY4176" fmla="*/ 130599 h 2146918"/>
              <a:gd name="connsiteX4177" fmla="*/ 1775396 w 5521505"/>
              <a:gd name="connsiteY4177" fmla="*/ 135737 h 2146918"/>
              <a:gd name="connsiteX4178" fmla="*/ 1755329 w 5521505"/>
              <a:gd name="connsiteY4178" fmla="*/ 142970 h 2146918"/>
              <a:gd name="connsiteX4179" fmla="*/ 1730050 w 5521505"/>
              <a:gd name="connsiteY4179" fmla="*/ 153930 h 2146918"/>
              <a:gd name="connsiteX4180" fmla="*/ 1727115 w 5521505"/>
              <a:gd name="connsiteY4180" fmla="*/ 155293 h 2146918"/>
              <a:gd name="connsiteX4181" fmla="*/ 1724290 w 5521505"/>
              <a:gd name="connsiteY4181" fmla="*/ 156584 h 2146918"/>
              <a:gd name="connsiteX4182" fmla="*/ 1721855 w 5521505"/>
              <a:gd name="connsiteY4182" fmla="*/ 157656 h 2146918"/>
              <a:gd name="connsiteX4183" fmla="*/ 1717435 w 5521505"/>
              <a:gd name="connsiteY4183" fmla="*/ 159628 h 2146918"/>
              <a:gd name="connsiteX4184" fmla="*/ 1712868 w 5521505"/>
              <a:gd name="connsiteY4184" fmla="*/ 161638 h 2146918"/>
              <a:gd name="connsiteX4185" fmla="*/ 1706890 w 5521505"/>
              <a:gd name="connsiteY4185" fmla="*/ 164219 h 2146918"/>
              <a:gd name="connsiteX4186" fmla="*/ 1699498 w 5521505"/>
              <a:gd name="connsiteY4186" fmla="*/ 167361 h 2146918"/>
              <a:gd name="connsiteX4187" fmla="*/ 1692874 w 5521505"/>
              <a:gd name="connsiteY4187" fmla="*/ 170137 h 2146918"/>
              <a:gd name="connsiteX4188" fmla="*/ 1685032 w 5521505"/>
              <a:gd name="connsiteY4188" fmla="*/ 173413 h 2146918"/>
              <a:gd name="connsiteX4189" fmla="*/ 1671930 w 5521505"/>
              <a:gd name="connsiteY4189" fmla="*/ 178904 h 2146918"/>
              <a:gd name="connsiteX4190" fmla="*/ 1664831 w 5521505"/>
              <a:gd name="connsiteY4190" fmla="*/ 181912 h 2146918"/>
              <a:gd name="connsiteX4191" fmla="*/ 1658949 w 5521505"/>
              <a:gd name="connsiteY4191" fmla="*/ 184445 h 2146918"/>
              <a:gd name="connsiteX4192" fmla="*/ 1654882 w 5521505"/>
              <a:gd name="connsiteY4192" fmla="*/ 186223 h 2146918"/>
              <a:gd name="connsiteX4193" fmla="*/ 1652288 w 5521505"/>
              <a:gd name="connsiteY4193" fmla="*/ 187379 h 2146918"/>
              <a:gd name="connsiteX4194" fmla="*/ 1648964 w 5521505"/>
              <a:gd name="connsiteY4194" fmla="*/ 189072 h 2146918"/>
              <a:gd name="connsiteX4195" fmla="*/ 1646371 w 5521505"/>
              <a:gd name="connsiteY4195" fmla="*/ 190521 h 2146918"/>
              <a:gd name="connsiteX4196" fmla="*/ 1644215 w 5521505"/>
              <a:gd name="connsiteY4196" fmla="*/ 191739 h 2146918"/>
              <a:gd name="connsiteX4197" fmla="*/ 1642547 w 5521505"/>
              <a:gd name="connsiteY4197" fmla="*/ 192664 h 2146918"/>
              <a:gd name="connsiteX4198" fmla="*/ 1645238 w 5521505"/>
              <a:gd name="connsiteY4198" fmla="*/ 198156 h 2146918"/>
              <a:gd name="connsiteX4199" fmla="*/ 1631101 w 5521505"/>
              <a:gd name="connsiteY4199" fmla="*/ 204025 h 2146918"/>
              <a:gd name="connsiteX4200" fmla="*/ 1588847 w 5521505"/>
              <a:gd name="connsiteY4200" fmla="*/ 221913 h 2146918"/>
              <a:gd name="connsiteX4201" fmla="*/ 1555105 w 5521505"/>
              <a:gd name="connsiteY4201" fmla="*/ 236586 h 2146918"/>
              <a:gd name="connsiteX4202" fmla="*/ 1532797 w 5521505"/>
              <a:gd name="connsiteY4202" fmla="*/ 246486 h 2146918"/>
              <a:gd name="connsiteX4203" fmla="*/ 1539714 w 5521505"/>
              <a:gd name="connsiteY4203" fmla="*/ 250431 h 2146918"/>
              <a:gd name="connsiteX4204" fmla="*/ 1542149 w 5521505"/>
              <a:gd name="connsiteY4204" fmla="*/ 251259 h 2146918"/>
              <a:gd name="connsiteX4205" fmla="*/ 1543257 w 5521505"/>
              <a:gd name="connsiteY4205" fmla="*/ 251588 h 2146918"/>
              <a:gd name="connsiteX4206" fmla="*/ 1545071 w 5521505"/>
              <a:gd name="connsiteY4206" fmla="*/ 253828 h 2146918"/>
              <a:gd name="connsiteX4207" fmla="*/ 1549455 w 5521505"/>
              <a:gd name="connsiteY4207" fmla="*/ 257408 h 2146918"/>
              <a:gd name="connsiteX4208" fmla="*/ 1565041 w 5521505"/>
              <a:gd name="connsiteY4208" fmla="*/ 254717 h 2146918"/>
              <a:gd name="connsiteX4209" fmla="*/ 1576987 w 5521505"/>
              <a:gd name="connsiteY4209" fmla="*/ 251563 h 2146918"/>
              <a:gd name="connsiteX4210" fmla="*/ 1595130 w 5521505"/>
              <a:gd name="connsiteY4210" fmla="*/ 244976 h 2146918"/>
              <a:gd name="connsiteX4211" fmla="*/ 1630334 w 5521505"/>
              <a:gd name="connsiteY4211" fmla="*/ 232129 h 2146918"/>
              <a:gd name="connsiteX4212" fmla="*/ 1653616 w 5521505"/>
              <a:gd name="connsiteY4212" fmla="*/ 225408 h 2146918"/>
              <a:gd name="connsiteX4213" fmla="*/ 1663248 w 5521505"/>
              <a:gd name="connsiteY4213" fmla="*/ 222875 h 2146918"/>
              <a:gd name="connsiteX4214" fmla="*/ 1691011 w 5521505"/>
              <a:gd name="connsiteY4214" fmla="*/ 219830 h 2146918"/>
              <a:gd name="connsiteX4215" fmla="*/ 1706719 w 5521505"/>
              <a:gd name="connsiteY4215" fmla="*/ 236318 h 2146918"/>
              <a:gd name="connsiteX4216" fmla="*/ 1703139 w 5521505"/>
              <a:gd name="connsiteY4216" fmla="*/ 244002 h 2146918"/>
              <a:gd name="connsiteX4217" fmla="*/ 1705160 w 5521505"/>
              <a:gd name="connsiteY4217" fmla="*/ 251003 h 2146918"/>
              <a:gd name="connsiteX4218" fmla="*/ 1709775 w 5521505"/>
              <a:gd name="connsiteY4218" fmla="*/ 249627 h 2146918"/>
              <a:gd name="connsiteX4219" fmla="*/ 1726324 w 5521505"/>
              <a:gd name="connsiteY4219" fmla="*/ 245292 h 2146918"/>
              <a:gd name="connsiteX4220" fmla="*/ 1734714 w 5521505"/>
              <a:gd name="connsiteY4220" fmla="*/ 243661 h 2146918"/>
              <a:gd name="connsiteX4221" fmla="*/ 1745673 w 5521505"/>
              <a:gd name="connsiteY4221" fmla="*/ 243563 h 2146918"/>
              <a:gd name="connsiteX4222" fmla="*/ 1744967 w 5521505"/>
              <a:gd name="connsiteY4222" fmla="*/ 247216 h 2146918"/>
              <a:gd name="connsiteX4223" fmla="*/ 1719322 w 5521505"/>
              <a:gd name="connsiteY4223" fmla="*/ 255131 h 2146918"/>
              <a:gd name="connsiteX4224" fmla="*/ 1720284 w 5521505"/>
              <a:gd name="connsiteY4224" fmla="*/ 259673 h 2146918"/>
              <a:gd name="connsiteX4225" fmla="*/ 1725557 w 5521505"/>
              <a:gd name="connsiteY4225" fmla="*/ 261415 h 2146918"/>
              <a:gd name="connsiteX4226" fmla="*/ 1735164 w 5521505"/>
              <a:gd name="connsiteY4226" fmla="*/ 263850 h 2146918"/>
              <a:gd name="connsiteX4227" fmla="*/ 1719249 w 5521505"/>
              <a:gd name="connsiteY4227" fmla="*/ 274188 h 2146918"/>
              <a:gd name="connsiteX4228" fmla="*/ 1687017 w 5521505"/>
              <a:gd name="connsiteY4228" fmla="*/ 297689 h 2146918"/>
              <a:gd name="connsiteX4229" fmla="*/ 1686104 w 5521505"/>
              <a:gd name="connsiteY4229" fmla="*/ 313799 h 2146918"/>
              <a:gd name="connsiteX4230" fmla="*/ 1690633 w 5521505"/>
              <a:gd name="connsiteY4230" fmla="*/ 318548 h 2146918"/>
              <a:gd name="connsiteX4231" fmla="*/ 1693787 w 5521505"/>
              <a:gd name="connsiteY4231" fmla="*/ 323419 h 2146918"/>
              <a:gd name="connsiteX4232" fmla="*/ 1696016 w 5521505"/>
              <a:gd name="connsiteY4232" fmla="*/ 328582 h 2146918"/>
              <a:gd name="connsiteX4233" fmla="*/ 1697233 w 5521505"/>
              <a:gd name="connsiteY4233" fmla="*/ 331724 h 2146918"/>
              <a:gd name="connsiteX4234" fmla="*/ 1699035 w 5521505"/>
              <a:gd name="connsiteY4234" fmla="*/ 335377 h 2146918"/>
              <a:gd name="connsiteX4235" fmla="*/ 1709434 w 5521505"/>
              <a:gd name="connsiteY4235" fmla="*/ 343499 h 2146918"/>
              <a:gd name="connsiteX4236" fmla="*/ 1716290 w 5521505"/>
              <a:gd name="connsiteY4236" fmla="*/ 346604 h 2146918"/>
              <a:gd name="connsiteX4237" fmla="*/ 1722208 w 5521505"/>
              <a:gd name="connsiteY4237" fmla="*/ 349197 h 2146918"/>
              <a:gd name="connsiteX4238" fmla="*/ 1724899 w 5521505"/>
              <a:gd name="connsiteY4238" fmla="*/ 350476 h 2146918"/>
              <a:gd name="connsiteX4239" fmla="*/ 1741764 w 5521505"/>
              <a:gd name="connsiteY4239" fmla="*/ 348771 h 2146918"/>
              <a:gd name="connsiteX4240" fmla="*/ 1763743 w 5521505"/>
              <a:gd name="connsiteY4240" fmla="*/ 342123 h 2146918"/>
              <a:gd name="connsiteX4241" fmla="*/ 1780961 w 5521505"/>
              <a:gd name="connsiteY4241" fmla="*/ 343231 h 2146918"/>
              <a:gd name="connsiteX4242" fmla="*/ 1791920 w 5521505"/>
              <a:gd name="connsiteY4242" fmla="*/ 343097 h 2146918"/>
              <a:gd name="connsiteX4243" fmla="*/ 1813023 w 5521505"/>
              <a:gd name="connsiteY4243" fmla="*/ 331857 h 2146918"/>
              <a:gd name="connsiteX4244" fmla="*/ 1817979 w 5521505"/>
              <a:gd name="connsiteY4244" fmla="*/ 326987 h 2146918"/>
              <a:gd name="connsiteX4245" fmla="*/ 1825419 w 5521505"/>
              <a:gd name="connsiteY4245" fmla="*/ 320789 h 2146918"/>
              <a:gd name="connsiteX4246" fmla="*/ 1837303 w 5521505"/>
              <a:gd name="connsiteY4246" fmla="*/ 305032 h 2146918"/>
              <a:gd name="connsiteX4247" fmla="*/ 1837218 w 5521505"/>
              <a:gd name="connsiteY4247" fmla="*/ 302316 h 2146918"/>
              <a:gd name="connsiteX4248" fmla="*/ 1866662 w 5521505"/>
              <a:gd name="connsiteY4248" fmla="*/ 280569 h 2146918"/>
              <a:gd name="connsiteX4249" fmla="*/ 1869840 w 5521505"/>
              <a:gd name="connsiteY4249" fmla="*/ 275856 h 2146918"/>
              <a:gd name="connsiteX4250" fmla="*/ 1879241 w 5521505"/>
              <a:gd name="connsiteY4250" fmla="*/ 265287 h 2146918"/>
              <a:gd name="connsiteX4251" fmla="*/ 1895679 w 5521505"/>
              <a:gd name="connsiteY4251" fmla="*/ 255375 h 2146918"/>
              <a:gd name="connsiteX4252" fmla="*/ 1897433 w 5521505"/>
              <a:gd name="connsiteY4252" fmla="*/ 254875 h 2146918"/>
              <a:gd name="connsiteX4253" fmla="*/ 1915369 w 5521505"/>
              <a:gd name="connsiteY4253" fmla="*/ 248787 h 2146918"/>
              <a:gd name="connsiteX4254" fmla="*/ 1927546 w 5521505"/>
              <a:gd name="connsiteY4254" fmla="*/ 240751 h 2146918"/>
              <a:gd name="connsiteX4255" fmla="*/ 1940259 w 5521505"/>
              <a:gd name="connsiteY4255" fmla="*/ 240227 h 2146918"/>
              <a:gd name="connsiteX4256" fmla="*/ 1967048 w 5521505"/>
              <a:gd name="connsiteY4256" fmla="*/ 229913 h 2146918"/>
              <a:gd name="connsiteX4257" fmla="*/ 1981794 w 5521505"/>
              <a:gd name="connsiteY4257" fmla="*/ 223338 h 2146918"/>
              <a:gd name="connsiteX4258" fmla="*/ 2003603 w 5521505"/>
              <a:gd name="connsiteY4258" fmla="*/ 211380 h 2146918"/>
              <a:gd name="connsiteX4259" fmla="*/ 2007159 w 5521505"/>
              <a:gd name="connsiteY4259" fmla="*/ 209030 h 2146918"/>
              <a:gd name="connsiteX4260" fmla="*/ 2011554 w 5521505"/>
              <a:gd name="connsiteY4260" fmla="*/ 206217 h 2146918"/>
              <a:gd name="connsiteX4261" fmla="*/ 2021612 w 5521505"/>
              <a:gd name="connsiteY4261" fmla="*/ 200031 h 2146918"/>
              <a:gd name="connsiteX4262" fmla="*/ 2026885 w 5521505"/>
              <a:gd name="connsiteY4262" fmla="*/ 196865 h 2146918"/>
              <a:gd name="connsiteX4263" fmla="*/ 2029418 w 5521505"/>
              <a:gd name="connsiteY4263" fmla="*/ 195367 h 2146918"/>
              <a:gd name="connsiteX4264" fmla="*/ 2032425 w 5521505"/>
              <a:gd name="connsiteY4264" fmla="*/ 193565 h 2146918"/>
              <a:gd name="connsiteX4265" fmla="*/ 2036626 w 5521505"/>
              <a:gd name="connsiteY4265" fmla="*/ 191032 h 2146918"/>
              <a:gd name="connsiteX4266" fmla="*/ 2052834 w 5521505"/>
              <a:gd name="connsiteY4266" fmla="*/ 188524 h 2146918"/>
              <a:gd name="connsiteX4267" fmla="*/ 2076091 w 5521505"/>
              <a:gd name="connsiteY4267" fmla="*/ 181218 h 2146918"/>
              <a:gd name="connsiteX4268" fmla="*/ 2090046 w 5521505"/>
              <a:gd name="connsiteY4268" fmla="*/ 176737 h 2146918"/>
              <a:gd name="connsiteX4269" fmla="*/ 2101845 w 5521505"/>
              <a:gd name="connsiteY4269" fmla="*/ 172877 h 2146918"/>
              <a:gd name="connsiteX4270" fmla="*/ 2108250 w 5521505"/>
              <a:gd name="connsiteY4270" fmla="*/ 170721 h 2146918"/>
              <a:gd name="connsiteX4271" fmla="*/ 2143563 w 5521505"/>
              <a:gd name="connsiteY4271" fmla="*/ 157424 h 2146918"/>
              <a:gd name="connsiteX4272" fmla="*/ 2182469 w 5521505"/>
              <a:gd name="connsiteY4272" fmla="*/ 203197 h 2146918"/>
              <a:gd name="connsiteX4273" fmla="*/ 2194109 w 5521505"/>
              <a:gd name="connsiteY4273" fmla="*/ 201870 h 2146918"/>
              <a:gd name="connsiteX4274" fmla="*/ 2214944 w 5521505"/>
              <a:gd name="connsiteY4274" fmla="*/ 199361 h 2146918"/>
              <a:gd name="connsiteX4275" fmla="*/ 2239517 w 5521505"/>
              <a:gd name="connsiteY4275" fmla="*/ 194917 h 2146918"/>
              <a:gd name="connsiteX4276" fmla="*/ 2244522 w 5521505"/>
              <a:gd name="connsiteY4276" fmla="*/ 192737 h 2146918"/>
              <a:gd name="connsiteX4277" fmla="*/ 2252339 w 5521505"/>
              <a:gd name="connsiteY4277" fmla="*/ 189401 h 2146918"/>
              <a:gd name="connsiteX4278" fmla="*/ 2262312 w 5521505"/>
              <a:gd name="connsiteY4278" fmla="*/ 185541 h 2146918"/>
              <a:gd name="connsiteX4279" fmla="*/ 2272382 w 5521505"/>
              <a:gd name="connsiteY4279" fmla="*/ 181961 h 2146918"/>
              <a:gd name="connsiteX4280" fmla="*/ 2292888 w 5521505"/>
              <a:gd name="connsiteY4280" fmla="*/ 175324 h 2146918"/>
              <a:gd name="connsiteX4281" fmla="*/ 2303214 w 5521505"/>
              <a:gd name="connsiteY4281" fmla="*/ 171817 h 2146918"/>
              <a:gd name="connsiteX4282" fmla="*/ 2309936 w 5521505"/>
              <a:gd name="connsiteY4282" fmla="*/ 168456 h 2146918"/>
              <a:gd name="connsiteX4283" fmla="*/ 2316523 w 5521505"/>
              <a:gd name="connsiteY4283" fmla="*/ 164596 h 2146918"/>
              <a:gd name="connsiteX4284" fmla="*/ 2318533 w 5521505"/>
              <a:gd name="connsiteY4284" fmla="*/ 159969 h 2146918"/>
              <a:gd name="connsiteX4285" fmla="*/ 2301083 w 5521505"/>
              <a:gd name="connsiteY4285" fmla="*/ 155098 h 2146918"/>
              <a:gd name="connsiteX4286" fmla="*/ 2287956 w 5521505"/>
              <a:gd name="connsiteY4286" fmla="*/ 155987 h 2146918"/>
              <a:gd name="connsiteX4287" fmla="*/ 2281990 w 5521505"/>
              <a:gd name="connsiteY4287" fmla="*/ 157619 h 2146918"/>
              <a:gd name="connsiteX4288" fmla="*/ 2273466 w 5521505"/>
              <a:gd name="connsiteY4288" fmla="*/ 159933 h 2146918"/>
              <a:gd name="connsiteX4289" fmla="*/ 2263725 w 5521505"/>
              <a:gd name="connsiteY4289" fmla="*/ 161504 h 2146918"/>
              <a:gd name="connsiteX4290" fmla="*/ 2244095 w 5521505"/>
              <a:gd name="connsiteY4290" fmla="*/ 165778 h 2146918"/>
              <a:gd name="connsiteX4291" fmla="*/ 2235279 w 5521505"/>
              <a:gd name="connsiteY4291" fmla="*/ 168298 h 2146918"/>
              <a:gd name="connsiteX4292" fmla="*/ 2215796 w 5521505"/>
              <a:gd name="connsiteY4292" fmla="*/ 171221 h 2146918"/>
              <a:gd name="connsiteX4293" fmla="*/ 2201757 w 5521505"/>
              <a:gd name="connsiteY4293" fmla="*/ 178283 h 2146918"/>
              <a:gd name="connsiteX4294" fmla="*/ 2195559 w 5521505"/>
              <a:gd name="connsiteY4294" fmla="*/ 176310 h 2146918"/>
              <a:gd name="connsiteX4295" fmla="*/ 2172764 w 5521505"/>
              <a:gd name="connsiteY4295" fmla="*/ 176931 h 2146918"/>
              <a:gd name="connsiteX4296" fmla="*/ 2154401 w 5521505"/>
              <a:gd name="connsiteY4296" fmla="*/ 184968 h 2146918"/>
              <a:gd name="connsiteX4297" fmla="*/ 2147265 w 5521505"/>
              <a:gd name="connsiteY4297" fmla="*/ 192019 h 2146918"/>
              <a:gd name="connsiteX4298" fmla="*/ 2158809 w 5521505"/>
              <a:gd name="connsiteY4298" fmla="*/ 190606 h 2146918"/>
              <a:gd name="connsiteX4299" fmla="*/ 2164447 w 5521505"/>
              <a:gd name="connsiteY4299" fmla="*/ 188621 h 2146918"/>
              <a:gd name="connsiteX4300" fmla="*/ 2177037 w 5521505"/>
              <a:gd name="connsiteY4300" fmla="*/ 187866 h 2146918"/>
              <a:gd name="connsiteX4301" fmla="*/ 2167296 w 5521505"/>
              <a:gd name="connsiteY4301" fmla="*/ 196877 h 2146918"/>
              <a:gd name="connsiteX4302" fmla="*/ 2179242 w 5521505"/>
              <a:gd name="connsiteY4302" fmla="*/ 197035 h 2146918"/>
              <a:gd name="connsiteX4303" fmla="*/ 2171582 w 5521505"/>
              <a:gd name="connsiteY4303" fmla="*/ 204062 h 2146918"/>
              <a:gd name="connsiteX4304" fmla="*/ 4338720 w 5521505"/>
              <a:gd name="connsiteY4304" fmla="*/ 924079 h 2146918"/>
              <a:gd name="connsiteX4305" fmla="*/ 4332693 w 5521505"/>
              <a:gd name="connsiteY4305" fmla="*/ 922690 h 2146918"/>
              <a:gd name="connsiteX4306" fmla="*/ 4331889 w 5521505"/>
              <a:gd name="connsiteY4306" fmla="*/ 922447 h 2146918"/>
              <a:gd name="connsiteX4307" fmla="*/ 4330830 w 5521505"/>
              <a:gd name="connsiteY4307" fmla="*/ 922155 h 2146918"/>
              <a:gd name="connsiteX4308" fmla="*/ 4330123 w 5521505"/>
              <a:gd name="connsiteY4308" fmla="*/ 922008 h 2146918"/>
              <a:gd name="connsiteX4309" fmla="*/ 4329064 w 5521505"/>
              <a:gd name="connsiteY4309" fmla="*/ 921826 h 2146918"/>
              <a:gd name="connsiteX4310" fmla="*/ 4328053 w 5521505"/>
              <a:gd name="connsiteY4310" fmla="*/ 921704 h 2146918"/>
              <a:gd name="connsiteX4311" fmla="*/ 4327420 w 5521505"/>
              <a:gd name="connsiteY4311" fmla="*/ 921704 h 2146918"/>
              <a:gd name="connsiteX4312" fmla="*/ 4326275 w 5521505"/>
              <a:gd name="connsiteY4312" fmla="*/ 921643 h 2146918"/>
              <a:gd name="connsiteX4313" fmla="*/ 4318677 w 5521505"/>
              <a:gd name="connsiteY4313" fmla="*/ 921643 h 2146918"/>
              <a:gd name="connsiteX4314" fmla="*/ 4315316 w 5521505"/>
              <a:gd name="connsiteY4314" fmla="*/ 919537 h 2146918"/>
              <a:gd name="connsiteX4315" fmla="*/ 4311663 w 5521505"/>
              <a:gd name="connsiteY4315" fmla="*/ 917259 h 2146918"/>
              <a:gd name="connsiteX4316" fmla="*/ 4305502 w 5521505"/>
              <a:gd name="connsiteY4316" fmla="*/ 913412 h 2146918"/>
              <a:gd name="connsiteX4317" fmla="*/ 4301216 w 5521505"/>
              <a:gd name="connsiteY4317" fmla="*/ 910745 h 2146918"/>
              <a:gd name="connsiteX4318" fmla="*/ 4299827 w 5521505"/>
              <a:gd name="connsiteY4318" fmla="*/ 909880 h 2146918"/>
              <a:gd name="connsiteX4319" fmla="*/ 4299827 w 5521505"/>
              <a:gd name="connsiteY4319" fmla="*/ 909698 h 2146918"/>
              <a:gd name="connsiteX4320" fmla="*/ 4299827 w 5521505"/>
              <a:gd name="connsiteY4320" fmla="*/ 909515 h 2146918"/>
              <a:gd name="connsiteX4321" fmla="*/ 4299827 w 5521505"/>
              <a:gd name="connsiteY4321" fmla="*/ 909211 h 2146918"/>
              <a:gd name="connsiteX4322" fmla="*/ 4299827 w 5521505"/>
              <a:gd name="connsiteY4322" fmla="*/ 907737 h 2146918"/>
              <a:gd name="connsiteX4323" fmla="*/ 4300875 w 5521505"/>
              <a:gd name="connsiteY4323" fmla="*/ 905302 h 2146918"/>
              <a:gd name="connsiteX4324" fmla="*/ 4304150 w 5521505"/>
              <a:gd name="connsiteY4324" fmla="*/ 900954 h 2146918"/>
              <a:gd name="connsiteX4325" fmla="*/ 4303907 w 5521505"/>
              <a:gd name="connsiteY4325" fmla="*/ 884991 h 2146918"/>
              <a:gd name="connsiteX4326" fmla="*/ 4302689 w 5521505"/>
              <a:gd name="connsiteY4326" fmla="*/ 881581 h 2146918"/>
              <a:gd name="connsiteX4327" fmla="*/ 4300960 w 5521505"/>
              <a:gd name="connsiteY4327" fmla="*/ 876893 h 2146918"/>
              <a:gd name="connsiteX4328" fmla="*/ 4298792 w 5521505"/>
              <a:gd name="connsiteY4328" fmla="*/ 871292 h 2146918"/>
              <a:gd name="connsiteX4329" fmla="*/ 4293191 w 5521505"/>
              <a:gd name="connsiteY4329" fmla="*/ 861270 h 2146918"/>
              <a:gd name="connsiteX4330" fmla="*/ 4291377 w 5521505"/>
              <a:gd name="connsiteY4330" fmla="*/ 859614 h 2146918"/>
              <a:gd name="connsiteX4331" fmla="*/ 4290159 w 5521505"/>
              <a:gd name="connsiteY4331" fmla="*/ 858457 h 2146918"/>
              <a:gd name="connsiteX4332" fmla="*/ 4288052 w 5521505"/>
              <a:gd name="connsiteY4332" fmla="*/ 856278 h 2146918"/>
              <a:gd name="connsiteX4333" fmla="*/ 4285848 w 5521505"/>
              <a:gd name="connsiteY4333" fmla="*/ 853842 h 2146918"/>
              <a:gd name="connsiteX4334" fmla="*/ 4282524 w 5521505"/>
              <a:gd name="connsiteY4334" fmla="*/ 849909 h 2146918"/>
              <a:gd name="connsiteX4335" fmla="*/ 4274743 w 5521505"/>
              <a:gd name="connsiteY4335" fmla="*/ 839401 h 2146918"/>
              <a:gd name="connsiteX4336" fmla="*/ 4273526 w 5521505"/>
              <a:gd name="connsiteY4336" fmla="*/ 837538 h 2146918"/>
              <a:gd name="connsiteX4337" fmla="*/ 4272003 w 5521505"/>
              <a:gd name="connsiteY4337" fmla="*/ 834737 h 2146918"/>
              <a:gd name="connsiteX4338" fmla="*/ 4271005 w 5521505"/>
              <a:gd name="connsiteY4338" fmla="*/ 832484 h 2146918"/>
              <a:gd name="connsiteX4339" fmla="*/ 4269617 w 5521505"/>
              <a:gd name="connsiteY4339" fmla="*/ 829464 h 2146918"/>
              <a:gd name="connsiteX4340" fmla="*/ 4267936 w 5521505"/>
              <a:gd name="connsiteY4340" fmla="*/ 826006 h 2146918"/>
              <a:gd name="connsiteX4341" fmla="*/ 4266719 w 5521505"/>
              <a:gd name="connsiteY4341" fmla="*/ 823571 h 2146918"/>
              <a:gd name="connsiteX4342" fmla="*/ 4265257 w 5521505"/>
              <a:gd name="connsiteY4342" fmla="*/ 820697 h 2146918"/>
              <a:gd name="connsiteX4343" fmla="*/ 4264161 w 5521505"/>
              <a:gd name="connsiteY4343" fmla="*/ 818542 h 2146918"/>
              <a:gd name="connsiteX4344" fmla="*/ 4262944 w 5521505"/>
              <a:gd name="connsiteY4344" fmla="*/ 816107 h 2146918"/>
              <a:gd name="connsiteX4345" fmla="*/ 4259388 w 5521505"/>
              <a:gd name="connsiteY4345" fmla="*/ 815400 h 2146918"/>
              <a:gd name="connsiteX4346" fmla="*/ 4253604 w 5521505"/>
              <a:gd name="connsiteY4346" fmla="*/ 814256 h 2146918"/>
              <a:gd name="connsiteX4347" fmla="*/ 4249951 w 5521505"/>
              <a:gd name="connsiteY4347" fmla="*/ 813537 h 2146918"/>
              <a:gd name="connsiteX4348" fmla="*/ 4240806 w 5521505"/>
              <a:gd name="connsiteY4348" fmla="*/ 811747 h 2146918"/>
              <a:gd name="connsiteX4349" fmla="*/ 4236313 w 5521505"/>
              <a:gd name="connsiteY4349" fmla="*/ 810883 h 2146918"/>
              <a:gd name="connsiteX4350" fmla="*/ 4234011 w 5521505"/>
              <a:gd name="connsiteY4350" fmla="*/ 810444 h 2146918"/>
              <a:gd name="connsiteX4351" fmla="*/ 4232221 w 5521505"/>
              <a:gd name="connsiteY4351" fmla="*/ 810103 h 2146918"/>
              <a:gd name="connsiteX4352" fmla="*/ 4230602 w 5521505"/>
              <a:gd name="connsiteY4352" fmla="*/ 809799 h 2146918"/>
              <a:gd name="connsiteX4353" fmla="*/ 4229384 w 5521505"/>
              <a:gd name="connsiteY4353" fmla="*/ 809556 h 2146918"/>
              <a:gd name="connsiteX4354" fmla="*/ 4228167 w 5521505"/>
              <a:gd name="connsiteY4354" fmla="*/ 809336 h 2146918"/>
              <a:gd name="connsiteX4355" fmla="*/ 4227119 w 5521505"/>
              <a:gd name="connsiteY4355" fmla="*/ 809154 h 2146918"/>
              <a:gd name="connsiteX4356" fmla="*/ 4226632 w 5521505"/>
              <a:gd name="connsiteY4356" fmla="*/ 809068 h 2146918"/>
              <a:gd name="connsiteX4357" fmla="*/ 4225074 w 5521505"/>
              <a:gd name="connsiteY4357" fmla="*/ 808776 h 2146918"/>
              <a:gd name="connsiteX4358" fmla="*/ 4222979 w 5521505"/>
              <a:gd name="connsiteY4358" fmla="*/ 808094 h 2146918"/>
              <a:gd name="connsiteX4359" fmla="*/ 4218303 w 5521505"/>
              <a:gd name="connsiteY4359" fmla="*/ 806438 h 2146918"/>
              <a:gd name="connsiteX4360" fmla="*/ 4205810 w 5521505"/>
              <a:gd name="connsiteY4360" fmla="*/ 803260 h 2146918"/>
              <a:gd name="connsiteX4361" fmla="*/ 4188762 w 5521505"/>
              <a:gd name="connsiteY4361" fmla="*/ 801372 h 2146918"/>
              <a:gd name="connsiteX4362" fmla="*/ 4185255 w 5521505"/>
              <a:gd name="connsiteY4362" fmla="*/ 801239 h 2146918"/>
              <a:gd name="connsiteX4363" fmla="*/ 4181907 w 5521505"/>
              <a:gd name="connsiteY4363" fmla="*/ 801166 h 2146918"/>
              <a:gd name="connsiteX4364" fmla="*/ 4182284 w 5521505"/>
              <a:gd name="connsiteY4364" fmla="*/ 803832 h 2146918"/>
              <a:gd name="connsiteX4365" fmla="*/ 4170875 w 5521505"/>
              <a:gd name="connsiteY4365" fmla="*/ 811503 h 2146918"/>
              <a:gd name="connsiteX4366" fmla="*/ 4165577 w 5521505"/>
              <a:gd name="connsiteY4366" fmla="*/ 811662 h 2146918"/>
              <a:gd name="connsiteX4367" fmla="*/ 4160232 w 5521505"/>
              <a:gd name="connsiteY4367" fmla="*/ 811467 h 2146918"/>
              <a:gd name="connsiteX4368" fmla="*/ 4157358 w 5521505"/>
              <a:gd name="connsiteY4368" fmla="*/ 811296 h 2146918"/>
              <a:gd name="connsiteX4369" fmla="*/ 4153267 w 5521505"/>
              <a:gd name="connsiteY4369" fmla="*/ 811211 h 2146918"/>
              <a:gd name="connsiteX4370" fmla="*/ 4153047 w 5521505"/>
              <a:gd name="connsiteY4370" fmla="*/ 811211 h 2146918"/>
              <a:gd name="connsiteX4371" fmla="*/ 4148676 w 5521505"/>
              <a:gd name="connsiteY4371" fmla="*/ 811443 h 2146918"/>
              <a:gd name="connsiteX4372" fmla="*/ 4144780 w 5521505"/>
              <a:gd name="connsiteY4372" fmla="*/ 811930 h 2146918"/>
              <a:gd name="connsiteX4373" fmla="*/ 4139787 w 5521505"/>
              <a:gd name="connsiteY4373" fmla="*/ 812892 h 2146918"/>
              <a:gd name="connsiteX4374" fmla="*/ 4134234 w 5521505"/>
              <a:gd name="connsiteY4374" fmla="*/ 814292 h 2146918"/>
              <a:gd name="connsiteX4375" fmla="*/ 4128036 w 5521505"/>
              <a:gd name="connsiteY4375" fmla="*/ 816240 h 2146918"/>
              <a:gd name="connsiteX4376" fmla="*/ 4122374 w 5521505"/>
              <a:gd name="connsiteY4376" fmla="*/ 818067 h 2146918"/>
              <a:gd name="connsiteX4377" fmla="*/ 4116882 w 5521505"/>
              <a:gd name="connsiteY4377" fmla="*/ 819626 h 2146918"/>
              <a:gd name="connsiteX4378" fmla="*/ 4099603 w 5521505"/>
              <a:gd name="connsiteY4378" fmla="*/ 821452 h 2146918"/>
              <a:gd name="connsiteX4379" fmla="*/ 4098483 w 5521505"/>
              <a:gd name="connsiteY4379" fmla="*/ 821452 h 2146918"/>
              <a:gd name="connsiteX4380" fmla="*/ 4092492 w 5521505"/>
              <a:gd name="connsiteY4380" fmla="*/ 822366 h 2146918"/>
              <a:gd name="connsiteX4381" fmla="*/ 4091615 w 5521505"/>
              <a:gd name="connsiteY4381" fmla="*/ 823266 h 2146918"/>
              <a:gd name="connsiteX4382" fmla="*/ 4078574 w 5521505"/>
              <a:gd name="connsiteY4382" fmla="*/ 825555 h 2146918"/>
              <a:gd name="connsiteX4383" fmla="*/ 4075189 w 5521505"/>
              <a:gd name="connsiteY4383" fmla="*/ 825251 h 2146918"/>
              <a:gd name="connsiteX4384" fmla="*/ 4066823 w 5521505"/>
              <a:gd name="connsiteY4384" fmla="*/ 825130 h 2146918"/>
              <a:gd name="connsiteX4385" fmla="*/ 4064887 w 5521505"/>
              <a:gd name="connsiteY4385" fmla="*/ 825337 h 2146918"/>
              <a:gd name="connsiteX4386" fmla="*/ 4058799 w 5521505"/>
              <a:gd name="connsiteY4386" fmla="*/ 826226 h 2146918"/>
              <a:gd name="connsiteX4387" fmla="*/ 4053526 w 5521505"/>
              <a:gd name="connsiteY4387" fmla="*/ 826919 h 2146918"/>
              <a:gd name="connsiteX4388" fmla="*/ 4053149 w 5521505"/>
              <a:gd name="connsiteY4388" fmla="*/ 831449 h 2146918"/>
              <a:gd name="connsiteX4389" fmla="*/ 4052905 w 5521505"/>
              <a:gd name="connsiteY4389" fmla="*/ 834092 h 2146918"/>
              <a:gd name="connsiteX4390" fmla="*/ 4052771 w 5521505"/>
              <a:gd name="connsiteY4390" fmla="*/ 836040 h 2146918"/>
              <a:gd name="connsiteX4391" fmla="*/ 4052771 w 5521505"/>
              <a:gd name="connsiteY4391" fmla="*/ 838147 h 2146918"/>
              <a:gd name="connsiteX4392" fmla="*/ 4052771 w 5521505"/>
              <a:gd name="connsiteY4392" fmla="*/ 839498 h 2146918"/>
              <a:gd name="connsiteX4393" fmla="*/ 4052771 w 5521505"/>
              <a:gd name="connsiteY4393" fmla="*/ 840716 h 2146918"/>
              <a:gd name="connsiteX4394" fmla="*/ 4052954 w 5521505"/>
              <a:gd name="connsiteY4394" fmla="*/ 842469 h 2146918"/>
              <a:gd name="connsiteX4395" fmla="*/ 4053137 w 5521505"/>
              <a:gd name="connsiteY4395" fmla="*/ 844527 h 2146918"/>
              <a:gd name="connsiteX4396" fmla="*/ 4053137 w 5521505"/>
              <a:gd name="connsiteY4396" fmla="*/ 846719 h 2146918"/>
              <a:gd name="connsiteX4397" fmla="*/ 4052929 w 5521505"/>
              <a:gd name="connsiteY4397" fmla="*/ 848363 h 2146918"/>
              <a:gd name="connsiteX4398" fmla="*/ 4043188 w 5521505"/>
              <a:gd name="connsiteY4398" fmla="*/ 862196 h 2146918"/>
              <a:gd name="connsiteX4399" fmla="*/ 4042190 w 5521505"/>
              <a:gd name="connsiteY4399" fmla="*/ 863024 h 2146918"/>
              <a:gd name="connsiteX4400" fmla="*/ 4037148 w 5521505"/>
              <a:gd name="connsiteY4400" fmla="*/ 876041 h 2146918"/>
              <a:gd name="connsiteX4401" fmla="*/ 4037489 w 5521505"/>
              <a:gd name="connsiteY4401" fmla="*/ 877258 h 2146918"/>
              <a:gd name="connsiteX4402" fmla="*/ 4037587 w 5521505"/>
              <a:gd name="connsiteY4402" fmla="*/ 880084 h 2146918"/>
              <a:gd name="connsiteX4403" fmla="*/ 4029964 w 5521505"/>
              <a:gd name="connsiteY4403" fmla="*/ 883286 h 2146918"/>
              <a:gd name="connsiteX4404" fmla="*/ 4025288 w 5521505"/>
              <a:gd name="connsiteY4404" fmla="*/ 884077 h 2146918"/>
              <a:gd name="connsiteX4405" fmla="*/ 4023803 w 5521505"/>
              <a:gd name="connsiteY4405" fmla="*/ 884881 h 2146918"/>
              <a:gd name="connsiteX4406" fmla="*/ 4022098 w 5521505"/>
              <a:gd name="connsiteY4406" fmla="*/ 885953 h 2146918"/>
              <a:gd name="connsiteX4407" fmla="*/ 4019723 w 5521505"/>
              <a:gd name="connsiteY4407" fmla="*/ 888388 h 2146918"/>
              <a:gd name="connsiteX4408" fmla="*/ 4017154 w 5521505"/>
              <a:gd name="connsiteY4408" fmla="*/ 889740 h 2146918"/>
              <a:gd name="connsiteX4409" fmla="*/ 4015851 w 5521505"/>
              <a:gd name="connsiteY4409" fmla="*/ 889740 h 2146918"/>
              <a:gd name="connsiteX4410" fmla="*/ 4004100 w 5521505"/>
              <a:gd name="connsiteY4410" fmla="*/ 891408 h 2146918"/>
              <a:gd name="connsiteX4411" fmla="*/ 3998828 w 5521505"/>
              <a:gd name="connsiteY4411" fmla="*/ 892626 h 2146918"/>
              <a:gd name="connsiteX4412" fmla="*/ 3995430 w 5521505"/>
              <a:gd name="connsiteY4412" fmla="*/ 893344 h 2146918"/>
              <a:gd name="connsiteX4413" fmla="*/ 3992277 w 5521505"/>
              <a:gd name="connsiteY4413" fmla="*/ 893880 h 2146918"/>
              <a:gd name="connsiteX4414" fmla="*/ 3976605 w 5521505"/>
              <a:gd name="connsiteY4414" fmla="*/ 887597 h 2146918"/>
              <a:gd name="connsiteX4415" fmla="*/ 3973427 w 5521505"/>
              <a:gd name="connsiteY4415" fmla="*/ 883712 h 2146918"/>
              <a:gd name="connsiteX4416" fmla="*/ 3972051 w 5521505"/>
              <a:gd name="connsiteY4416" fmla="*/ 881460 h 2146918"/>
              <a:gd name="connsiteX4417" fmla="*/ 3971004 w 5521505"/>
              <a:gd name="connsiteY4417" fmla="*/ 879755 h 2146918"/>
              <a:gd name="connsiteX4418" fmla="*/ 3968483 w 5521505"/>
              <a:gd name="connsiteY4418" fmla="*/ 874300 h 2146918"/>
              <a:gd name="connsiteX4419" fmla="*/ 3965914 w 5521505"/>
              <a:gd name="connsiteY4419" fmla="*/ 868418 h 2146918"/>
              <a:gd name="connsiteX4420" fmla="*/ 3963065 w 5521505"/>
              <a:gd name="connsiteY4420" fmla="*/ 861843 h 2146918"/>
              <a:gd name="connsiteX4421" fmla="*/ 3960775 w 5521505"/>
              <a:gd name="connsiteY4421" fmla="*/ 856473 h 2146918"/>
              <a:gd name="connsiteX4422" fmla="*/ 3957974 w 5521505"/>
              <a:gd name="connsiteY4422" fmla="*/ 849860 h 2146918"/>
              <a:gd name="connsiteX4423" fmla="*/ 3955040 w 5521505"/>
              <a:gd name="connsiteY4423" fmla="*/ 842932 h 2146918"/>
              <a:gd name="connsiteX4424" fmla="*/ 3953822 w 5521505"/>
              <a:gd name="connsiteY4424" fmla="*/ 840083 h 2146918"/>
              <a:gd name="connsiteX4425" fmla="*/ 3952678 w 5521505"/>
              <a:gd name="connsiteY4425" fmla="*/ 837379 h 2146918"/>
              <a:gd name="connsiteX4426" fmla="*/ 3952117 w 5521505"/>
              <a:gd name="connsiteY4426" fmla="*/ 836065 h 2146918"/>
              <a:gd name="connsiteX4427" fmla="*/ 3950900 w 5521505"/>
              <a:gd name="connsiteY4427" fmla="*/ 833008 h 2146918"/>
              <a:gd name="connsiteX4428" fmla="*/ 3950133 w 5521505"/>
              <a:gd name="connsiteY4428" fmla="*/ 830658 h 2146918"/>
              <a:gd name="connsiteX4429" fmla="*/ 3949268 w 5521505"/>
              <a:gd name="connsiteY4429" fmla="*/ 827748 h 2146918"/>
              <a:gd name="connsiteX4430" fmla="*/ 3948781 w 5521505"/>
              <a:gd name="connsiteY4430" fmla="*/ 826140 h 2146918"/>
              <a:gd name="connsiteX4431" fmla="*/ 3948124 w 5521505"/>
              <a:gd name="connsiteY4431" fmla="*/ 824204 h 2146918"/>
              <a:gd name="connsiteX4432" fmla="*/ 3947539 w 5521505"/>
              <a:gd name="connsiteY4432" fmla="*/ 822706 h 2146918"/>
              <a:gd name="connsiteX4433" fmla="*/ 3946747 w 5521505"/>
              <a:gd name="connsiteY4433" fmla="*/ 820904 h 2146918"/>
              <a:gd name="connsiteX4434" fmla="*/ 3945773 w 5521505"/>
              <a:gd name="connsiteY4434" fmla="*/ 818724 h 2146918"/>
              <a:gd name="connsiteX4435" fmla="*/ 3943922 w 5521505"/>
              <a:gd name="connsiteY4435" fmla="*/ 814803 h 2146918"/>
              <a:gd name="connsiteX4436" fmla="*/ 3942400 w 5521505"/>
              <a:gd name="connsiteY4436" fmla="*/ 811674 h 2146918"/>
              <a:gd name="connsiteX4437" fmla="*/ 3941049 w 5521505"/>
              <a:gd name="connsiteY4437" fmla="*/ 808934 h 2146918"/>
              <a:gd name="connsiteX4438" fmla="*/ 3939429 w 5521505"/>
              <a:gd name="connsiteY4438" fmla="*/ 805683 h 2146918"/>
              <a:gd name="connsiteX4439" fmla="*/ 3938784 w 5521505"/>
              <a:gd name="connsiteY4439" fmla="*/ 804405 h 2146918"/>
              <a:gd name="connsiteX4440" fmla="*/ 3938041 w 5521505"/>
              <a:gd name="connsiteY4440" fmla="*/ 802931 h 2146918"/>
              <a:gd name="connsiteX4441" fmla="*/ 3937603 w 5521505"/>
              <a:gd name="connsiteY4441" fmla="*/ 802066 h 2146918"/>
              <a:gd name="connsiteX4442" fmla="*/ 3937164 w 5521505"/>
              <a:gd name="connsiteY4442" fmla="*/ 801385 h 2146918"/>
              <a:gd name="connsiteX4443" fmla="*/ 3936568 w 5521505"/>
              <a:gd name="connsiteY4443" fmla="*/ 800532 h 2146918"/>
              <a:gd name="connsiteX4444" fmla="*/ 3936068 w 5521505"/>
              <a:gd name="connsiteY4444" fmla="*/ 799838 h 2146918"/>
              <a:gd name="connsiteX4445" fmla="*/ 3935594 w 5521505"/>
              <a:gd name="connsiteY4445" fmla="*/ 799156 h 2146918"/>
              <a:gd name="connsiteX4446" fmla="*/ 3935204 w 5521505"/>
              <a:gd name="connsiteY4446" fmla="*/ 798499 h 2146918"/>
              <a:gd name="connsiteX4447" fmla="*/ 3934936 w 5521505"/>
              <a:gd name="connsiteY4447" fmla="*/ 797963 h 2146918"/>
              <a:gd name="connsiteX4448" fmla="*/ 3934534 w 5521505"/>
              <a:gd name="connsiteY4448" fmla="*/ 796745 h 2146918"/>
              <a:gd name="connsiteX4449" fmla="*/ 3934096 w 5521505"/>
              <a:gd name="connsiteY4449" fmla="*/ 795357 h 2146918"/>
              <a:gd name="connsiteX4450" fmla="*/ 3933219 w 5521505"/>
              <a:gd name="connsiteY4450" fmla="*/ 792776 h 2146918"/>
              <a:gd name="connsiteX4451" fmla="*/ 3931612 w 5521505"/>
              <a:gd name="connsiteY4451" fmla="*/ 788416 h 2146918"/>
              <a:gd name="connsiteX4452" fmla="*/ 3930491 w 5521505"/>
              <a:gd name="connsiteY4452" fmla="*/ 785567 h 2146918"/>
              <a:gd name="connsiteX4453" fmla="*/ 3928653 w 5521505"/>
              <a:gd name="connsiteY4453" fmla="*/ 780940 h 2146918"/>
              <a:gd name="connsiteX4454" fmla="*/ 3927435 w 5521505"/>
              <a:gd name="connsiteY4454" fmla="*/ 778005 h 2146918"/>
              <a:gd name="connsiteX4455" fmla="*/ 3926302 w 5521505"/>
              <a:gd name="connsiteY4455" fmla="*/ 775095 h 2146918"/>
              <a:gd name="connsiteX4456" fmla="*/ 3923989 w 5521505"/>
              <a:gd name="connsiteY4456" fmla="*/ 768641 h 2146918"/>
              <a:gd name="connsiteX4457" fmla="*/ 3923039 w 5521505"/>
              <a:gd name="connsiteY4457" fmla="*/ 765585 h 2146918"/>
              <a:gd name="connsiteX4458" fmla="*/ 3922491 w 5521505"/>
              <a:gd name="connsiteY4458" fmla="*/ 763624 h 2146918"/>
              <a:gd name="connsiteX4459" fmla="*/ 3921956 w 5521505"/>
              <a:gd name="connsiteY4459" fmla="*/ 761445 h 2146918"/>
              <a:gd name="connsiteX4460" fmla="*/ 3920677 w 5521505"/>
              <a:gd name="connsiteY4460" fmla="*/ 750619 h 2146918"/>
              <a:gd name="connsiteX4461" fmla="*/ 3920774 w 5521505"/>
              <a:gd name="connsiteY4461" fmla="*/ 748330 h 2146918"/>
              <a:gd name="connsiteX4462" fmla="*/ 3921066 w 5521505"/>
              <a:gd name="connsiteY4462" fmla="*/ 745615 h 2146918"/>
              <a:gd name="connsiteX4463" fmla="*/ 3921176 w 5521505"/>
              <a:gd name="connsiteY4463" fmla="*/ 743532 h 2146918"/>
              <a:gd name="connsiteX4464" fmla="*/ 3921066 w 5521505"/>
              <a:gd name="connsiteY4464" fmla="*/ 740354 h 2146918"/>
              <a:gd name="connsiteX4465" fmla="*/ 3920689 w 5521505"/>
              <a:gd name="connsiteY4465" fmla="*/ 736860 h 2146918"/>
              <a:gd name="connsiteX4466" fmla="*/ 3920421 w 5521505"/>
              <a:gd name="connsiteY4466" fmla="*/ 735082 h 2146918"/>
              <a:gd name="connsiteX4467" fmla="*/ 3920129 w 5521505"/>
              <a:gd name="connsiteY4467" fmla="*/ 733377 h 2146918"/>
              <a:gd name="connsiteX4468" fmla="*/ 3919825 w 5521505"/>
              <a:gd name="connsiteY4468" fmla="*/ 731696 h 2146918"/>
              <a:gd name="connsiteX4469" fmla="*/ 3919593 w 5521505"/>
              <a:gd name="connsiteY4469" fmla="*/ 730479 h 2146918"/>
              <a:gd name="connsiteX4470" fmla="*/ 3919252 w 5521505"/>
              <a:gd name="connsiteY4470" fmla="*/ 728701 h 2146918"/>
              <a:gd name="connsiteX4471" fmla="*/ 3919094 w 5521505"/>
              <a:gd name="connsiteY4471" fmla="*/ 727861 h 2146918"/>
              <a:gd name="connsiteX4472" fmla="*/ 3918911 w 5521505"/>
              <a:gd name="connsiteY4472" fmla="*/ 726814 h 2146918"/>
              <a:gd name="connsiteX4473" fmla="*/ 3918728 w 5521505"/>
              <a:gd name="connsiteY4473" fmla="*/ 725742 h 2146918"/>
              <a:gd name="connsiteX4474" fmla="*/ 3918558 w 5521505"/>
              <a:gd name="connsiteY4474" fmla="*/ 724756 h 2146918"/>
              <a:gd name="connsiteX4475" fmla="*/ 3918375 w 5521505"/>
              <a:gd name="connsiteY4475" fmla="*/ 723538 h 2146918"/>
              <a:gd name="connsiteX4476" fmla="*/ 3918217 w 5521505"/>
              <a:gd name="connsiteY4476" fmla="*/ 722381 h 2146918"/>
              <a:gd name="connsiteX4477" fmla="*/ 3918132 w 5521505"/>
              <a:gd name="connsiteY4477" fmla="*/ 721602 h 2146918"/>
              <a:gd name="connsiteX4478" fmla="*/ 3918046 w 5521505"/>
              <a:gd name="connsiteY4478" fmla="*/ 720847 h 2146918"/>
              <a:gd name="connsiteX4479" fmla="*/ 3917961 w 5521505"/>
              <a:gd name="connsiteY4479" fmla="*/ 719788 h 2146918"/>
              <a:gd name="connsiteX4480" fmla="*/ 3918765 w 5521505"/>
              <a:gd name="connsiteY4480" fmla="*/ 715294 h 2146918"/>
              <a:gd name="connsiteX4481" fmla="*/ 3919337 w 5521505"/>
              <a:gd name="connsiteY4481" fmla="*/ 713699 h 2146918"/>
              <a:gd name="connsiteX4482" fmla="*/ 3919861 w 5521505"/>
              <a:gd name="connsiteY4482" fmla="*/ 712238 h 2146918"/>
              <a:gd name="connsiteX4483" fmla="*/ 3920251 w 5521505"/>
              <a:gd name="connsiteY4483" fmla="*/ 711020 h 2146918"/>
              <a:gd name="connsiteX4484" fmla="*/ 3917389 w 5521505"/>
              <a:gd name="connsiteY4484" fmla="*/ 710144 h 2146918"/>
              <a:gd name="connsiteX4485" fmla="*/ 3916524 w 5521505"/>
              <a:gd name="connsiteY4485" fmla="*/ 711568 h 2146918"/>
              <a:gd name="connsiteX4486" fmla="*/ 3916111 w 5521505"/>
              <a:gd name="connsiteY4486" fmla="*/ 712238 h 2146918"/>
              <a:gd name="connsiteX4487" fmla="*/ 3915733 w 5521505"/>
              <a:gd name="connsiteY4487" fmla="*/ 712957 h 2146918"/>
              <a:gd name="connsiteX4488" fmla="*/ 3915319 w 5521505"/>
              <a:gd name="connsiteY4488" fmla="*/ 713992 h 2146918"/>
              <a:gd name="connsiteX4489" fmla="*/ 3914893 w 5521505"/>
              <a:gd name="connsiteY4489" fmla="*/ 714990 h 2146918"/>
              <a:gd name="connsiteX4490" fmla="*/ 3912762 w 5521505"/>
              <a:gd name="connsiteY4490" fmla="*/ 717742 h 2146918"/>
              <a:gd name="connsiteX4491" fmla="*/ 3906673 w 5521505"/>
              <a:gd name="connsiteY4491" fmla="*/ 718959 h 2146918"/>
              <a:gd name="connsiteX4492" fmla="*/ 3905370 w 5521505"/>
              <a:gd name="connsiteY4492" fmla="*/ 718959 h 2146918"/>
              <a:gd name="connsiteX4493" fmla="*/ 3903629 w 5521505"/>
              <a:gd name="connsiteY4493" fmla="*/ 718874 h 2146918"/>
              <a:gd name="connsiteX4494" fmla="*/ 3901194 w 5521505"/>
              <a:gd name="connsiteY4494" fmla="*/ 718692 h 2146918"/>
              <a:gd name="connsiteX4495" fmla="*/ 3890819 w 5521505"/>
              <a:gd name="connsiteY4495" fmla="*/ 717645 h 2146918"/>
              <a:gd name="connsiteX4496" fmla="*/ 3885948 w 5521505"/>
              <a:gd name="connsiteY4496" fmla="*/ 716853 h 2146918"/>
              <a:gd name="connsiteX4497" fmla="*/ 3881005 w 5521505"/>
              <a:gd name="connsiteY4497" fmla="*/ 714697 h 2146918"/>
              <a:gd name="connsiteX4498" fmla="*/ 3880250 w 5521505"/>
              <a:gd name="connsiteY4498" fmla="*/ 714101 h 2146918"/>
              <a:gd name="connsiteX4499" fmla="*/ 3879409 w 5521505"/>
              <a:gd name="connsiteY4499" fmla="*/ 713358 h 2146918"/>
              <a:gd name="connsiteX4500" fmla="*/ 3878192 w 5521505"/>
              <a:gd name="connsiteY4500" fmla="*/ 712141 h 2146918"/>
              <a:gd name="connsiteX4501" fmla="*/ 3877059 w 5521505"/>
              <a:gd name="connsiteY4501" fmla="*/ 710923 h 2146918"/>
              <a:gd name="connsiteX4502" fmla="*/ 3875842 w 5521505"/>
              <a:gd name="connsiteY4502" fmla="*/ 709632 h 2146918"/>
              <a:gd name="connsiteX4503" fmla="*/ 3874819 w 5521505"/>
              <a:gd name="connsiteY4503" fmla="*/ 708536 h 2146918"/>
              <a:gd name="connsiteX4504" fmla="*/ 3870155 w 5521505"/>
              <a:gd name="connsiteY4504" fmla="*/ 704250 h 2146918"/>
              <a:gd name="connsiteX4505" fmla="*/ 3869242 w 5521505"/>
              <a:gd name="connsiteY4505" fmla="*/ 703483 h 2146918"/>
              <a:gd name="connsiteX4506" fmla="*/ 3868304 w 5521505"/>
              <a:gd name="connsiteY4506" fmla="*/ 702728 h 2146918"/>
              <a:gd name="connsiteX4507" fmla="*/ 3864225 w 5521505"/>
              <a:gd name="connsiteY4507" fmla="*/ 699562 h 2146918"/>
              <a:gd name="connsiteX4508" fmla="*/ 3863494 w 5521505"/>
              <a:gd name="connsiteY4508" fmla="*/ 699002 h 2146918"/>
              <a:gd name="connsiteX4509" fmla="*/ 3862983 w 5521505"/>
              <a:gd name="connsiteY4509" fmla="*/ 698612 h 2146918"/>
              <a:gd name="connsiteX4510" fmla="*/ 3862070 w 5521505"/>
              <a:gd name="connsiteY4510" fmla="*/ 697954 h 2146918"/>
              <a:gd name="connsiteX4511" fmla="*/ 3860974 w 5521505"/>
              <a:gd name="connsiteY4511" fmla="*/ 697175 h 2146918"/>
              <a:gd name="connsiteX4512" fmla="*/ 3859914 w 5521505"/>
              <a:gd name="connsiteY4512" fmla="*/ 696432 h 2146918"/>
              <a:gd name="connsiteX4513" fmla="*/ 3858916 w 5521505"/>
              <a:gd name="connsiteY4513" fmla="*/ 695702 h 2146918"/>
              <a:gd name="connsiteX4514" fmla="*/ 3857698 w 5521505"/>
              <a:gd name="connsiteY4514" fmla="*/ 694740 h 2146918"/>
              <a:gd name="connsiteX4515" fmla="*/ 3856553 w 5521505"/>
              <a:gd name="connsiteY4515" fmla="*/ 693754 h 2146918"/>
              <a:gd name="connsiteX4516" fmla="*/ 3855835 w 5521505"/>
              <a:gd name="connsiteY4516" fmla="*/ 693035 h 2146918"/>
              <a:gd name="connsiteX4517" fmla="*/ 3853984 w 5521505"/>
              <a:gd name="connsiteY4517" fmla="*/ 688043 h 2146918"/>
              <a:gd name="connsiteX4518" fmla="*/ 3863726 w 5521505"/>
              <a:gd name="connsiteY4518" fmla="*/ 687860 h 2146918"/>
              <a:gd name="connsiteX4519" fmla="*/ 3861668 w 5521505"/>
              <a:gd name="connsiteY4519" fmla="*/ 686642 h 2146918"/>
              <a:gd name="connsiteX4520" fmla="*/ 3858210 w 5521505"/>
              <a:gd name="connsiteY4520" fmla="*/ 684572 h 2146918"/>
              <a:gd name="connsiteX4521" fmla="*/ 3854788 w 5521505"/>
              <a:gd name="connsiteY4521" fmla="*/ 682478 h 2146918"/>
              <a:gd name="connsiteX4522" fmla="*/ 3852011 w 5521505"/>
              <a:gd name="connsiteY4522" fmla="*/ 680737 h 2146918"/>
              <a:gd name="connsiteX4523" fmla="*/ 3848773 w 5521505"/>
              <a:gd name="connsiteY4523" fmla="*/ 678642 h 2146918"/>
              <a:gd name="connsiteX4524" fmla="*/ 3844961 w 5521505"/>
              <a:gd name="connsiteY4524" fmla="*/ 676109 h 2146918"/>
              <a:gd name="connsiteX4525" fmla="*/ 3823250 w 5521505"/>
              <a:gd name="connsiteY4525" fmla="*/ 659171 h 2146918"/>
              <a:gd name="connsiteX4526" fmla="*/ 3808199 w 5521505"/>
              <a:gd name="connsiteY4526" fmla="*/ 642867 h 2146918"/>
              <a:gd name="connsiteX4527" fmla="*/ 3803438 w 5521505"/>
              <a:gd name="connsiteY4527" fmla="*/ 641905 h 2146918"/>
              <a:gd name="connsiteX4528" fmla="*/ 3797666 w 5521505"/>
              <a:gd name="connsiteY4528" fmla="*/ 640687 h 2146918"/>
              <a:gd name="connsiteX4529" fmla="*/ 3789885 w 5521505"/>
              <a:gd name="connsiteY4529" fmla="*/ 639080 h 2146918"/>
              <a:gd name="connsiteX4530" fmla="*/ 3786646 w 5521505"/>
              <a:gd name="connsiteY4530" fmla="*/ 638446 h 2146918"/>
              <a:gd name="connsiteX4531" fmla="*/ 3781532 w 5521505"/>
              <a:gd name="connsiteY4531" fmla="*/ 637496 h 2146918"/>
              <a:gd name="connsiteX4532" fmla="*/ 3776661 w 5521505"/>
              <a:gd name="connsiteY4532" fmla="*/ 636681 h 2146918"/>
              <a:gd name="connsiteX4533" fmla="*/ 3773410 w 5521505"/>
              <a:gd name="connsiteY4533" fmla="*/ 636181 h 2146918"/>
              <a:gd name="connsiteX4534" fmla="*/ 3770731 w 5521505"/>
              <a:gd name="connsiteY4534" fmla="*/ 635816 h 2146918"/>
              <a:gd name="connsiteX4535" fmla="*/ 3766213 w 5521505"/>
              <a:gd name="connsiteY4535" fmla="*/ 635256 h 2146918"/>
              <a:gd name="connsiteX4536" fmla="*/ 3762560 w 5521505"/>
              <a:gd name="connsiteY4536" fmla="*/ 634793 h 2146918"/>
              <a:gd name="connsiteX4537" fmla="*/ 3758238 w 5521505"/>
              <a:gd name="connsiteY4537" fmla="*/ 634221 h 2146918"/>
              <a:gd name="connsiteX4538" fmla="*/ 3751723 w 5521505"/>
              <a:gd name="connsiteY4538" fmla="*/ 633283 h 2146918"/>
              <a:gd name="connsiteX4539" fmla="*/ 3744259 w 5521505"/>
              <a:gd name="connsiteY4539" fmla="*/ 632066 h 2146918"/>
              <a:gd name="connsiteX4540" fmla="*/ 3739765 w 5521505"/>
              <a:gd name="connsiteY4540" fmla="*/ 631299 h 2146918"/>
              <a:gd name="connsiteX4541" fmla="*/ 3707448 w 5521505"/>
              <a:gd name="connsiteY4541" fmla="*/ 623871 h 2146918"/>
              <a:gd name="connsiteX4542" fmla="*/ 3701128 w 5521505"/>
              <a:gd name="connsiteY4542" fmla="*/ 621935 h 2146918"/>
              <a:gd name="connsiteX4543" fmla="*/ 3696477 w 5521505"/>
              <a:gd name="connsiteY4543" fmla="*/ 620473 h 2146918"/>
              <a:gd name="connsiteX4544" fmla="*/ 3690145 w 5521505"/>
              <a:gd name="connsiteY4544" fmla="*/ 618513 h 2146918"/>
              <a:gd name="connsiteX4545" fmla="*/ 3681621 w 5521505"/>
              <a:gd name="connsiteY4545" fmla="*/ 615907 h 2146918"/>
              <a:gd name="connsiteX4546" fmla="*/ 3667642 w 5521505"/>
              <a:gd name="connsiteY4546" fmla="*/ 611742 h 2146918"/>
              <a:gd name="connsiteX4547" fmla="*/ 3662369 w 5521505"/>
              <a:gd name="connsiteY4547" fmla="*/ 610220 h 2146918"/>
              <a:gd name="connsiteX4548" fmla="*/ 3653444 w 5521505"/>
              <a:gd name="connsiteY4548" fmla="*/ 607700 h 2146918"/>
              <a:gd name="connsiteX4549" fmla="*/ 3648817 w 5521505"/>
              <a:gd name="connsiteY4549" fmla="*/ 606482 h 2146918"/>
              <a:gd name="connsiteX4550" fmla="*/ 3644676 w 5521505"/>
              <a:gd name="connsiteY4550" fmla="*/ 605264 h 2146918"/>
              <a:gd name="connsiteX4551" fmla="*/ 3637991 w 5521505"/>
              <a:gd name="connsiteY4551" fmla="*/ 601903 h 2146918"/>
              <a:gd name="connsiteX4552" fmla="*/ 3634838 w 5521505"/>
              <a:gd name="connsiteY4552" fmla="*/ 597983 h 2146918"/>
              <a:gd name="connsiteX4553" fmla="*/ 3633157 w 5521505"/>
              <a:gd name="connsiteY4553" fmla="*/ 594622 h 2146918"/>
              <a:gd name="connsiteX4554" fmla="*/ 3632025 w 5521505"/>
              <a:gd name="connsiteY4554" fmla="*/ 592881 h 2146918"/>
              <a:gd name="connsiteX4555" fmla="*/ 3630868 w 5521505"/>
              <a:gd name="connsiteY4555" fmla="*/ 591115 h 2146918"/>
              <a:gd name="connsiteX4556" fmla="*/ 3626862 w 5521505"/>
              <a:gd name="connsiteY4556" fmla="*/ 587462 h 2146918"/>
              <a:gd name="connsiteX4557" fmla="*/ 3617254 w 5521505"/>
              <a:gd name="connsiteY4557" fmla="*/ 586695 h 2146918"/>
              <a:gd name="connsiteX4558" fmla="*/ 3614697 w 5521505"/>
              <a:gd name="connsiteY4558" fmla="*/ 586804 h 2146918"/>
              <a:gd name="connsiteX4559" fmla="*/ 3611653 w 5521505"/>
              <a:gd name="connsiteY4559" fmla="*/ 586902 h 2146918"/>
              <a:gd name="connsiteX4560" fmla="*/ 3609461 w 5521505"/>
              <a:gd name="connsiteY4560" fmla="*/ 586902 h 2146918"/>
              <a:gd name="connsiteX4561" fmla="*/ 3608036 w 5521505"/>
              <a:gd name="connsiteY4561" fmla="*/ 586902 h 2146918"/>
              <a:gd name="connsiteX4562" fmla="*/ 3598015 w 5521505"/>
              <a:gd name="connsiteY4562" fmla="*/ 586475 h 2146918"/>
              <a:gd name="connsiteX4563" fmla="*/ 3566732 w 5521505"/>
              <a:gd name="connsiteY4563" fmla="*/ 577952 h 2146918"/>
              <a:gd name="connsiteX4564" fmla="*/ 3562166 w 5521505"/>
              <a:gd name="connsiteY4564" fmla="*/ 575955 h 2146918"/>
              <a:gd name="connsiteX4565" fmla="*/ 3558099 w 5521505"/>
              <a:gd name="connsiteY4565" fmla="*/ 574080 h 2146918"/>
              <a:gd name="connsiteX4566" fmla="*/ 3552863 w 5521505"/>
              <a:gd name="connsiteY4566" fmla="*/ 571559 h 2146918"/>
              <a:gd name="connsiteX4567" fmla="*/ 3547091 w 5521505"/>
              <a:gd name="connsiteY4567" fmla="*/ 568734 h 2146918"/>
              <a:gd name="connsiteX4568" fmla="*/ 3541003 w 5521505"/>
              <a:gd name="connsiteY4568" fmla="*/ 565787 h 2146918"/>
              <a:gd name="connsiteX4569" fmla="*/ 3536132 w 5521505"/>
              <a:gd name="connsiteY4569" fmla="*/ 563522 h 2146918"/>
              <a:gd name="connsiteX4570" fmla="*/ 3533855 w 5521505"/>
              <a:gd name="connsiteY4570" fmla="*/ 562524 h 2146918"/>
              <a:gd name="connsiteX4571" fmla="*/ 3531748 w 5521505"/>
              <a:gd name="connsiteY4571" fmla="*/ 561635 h 2146918"/>
              <a:gd name="connsiteX4572" fmla="*/ 3530226 w 5521505"/>
              <a:gd name="connsiteY4572" fmla="*/ 561014 h 2146918"/>
              <a:gd name="connsiteX4573" fmla="*/ 3529508 w 5521505"/>
              <a:gd name="connsiteY4573" fmla="*/ 560722 h 2146918"/>
              <a:gd name="connsiteX4574" fmla="*/ 3528387 w 5521505"/>
              <a:gd name="connsiteY4574" fmla="*/ 560283 h 2146918"/>
              <a:gd name="connsiteX4575" fmla="*/ 3527365 w 5521505"/>
              <a:gd name="connsiteY4575" fmla="*/ 559796 h 2146918"/>
              <a:gd name="connsiteX4576" fmla="*/ 3526317 w 5521505"/>
              <a:gd name="connsiteY4576" fmla="*/ 559199 h 2146918"/>
              <a:gd name="connsiteX4577" fmla="*/ 3520752 w 5521505"/>
              <a:gd name="connsiteY4577" fmla="*/ 553196 h 2146918"/>
              <a:gd name="connsiteX4578" fmla="*/ 3519900 w 5521505"/>
              <a:gd name="connsiteY4578" fmla="*/ 551321 h 2146918"/>
              <a:gd name="connsiteX4579" fmla="*/ 3519596 w 5521505"/>
              <a:gd name="connsiteY4579" fmla="*/ 550359 h 2146918"/>
              <a:gd name="connsiteX4580" fmla="*/ 3519279 w 5521505"/>
              <a:gd name="connsiteY4580" fmla="*/ 549458 h 2146918"/>
              <a:gd name="connsiteX4581" fmla="*/ 3518963 w 5521505"/>
              <a:gd name="connsiteY4581" fmla="*/ 548691 h 2146918"/>
              <a:gd name="connsiteX4582" fmla="*/ 3518074 w 5521505"/>
              <a:gd name="connsiteY4582" fmla="*/ 547023 h 2146918"/>
              <a:gd name="connsiteX4583" fmla="*/ 3517404 w 5521505"/>
              <a:gd name="connsiteY4583" fmla="*/ 545987 h 2146918"/>
              <a:gd name="connsiteX4584" fmla="*/ 3516673 w 5521505"/>
              <a:gd name="connsiteY4584" fmla="*/ 545001 h 2146918"/>
              <a:gd name="connsiteX4585" fmla="*/ 3515553 w 5521505"/>
              <a:gd name="connsiteY4585" fmla="*/ 543625 h 2146918"/>
              <a:gd name="connsiteX4586" fmla="*/ 3514591 w 5521505"/>
              <a:gd name="connsiteY4586" fmla="*/ 542566 h 2146918"/>
              <a:gd name="connsiteX4587" fmla="*/ 3513106 w 5521505"/>
              <a:gd name="connsiteY4587" fmla="*/ 541044 h 2146918"/>
              <a:gd name="connsiteX4588" fmla="*/ 3511730 w 5521505"/>
              <a:gd name="connsiteY4588" fmla="*/ 539729 h 2146918"/>
              <a:gd name="connsiteX4589" fmla="*/ 3510049 w 5521505"/>
              <a:gd name="connsiteY4589" fmla="*/ 538194 h 2146918"/>
              <a:gd name="connsiteX4590" fmla="*/ 3509039 w 5521505"/>
              <a:gd name="connsiteY4590" fmla="*/ 537293 h 2146918"/>
              <a:gd name="connsiteX4591" fmla="*/ 3505142 w 5521505"/>
              <a:gd name="connsiteY4591" fmla="*/ 534139 h 2146918"/>
              <a:gd name="connsiteX4592" fmla="*/ 3495401 w 5521505"/>
              <a:gd name="connsiteY4592" fmla="*/ 529975 h 2146918"/>
              <a:gd name="connsiteX4593" fmla="*/ 3482736 w 5521505"/>
              <a:gd name="connsiteY4593" fmla="*/ 527820 h 2146918"/>
              <a:gd name="connsiteX4594" fmla="*/ 3474700 w 5521505"/>
              <a:gd name="connsiteY4594" fmla="*/ 529037 h 2146918"/>
              <a:gd name="connsiteX4595" fmla="*/ 3469123 w 5521505"/>
              <a:gd name="connsiteY4595" fmla="*/ 538608 h 2146918"/>
              <a:gd name="connsiteX4596" fmla="*/ 3470511 w 5521505"/>
              <a:gd name="connsiteY4596" fmla="*/ 541044 h 2146918"/>
              <a:gd name="connsiteX4597" fmla="*/ 3480557 w 5521505"/>
              <a:gd name="connsiteY4597" fmla="*/ 553062 h 2146918"/>
              <a:gd name="connsiteX4598" fmla="*/ 3492332 w 5521505"/>
              <a:gd name="connsiteY4598" fmla="*/ 561074 h 2146918"/>
              <a:gd name="connsiteX4599" fmla="*/ 3500052 w 5521505"/>
              <a:gd name="connsiteY4599" fmla="*/ 565945 h 2146918"/>
              <a:gd name="connsiteX4600" fmla="*/ 3511535 w 5521505"/>
              <a:gd name="connsiteY4600" fmla="*/ 573604 h 2146918"/>
              <a:gd name="connsiteX4601" fmla="*/ 3518147 w 5521505"/>
              <a:gd name="connsiteY4601" fmla="*/ 572582 h 2146918"/>
              <a:gd name="connsiteX4602" fmla="*/ 3514920 w 5521505"/>
              <a:gd name="connsiteY4602" fmla="*/ 579547 h 2146918"/>
              <a:gd name="connsiteX4603" fmla="*/ 3524783 w 5521505"/>
              <a:gd name="connsiteY4603" fmla="*/ 578329 h 2146918"/>
              <a:gd name="connsiteX4604" fmla="*/ 3530689 w 5521505"/>
              <a:gd name="connsiteY4604" fmla="*/ 584162 h 2146918"/>
              <a:gd name="connsiteX4605" fmla="*/ 3529788 w 5521505"/>
              <a:gd name="connsiteY4605" fmla="*/ 597557 h 2146918"/>
              <a:gd name="connsiteX4606" fmla="*/ 3537739 w 5521505"/>
              <a:gd name="connsiteY4606" fmla="*/ 603133 h 2146918"/>
              <a:gd name="connsiteX4607" fmla="*/ 3569229 w 5521505"/>
              <a:gd name="connsiteY4607" fmla="*/ 608296 h 2146918"/>
              <a:gd name="connsiteX4608" fmla="*/ 3603227 w 5521505"/>
              <a:gd name="connsiteY4608" fmla="*/ 596911 h 2146918"/>
              <a:gd name="connsiteX4609" fmla="*/ 3616183 w 5521505"/>
              <a:gd name="connsiteY4609" fmla="*/ 592357 h 2146918"/>
              <a:gd name="connsiteX4610" fmla="*/ 3617400 w 5521505"/>
              <a:gd name="connsiteY4610" fmla="*/ 595547 h 2146918"/>
              <a:gd name="connsiteX4611" fmla="*/ 3618143 w 5521505"/>
              <a:gd name="connsiteY4611" fmla="*/ 597629 h 2146918"/>
              <a:gd name="connsiteX4612" fmla="*/ 3619361 w 5521505"/>
              <a:gd name="connsiteY4612" fmla="*/ 600430 h 2146918"/>
              <a:gd name="connsiteX4613" fmla="*/ 3620457 w 5521505"/>
              <a:gd name="connsiteY4613" fmla="*/ 602452 h 2146918"/>
              <a:gd name="connsiteX4614" fmla="*/ 3621833 w 5521505"/>
              <a:gd name="connsiteY4614" fmla="*/ 604570 h 2146918"/>
              <a:gd name="connsiteX4615" fmla="*/ 3623842 w 5521505"/>
              <a:gd name="connsiteY4615" fmla="*/ 607420 h 2146918"/>
              <a:gd name="connsiteX4616" fmla="*/ 3627568 w 5521505"/>
              <a:gd name="connsiteY4616" fmla="*/ 612290 h 2146918"/>
              <a:gd name="connsiteX4617" fmla="*/ 3633267 w 5521505"/>
              <a:gd name="connsiteY4617" fmla="*/ 619183 h 2146918"/>
              <a:gd name="connsiteX4618" fmla="*/ 3642765 w 5521505"/>
              <a:gd name="connsiteY4618" fmla="*/ 625892 h 2146918"/>
              <a:gd name="connsiteX4619" fmla="*/ 3653614 w 5521505"/>
              <a:gd name="connsiteY4619" fmla="*/ 627791 h 2146918"/>
              <a:gd name="connsiteX4620" fmla="*/ 3659410 w 5521505"/>
              <a:gd name="connsiteY4620" fmla="*/ 629764 h 2146918"/>
              <a:gd name="connsiteX4621" fmla="*/ 3661200 w 5521505"/>
              <a:gd name="connsiteY4621" fmla="*/ 630799 h 2146918"/>
              <a:gd name="connsiteX4622" fmla="*/ 3663161 w 5521505"/>
              <a:gd name="connsiteY4622" fmla="*/ 632114 h 2146918"/>
              <a:gd name="connsiteX4623" fmla="*/ 3664841 w 5521505"/>
              <a:gd name="connsiteY4623" fmla="*/ 633466 h 2146918"/>
              <a:gd name="connsiteX4624" fmla="*/ 3667910 w 5521505"/>
              <a:gd name="connsiteY4624" fmla="*/ 636181 h 2146918"/>
              <a:gd name="connsiteX4625" fmla="*/ 3670966 w 5521505"/>
              <a:gd name="connsiteY4625" fmla="*/ 639031 h 2146918"/>
              <a:gd name="connsiteX4626" fmla="*/ 3674132 w 5521505"/>
              <a:gd name="connsiteY4626" fmla="*/ 642173 h 2146918"/>
              <a:gd name="connsiteX4627" fmla="*/ 3678796 w 5521505"/>
              <a:gd name="connsiteY4627" fmla="*/ 647213 h 2146918"/>
              <a:gd name="connsiteX4628" fmla="*/ 3680793 w 5521505"/>
              <a:gd name="connsiteY4628" fmla="*/ 654215 h 2146918"/>
              <a:gd name="connsiteX4629" fmla="*/ 3680014 w 5521505"/>
              <a:gd name="connsiteY4629" fmla="*/ 655031 h 2146918"/>
              <a:gd name="connsiteX4630" fmla="*/ 3675143 w 5521505"/>
              <a:gd name="connsiteY4630" fmla="*/ 659086 h 2146918"/>
              <a:gd name="connsiteX4631" fmla="*/ 3671648 w 5521505"/>
              <a:gd name="connsiteY4631" fmla="*/ 661753 h 2146918"/>
              <a:gd name="connsiteX4632" fmla="*/ 3667776 w 5521505"/>
              <a:gd name="connsiteY4632" fmla="*/ 664602 h 2146918"/>
              <a:gd name="connsiteX4633" fmla="*/ 3664476 w 5521505"/>
              <a:gd name="connsiteY4633" fmla="*/ 667038 h 2146918"/>
              <a:gd name="connsiteX4634" fmla="*/ 3662138 w 5521505"/>
              <a:gd name="connsiteY4634" fmla="*/ 668767 h 2146918"/>
              <a:gd name="connsiteX4635" fmla="*/ 3660665 w 5521505"/>
              <a:gd name="connsiteY4635" fmla="*/ 669582 h 2146918"/>
              <a:gd name="connsiteX4636" fmla="*/ 3658229 w 5521505"/>
              <a:gd name="connsiteY4636" fmla="*/ 669851 h 2146918"/>
              <a:gd name="connsiteX4637" fmla="*/ 3654247 w 5521505"/>
              <a:gd name="connsiteY4637" fmla="*/ 669851 h 2146918"/>
              <a:gd name="connsiteX4638" fmla="*/ 3647794 w 5521505"/>
              <a:gd name="connsiteY4638" fmla="*/ 674258 h 2146918"/>
              <a:gd name="connsiteX4639" fmla="*/ 3647148 w 5521505"/>
              <a:gd name="connsiteY4639" fmla="*/ 678800 h 2146918"/>
              <a:gd name="connsiteX4640" fmla="*/ 3644823 w 5521505"/>
              <a:gd name="connsiteY4640" fmla="*/ 683403 h 2146918"/>
              <a:gd name="connsiteX4641" fmla="*/ 3637322 w 5521505"/>
              <a:gd name="connsiteY4641" fmla="*/ 684402 h 2146918"/>
              <a:gd name="connsiteX4642" fmla="*/ 3635629 w 5521505"/>
              <a:gd name="connsiteY4642" fmla="*/ 684402 h 2146918"/>
              <a:gd name="connsiteX4643" fmla="*/ 3623245 w 5521505"/>
              <a:gd name="connsiteY4643" fmla="*/ 687410 h 2146918"/>
              <a:gd name="connsiteX4644" fmla="*/ 3622125 w 5521505"/>
              <a:gd name="connsiteY4644" fmla="*/ 688237 h 2146918"/>
              <a:gd name="connsiteX4645" fmla="*/ 3621467 w 5521505"/>
              <a:gd name="connsiteY4645" fmla="*/ 688688 h 2146918"/>
              <a:gd name="connsiteX4646" fmla="*/ 3619860 w 5521505"/>
              <a:gd name="connsiteY4646" fmla="*/ 689492 h 2146918"/>
              <a:gd name="connsiteX4647" fmla="*/ 3618496 w 5521505"/>
              <a:gd name="connsiteY4647" fmla="*/ 689991 h 2146918"/>
              <a:gd name="connsiteX4648" fmla="*/ 3613820 w 5521505"/>
              <a:gd name="connsiteY4648" fmla="*/ 690514 h 2146918"/>
              <a:gd name="connsiteX4649" fmla="*/ 3594070 w 5521505"/>
              <a:gd name="connsiteY4649" fmla="*/ 695190 h 2146918"/>
              <a:gd name="connsiteX4650" fmla="*/ 3584730 w 5521505"/>
              <a:gd name="connsiteY4650" fmla="*/ 695373 h 2146918"/>
              <a:gd name="connsiteX4651" fmla="*/ 3575341 w 5521505"/>
              <a:gd name="connsiteY4651" fmla="*/ 695580 h 2146918"/>
              <a:gd name="connsiteX4652" fmla="*/ 3569058 w 5521505"/>
              <a:gd name="connsiteY4652" fmla="*/ 695738 h 2146918"/>
              <a:gd name="connsiteX4653" fmla="*/ 3557295 w 5521505"/>
              <a:gd name="connsiteY4653" fmla="*/ 696116 h 2146918"/>
              <a:gd name="connsiteX4654" fmla="*/ 3553241 w 5521505"/>
              <a:gd name="connsiteY4654" fmla="*/ 696274 h 2146918"/>
              <a:gd name="connsiteX4655" fmla="*/ 3547761 w 5521505"/>
              <a:gd name="connsiteY4655" fmla="*/ 696530 h 2146918"/>
              <a:gd name="connsiteX4656" fmla="*/ 3544485 w 5521505"/>
              <a:gd name="connsiteY4656" fmla="*/ 696700 h 2146918"/>
              <a:gd name="connsiteX4657" fmla="*/ 3539310 w 5521505"/>
              <a:gd name="connsiteY4657" fmla="*/ 699805 h 2146918"/>
              <a:gd name="connsiteX4658" fmla="*/ 3539103 w 5521505"/>
              <a:gd name="connsiteY4658" fmla="*/ 700816 h 2146918"/>
              <a:gd name="connsiteX4659" fmla="*/ 3538872 w 5521505"/>
              <a:gd name="connsiteY4659" fmla="*/ 702314 h 2146918"/>
              <a:gd name="connsiteX4660" fmla="*/ 3538555 w 5521505"/>
              <a:gd name="connsiteY4660" fmla="*/ 703154 h 2146918"/>
              <a:gd name="connsiteX4661" fmla="*/ 3516357 w 5521505"/>
              <a:gd name="connsiteY4661" fmla="*/ 709242 h 2146918"/>
              <a:gd name="connsiteX4662" fmla="*/ 3508758 w 5521505"/>
              <a:gd name="connsiteY4662" fmla="*/ 709169 h 2146918"/>
              <a:gd name="connsiteX4663" fmla="*/ 3501647 w 5521505"/>
              <a:gd name="connsiteY4663" fmla="*/ 708902 h 2146918"/>
              <a:gd name="connsiteX4664" fmla="*/ 3495936 w 5521505"/>
              <a:gd name="connsiteY4664" fmla="*/ 708670 h 2146918"/>
              <a:gd name="connsiteX4665" fmla="*/ 3492283 w 5521505"/>
              <a:gd name="connsiteY4665" fmla="*/ 708670 h 2146918"/>
              <a:gd name="connsiteX4666" fmla="*/ 3487412 w 5521505"/>
              <a:gd name="connsiteY4666" fmla="*/ 708926 h 2146918"/>
              <a:gd name="connsiteX4667" fmla="*/ 3484514 w 5521505"/>
              <a:gd name="connsiteY4667" fmla="*/ 709315 h 2146918"/>
              <a:gd name="connsiteX4668" fmla="*/ 3480557 w 5521505"/>
              <a:gd name="connsiteY4668" fmla="*/ 710265 h 2146918"/>
              <a:gd name="connsiteX4669" fmla="*/ 3477817 w 5521505"/>
              <a:gd name="connsiteY4669" fmla="*/ 711288 h 2146918"/>
              <a:gd name="connsiteX4670" fmla="*/ 3475662 w 5521505"/>
              <a:gd name="connsiteY4670" fmla="*/ 711995 h 2146918"/>
              <a:gd name="connsiteX4671" fmla="*/ 3472886 w 5521505"/>
              <a:gd name="connsiteY4671" fmla="*/ 712408 h 2146918"/>
              <a:gd name="connsiteX4672" fmla="*/ 3468867 w 5521505"/>
              <a:gd name="connsiteY4672" fmla="*/ 712628 h 2146918"/>
              <a:gd name="connsiteX4673" fmla="*/ 3465494 w 5521505"/>
              <a:gd name="connsiteY4673" fmla="*/ 712713 h 2146918"/>
              <a:gd name="connsiteX4674" fmla="*/ 3460964 w 5521505"/>
              <a:gd name="connsiteY4674" fmla="*/ 712847 h 2146918"/>
              <a:gd name="connsiteX4675" fmla="*/ 3456739 w 5521505"/>
              <a:gd name="connsiteY4675" fmla="*/ 712713 h 2146918"/>
              <a:gd name="connsiteX4676" fmla="*/ 3449847 w 5521505"/>
              <a:gd name="connsiteY4676" fmla="*/ 713419 h 2146918"/>
              <a:gd name="connsiteX4677" fmla="*/ 3431679 w 5521505"/>
              <a:gd name="connsiteY4677" fmla="*/ 715939 h 2146918"/>
              <a:gd name="connsiteX4678" fmla="*/ 3427222 w 5521505"/>
              <a:gd name="connsiteY4678" fmla="*/ 716013 h 2146918"/>
              <a:gd name="connsiteX4679" fmla="*/ 3423119 w 5521505"/>
              <a:gd name="connsiteY4679" fmla="*/ 716074 h 2146918"/>
              <a:gd name="connsiteX4680" fmla="*/ 3411563 w 5521505"/>
              <a:gd name="connsiteY4680" fmla="*/ 717486 h 2146918"/>
              <a:gd name="connsiteX4681" fmla="*/ 3409493 w 5521505"/>
              <a:gd name="connsiteY4681" fmla="*/ 718022 h 2146918"/>
              <a:gd name="connsiteX4682" fmla="*/ 3407472 w 5521505"/>
              <a:gd name="connsiteY4682" fmla="*/ 718424 h 2146918"/>
              <a:gd name="connsiteX4683" fmla="*/ 3405633 w 5521505"/>
              <a:gd name="connsiteY4683" fmla="*/ 718692 h 2146918"/>
              <a:gd name="connsiteX4684" fmla="*/ 3377991 w 5521505"/>
              <a:gd name="connsiteY4684" fmla="*/ 716110 h 2146918"/>
              <a:gd name="connsiteX4685" fmla="*/ 3370527 w 5521505"/>
              <a:gd name="connsiteY4685" fmla="*/ 711081 h 2146918"/>
              <a:gd name="connsiteX4686" fmla="*/ 3370344 w 5521505"/>
              <a:gd name="connsiteY4686" fmla="*/ 709340 h 2146918"/>
              <a:gd name="connsiteX4687" fmla="*/ 3370758 w 5521505"/>
              <a:gd name="connsiteY4687" fmla="*/ 708366 h 2146918"/>
              <a:gd name="connsiteX4688" fmla="*/ 3371184 w 5521505"/>
              <a:gd name="connsiteY4688" fmla="*/ 706831 h 2146918"/>
              <a:gd name="connsiteX4689" fmla="*/ 3371330 w 5521505"/>
              <a:gd name="connsiteY4689" fmla="*/ 705614 h 2146918"/>
              <a:gd name="connsiteX4690" fmla="*/ 3371330 w 5521505"/>
              <a:gd name="connsiteY4690" fmla="*/ 704542 h 2146918"/>
              <a:gd name="connsiteX4691" fmla="*/ 3371099 w 5521505"/>
              <a:gd name="connsiteY4691" fmla="*/ 702789 h 2146918"/>
              <a:gd name="connsiteX4692" fmla="*/ 3370052 w 5521505"/>
              <a:gd name="connsiteY4692" fmla="*/ 699525 h 2146918"/>
              <a:gd name="connsiteX4693" fmla="*/ 3368834 w 5521505"/>
              <a:gd name="connsiteY4693" fmla="*/ 697017 h 2146918"/>
              <a:gd name="connsiteX4694" fmla="*/ 3367702 w 5521505"/>
              <a:gd name="connsiteY4694" fmla="*/ 694910 h 2146918"/>
              <a:gd name="connsiteX4695" fmla="*/ 3366484 w 5521505"/>
              <a:gd name="connsiteY4695" fmla="*/ 692816 h 2146918"/>
              <a:gd name="connsiteX4696" fmla="*/ 3365644 w 5521505"/>
              <a:gd name="connsiteY4696" fmla="*/ 691281 h 2146918"/>
              <a:gd name="connsiteX4697" fmla="*/ 3364658 w 5521505"/>
              <a:gd name="connsiteY4697" fmla="*/ 689334 h 2146918"/>
              <a:gd name="connsiteX4698" fmla="*/ 3364207 w 5521505"/>
              <a:gd name="connsiteY4698" fmla="*/ 688347 h 2146918"/>
              <a:gd name="connsiteX4699" fmla="*/ 3363562 w 5521505"/>
              <a:gd name="connsiteY4699" fmla="*/ 686666 h 2146918"/>
              <a:gd name="connsiteX4700" fmla="*/ 3362989 w 5521505"/>
              <a:gd name="connsiteY4700" fmla="*/ 684535 h 2146918"/>
              <a:gd name="connsiteX4701" fmla="*/ 3362113 w 5521505"/>
              <a:gd name="connsiteY4701" fmla="*/ 681540 h 2146918"/>
              <a:gd name="connsiteX4702" fmla="*/ 3361735 w 5521505"/>
              <a:gd name="connsiteY4702" fmla="*/ 678813 h 2146918"/>
              <a:gd name="connsiteX4703" fmla="*/ 3361991 w 5521505"/>
              <a:gd name="connsiteY4703" fmla="*/ 677010 h 2146918"/>
              <a:gd name="connsiteX4704" fmla="*/ 3362173 w 5521505"/>
              <a:gd name="connsiteY4704" fmla="*/ 674855 h 2146918"/>
              <a:gd name="connsiteX4705" fmla="*/ 3351446 w 5521505"/>
              <a:gd name="connsiteY4705" fmla="*/ 658623 h 2146918"/>
              <a:gd name="connsiteX4706" fmla="*/ 3349010 w 5521505"/>
              <a:gd name="connsiteY4706" fmla="*/ 657162 h 2146918"/>
              <a:gd name="connsiteX4707" fmla="*/ 3345930 w 5521505"/>
              <a:gd name="connsiteY4707" fmla="*/ 655335 h 2146918"/>
              <a:gd name="connsiteX4708" fmla="*/ 3337406 w 5521505"/>
              <a:gd name="connsiteY4708" fmla="*/ 646081 h 2146918"/>
              <a:gd name="connsiteX4709" fmla="*/ 3336590 w 5521505"/>
              <a:gd name="connsiteY4709" fmla="*/ 644340 h 2146918"/>
              <a:gd name="connsiteX4710" fmla="*/ 3335372 w 5521505"/>
              <a:gd name="connsiteY4710" fmla="*/ 642196 h 2146918"/>
              <a:gd name="connsiteX4711" fmla="*/ 3318848 w 5521505"/>
              <a:gd name="connsiteY4711" fmla="*/ 628108 h 2146918"/>
              <a:gd name="connsiteX4712" fmla="*/ 3316413 w 5521505"/>
              <a:gd name="connsiteY4712" fmla="*/ 627000 h 2146918"/>
              <a:gd name="connsiteX4713" fmla="*/ 3313917 w 5521505"/>
              <a:gd name="connsiteY4713" fmla="*/ 625953 h 2146918"/>
              <a:gd name="connsiteX4714" fmla="*/ 3304833 w 5521505"/>
              <a:gd name="connsiteY4714" fmla="*/ 620960 h 2146918"/>
              <a:gd name="connsiteX4715" fmla="*/ 3303457 w 5521505"/>
              <a:gd name="connsiteY4715" fmla="*/ 619937 h 2146918"/>
              <a:gd name="connsiteX4716" fmla="*/ 3301740 w 5521505"/>
              <a:gd name="connsiteY4716" fmla="*/ 618501 h 2146918"/>
              <a:gd name="connsiteX4717" fmla="*/ 3300949 w 5521505"/>
              <a:gd name="connsiteY4717" fmla="*/ 617770 h 2146918"/>
              <a:gd name="connsiteX4718" fmla="*/ 3293082 w 5521505"/>
              <a:gd name="connsiteY4718" fmla="*/ 603024 h 2146918"/>
              <a:gd name="connsiteX4719" fmla="*/ 3286153 w 5521505"/>
              <a:gd name="connsiteY4719" fmla="*/ 588412 h 2146918"/>
              <a:gd name="connsiteX4720" fmla="*/ 3284826 w 5521505"/>
              <a:gd name="connsiteY4720" fmla="*/ 586865 h 2146918"/>
              <a:gd name="connsiteX4721" fmla="*/ 3267925 w 5521505"/>
              <a:gd name="connsiteY4721" fmla="*/ 574542 h 2146918"/>
              <a:gd name="connsiteX4722" fmla="*/ 3265563 w 5521505"/>
              <a:gd name="connsiteY4722" fmla="*/ 573385 h 2146918"/>
              <a:gd name="connsiteX4723" fmla="*/ 3263687 w 5521505"/>
              <a:gd name="connsiteY4723" fmla="*/ 572460 h 2146918"/>
              <a:gd name="connsiteX4724" fmla="*/ 3259924 w 5521505"/>
              <a:gd name="connsiteY4724" fmla="*/ 569160 h 2146918"/>
              <a:gd name="connsiteX4725" fmla="*/ 3259401 w 5521505"/>
              <a:gd name="connsiteY4725" fmla="*/ 568137 h 2146918"/>
              <a:gd name="connsiteX4726" fmla="*/ 3258670 w 5521505"/>
              <a:gd name="connsiteY4726" fmla="*/ 566919 h 2146918"/>
              <a:gd name="connsiteX4727" fmla="*/ 3257453 w 5521505"/>
              <a:gd name="connsiteY4727" fmla="*/ 565142 h 2146918"/>
              <a:gd name="connsiteX4728" fmla="*/ 3256686 w 5521505"/>
              <a:gd name="connsiteY4728" fmla="*/ 564106 h 2146918"/>
              <a:gd name="connsiteX4729" fmla="*/ 3255772 w 5521505"/>
              <a:gd name="connsiteY4729" fmla="*/ 562974 h 2146918"/>
              <a:gd name="connsiteX4730" fmla="*/ 3254616 w 5521505"/>
              <a:gd name="connsiteY4730" fmla="*/ 561635 h 2146918"/>
              <a:gd name="connsiteX4731" fmla="*/ 3253398 w 5521505"/>
              <a:gd name="connsiteY4731" fmla="*/ 560417 h 2146918"/>
              <a:gd name="connsiteX4732" fmla="*/ 3251632 w 5521505"/>
              <a:gd name="connsiteY4732" fmla="*/ 558627 h 2146918"/>
              <a:gd name="connsiteX4733" fmla="*/ 3250049 w 5521505"/>
              <a:gd name="connsiteY4733" fmla="*/ 557141 h 2146918"/>
              <a:gd name="connsiteX4734" fmla="*/ 3247675 w 5521505"/>
              <a:gd name="connsiteY4734" fmla="*/ 554998 h 2146918"/>
              <a:gd name="connsiteX4735" fmla="*/ 3245239 w 5521505"/>
              <a:gd name="connsiteY4735" fmla="*/ 552965 h 2146918"/>
              <a:gd name="connsiteX4736" fmla="*/ 3243023 w 5521505"/>
              <a:gd name="connsiteY4736" fmla="*/ 551114 h 2146918"/>
              <a:gd name="connsiteX4737" fmla="*/ 3240442 w 5521505"/>
              <a:gd name="connsiteY4737" fmla="*/ 548995 h 2146918"/>
              <a:gd name="connsiteX4738" fmla="*/ 3238408 w 5521505"/>
              <a:gd name="connsiteY4738" fmla="*/ 547315 h 2146918"/>
              <a:gd name="connsiteX4739" fmla="*/ 3236180 w 5521505"/>
              <a:gd name="connsiteY4739" fmla="*/ 545452 h 2146918"/>
              <a:gd name="connsiteX4740" fmla="*/ 3233988 w 5521505"/>
              <a:gd name="connsiteY4740" fmla="*/ 543552 h 2146918"/>
              <a:gd name="connsiteX4741" fmla="*/ 3231078 w 5521505"/>
              <a:gd name="connsiteY4741" fmla="*/ 540922 h 2146918"/>
              <a:gd name="connsiteX4742" fmla="*/ 3227339 w 5521505"/>
              <a:gd name="connsiteY4742" fmla="*/ 537269 h 2146918"/>
              <a:gd name="connsiteX4743" fmla="*/ 3224295 w 5521505"/>
              <a:gd name="connsiteY4743" fmla="*/ 534152 h 2146918"/>
              <a:gd name="connsiteX4744" fmla="*/ 3216100 w 5521505"/>
              <a:gd name="connsiteY4744" fmla="*/ 526845 h 2146918"/>
              <a:gd name="connsiteX4745" fmla="*/ 3206870 w 5521505"/>
              <a:gd name="connsiteY4745" fmla="*/ 523947 h 2146918"/>
              <a:gd name="connsiteX4746" fmla="*/ 3206018 w 5521505"/>
              <a:gd name="connsiteY4746" fmla="*/ 524593 h 2146918"/>
              <a:gd name="connsiteX4747" fmla="*/ 3202365 w 5521505"/>
              <a:gd name="connsiteY4747" fmla="*/ 527357 h 2146918"/>
              <a:gd name="connsiteX4748" fmla="*/ 3196629 w 5521505"/>
              <a:gd name="connsiteY4748" fmla="*/ 525555 h 2146918"/>
              <a:gd name="connsiteX4749" fmla="*/ 3185987 w 5521505"/>
              <a:gd name="connsiteY4749" fmla="*/ 522243 h 2146918"/>
              <a:gd name="connsiteX4750" fmla="*/ 3188641 w 5521505"/>
              <a:gd name="connsiteY4750" fmla="*/ 526261 h 2146918"/>
              <a:gd name="connsiteX4751" fmla="*/ 3191077 w 5521505"/>
              <a:gd name="connsiteY4751" fmla="*/ 530084 h 2146918"/>
              <a:gd name="connsiteX4752" fmla="*/ 3193256 w 5521505"/>
              <a:gd name="connsiteY4752" fmla="*/ 533506 h 2146918"/>
              <a:gd name="connsiteX4753" fmla="*/ 3196581 w 5521505"/>
              <a:gd name="connsiteY4753" fmla="*/ 538243 h 2146918"/>
              <a:gd name="connsiteX4754" fmla="*/ 3198919 w 5521505"/>
              <a:gd name="connsiteY4754" fmla="*/ 541153 h 2146918"/>
              <a:gd name="connsiteX4755" fmla="*/ 3199954 w 5521505"/>
              <a:gd name="connsiteY4755" fmla="*/ 542371 h 2146918"/>
              <a:gd name="connsiteX4756" fmla="*/ 3207418 w 5521505"/>
              <a:gd name="connsiteY4756" fmla="*/ 550615 h 2146918"/>
              <a:gd name="connsiteX4757" fmla="*/ 3212289 w 5521505"/>
              <a:gd name="connsiteY4757" fmla="*/ 556642 h 2146918"/>
              <a:gd name="connsiteX4758" fmla="*/ 3215577 w 5521505"/>
              <a:gd name="connsiteY4758" fmla="*/ 560977 h 2146918"/>
              <a:gd name="connsiteX4759" fmla="*/ 3220386 w 5521505"/>
              <a:gd name="connsiteY4759" fmla="*/ 567626 h 2146918"/>
              <a:gd name="connsiteX4760" fmla="*/ 3223382 w 5521505"/>
              <a:gd name="connsiteY4760" fmla="*/ 571815 h 2146918"/>
              <a:gd name="connsiteX4761" fmla="*/ 3227035 w 5521505"/>
              <a:gd name="connsiteY4761" fmla="*/ 576941 h 2146918"/>
              <a:gd name="connsiteX4762" fmla="*/ 3229349 w 5521505"/>
              <a:gd name="connsiteY4762" fmla="*/ 579961 h 2146918"/>
              <a:gd name="connsiteX4763" fmla="*/ 3231090 w 5521505"/>
              <a:gd name="connsiteY4763" fmla="*/ 581714 h 2146918"/>
              <a:gd name="connsiteX4764" fmla="*/ 3232953 w 5521505"/>
              <a:gd name="connsiteY4764" fmla="*/ 583115 h 2146918"/>
              <a:gd name="connsiteX4765" fmla="*/ 3234560 w 5521505"/>
              <a:gd name="connsiteY4765" fmla="*/ 584077 h 2146918"/>
              <a:gd name="connsiteX4766" fmla="*/ 3236679 w 5521505"/>
              <a:gd name="connsiteY4766" fmla="*/ 585112 h 2146918"/>
              <a:gd name="connsiteX4767" fmla="*/ 3239114 w 5521505"/>
              <a:gd name="connsiteY4767" fmla="*/ 586134 h 2146918"/>
              <a:gd name="connsiteX4768" fmla="*/ 3240770 w 5521505"/>
              <a:gd name="connsiteY4768" fmla="*/ 586950 h 2146918"/>
              <a:gd name="connsiteX4769" fmla="*/ 3243620 w 5521505"/>
              <a:gd name="connsiteY4769" fmla="*/ 588558 h 2146918"/>
              <a:gd name="connsiteX4770" fmla="*/ 3245800 w 5521505"/>
              <a:gd name="connsiteY4770" fmla="*/ 590043 h 2146918"/>
              <a:gd name="connsiteX4771" fmla="*/ 3256612 w 5521505"/>
              <a:gd name="connsiteY4771" fmla="*/ 602622 h 2146918"/>
              <a:gd name="connsiteX4772" fmla="*/ 3263030 w 5521505"/>
              <a:gd name="connsiteY4772" fmla="*/ 616784 h 2146918"/>
              <a:gd name="connsiteX4773" fmla="*/ 3264540 w 5521505"/>
              <a:gd name="connsiteY4773" fmla="*/ 626111 h 2146918"/>
              <a:gd name="connsiteX4774" fmla="*/ 3264540 w 5521505"/>
              <a:gd name="connsiteY4774" fmla="*/ 627463 h 2146918"/>
              <a:gd name="connsiteX4775" fmla="*/ 3264795 w 5521505"/>
              <a:gd name="connsiteY4775" fmla="*/ 629898 h 2146918"/>
              <a:gd name="connsiteX4776" fmla="*/ 3265404 w 5521505"/>
              <a:gd name="connsiteY4776" fmla="*/ 631871 h 2146918"/>
              <a:gd name="connsiteX4777" fmla="*/ 3266305 w 5521505"/>
              <a:gd name="connsiteY4777" fmla="*/ 633661 h 2146918"/>
              <a:gd name="connsiteX4778" fmla="*/ 3267146 w 5521505"/>
              <a:gd name="connsiteY4778" fmla="*/ 634878 h 2146918"/>
              <a:gd name="connsiteX4779" fmla="*/ 3282147 w 5521505"/>
              <a:gd name="connsiteY4779" fmla="*/ 644120 h 2146918"/>
              <a:gd name="connsiteX4780" fmla="*/ 3283365 w 5521505"/>
              <a:gd name="connsiteY4780" fmla="*/ 644669 h 2146918"/>
              <a:gd name="connsiteX4781" fmla="*/ 3286202 w 5521505"/>
              <a:gd name="connsiteY4781" fmla="*/ 646130 h 2146918"/>
              <a:gd name="connsiteX4782" fmla="*/ 3287907 w 5521505"/>
              <a:gd name="connsiteY4782" fmla="*/ 647165 h 2146918"/>
              <a:gd name="connsiteX4783" fmla="*/ 3296881 w 5521505"/>
              <a:gd name="connsiteY4783" fmla="*/ 658952 h 2146918"/>
              <a:gd name="connsiteX4784" fmla="*/ 3297332 w 5521505"/>
              <a:gd name="connsiteY4784" fmla="*/ 662240 h 2146918"/>
              <a:gd name="connsiteX4785" fmla="*/ 3297721 w 5521505"/>
              <a:gd name="connsiteY4785" fmla="*/ 664992 h 2146918"/>
              <a:gd name="connsiteX4786" fmla="*/ 3298318 w 5521505"/>
              <a:gd name="connsiteY4786" fmla="*/ 667086 h 2146918"/>
              <a:gd name="connsiteX4787" fmla="*/ 3312334 w 5521505"/>
              <a:gd name="connsiteY4787" fmla="*/ 680700 h 2146918"/>
              <a:gd name="connsiteX4788" fmla="*/ 3327068 w 5521505"/>
              <a:gd name="connsiteY4788" fmla="*/ 686046 h 2146918"/>
              <a:gd name="connsiteX4789" fmla="*/ 3340073 w 5521505"/>
              <a:gd name="connsiteY4789" fmla="*/ 692450 h 2146918"/>
              <a:gd name="connsiteX4790" fmla="*/ 3343275 w 5521505"/>
              <a:gd name="connsiteY4790" fmla="*/ 695361 h 2146918"/>
              <a:gd name="connsiteX4791" fmla="*/ 3349887 w 5521505"/>
              <a:gd name="connsiteY4791" fmla="*/ 700743 h 2146918"/>
              <a:gd name="connsiteX4792" fmla="*/ 3359519 w 5521505"/>
              <a:gd name="connsiteY4792" fmla="*/ 708049 h 2146918"/>
              <a:gd name="connsiteX4793" fmla="*/ 3365376 w 5521505"/>
              <a:gd name="connsiteY4793" fmla="*/ 712786 h 2146918"/>
              <a:gd name="connsiteX4794" fmla="*/ 3371172 w 5521505"/>
              <a:gd name="connsiteY4794" fmla="*/ 717559 h 2146918"/>
              <a:gd name="connsiteX4795" fmla="*/ 3374119 w 5521505"/>
              <a:gd name="connsiteY4795" fmla="*/ 724561 h 2146918"/>
              <a:gd name="connsiteX4796" fmla="*/ 3372816 w 5521505"/>
              <a:gd name="connsiteY4796" fmla="*/ 727971 h 2146918"/>
              <a:gd name="connsiteX4797" fmla="*/ 3379465 w 5521505"/>
              <a:gd name="connsiteY4797" fmla="*/ 734948 h 2146918"/>
              <a:gd name="connsiteX4798" fmla="*/ 3381900 w 5521505"/>
              <a:gd name="connsiteY4798" fmla="*/ 736251 h 2146918"/>
              <a:gd name="connsiteX4799" fmla="*/ 3383848 w 5521505"/>
              <a:gd name="connsiteY4799" fmla="*/ 737468 h 2146918"/>
              <a:gd name="connsiteX4800" fmla="*/ 3389474 w 5521505"/>
              <a:gd name="connsiteY4800" fmla="*/ 740805 h 2146918"/>
              <a:gd name="connsiteX4801" fmla="*/ 3406242 w 5521505"/>
              <a:gd name="connsiteY4801" fmla="*/ 742607 h 2146918"/>
              <a:gd name="connsiteX4802" fmla="*/ 3409675 w 5521505"/>
              <a:gd name="connsiteY4802" fmla="*/ 742144 h 2146918"/>
              <a:gd name="connsiteX4803" fmla="*/ 3423874 w 5521505"/>
              <a:gd name="connsiteY4803" fmla="*/ 743630 h 2146918"/>
              <a:gd name="connsiteX4804" fmla="*/ 3425018 w 5521505"/>
              <a:gd name="connsiteY4804" fmla="*/ 744007 h 2146918"/>
              <a:gd name="connsiteX4805" fmla="*/ 3426017 w 5521505"/>
              <a:gd name="connsiteY4805" fmla="*/ 744299 h 2146918"/>
              <a:gd name="connsiteX4806" fmla="*/ 3440117 w 5521505"/>
              <a:gd name="connsiteY4806" fmla="*/ 743264 h 2146918"/>
              <a:gd name="connsiteX4807" fmla="*/ 3447046 w 5521505"/>
              <a:gd name="connsiteY4807" fmla="*/ 741462 h 2146918"/>
              <a:gd name="connsiteX4808" fmla="*/ 3450176 w 5521505"/>
              <a:gd name="connsiteY4808" fmla="*/ 741621 h 2146918"/>
              <a:gd name="connsiteX4809" fmla="*/ 3452124 w 5521505"/>
              <a:gd name="connsiteY4809" fmla="*/ 742193 h 2146918"/>
              <a:gd name="connsiteX4810" fmla="*/ 3465811 w 5521505"/>
              <a:gd name="connsiteY4810" fmla="*/ 743119 h 2146918"/>
              <a:gd name="connsiteX4811" fmla="*/ 3471802 w 5521505"/>
              <a:gd name="connsiteY4811" fmla="*/ 743459 h 2146918"/>
              <a:gd name="connsiteX4812" fmla="*/ 3499200 w 5521505"/>
              <a:gd name="connsiteY4812" fmla="*/ 742083 h 2146918"/>
              <a:gd name="connsiteX4813" fmla="*/ 3507723 w 5521505"/>
              <a:gd name="connsiteY4813" fmla="*/ 741206 h 2146918"/>
              <a:gd name="connsiteX4814" fmla="*/ 3518086 w 5521505"/>
              <a:gd name="connsiteY4814" fmla="*/ 745444 h 2146918"/>
              <a:gd name="connsiteX4815" fmla="*/ 3516783 w 5521505"/>
              <a:gd name="connsiteY4815" fmla="*/ 749572 h 2146918"/>
              <a:gd name="connsiteX4816" fmla="*/ 3513946 w 5521505"/>
              <a:gd name="connsiteY4816" fmla="*/ 758595 h 2146918"/>
              <a:gd name="connsiteX4817" fmla="*/ 3512959 w 5521505"/>
              <a:gd name="connsiteY4817" fmla="*/ 761761 h 2146918"/>
              <a:gd name="connsiteX4818" fmla="*/ 3511157 w 5521505"/>
              <a:gd name="connsiteY4818" fmla="*/ 767411 h 2146918"/>
              <a:gd name="connsiteX4819" fmla="*/ 3510342 w 5521505"/>
              <a:gd name="connsiteY4819" fmla="*/ 769981 h 2146918"/>
              <a:gd name="connsiteX4820" fmla="*/ 3508527 w 5521505"/>
              <a:gd name="connsiteY4820" fmla="*/ 773098 h 2146918"/>
              <a:gd name="connsiteX4821" fmla="*/ 3506603 w 5521505"/>
              <a:gd name="connsiteY4821" fmla="*/ 774766 h 2146918"/>
              <a:gd name="connsiteX4822" fmla="*/ 3498493 w 5521505"/>
              <a:gd name="connsiteY4822" fmla="*/ 781975 h 2146918"/>
              <a:gd name="connsiteX4823" fmla="*/ 3489970 w 5521505"/>
              <a:gd name="connsiteY4823" fmla="*/ 789671 h 2146918"/>
              <a:gd name="connsiteX4824" fmla="*/ 3479120 w 5521505"/>
              <a:gd name="connsiteY4824" fmla="*/ 799412 h 2146918"/>
              <a:gd name="connsiteX4825" fmla="*/ 3468709 w 5521505"/>
              <a:gd name="connsiteY4825" fmla="*/ 808520 h 2146918"/>
              <a:gd name="connsiteX4826" fmla="*/ 3461537 w 5521505"/>
              <a:gd name="connsiteY4826" fmla="*/ 814548 h 2146918"/>
              <a:gd name="connsiteX4827" fmla="*/ 3454231 w 5521505"/>
              <a:gd name="connsiteY4827" fmla="*/ 820380 h 2146918"/>
              <a:gd name="connsiteX4828" fmla="*/ 3446924 w 5521505"/>
              <a:gd name="connsiteY4828" fmla="*/ 825555 h 2146918"/>
              <a:gd name="connsiteX4829" fmla="*/ 3410394 w 5521505"/>
              <a:gd name="connsiteY4829" fmla="*/ 841787 h 2146918"/>
              <a:gd name="connsiteX4830" fmla="*/ 3403465 w 5521505"/>
              <a:gd name="connsiteY4830" fmla="*/ 843407 h 2146918"/>
              <a:gd name="connsiteX4831" fmla="*/ 3377419 w 5521505"/>
              <a:gd name="connsiteY4831" fmla="*/ 850129 h 2146918"/>
              <a:gd name="connsiteX4832" fmla="*/ 3373632 w 5521505"/>
              <a:gd name="connsiteY4832" fmla="*/ 851736 h 2146918"/>
              <a:gd name="connsiteX4833" fmla="*/ 3369894 w 5521505"/>
              <a:gd name="connsiteY4833" fmla="*/ 853575 h 2146918"/>
              <a:gd name="connsiteX4834" fmla="*/ 3364913 w 5521505"/>
              <a:gd name="connsiteY4834" fmla="*/ 856071 h 2146918"/>
              <a:gd name="connsiteX4835" fmla="*/ 3360749 w 5521505"/>
              <a:gd name="connsiteY4835" fmla="*/ 858202 h 2146918"/>
              <a:gd name="connsiteX4836" fmla="*/ 3355026 w 5521505"/>
              <a:gd name="connsiteY4836" fmla="*/ 861222 h 2146918"/>
              <a:gd name="connsiteX4837" fmla="*/ 3350155 w 5521505"/>
              <a:gd name="connsiteY4837" fmla="*/ 863913 h 2146918"/>
              <a:gd name="connsiteX4838" fmla="*/ 3346429 w 5521505"/>
              <a:gd name="connsiteY4838" fmla="*/ 866141 h 2146918"/>
              <a:gd name="connsiteX4839" fmla="*/ 3342849 w 5521505"/>
              <a:gd name="connsiteY4839" fmla="*/ 868443 h 2146918"/>
              <a:gd name="connsiteX4840" fmla="*/ 3340267 w 5521505"/>
              <a:gd name="connsiteY4840" fmla="*/ 870232 h 2146918"/>
              <a:gd name="connsiteX4841" fmla="*/ 3334642 w 5521505"/>
              <a:gd name="connsiteY4841" fmla="*/ 874629 h 2146918"/>
              <a:gd name="connsiteX4842" fmla="*/ 3329101 w 5521505"/>
              <a:gd name="connsiteY4842" fmla="*/ 878464 h 2146918"/>
              <a:gd name="connsiteX4843" fmla="*/ 3323256 w 5521505"/>
              <a:gd name="connsiteY4843" fmla="*/ 880230 h 2146918"/>
              <a:gd name="connsiteX4844" fmla="*/ 3316961 w 5521505"/>
              <a:gd name="connsiteY4844" fmla="*/ 882422 h 2146918"/>
              <a:gd name="connsiteX4845" fmla="*/ 3309241 w 5521505"/>
              <a:gd name="connsiteY4845" fmla="*/ 886233 h 2146918"/>
              <a:gd name="connsiteX4846" fmla="*/ 3305283 w 5521505"/>
              <a:gd name="connsiteY4846" fmla="*/ 889046 h 2146918"/>
              <a:gd name="connsiteX4847" fmla="*/ 3301435 w 5521505"/>
              <a:gd name="connsiteY4847" fmla="*/ 892906 h 2146918"/>
              <a:gd name="connsiteX4848" fmla="*/ 3297709 w 5521505"/>
              <a:gd name="connsiteY4848" fmla="*/ 897168 h 2146918"/>
              <a:gd name="connsiteX4849" fmla="*/ 3292108 w 5521505"/>
              <a:gd name="connsiteY4849" fmla="*/ 902501 h 2146918"/>
              <a:gd name="connsiteX4850" fmla="*/ 3285484 w 5521505"/>
              <a:gd name="connsiteY4850" fmla="*/ 908371 h 2146918"/>
              <a:gd name="connsiteX4851" fmla="*/ 3278799 w 5521505"/>
              <a:gd name="connsiteY4851" fmla="*/ 914739 h 2146918"/>
              <a:gd name="connsiteX4852" fmla="*/ 3281392 w 5521505"/>
              <a:gd name="connsiteY4852" fmla="*/ 928523 h 2146918"/>
              <a:gd name="connsiteX4853" fmla="*/ 3284010 w 5521505"/>
              <a:gd name="connsiteY4853" fmla="*/ 929972 h 2146918"/>
              <a:gd name="connsiteX4854" fmla="*/ 3283182 w 5521505"/>
              <a:gd name="connsiteY4854" fmla="*/ 936913 h 2146918"/>
              <a:gd name="connsiteX4855" fmla="*/ 3280747 w 5521505"/>
              <a:gd name="connsiteY4855" fmla="*/ 942648 h 2146918"/>
              <a:gd name="connsiteX4856" fmla="*/ 3280832 w 5521505"/>
              <a:gd name="connsiteY4856" fmla="*/ 949150 h 2146918"/>
              <a:gd name="connsiteX4857" fmla="*/ 3280430 w 5521505"/>
              <a:gd name="connsiteY4857" fmla="*/ 951781 h 2146918"/>
              <a:gd name="connsiteX4858" fmla="*/ 3286738 w 5521505"/>
              <a:gd name="connsiteY4858" fmla="*/ 967428 h 2146918"/>
              <a:gd name="connsiteX4859" fmla="*/ 3288564 w 5521505"/>
              <a:gd name="connsiteY4859" fmla="*/ 968646 h 2146918"/>
              <a:gd name="connsiteX4860" fmla="*/ 3290622 w 5521505"/>
              <a:gd name="connsiteY4860" fmla="*/ 970217 h 2146918"/>
              <a:gd name="connsiteX4861" fmla="*/ 3294848 w 5521505"/>
              <a:gd name="connsiteY4861" fmla="*/ 984756 h 2146918"/>
              <a:gd name="connsiteX4862" fmla="*/ 3294202 w 5521505"/>
              <a:gd name="connsiteY4862" fmla="*/ 987191 h 2146918"/>
              <a:gd name="connsiteX4863" fmla="*/ 3293910 w 5521505"/>
              <a:gd name="connsiteY4863" fmla="*/ 989030 h 2146918"/>
              <a:gd name="connsiteX4864" fmla="*/ 3293715 w 5521505"/>
              <a:gd name="connsiteY4864" fmla="*/ 991684 h 2146918"/>
              <a:gd name="connsiteX4865" fmla="*/ 3293715 w 5521505"/>
              <a:gd name="connsiteY4865" fmla="*/ 993900 h 2146918"/>
              <a:gd name="connsiteX4866" fmla="*/ 3293715 w 5521505"/>
              <a:gd name="connsiteY4866" fmla="*/ 995581 h 2146918"/>
              <a:gd name="connsiteX4867" fmla="*/ 3293862 w 5521505"/>
              <a:gd name="connsiteY4867" fmla="*/ 998442 h 2146918"/>
              <a:gd name="connsiteX4868" fmla="*/ 3294020 w 5521505"/>
              <a:gd name="connsiteY4868" fmla="*/ 1001864 h 2146918"/>
              <a:gd name="connsiteX4869" fmla="*/ 3294020 w 5521505"/>
              <a:gd name="connsiteY4869" fmla="*/ 1007758 h 2146918"/>
              <a:gd name="connsiteX4870" fmla="*/ 3294190 w 5521505"/>
              <a:gd name="connsiteY4870" fmla="*/ 1013165 h 2146918"/>
              <a:gd name="connsiteX4871" fmla="*/ 3294190 w 5521505"/>
              <a:gd name="connsiteY4871" fmla="*/ 1018242 h 2146918"/>
              <a:gd name="connsiteX4872" fmla="*/ 3284449 w 5521505"/>
              <a:gd name="connsiteY4872" fmla="*/ 1037506 h 2146918"/>
              <a:gd name="connsiteX4873" fmla="*/ 3283024 w 5521505"/>
              <a:gd name="connsiteY4873" fmla="*/ 1038626 h 2146918"/>
              <a:gd name="connsiteX4874" fmla="*/ 3281149 w 5521505"/>
              <a:gd name="connsiteY4874" fmla="*/ 1039954 h 2146918"/>
              <a:gd name="connsiteX4875" fmla="*/ 3278616 w 5521505"/>
              <a:gd name="connsiteY4875" fmla="*/ 1041549 h 2146918"/>
              <a:gd name="connsiteX4876" fmla="*/ 3276327 w 5521505"/>
              <a:gd name="connsiteY4876" fmla="*/ 1042767 h 2146918"/>
              <a:gd name="connsiteX4877" fmla="*/ 3273562 w 5521505"/>
              <a:gd name="connsiteY4877" fmla="*/ 1044118 h 2146918"/>
              <a:gd name="connsiteX4878" fmla="*/ 3269909 w 5521505"/>
              <a:gd name="connsiteY4878" fmla="*/ 1045628 h 2146918"/>
              <a:gd name="connsiteX4879" fmla="*/ 3265782 w 5521505"/>
              <a:gd name="connsiteY4879" fmla="*/ 1047101 h 2146918"/>
              <a:gd name="connsiteX4880" fmla="*/ 3261483 w 5521505"/>
              <a:gd name="connsiteY4880" fmla="*/ 1048465 h 2146918"/>
              <a:gd name="connsiteX4881" fmla="*/ 3257891 w 5521505"/>
              <a:gd name="connsiteY4881" fmla="*/ 1049512 h 2146918"/>
              <a:gd name="connsiteX4882" fmla="*/ 3254762 w 5521505"/>
              <a:gd name="connsiteY4882" fmla="*/ 1050389 h 2146918"/>
              <a:gd name="connsiteX4883" fmla="*/ 3252131 w 5521505"/>
              <a:gd name="connsiteY4883" fmla="*/ 1051095 h 2146918"/>
              <a:gd name="connsiteX4884" fmla="*/ 3249453 w 5521505"/>
              <a:gd name="connsiteY4884" fmla="*/ 1051802 h 2146918"/>
              <a:gd name="connsiteX4885" fmla="*/ 3247163 w 5521505"/>
              <a:gd name="connsiteY4885" fmla="*/ 1052398 h 2146918"/>
              <a:gd name="connsiteX4886" fmla="*/ 3244594 w 5521505"/>
              <a:gd name="connsiteY4886" fmla="*/ 1053056 h 2146918"/>
              <a:gd name="connsiteX4887" fmla="*/ 3242548 w 5521505"/>
              <a:gd name="connsiteY4887" fmla="*/ 1053591 h 2146918"/>
              <a:gd name="connsiteX4888" fmla="*/ 3240539 w 5521505"/>
              <a:gd name="connsiteY4888" fmla="*/ 1054115 h 2146918"/>
              <a:gd name="connsiteX4889" fmla="*/ 3237568 w 5521505"/>
              <a:gd name="connsiteY4889" fmla="*/ 1054895 h 2146918"/>
              <a:gd name="connsiteX4890" fmla="*/ 3235352 w 5521505"/>
              <a:gd name="connsiteY4890" fmla="*/ 1055504 h 2146918"/>
              <a:gd name="connsiteX4891" fmla="*/ 3233282 w 5521505"/>
              <a:gd name="connsiteY4891" fmla="*/ 1055978 h 2146918"/>
              <a:gd name="connsiteX4892" fmla="*/ 3231151 w 5521505"/>
              <a:gd name="connsiteY4892" fmla="*/ 1056295 h 2146918"/>
              <a:gd name="connsiteX4893" fmla="*/ 3227279 w 5521505"/>
              <a:gd name="connsiteY4893" fmla="*/ 1057513 h 2146918"/>
              <a:gd name="connsiteX4894" fmla="*/ 3226463 w 5521505"/>
              <a:gd name="connsiteY4894" fmla="*/ 1058243 h 2146918"/>
              <a:gd name="connsiteX4895" fmla="*/ 3224831 w 5521505"/>
              <a:gd name="connsiteY4895" fmla="*/ 1059534 h 2146918"/>
              <a:gd name="connsiteX4896" fmla="*/ 3221178 w 5521505"/>
              <a:gd name="connsiteY4896" fmla="*/ 1061872 h 2146918"/>
              <a:gd name="connsiteX4897" fmla="*/ 3218170 w 5521505"/>
              <a:gd name="connsiteY4897" fmla="*/ 1063479 h 2146918"/>
              <a:gd name="connsiteX4898" fmla="*/ 3214907 w 5521505"/>
              <a:gd name="connsiteY4898" fmla="*/ 1065037 h 2146918"/>
              <a:gd name="connsiteX4899" fmla="*/ 3210462 w 5521505"/>
              <a:gd name="connsiteY4899" fmla="*/ 1066998 h 2146918"/>
              <a:gd name="connsiteX4900" fmla="*/ 3205701 w 5521505"/>
              <a:gd name="connsiteY4900" fmla="*/ 1069044 h 2146918"/>
              <a:gd name="connsiteX4901" fmla="*/ 3202194 w 5521505"/>
              <a:gd name="connsiteY4901" fmla="*/ 1070639 h 2146918"/>
              <a:gd name="connsiteX4902" fmla="*/ 3200221 w 5521505"/>
              <a:gd name="connsiteY4902" fmla="*/ 1071601 h 2146918"/>
              <a:gd name="connsiteX4903" fmla="*/ 3197652 w 5521505"/>
              <a:gd name="connsiteY4903" fmla="*/ 1072977 h 2146918"/>
              <a:gd name="connsiteX4904" fmla="*/ 3195655 w 5521505"/>
              <a:gd name="connsiteY4904" fmla="*/ 1074194 h 2146918"/>
              <a:gd name="connsiteX4905" fmla="*/ 3194084 w 5521505"/>
              <a:gd name="connsiteY4905" fmla="*/ 1075254 h 2146918"/>
              <a:gd name="connsiteX4906" fmla="*/ 3192721 w 5521505"/>
              <a:gd name="connsiteY4906" fmla="*/ 1076045 h 2146918"/>
              <a:gd name="connsiteX4907" fmla="*/ 3190931 w 5521505"/>
              <a:gd name="connsiteY4907" fmla="*/ 1076813 h 2146918"/>
              <a:gd name="connsiteX4908" fmla="*/ 3188861 w 5521505"/>
              <a:gd name="connsiteY4908" fmla="*/ 1077531 h 2146918"/>
              <a:gd name="connsiteX4909" fmla="*/ 3185073 w 5521505"/>
              <a:gd name="connsiteY4909" fmla="*/ 1078834 h 2146918"/>
              <a:gd name="connsiteX4910" fmla="*/ 3185524 w 5521505"/>
              <a:gd name="connsiteY4910" fmla="*/ 1080052 h 2146918"/>
              <a:gd name="connsiteX4911" fmla="*/ 3186413 w 5521505"/>
              <a:gd name="connsiteY4911" fmla="*/ 1082487 h 2146918"/>
              <a:gd name="connsiteX4912" fmla="*/ 3187436 w 5521505"/>
              <a:gd name="connsiteY4912" fmla="*/ 1085397 h 2146918"/>
              <a:gd name="connsiteX4913" fmla="*/ 3188483 w 5521505"/>
              <a:gd name="connsiteY4913" fmla="*/ 1088405 h 2146918"/>
              <a:gd name="connsiteX4914" fmla="*/ 3188483 w 5521505"/>
              <a:gd name="connsiteY4914" fmla="*/ 1088539 h 2146918"/>
              <a:gd name="connsiteX4915" fmla="*/ 3189408 w 5521505"/>
              <a:gd name="connsiteY4915" fmla="*/ 1091084 h 2146918"/>
              <a:gd name="connsiteX4916" fmla="*/ 3191077 w 5521505"/>
              <a:gd name="connsiteY4916" fmla="*/ 1095103 h 2146918"/>
              <a:gd name="connsiteX4917" fmla="*/ 3193683 w 5521505"/>
              <a:gd name="connsiteY4917" fmla="*/ 1100533 h 2146918"/>
              <a:gd name="connsiteX4918" fmla="*/ 3194900 w 5521505"/>
              <a:gd name="connsiteY4918" fmla="*/ 1104868 h 2146918"/>
              <a:gd name="connsiteX4919" fmla="*/ 3192769 w 5521505"/>
              <a:gd name="connsiteY4919" fmla="*/ 1118847 h 2146918"/>
              <a:gd name="connsiteX4920" fmla="*/ 3183600 w 5521505"/>
              <a:gd name="connsiteY4920" fmla="*/ 1131779 h 2146918"/>
              <a:gd name="connsiteX4921" fmla="*/ 3175929 w 5521505"/>
              <a:gd name="connsiteY4921" fmla="*/ 1135627 h 2146918"/>
              <a:gd name="connsiteX4922" fmla="*/ 3160172 w 5521505"/>
              <a:gd name="connsiteY4922" fmla="*/ 1137892 h 2146918"/>
              <a:gd name="connsiteX4923" fmla="*/ 3148847 w 5521505"/>
              <a:gd name="connsiteY4923" fmla="*/ 1139816 h 2146918"/>
              <a:gd name="connsiteX4924" fmla="*/ 3146132 w 5521505"/>
              <a:gd name="connsiteY4924" fmla="*/ 1146184 h 2146918"/>
              <a:gd name="connsiteX4925" fmla="*/ 3146217 w 5521505"/>
              <a:gd name="connsiteY4925" fmla="*/ 1154355 h 2146918"/>
              <a:gd name="connsiteX4926" fmla="*/ 3145535 w 5521505"/>
              <a:gd name="connsiteY4926" fmla="*/ 1156096 h 2146918"/>
              <a:gd name="connsiteX4927" fmla="*/ 3144841 w 5521505"/>
              <a:gd name="connsiteY4927" fmla="*/ 1157545 h 2146918"/>
              <a:gd name="connsiteX4928" fmla="*/ 3144098 w 5521505"/>
              <a:gd name="connsiteY4928" fmla="*/ 1158921 h 2146918"/>
              <a:gd name="connsiteX4929" fmla="*/ 3143623 w 5521505"/>
              <a:gd name="connsiteY4929" fmla="*/ 1159761 h 2146918"/>
              <a:gd name="connsiteX4930" fmla="*/ 3143551 w 5521505"/>
              <a:gd name="connsiteY4930" fmla="*/ 1159907 h 2146918"/>
              <a:gd name="connsiteX4931" fmla="*/ 3142808 w 5521505"/>
              <a:gd name="connsiteY4931" fmla="*/ 1161125 h 2146918"/>
              <a:gd name="connsiteX4932" fmla="*/ 3141286 w 5521505"/>
              <a:gd name="connsiteY4932" fmla="*/ 1163829 h 2146918"/>
              <a:gd name="connsiteX4933" fmla="*/ 3140263 w 5521505"/>
              <a:gd name="connsiteY4933" fmla="*/ 1165874 h 2146918"/>
              <a:gd name="connsiteX4934" fmla="*/ 3139422 w 5521505"/>
              <a:gd name="connsiteY4934" fmla="*/ 1167457 h 2146918"/>
              <a:gd name="connsiteX4935" fmla="*/ 3135989 w 5521505"/>
              <a:gd name="connsiteY4935" fmla="*/ 1172036 h 2146918"/>
              <a:gd name="connsiteX4936" fmla="*/ 3128232 w 5521505"/>
              <a:gd name="connsiteY4936" fmla="*/ 1178015 h 2146918"/>
              <a:gd name="connsiteX4937" fmla="*/ 3127794 w 5521505"/>
              <a:gd name="connsiteY4937" fmla="*/ 1178258 h 2146918"/>
              <a:gd name="connsiteX4938" fmla="*/ 3126929 w 5521505"/>
              <a:gd name="connsiteY4938" fmla="*/ 1178733 h 2146918"/>
              <a:gd name="connsiteX4939" fmla="*/ 3125979 w 5521505"/>
              <a:gd name="connsiteY4939" fmla="*/ 1179220 h 2146918"/>
              <a:gd name="connsiteX4940" fmla="*/ 3125285 w 5521505"/>
              <a:gd name="connsiteY4940" fmla="*/ 1179573 h 2146918"/>
              <a:gd name="connsiteX4941" fmla="*/ 3124335 w 5521505"/>
              <a:gd name="connsiteY4941" fmla="*/ 1180024 h 2146918"/>
              <a:gd name="connsiteX4942" fmla="*/ 3123483 w 5521505"/>
              <a:gd name="connsiteY4942" fmla="*/ 1180437 h 2146918"/>
              <a:gd name="connsiteX4943" fmla="*/ 3122765 w 5521505"/>
              <a:gd name="connsiteY4943" fmla="*/ 1180828 h 2146918"/>
              <a:gd name="connsiteX4944" fmla="*/ 3121328 w 5521505"/>
              <a:gd name="connsiteY4944" fmla="*/ 1181631 h 2146918"/>
              <a:gd name="connsiteX4945" fmla="*/ 3119879 w 5521505"/>
              <a:gd name="connsiteY4945" fmla="*/ 1182532 h 2146918"/>
              <a:gd name="connsiteX4946" fmla="*/ 3118174 w 5521505"/>
              <a:gd name="connsiteY4946" fmla="*/ 1183677 h 2146918"/>
              <a:gd name="connsiteX4947" fmla="*/ 3116335 w 5521505"/>
              <a:gd name="connsiteY4947" fmla="*/ 1185053 h 2146918"/>
              <a:gd name="connsiteX4948" fmla="*/ 3114801 w 5521505"/>
              <a:gd name="connsiteY4948" fmla="*/ 1186270 h 2146918"/>
              <a:gd name="connsiteX4949" fmla="*/ 3112755 w 5521505"/>
              <a:gd name="connsiteY4949" fmla="*/ 1188048 h 2146918"/>
              <a:gd name="connsiteX4950" fmla="*/ 3110697 w 5521505"/>
              <a:gd name="connsiteY4950" fmla="*/ 1189948 h 2146918"/>
              <a:gd name="connsiteX4951" fmla="*/ 3109127 w 5521505"/>
              <a:gd name="connsiteY4951" fmla="*/ 1191482 h 2146918"/>
              <a:gd name="connsiteX4952" fmla="*/ 3107081 w 5521505"/>
              <a:gd name="connsiteY4952" fmla="*/ 1193503 h 2146918"/>
              <a:gd name="connsiteX4953" fmla="*/ 3103866 w 5521505"/>
              <a:gd name="connsiteY4953" fmla="*/ 1196645 h 2146918"/>
              <a:gd name="connsiteX4954" fmla="*/ 3100311 w 5521505"/>
              <a:gd name="connsiteY4954" fmla="*/ 1199848 h 2146918"/>
              <a:gd name="connsiteX4955" fmla="*/ 3091409 w 5521505"/>
              <a:gd name="connsiteY4955" fmla="*/ 1206155 h 2146918"/>
              <a:gd name="connsiteX4956" fmla="*/ 3089108 w 5521505"/>
              <a:gd name="connsiteY4956" fmla="*/ 1207373 h 2146918"/>
              <a:gd name="connsiteX4957" fmla="*/ 3087099 w 5521505"/>
              <a:gd name="connsiteY4957" fmla="*/ 1208481 h 2146918"/>
              <a:gd name="connsiteX4958" fmla="*/ 3085686 w 5521505"/>
              <a:gd name="connsiteY4958" fmla="*/ 1209309 h 2146918"/>
              <a:gd name="connsiteX4959" fmla="*/ 3084468 w 5521505"/>
              <a:gd name="connsiteY4959" fmla="*/ 1210076 h 2146918"/>
              <a:gd name="connsiteX4960" fmla="*/ 3081936 w 5521505"/>
              <a:gd name="connsiteY4960" fmla="*/ 1211708 h 2146918"/>
              <a:gd name="connsiteX4961" fmla="*/ 3078283 w 5521505"/>
              <a:gd name="connsiteY4961" fmla="*/ 1214143 h 2146918"/>
              <a:gd name="connsiteX4962" fmla="*/ 3075031 w 5521505"/>
              <a:gd name="connsiteY4962" fmla="*/ 1216311 h 2146918"/>
              <a:gd name="connsiteX4963" fmla="*/ 3073010 w 5521505"/>
              <a:gd name="connsiteY4963" fmla="*/ 1217626 h 2146918"/>
              <a:gd name="connsiteX4964" fmla="*/ 3069953 w 5521505"/>
              <a:gd name="connsiteY4964" fmla="*/ 1219513 h 2146918"/>
              <a:gd name="connsiteX4965" fmla="*/ 3067384 w 5521505"/>
              <a:gd name="connsiteY4965" fmla="*/ 1221011 h 2146918"/>
              <a:gd name="connsiteX4966" fmla="*/ 3065899 w 5521505"/>
              <a:gd name="connsiteY4966" fmla="*/ 1221827 h 2146918"/>
              <a:gd name="connsiteX4967" fmla="*/ 3063524 w 5521505"/>
              <a:gd name="connsiteY4967" fmla="*/ 1223045 h 2146918"/>
              <a:gd name="connsiteX4968" fmla="*/ 3060602 w 5521505"/>
              <a:gd name="connsiteY4968" fmla="*/ 1224445 h 2146918"/>
              <a:gd name="connsiteX4969" fmla="*/ 3056121 w 5521505"/>
              <a:gd name="connsiteY4969" fmla="*/ 1226284 h 2146918"/>
              <a:gd name="connsiteX4970" fmla="*/ 3052541 w 5521505"/>
              <a:gd name="connsiteY4970" fmla="*/ 1227501 h 2146918"/>
              <a:gd name="connsiteX4971" fmla="*/ 3049716 w 5521505"/>
              <a:gd name="connsiteY4971" fmla="*/ 1228317 h 2146918"/>
              <a:gd name="connsiteX4972" fmla="*/ 3046915 w 5521505"/>
              <a:gd name="connsiteY4972" fmla="*/ 1228987 h 2146918"/>
              <a:gd name="connsiteX4973" fmla="*/ 3044102 w 5521505"/>
              <a:gd name="connsiteY4973" fmla="*/ 1229547 h 2146918"/>
              <a:gd name="connsiteX4974" fmla="*/ 3040839 w 5521505"/>
              <a:gd name="connsiteY4974" fmla="*/ 1230046 h 2146918"/>
              <a:gd name="connsiteX4975" fmla="*/ 3038196 w 5521505"/>
              <a:gd name="connsiteY4975" fmla="*/ 1230363 h 2146918"/>
              <a:gd name="connsiteX4976" fmla="*/ 3035432 w 5521505"/>
              <a:gd name="connsiteY4976" fmla="*/ 1230740 h 2146918"/>
              <a:gd name="connsiteX4977" fmla="*/ 3032583 w 5521505"/>
              <a:gd name="connsiteY4977" fmla="*/ 1231203 h 2146918"/>
              <a:gd name="connsiteX4978" fmla="*/ 3027286 w 5521505"/>
              <a:gd name="connsiteY4978" fmla="*/ 1232238 h 2146918"/>
              <a:gd name="connsiteX4979" fmla="*/ 3025216 w 5521505"/>
              <a:gd name="connsiteY4979" fmla="*/ 1232689 h 2146918"/>
              <a:gd name="connsiteX4980" fmla="*/ 3023438 w 5521505"/>
              <a:gd name="connsiteY4980" fmla="*/ 1233115 h 2146918"/>
              <a:gd name="connsiteX4981" fmla="*/ 3021758 w 5521505"/>
              <a:gd name="connsiteY4981" fmla="*/ 1233529 h 2146918"/>
              <a:gd name="connsiteX4982" fmla="*/ 3018823 w 5521505"/>
              <a:gd name="connsiteY4982" fmla="*/ 1234235 h 2146918"/>
              <a:gd name="connsiteX4983" fmla="*/ 3004661 w 5521505"/>
              <a:gd name="connsiteY4983" fmla="*/ 1235842 h 2146918"/>
              <a:gd name="connsiteX4984" fmla="*/ 3002604 w 5521505"/>
              <a:gd name="connsiteY4984" fmla="*/ 1235903 h 2146918"/>
              <a:gd name="connsiteX4985" fmla="*/ 3000022 w 5521505"/>
              <a:gd name="connsiteY4985" fmla="*/ 1235903 h 2146918"/>
              <a:gd name="connsiteX4986" fmla="*/ 2993312 w 5521505"/>
              <a:gd name="connsiteY4986" fmla="*/ 1235903 h 2146918"/>
              <a:gd name="connsiteX4987" fmla="*/ 2990341 w 5521505"/>
              <a:gd name="connsiteY4987" fmla="*/ 1235903 h 2146918"/>
              <a:gd name="connsiteX4988" fmla="*/ 2988284 w 5521505"/>
              <a:gd name="connsiteY4988" fmla="*/ 1235903 h 2146918"/>
              <a:gd name="connsiteX4989" fmla="*/ 2980563 w 5521505"/>
              <a:gd name="connsiteY4989" fmla="*/ 1236110 h 2146918"/>
              <a:gd name="connsiteX4990" fmla="*/ 2977726 w 5521505"/>
              <a:gd name="connsiteY4990" fmla="*/ 1236451 h 2146918"/>
              <a:gd name="connsiteX4991" fmla="*/ 2974292 w 5521505"/>
              <a:gd name="connsiteY4991" fmla="*/ 1236987 h 2146918"/>
              <a:gd name="connsiteX4992" fmla="*/ 2970700 w 5521505"/>
              <a:gd name="connsiteY4992" fmla="*/ 1237559 h 2146918"/>
              <a:gd name="connsiteX4993" fmla="*/ 2967351 w 5521505"/>
              <a:gd name="connsiteY4993" fmla="*/ 1237986 h 2146918"/>
              <a:gd name="connsiteX4994" fmla="*/ 2963918 w 5521505"/>
              <a:gd name="connsiteY4994" fmla="*/ 1238363 h 2146918"/>
              <a:gd name="connsiteX4995" fmla="*/ 2959936 w 5521505"/>
              <a:gd name="connsiteY4995" fmla="*/ 1238923 h 2146918"/>
              <a:gd name="connsiteX4996" fmla="*/ 2955783 w 5521505"/>
              <a:gd name="connsiteY4996" fmla="*/ 1239581 h 2146918"/>
              <a:gd name="connsiteX4997" fmla="*/ 2951388 w 5521505"/>
              <a:gd name="connsiteY4997" fmla="*/ 1240299 h 2146918"/>
              <a:gd name="connsiteX4998" fmla="*/ 2947735 w 5521505"/>
              <a:gd name="connsiteY4998" fmla="*/ 1240872 h 2146918"/>
              <a:gd name="connsiteX4999" fmla="*/ 2935034 w 5521505"/>
              <a:gd name="connsiteY4999" fmla="*/ 1241809 h 2146918"/>
              <a:gd name="connsiteX5000" fmla="*/ 2932246 w 5521505"/>
              <a:gd name="connsiteY5000" fmla="*/ 1241444 h 2146918"/>
              <a:gd name="connsiteX5001" fmla="*/ 2928751 w 5521505"/>
              <a:gd name="connsiteY5001" fmla="*/ 1240688 h 2146918"/>
              <a:gd name="connsiteX5002" fmla="*/ 2926535 w 5521505"/>
              <a:gd name="connsiteY5002" fmla="*/ 1240092 h 2146918"/>
              <a:gd name="connsiteX5003" fmla="*/ 2924380 w 5521505"/>
              <a:gd name="connsiteY5003" fmla="*/ 1239471 h 2146918"/>
              <a:gd name="connsiteX5004" fmla="*/ 2922309 w 5521505"/>
              <a:gd name="connsiteY5004" fmla="*/ 1238850 h 2146918"/>
              <a:gd name="connsiteX5005" fmla="*/ 2919521 w 5521505"/>
              <a:gd name="connsiteY5005" fmla="*/ 1238034 h 2146918"/>
              <a:gd name="connsiteX5006" fmla="*/ 2917171 w 5521505"/>
              <a:gd name="connsiteY5006" fmla="*/ 1237401 h 2146918"/>
              <a:gd name="connsiteX5007" fmla="*/ 2914626 w 5521505"/>
              <a:gd name="connsiteY5007" fmla="*/ 1235270 h 2146918"/>
              <a:gd name="connsiteX5008" fmla="*/ 2912336 w 5521505"/>
              <a:gd name="connsiteY5008" fmla="*/ 1228305 h 2146918"/>
              <a:gd name="connsiteX5009" fmla="*/ 2910327 w 5521505"/>
              <a:gd name="connsiteY5009" fmla="*/ 1226393 h 2146918"/>
              <a:gd name="connsiteX5010" fmla="*/ 2908781 w 5521505"/>
              <a:gd name="connsiteY5010" fmla="*/ 1224895 h 2146918"/>
              <a:gd name="connsiteX5011" fmla="*/ 2908939 w 5521505"/>
              <a:gd name="connsiteY5011" fmla="*/ 1219587 h 2146918"/>
              <a:gd name="connsiteX5012" fmla="*/ 2912799 w 5521505"/>
              <a:gd name="connsiteY5012" fmla="*/ 1217041 h 2146918"/>
              <a:gd name="connsiteX5013" fmla="*/ 2911411 w 5521505"/>
              <a:gd name="connsiteY5013" fmla="*/ 1208871 h 2146918"/>
              <a:gd name="connsiteX5014" fmla="*/ 2908732 w 5521505"/>
              <a:gd name="connsiteY5014" fmla="*/ 1206313 h 2146918"/>
              <a:gd name="connsiteX5015" fmla="*/ 2905457 w 5521505"/>
              <a:gd name="connsiteY5015" fmla="*/ 1202770 h 2146918"/>
              <a:gd name="connsiteX5016" fmla="*/ 2903021 w 5521505"/>
              <a:gd name="connsiteY5016" fmla="*/ 1199702 h 2146918"/>
              <a:gd name="connsiteX5017" fmla="*/ 2899478 w 5521505"/>
              <a:gd name="connsiteY5017" fmla="*/ 1194100 h 2146918"/>
              <a:gd name="connsiteX5018" fmla="*/ 2898004 w 5521505"/>
              <a:gd name="connsiteY5018" fmla="*/ 1191092 h 2146918"/>
              <a:gd name="connsiteX5019" fmla="*/ 2896982 w 5521505"/>
              <a:gd name="connsiteY5019" fmla="*/ 1188572 h 2146918"/>
              <a:gd name="connsiteX5020" fmla="*/ 2885292 w 5521505"/>
              <a:gd name="connsiteY5020" fmla="*/ 1173813 h 2146918"/>
              <a:gd name="connsiteX5021" fmla="*/ 2882576 w 5521505"/>
              <a:gd name="connsiteY5021" fmla="*/ 1172596 h 2146918"/>
              <a:gd name="connsiteX5022" fmla="*/ 2879459 w 5521505"/>
              <a:gd name="connsiteY5022" fmla="*/ 1171195 h 2146918"/>
              <a:gd name="connsiteX5023" fmla="*/ 2875087 w 5521505"/>
              <a:gd name="connsiteY5023" fmla="*/ 1168638 h 2146918"/>
              <a:gd name="connsiteX5024" fmla="*/ 2863946 w 5521505"/>
              <a:gd name="connsiteY5024" fmla="*/ 1156096 h 2146918"/>
              <a:gd name="connsiteX5025" fmla="*/ 2861401 w 5521505"/>
              <a:gd name="connsiteY5025" fmla="*/ 1150812 h 2146918"/>
              <a:gd name="connsiteX5026" fmla="*/ 2858697 w 5521505"/>
              <a:gd name="connsiteY5026" fmla="*/ 1144102 h 2146918"/>
              <a:gd name="connsiteX5027" fmla="*/ 2856834 w 5521505"/>
              <a:gd name="connsiteY5027" fmla="*/ 1139085 h 2146918"/>
              <a:gd name="connsiteX5028" fmla="*/ 2855312 w 5521505"/>
              <a:gd name="connsiteY5028" fmla="*/ 1134555 h 2146918"/>
              <a:gd name="connsiteX5029" fmla="*/ 2852305 w 5521505"/>
              <a:gd name="connsiteY5029" fmla="*/ 1113989 h 2146918"/>
              <a:gd name="connsiteX5030" fmla="*/ 2852767 w 5521505"/>
              <a:gd name="connsiteY5030" fmla="*/ 1110555 h 2146918"/>
              <a:gd name="connsiteX5031" fmla="*/ 2853291 w 5521505"/>
              <a:gd name="connsiteY5031" fmla="*/ 1107413 h 2146918"/>
              <a:gd name="connsiteX5032" fmla="*/ 2850076 w 5521505"/>
              <a:gd name="connsiteY5032" fmla="*/ 1100570 h 2146918"/>
              <a:gd name="connsiteX5033" fmla="*/ 2847641 w 5521505"/>
              <a:gd name="connsiteY5033" fmla="*/ 1098950 h 2146918"/>
              <a:gd name="connsiteX5034" fmla="*/ 2845011 w 5521505"/>
              <a:gd name="connsiteY5034" fmla="*/ 1097124 h 2146918"/>
              <a:gd name="connsiteX5035" fmla="*/ 2842234 w 5521505"/>
              <a:gd name="connsiteY5035" fmla="*/ 1095041 h 2146918"/>
              <a:gd name="connsiteX5036" fmla="*/ 2839799 w 5521505"/>
              <a:gd name="connsiteY5036" fmla="*/ 1093032 h 2146918"/>
              <a:gd name="connsiteX5037" fmla="*/ 2838033 w 5521505"/>
              <a:gd name="connsiteY5037" fmla="*/ 1091498 h 2146918"/>
              <a:gd name="connsiteX5038" fmla="*/ 2833759 w 5521505"/>
              <a:gd name="connsiteY5038" fmla="*/ 1087455 h 2146918"/>
              <a:gd name="connsiteX5039" fmla="*/ 2831884 w 5521505"/>
              <a:gd name="connsiteY5039" fmla="*/ 1085519 h 2146918"/>
              <a:gd name="connsiteX5040" fmla="*/ 2829595 w 5521505"/>
              <a:gd name="connsiteY5040" fmla="*/ 1082998 h 2146918"/>
              <a:gd name="connsiteX5041" fmla="*/ 2826526 w 5521505"/>
              <a:gd name="connsiteY5041" fmla="*/ 1079345 h 2146918"/>
              <a:gd name="connsiteX5042" fmla="*/ 2824091 w 5521505"/>
              <a:gd name="connsiteY5042" fmla="*/ 1076192 h 2146918"/>
              <a:gd name="connsiteX5043" fmla="*/ 2821838 w 5521505"/>
              <a:gd name="connsiteY5043" fmla="*/ 1073123 h 2146918"/>
              <a:gd name="connsiteX5044" fmla="*/ 2820072 w 5521505"/>
              <a:gd name="connsiteY5044" fmla="*/ 1070590 h 2146918"/>
              <a:gd name="connsiteX5045" fmla="*/ 2819220 w 5521505"/>
              <a:gd name="connsiteY5045" fmla="*/ 1069373 h 2146918"/>
              <a:gd name="connsiteX5046" fmla="*/ 2818002 w 5521505"/>
              <a:gd name="connsiteY5046" fmla="*/ 1067948 h 2146918"/>
              <a:gd name="connsiteX5047" fmla="*/ 2816298 w 5521505"/>
              <a:gd name="connsiteY5047" fmla="*/ 1066195 h 2146918"/>
              <a:gd name="connsiteX5048" fmla="*/ 2814447 w 5521505"/>
              <a:gd name="connsiteY5048" fmla="*/ 1064453 h 2146918"/>
              <a:gd name="connsiteX5049" fmla="*/ 2812364 w 5521505"/>
              <a:gd name="connsiteY5049" fmla="*/ 1062541 h 2146918"/>
              <a:gd name="connsiteX5050" fmla="*/ 2810197 w 5521505"/>
              <a:gd name="connsiteY5050" fmla="*/ 1060411 h 2146918"/>
              <a:gd name="connsiteX5051" fmla="*/ 2808724 w 5521505"/>
              <a:gd name="connsiteY5051" fmla="*/ 1058718 h 2146918"/>
              <a:gd name="connsiteX5052" fmla="*/ 2807214 w 5521505"/>
              <a:gd name="connsiteY5052" fmla="*/ 1056757 h 2146918"/>
              <a:gd name="connsiteX5053" fmla="*/ 2803561 w 5521505"/>
              <a:gd name="connsiteY5053" fmla="*/ 1039978 h 2146918"/>
              <a:gd name="connsiteX5054" fmla="*/ 2808565 w 5521505"/>
              <a:gd name="connsiteY5054" fmla="*/ 1022431 h 2146918"/>
              <a:gd name="connsiteX5055" fmla="*/ 2814654 w 5521505"/>
              <a:gd name="connsiteY5055" fmla="*/ 1006979 h 2146918"/>
              <a:gd name="connsiteX5056" fmla="*/ 2814946 w 5521505"/>
              <a:gd name="connsiteY5056" fmla="*/ 1005432 h 2146918"/>
              <a:gd name="connsiteX5057" fmla="*/ 2815604 w 5521505"/>
              <a:gd name="connsiteY5057" fmla="*/ 1003313 h 2146918"/>
              <a:gd name="connsiteX5058" fmla="*/ 2827781 w 5521505"/>
              <a:gd name="connsiteY5058" fmla="*/ 990662 h 2146918"/>
              <a:gd name="connsiteX5059" fmla="*/ 2835671 w 5521505"/>
              <a:gd name="connsiteY5059" fmla="*/ 982138 h 2146918"/>
              <a:gd name="connsiteX5060" fmla="*/ 2833698 w 5521505"/>
              <a:gd name="connsiteY5060" fmla="*/ 967526 h 2146918"/>
              <a:gd name="connsiteX5061" fmla="*/ 2831653 w 5521505"/>
              <a:gd name="connsiteY5061" fmla="*/ 964786 h 2146918"/>
              <a:gd name="connsiteX5062" fmla="*/ 2829388 w 5521505"/>
              <a:gd name="connsiteY5062" fmla="*/ 961815 h 2146918"/>
              <a:gd name="connsiteX5063" fmla="*/ 2825528 w 5521505"/>
              <a:gd name="connsiteY5063" fmla="*/ 956396 h 2146918"/>
              <a:gd name="connsiteX5064" fmla="*/ 2823397 w 5521505"/>
              <a:gd name="connsiteY5064" fmla="*/ 950636 h 2146918"/>
              <a:gd name="connsiteX5065" fmla="*/ 2825029 w 5521505"/>
              <a:gd name="connsiteY5065" fmla="*/ 947483 h 2146918"/>
              <a:gd name="connsiteX5066" fmla="*/ 2820036 w 5521505"/>
              <a:gd name="connsiteY5066" fmla="*/ 931165 h 2146918"/>
              <a:gd name="connsiteX5067" fmla="*/ 2818453 w 5521505"/>
              <a:gd name="connsiteY5067" fmla="*/ 929497 h 2146918"/>
              <a:gd name="connsiteX5068" fmla="*/ 2816091 w 5521505"/>
              <a:gd name="connsiteY5068" fmla="*/ 927183 h 2146918"/>
              <a:gd name="connsiteX5069" fmla="*/ 2813266 w 5521505"/>
              <a:gd name="connsiteY5069" fmla="*/ 924444 h 2146918"/>
              <a:gd name="connsiteX5070" fmla="*/ 2811707 w 5521505"/>
              <a:gd name="connsiteY5070" fmla="*/ 922800 h 2146918"/>
              <a:gd name="connsiteX5071" fmla="*/ 2809771 w 5521505"/>
              <a:gd name="connsiteY5071" fmla="*/ 920547 h 2146918"/>
              <a:gd name="connsiteX5072" fmla="*/ 2808553 w 5521505"/>
              <a:gd name="connsiteY5072" fmla="*/ 919037 h 2146918"/>
              <a:gd name="connsiteX5073" fmla="*/ 2802830 w 5521505"/>
              <a:gd name="connsiteY5073" fmla="*/ 909174 h 2146918"/>
              <a:gd name="connsiteX5074" fmla="*/ 2792601 w 5521505"/>
              <a:gd name="connsiteY5074" fmla="*/ 897923 h 2146918"/>
              <a:gd name="connsiteX5075" fmla="*/ 2787840 w 5521505"/>
              <a:gd name="connsiteY5075" fmla="*/ 894659 h 2146918"/>
              <a:gd name="connsiteX5076" fmla="*/ 2779999 w 5521505"/>
              <a:gd name="connsiteY5076" fmla="*/ 889521 h 2146918"/>
              <a:gd name="connsiteX5077" fmla="*/ 2775237 w 5521505"/>
              <a:gd name="connsiteY5077" fmla="*/ 886610 h 2146918"/>
              <a:gd name="connsiteX5078" fmla="*/ 2768492 w 5521505"/>
              <a:gd name="connsiteY5078" fmla="*/ 882604 h 2146918"/>
              <a:gd name="connsiteX5079" fmla="*/ 2759675 w 5521505"/>
              <a:gd name="connsiteY5079" fmla="*/ 877198 h 2146918"/>
              <a:gd name="connsiteX5080" fmla="*/ 2748960 w 5521505"/>
              <a:gd name="connsiteY5080" fmla="*/ 868540 h 2146918"/>
              <a:gd name="connsiteX5081" fmla="*/ 2744235 w 5521505"/>
              <a:gd name="connsiteY5081" fmla="*/ 863012 h 2146918"/>
              <a:gd name="connsiteX5082" fmla="*/ 2744783 w 5521505"/>
              <a:gd name="connsiteY5082" fmla="*/ 858652 h 2146918"/>
              <a:gd name="connsiteX5083" fmla="*/ 2750263 w 5521505"/>
              <a:gd name="connsiteY5083" fmla="*/ 851407 h 2146918"/>
              <a:gd name="connsiteX5084" fmla="*/ 2751724 w 5521505"/>
              <a:gd name="connsiteY5084" fmla="*/ 840533 h 2146918"/>
              <a:gd name="connsiteX5085" fmla="*/ 2751407 w 5521505"/>
              <a:gd name="connsiteY5085" fmla="*/ 836466 h 2146918"/>
              <a:gd name="connsiteX5086" fmla="*/ 2753014 w 5521505"/>
              <a:gd name="connsiteY5086" fmla="*/ 828515 h 2146918"/>
              <a:gd name="connsiteX5087" fmla="*/ 2755024 w 5521505"/>
              <a:gd name="connsiteY5087" fmla="*/ 822974 h 2146918"/>
              <a:gd name="connsiteX5088" fmla="*/ 2754281 w 5521505"/>
              <a:gd name="connsiteY5088" fmla="*/ 812161 h 2146918"/>
              <a:gd name="connsiteX5089" fmla="*/ 2750884 w 5521505"/>
              <a:gd name="connsiteY5089" fmla="*/ 807290 h 2146918"/>
              <a:gd name="connsiteX5090" fmla="*/ 2744527 w 5521505"/>
              <a:gd name="connsiteY5090" fmla="*/ 805574 h 2146918"/>
              <a:gd name="connsiteX5091" fmla="*/ 2740314 w 5521505"/>
              <a:gd name="connsiteY5091" fmla="*/ 804843 h 2146918"/>
              <a:gd name="connsiteX5092" fmla="*/ 2739815 w 5521505"/>
              <a:gd name="connsiteY5092" fmla="*/ 804465 h 2146918"/>
              <a:gd name="connsiteX5093" fmla="*/ 2737854 w 5521505"/>
              <a:gd name="connsiteY5093" fmla="*/ 802566 h 2146918"/>
              <a:gd name="connsiteX5094" fmla="*/ 2724375 w 5521505"/>
              <a:gd name="connsiteY5094" fmla="*/ 801506 h 2146918"/>
              <a:gd name="connsiteX5095" fmla="*/ 2721452 w 5521505"/>
              <a:gd name="connsiteY5095" fmla="*/ 801994 h 2146918"/>
              <a:gd name="connsiteX5096" fmla="*/ 2718420 w 5521505"/>
              <a:gd name="connsiteY5096" fmla="*/ 802493 h 2146918"/>
              <a:gd name="connsiteX5097" fmla="*/ 2715169 w 5521505"/>
              <a:gd name="connsiteY5097" fmla="*/ 803016 h 2146918"/>
              <a:gd name="connsiteX5098" fmla="*/ 2712977 w 5521505"/>
              <a:gd name="connsiteY5098" fmla="*/ 803357 h 2146918"/>
              <a:gd name="connsiteX5099" fmla="*/ 2708581 w 5521505"/>
              <a:gd name="connsiteY5099" fmla="*/ 804003 h 2146918"/>
              <a:gd name="connsiteX5100" fmla="*/ 2704709 w 5521505"/>
              <a:gd name="connsiteY5100" fmla="*/ 804539 h 2146918"/>
              <a:gd name="connsiteX5101" fmla="*/ 2700337 w 5521505"/>
              <a:gd name="connsiteY5101" fmla="*/ 805111 h 2146918"/>
              <a:gd name="connsiteX5102" fmla="*/ 2686468 w 5521505"/>
              <a:gd name="connsiteY5102" fmla="*/ 806109 h 2146918"/>
              <a:gd name="connsiteX5103" fmla="*/ 2675509 w 5521505"/>
              <a:gd name="connsiteY5103" fmla="*/ 800959 h 2146918"/>
              <a:gd name="connsiteX5104" fmla="*/ 2674498 w 5521505"/>
              <a:gd name="connsiteY5104" fmla="*/ 799655 h 2146918"/>
              <a:gd name="connsiteX5105" fmla="*/ 2670176 w 5521505"/>
              <a:gd name="connsiteY5105" fmla="*/ 794882 h 2146918"/>
              <a:gd name="connsiteX5106" fmla="*/ 2652422 w 5521505"/>
              <a:gd name="connsiteY5106" fmla="*/ 787576 h 2146918"/>
              <a:gd name="connsiteX5107" fmla="*/ 2623745 w 5521505"/>
              <a:gd name="connsiteY5107" fmla="*/ 789646 h 2146918"/>
              <a:gd name="connsiteX5108" fmla="*/ 2619861 w 5521505"/>
              <a:gd name="connsiteY5108" fmla="*/ 790389 h 2146918"/>
              <a:gd name="connsiteX5109" fmla="*/ 2617620 w 5521505"/>
              <a:gd name="connsiteY5109" fmla="*/ 790876 h 2146918"/>
              <a:gd name="connsiteX5110" fmla="*/ 2615368 w 5521505"/>
              <a:gd name="connsiteY5110" fmla="*/ 791387 h 2146918"/>
              <a:gd name="connsiteX5111" fmla="*/ 2612835 w 5521505"/>
              <a:gd name="connsiteY5111" fmla="*/ 792009 h 2146918"/>
              <a:gd name="connsiteX5112" fmla="*/ 2608683 w 5521505"/>
              <a:gd name="connsiteY5112" fmla="*/ 793092 h 2146918"/>
              <a:gd name="connsiteX5113" fmla="*/ 2606101 w 5521505"/>
              <a:gd name="connsiteY5113" fmla="*/ 793823 h 2146918"/>
              <a:gd name="connsiteX5114" fmla="*/ 2602448 w 5521505"/>
              <a:gd name="connsiteY5114" fmla="*/ 794919 h 2146918"/>
              <a:gd name="connsiteX5115" fmla="*/ 2601230 w 5521505"/>
              <a:gd name="connsiteY5115" fmla="*/ 795297 h 2146918"/>
              <a:gd name="connsiteX5116" fmla="*/ 2598892 w 5521505"/>
              <a:gd name="connsiteY5116" fmla="*/ 796051 h 2146918"/>
              <a:gd name="connsiteX5117" fmla="*/ 2596932 w 5521505"/>
              <a:gd name="connsiteY5117" fmla="*/ 796697 h 2146918"/>
              <a:gd name="connsiteX5118" fmla="*/ 2594131 w 5521505"/>
              <a:gd name="connsiteY5118" fmla="*/ 797646 h 2146918"/>
              <a:gd name="connsiteX5119" fmla="*/ 2591696 w 5521505"/>
              <a:gd name="connsiteY5119" fmla="*/ 798511 h 2146918"/>
              <a:gd name="connsiteX5120" fmla="*/ 2589674 w 5521505"/>
              <a:gd name="connsiteY5120" fmla="*/ 799230 h 2146918"/>
              <a:gd name="connsiteX5121" fmla="*/ 2588116 w 5521505"/>
              <a:gd name="connsiteY5121" fmla="*/ 799790 h 2146918"/>
              <a:gd name="connsiteX5122" fmla="*/ 2586545 w 5521505"/>
              <a:gd name="connsiteY5122" fmla="*/ 800362 h 2146918"/>
              <a:gd name="connsiteX5123" fmla="*/ 2582892 w 5521505"/>
              <a:gd name="connsiteY5123" fmla="*/ 801738 h 2146918"/>
              <a:gd name="connsiteX5124" fmla="*/ 2580603 w 5521505"/>
              <a:gd name="connsiteY5124" fmla="*/ 802603 h 2146918"/>
              <a:gd name="connsiteX5125" fmla="*/ 2576950 w 5521505"/>
              <a:gd name="connsiteY5125" fmla="*/ 803966 h 2146918"/>
              <a:gd name="connsiteX5126" fmla="*/ 2573297 w 5521505"/>
              <a:gd name="connsiteY5126" fmla="*/ 805342 h 2146918"/>
              <a:gd name="connsiteX5127" fmla="*/ 2570070 w 5521505"/>
              <a:gd name="connsiteY5127" fmla="*/ 806560 h 2146918"/>
              <a:gd name="connsiteX5128" fmla="*/ 2567634 w 5521505"/>
              <a:gd name="connsiteY5128" fmla="*/ 807473 h 2146918"/>
              <a:gd name="connsiteX5129" fmla="*/ 2565637 w 5521505"/>
              <a:gd name="connsiteY5129" fmla="*/ 808216 h 2146918"/>
              <a:gd name="connsiteX5130" fmla="*/ 2563117 w 5521505"/>
              <a:gd name="connsiteY5130" fmla="*/ 809129 h 2146918"/>
              <a:gd name="connsiteX5131" fmla="*/ 2560365 w 5521505"/>
              <a:gd name="connsiteY5131" fmla="*/ 810128 h 2146918"/>
              <a:gd name="connsiteX5132" fmla="*/ 2558331 w 5521505"/>
              <a:gd name="connsiteY5132" fmla="*/ 810870 h 2146918"/>
              <a:gd name="connsiteX5133" fmla="*/ 2554788 w 5521505"/>
              <a:gd name="connsiteY5133" fmla="*/ 812198 h 2146918"/>
              <a:gd name="connsiteX5134" fmla="*/ 2551025 w 5521505"/>
              <a:gd name="connsiteY5134" fmla="*/ 813671 h 2146918"/>
              <a:gd name="connsiteX5135" fmla="*/ 2549052 w 5521505"/>
              <a:gd name="connsiteY5135" fmla="*/ 814475 h 2146918"/>
              <a:gd name="connsiteX5136" fmla="*/ 2547993 w 5521505"/>
              <a:gd name="connsiteY5136" fmla="*/ 814913 h 2146918"/>
              <a:gd name="connsiteX5137" fmla="*/ 2546556 w 5521505"/>
              <a:gd name="connsiteY5137" fmla="*/ 815510 h 2146918"/>
              <a:gd name="connsiteX5138" fmla="*/ 2545339 w 5521505"/>
              <a:gd name="connsiteY5138" fmla="*/ 815985 h 2146918"/>
              <a:gd name="connsiteX5139" fmla="*/ 2544620 w 5521505"/>
              <a:gd name="connsiteY5139" fmla="*/ 816240 h 2146918"/>
              <a:gd name="connsiteX5140" fmla="*/ 2539360 w 5521505"/>
              <a:gd name="connsiteY5140" fmla="*/ 817677 h 2146918"/>
              <a:gd name="connsiteX5141" fmla="*/ 2534805 w 5521505"/>
              <a:gd name="connsiteY5141" fmla="*/ 818055 h 2146918"/>
              <a:gd name="connsiteX5142" fmla="*/ 2534270 w 5521505"/>
              <a:gd name="connsiteY5142" fmla="*/ 818055 h 2146918"/>
              <a:gd name="connsiteX5143" fmla="*/ 2533369 w 5521505"/>
              <a:gd name="connsiteY5143" fmla="*/ 817994 h 2146918"/>
              <a:gd name="connsiteX5144" fmla="*/ 2532675 w 5521505"/>
              <a:gd name="connsiteY5144" fmla="*/ 817921 h 2146918"/>
              <a:gd name="connsiteX5145" fmla="*/ 2532224 w 5521505"/>
              <a:gd name="connsiteY5145" fmla="*/ 817860 h 2146918"/>
              <a:gd name="connsiteX5146" fmla="*/ 2529947 w 5521505"/>
              <a:gd name="connsiteY5146" fmla="*/ 817397 h 2146918"/>
              <a:gd name="connsiteX5147" fmla="*/ 2529606 w 5521505"/>
              <a:gd name="connsiteY5147" fmla="*/ 817312 h 2146918"/>
              <a:gd name="connsiteX5148" fmla="*/ 2529338 w 5521505"/>
              <a:gd name="connsiteY5148" fmla="*/ 817239 h 2146918"/>
              <a:gd name="connsiteX5149" fmla="*/ 2528912 w 5521505"/>
              <a:gd name="connsiteY5149" fmla="*/ 817154 h 2146918"/>
              <a:gd name="connsiteX5150" fmla="*/ 2528620 w 5521505"/>
              <a:gd name="connsiteY5150" fmla="*/ 817154 h 2146918"/>
              <a:gd name="connsiteX5151" fmla="*/ 2525770 w 5521505"/>
              <a:gd name="connsiteY5151" fmla="*/ 817154 h 2146918"/>
              <a:gd name="connsiteX5152" fmla="*/ 2524406 w 5521505"/>
              <a:gd name="connsiteY5152" fmla="*/ 817287 h 2146918"/>
              <a:gd name="connsiteX5153" fmla="*/ 2523335 w 5521505"/>
              <a:gd name="connsiteY5153" fmla="*/ 817409 h 2146918"/>
              <a:gd name="connsiteX5154" fmla="*/ 2522422 w 5521505"/>
              <a:gd name="connsiteY5154" fmla="*/ 817507 h 2146918"/>
              <a:gd name="connsiteX5155" fmla="*/ 2521654 w 5521505"/>
              <a:gd name="connsiteY5155" fmla="*/ 817592 h 2146918"/>
              <a:gd name="connsiteX5156" fmla="*/ 2521021 w 5521505"/>
              <a:gd name="connsiteY5156" fmla="*/ 817689 h 2146918"/>
              <a:gd name="connsiteX5157" fmla="*/ 2520413 w 5521505"/>
              <a:gd name="connsiteY5157" fmla="*/ 817811 h 2146918"/>
              <a:gd name="connsiteX5158" fmla="*/ 2519499 w 5521505"/>
              <a:gd name="connsiteY5158" fmla="*/ 817994 h 2146918"/>
              <a:gd name="connsiteX5159" fmla="*/ 2518891 w 5521505"/>
              <a:gd name="connsiteY5159" fmla="*/ 818128 h 2146918"/>
              <a:gd name="connsiteX5160" fmla="*/ 2516199 w 5521505"/>
              <a:gd name="connsiteY5160" fmla="*/ 818456 h 2146918"/>
              <a:gd name="connsiteX5161" fmla="*/ 2502890 w 5521505"/>
              <a:gd name="connsiteY5161" fmla="*/ 818456 h 2146918"/>
              <a:gd name="connsiteX5162" fmla="*/ 2467443 w 5521505"/>
              <a:gd name="connsiteY5162" fmla="*/ 827553 h 2146918"/>
              <a:gd name="connsiteX5163" fmla="*/ 2456971 w 5521505"/>
              <a:gd name="connsiteY5163" fmla="*/ 831620 h 2146918"/>
              <a:gd name="connsiteX5164" fmla="*/ 2446012 w 5521505"/>
              <a:gd name="connsiteY5164" fmla="*/ 835796 h 2146918"/>
              <a:gd name="connsiteX5165" fmla="*/ 2443832 w 5521505"/>
              <a:gd name="connsiteY5165" fmla="*/ 836588 h 2146918"/>
              <a:gd name="connsiteX5166" fmla="*/ 2442067 w 5521505"/>
              <a:gd name="connsiteY5166" fmla="*/ 837136 h 2146918"/>
              <a:gd name="connsiteX5167" fmla="*/ 2427954 w 5521505"/>
              <a:gd name="connsiteY5167" fmla="*/ 837514 h 2146918"/>
              <a:gd name="connsiteX5168" fmla="*/ 2424398 w 5521505"/>
              <a:gd name="connsiteY5168" fmla="*/ 836600 h 2146918"/>
              <a:gd name="connsiteX5169" fmla="*/ 2422194 w 5521505"/>
              <a:gd name="connsiteY5169" fmla="*/ 836052 h 2146918"/>
              <a:gd name="connsiteX5170" fmla="*/ 2419552 w 5521505"/>
              <a:gd name="connsiteY5170" fmla="*/ 835383 h 2146918"/>
              <a:gd name="connsiteX5171" fmla="*/ 2415582 w 5521505"/>
              <a:gd name="connsiteY5171" fmla="*/ 834384 h 2146918"/>
              <a:gd name="connsiteX5172" fmla="*/ 2411235 w 5521505"/>
              <a:gd name="connsiteY5172" fmla="*/ 833312 h 2146918"/>
              <a:gd name="connsiteX5173" fmla="*/ 2407765 w 5521505"/>
              <a:gd name="connsiteY5173" fmla="*/ 832448 h 2146918"/>
              <a:gd name="connsiteX5174" fmla="*/ 2403892 w 5521505"/>
              <a:gd name="connsiteY5174" fmla="*/ 831510 h 2146918"/>
              <a:gd name="connsiteX5175" fmla="*/ 2400860 w 5521505"/>
              <a:gd name="connsiteY5175" fmla="*/ 830768 h 2146918"/>
              <a:gd name="connsiteX5176" fmla="*/ 2396805 w 5521505"/>
              <a:gd name="connsiteY5176" fmla="*/ 829781 h 2146918"/>
              <a:gd name="connsiteX5177" fmla="*/ 2389925 w 5521505"/>
              <a:gd name="connsiteY5177" fmla="*/ 828028 h 2146918"/>
              <a:gd name="connsiteX5178" fmla="*/ 2388440 w 5521505"/>
              <a:gd name="connsiteY5178" fmla="*/ 827626 h 2146918"/>
              <a:gd name="connsiteX5179" fmla="*/ 2387088 w 5521505"/>
              <a:gd name="connsiteY5179" fmla="*/ 827333 h 2146918"/>
              <a:gd name="connsiteX5180" fmla="*/ 2386187 w 5521505"/>
              <a:gd name="connsiteY5180" fmla="*/ 827199 h 2146918"/>
              <a:gd name="connsiteX5181" fmla="*/ 2385042 w 5521505"/>
              <a:gd name="connsiteY5181" fmla="*/ 827126 h 2146918"/>
              <a:gd name="connsiteX5182" fmla="*/ 2382960 w 5521505"/>
              <a:gd name="connsiteY5182" fmla="*/ 827126 h 2146918"/>
              <a:gd name="connsiteX5183" fmla="*/ 2380525 w 5521505"/>
              <a:gd name="connsiteY5183" fmla="*/ 826944 h 2146918"/>
              <a:gd name="connsiteX5184" fmla="*/ 2368981 w 5521505"/>
              <a:gd name="connsiteY5184" fmla="*/ 822731 h 2146918"/>
              <a:gd name="connsiteX5185" fmla="*/ 2367922 w 5521505"/>
              <a:gd name="connsiteY5185" fmla="*/ 821720 h 2146918"/>
              <a:gd name="connsiteX5186" fmla="*/ 2367325 w 5521505"/>
              <a:gd name="connsiteY5186" fmla="*/ 821160 h 2146918"/>
              <a:gd name="connsiteX5187" fmla="*/ 2366692 w 5521505"/>
              <a:gd name="connsiteY5187" fmla="*/ 820660 h 2146918"/>
              <a:gd name="connsiteX5188" fmla="*/ 2354150 w 5521505"/>
              <a:gd name="connsiteY5188" fmla="*/ 818140 h 2146918"/>
              <a:gd name="connsiteX5189" fmla="*/ 2351897 w 5521505"/>
              <a:gd name="connsiteY5189" fmla="*/ 818213 h 2146918"/>
              <a:gd name="connsiteX5190" fmla="*/ 2350618 w 5521505"/>
              <a:gd name="connsiteY5190" fmla="*/ 818213 h 2146918"/>
              <a:gd name="connsiteX5191" fmla="*/ 2349474 w 5521505"/>
              <a:gd name="connsiteY5191" fmla="*/ 818213 h 2146918"/>
              <a:gd name="connsiteX5192" fmla="*/ 2347599 w 5521505"/>
              <a:gd name="connsiteY5192" fmla="*/ 818091 h 2146918"/>
              <a:gd name="connsiteX5193" fmla="*/ 2345772 w 5521505"/>
              <a:gd name="connsiteY5193" fmla="*/ 817872 h 2146918"/>
              <a:gd name="connsiteX5194" fmla="*/ 2344116 w 5521505"/>
              <a:gd name="connsiteY5194" fmla="*/ 817567 h 2146918"/>
              <a:gd name="connsiteX5195" fmla="*/ 2342399 w 5521505"/>
              <a:gd name="connsiteY5195" fmla="*/ 817142 h 2146918"/>
              <a:gd name="connsiteX5196" fmla="*/ 2340938 w 5521505"/>
              <a:gd name="connsiteY5196" fmla="*/ 816667 h 2146918"/>
              <a:gd name="connsiteX5197" fmla="*/ 2339136 w 5521505"/>
              <a:gd name="connsiteY5197" fmla="*/ 815705 h 2146918"/>
              <a:gd name="connsiteX5198" fmla="*/ 2338088 w 5521505"/>
              <a:gd name="connsiteY5198" fmla="*/ 815169 h 2146918"/>
              <a:gd name="connsiteX5199" fmla="*/ 2336871 w 5521505"/>
              <a:gd name="connsiteY5199" fmla="*/ 814463 h 2146918"/>
              <a:gd name="connsiteX5200" fmla="*/ 2334435 w 5521505"/>
              <a:gd name="connsiteY5200" fmla="*/ 812672 h 2146918"/>
              <a:gd name="connsiteX5201" fmla="*/ 2332938 w 5521505"/>
              <a:gd name="connsiteY5201" fmla="*/ 811345 h 2146918"/>
              <a:gd name="connsiteX5202" fmla="*/ 2330795 w 5521505"/>
              <a:gd name="connsiteY5202" fmla="*/ 809239 h 2146918"/>
              <a:gd name="connsiteX5203" fmla="*/ 2328932 w 5521505"/>
              <a:gd name="connsiteY5203" fmla="*/ 807376 h 2146918"/>
              <a:gd name="connsiteX5204" fmla="*/ 2327714 w 5521505"/>
              <a:gd name="connsiteY5204" fmla="*/ 805963 h 2146918"/>
              <a:gd name="connsiteX5205" fmla="*/ 2326107 w 5521505"/>
              <a:gd name="connsiteY5205" fmla="*/ 804003 h 2146918"/>
              <a:gd name="connsiteX5206" fmla="*/ 2324487 w 5521505"/>
              <a:gd name="connsiteY5206" fmla="*/ 802079 h 2146918"/>
              <a:gd name="connsiteX5207" fmla="*/ 2323208 w 5521505"/>
              <a:gd name="connsiteY5207" fmla="*/ 800739 h 2146918"/>
              <a:gd name="connsiteX5208" fmla="*/ 2322222 w 5521505"/>
              <a:gd name="connsiteY5208" fmla="*/ 799850 h 2146918"/>
              <a:gd name="connsiteX5209" fmla="*/ 2320481 w 5521505"/>
              <a:gd name="connsiteY5209" fmla="*/ 798633 h 2146918"/>
              <a:gd name="connsiteX5210" fmla="*/ 2319263 w 5521505"/>
              <a:gd name="connsiteY5210" fmla="*/ 797999 h 2146918"/>
              <a:gd name="connsiteX5211" fmla="*/ 2318399 w 5521505"/>
              <a:gd name="connsiteY5211" fmla="*/ 797634 h 2146918"/>
              <a:gd name="connsiteX5212" fmla="*/ 2317364 w 5521505"/>
              <a:gd name="connsiteY5212" fmla="*/ 797293 h 2146918"/>
              <a:gd name="connsiteX5213" fmla="*/ 2315854 w 5521505"/>
              <a:gd name="connsiteY5213" fmla="*/ 796855 h 2146918"/>
              <a:gd name="connsiteX5214" fmla="*/ 2313991 w 5521505"/>
              <a:gd name="connsiteY5214" fmla="*/ 796270 h 2146918"/>
              <a:gd name="connsiteX5215" fmla="*/ 2310484 w 5521505"/>
              <a:gd name="connsiteY5215" fmla="*/ 795053 h 2146918"/>
              <a:gd name="connsiteX5216" fmla="*/ 2307159 w 5521505"/>
              <a:gd name="connsiteY5216" fmla="*/ 793835 h 2146918"/>
              <a:gd name="connsiteX5217" fmla="*/ 2303701 w 5521505"/>
              <a:gd name="connsiteY5217" fmla="*/ 792471 h 2146918"/>
              <a:gd name="connsiteX5218" fmla="*/ 2301022 w 5521505"/>
              <a:gd name="connsiteY5218" fmla="*/ 791400 h 2146918"/>
              <a:gd name="connsiteX5219" fmla="*/ 2297905 w 5521505"/>
              <a:gd name="connsiteY5219" fmla="*/ 790182 h 2146918"/>
              <a:gd name="connsiteX5220" fmla="*/ 2295555 w 5521505"/>
              <a:gd name="connsiteY5220" fmla="*/ 789281 h 2146918"/>
              <a:gd name="connsiteX5221" fmla="*/ 2292754 w 5521505"/>
              <a:gd name="connsiteY5221" fmla="*/ 788270 h 2146918"/>
              <a:gd name="connsiteX5222" fmla="*/ 2290696 w 5521505"/>
              <a:gd name="connsiteY5222" fmla="*/ 787564 h 2146918"/>
              <a:gd name="connsiteX5223" fmla="*/ 2288139 w 5521505"/>
              <a:gd name="connsiteY5223" fmla="*/ 786773 h 2146918"/>
              <a:gd name="connsiteX5224" fmla="*/ 2285411 w 5521505"/>
              <a:gd name="connsiteY5224" fmla="*/ 786029 h 2146918"/>
              <a:gd name="connsiteX5225" fmla="*/ 2282684 w 5521505"/>
              <a:gd name="connsiteY5225" fmla="*/ 785372 h 2146918"/>
              <a:gd name="connsiteX5226" fmla="*/ 2280346 w 5521505"/>
              <a:gd name="connsiteY5226" fmla="*/ 784909 h 2146918"/>
              <a:gd name="connsiteX5227" fmla="*/ 2277691 w 5521505"/>
              <a:gd name="connsiteY5227" fmla="*/ 784471 h 2146918"/>
              <a:gd name="connsiteX5228" fmla="*/ 2274197 w 5521505"/>
              <a:gd name="connsiteY5228" fmla="*/ 784045 h 2146918"/>
              <a:gd name="connsiteX5229" fmla="*/ 2272029 w 5521505"/>
              <a:gd name="connsiteY5229" fmla="*/ 783862 h 2146918"/>
              <a:gd name="connsiteX5230" fmla="*/ 2269983 w 5521505"/>
              <a:gd name="connsiteY5230" fmla="*/ 783680 h 2146918"/>
              <a:gd name="connsiteX5231" fmla="*/ 2267974 w 5521505"/>
              <a:gd name="connsiteY5231" fmla="*/ 783351 h 2146918"/>
              <a:gd name="connsiteX5232" fmla="*/ 2266489 w 5521505"/>
              <a:gd name="connsiteY5232" fmla="*/ 783010 h 2146918"/>
              <a:gd name="connsiteX5233" fmla="*/ 2258257 w 5521505"/>
              <a:gd name="connsiteY5233" fmla="*/ 778407 h 2146918"/>
              <a:gd name="connsiteX5234" fmla="*/ 2255457 w 5521505"/>
              <a:gd name="connsiteY5234" fmla="*/ 771819 h 2146918"/>
              <a:gd name="connsiteX5235" fmla="*/ 2256942 w 5521505"/>
              <a:gd name="connsiteY5235" fmla="*/ 765731 h 2146918"/>
              <a:gd name="connsiteX5236" fmla="*/ 2257052 w 5521505"/>
              <a:gd name="connsiteY5236" fmla="*/ 762236 h 2146918"/>
              <a:gd name="connsiteX5237" fmla="*/ 2252863 w 5521505"/>
              <a:gd name="connsiteY5237" fmla="*/ 758680 h 2146918"/>
              <a:gd name="connsiteX5238" fmla="*/ 2252023 w 5521505"/>
              <a:gd name="connsiteY5238" fmla="*/ 758193 h 2146918"/>
              <a:gd name="connsiteX5239" fmla="*/ 2250476 w 5521505"/>
              <a:gd name="connsiteY5239" fmla="*/ 757378 h 2146918"/>
              <a:gd name="connsiteX5240" fmla="*/ 2249258 w 5521505"/>
              <a:gd name="connsiteY5240" fmla="*/ 756878 h 2146918"/>
              <a:gd name="connsiteX5241" fmla="*/ 2247006 w 5521505"/>
              <a:gd name="connsiteY5241" fmla="*/ 756062 h 2146918"/>
              <a:gd name="connsiteX5242" fmla="*/ 2244400 w 5521505"/>
              <a:gd name="connsiteY5242" fmla="*/ 755222 h 2146918"/>
              <a:gd name="connsiteX5243" fmla="*/ 2242062 w 5521505"/>
              <a:gd name="connsiteY5243" fmla="*/ 754443 h 2146918"/>
              <a:gd name="connsiteX5244" fmla="*/ 2243389 w 5521505"/>
              <a:gd name="connsiteY5244" fmla="*/ 752007 h 2146918"/>
              <a:gd name="connsiteX5245" fmla="*/ 2244497 w 5521505"/>
              <a:gd name="connsiteY5245" fmla="*/ 750023 h 2146918"/>
              <a:gd name="connsiteX5246" fmla="*/ 2245472 w 5521505"/>
              <a:gd name="connsiteY5246" fmla="*/ 748257 h 2146918"/>
              <a:gd name="connsiteX5247" fmla="*/ 2246324 w 5521505"/>
              <a:gd name="connsiteY5247" fmla="*/ 746735 h 2146918"/>
              <a:gd name="connsiteX5248" fmla="*/ 2247213 w 5521505"/>
              <a:gd name="connsiteY5248" fmla="*/ 745140 h 2146918"/>
              <a:gd name="connsiteX5249" fmla="*/ 2249003 w 5521505"/>
              <a:gd name="connsiteY5249" fmla="*/ 741937 h 2146918"/>
              <a:gd name="connsiteX5250" fmla="*/ 2250330 w 5521505"/>
              <a:gd name="connsiteY5250" fmla="*/ 739502 h 2146918"/>
              <a:gd name="connsiteX5251" fmla="*/ 2251645 w 5521505"/>
              <a:gd name="connsiteY5251" fmla="*/ 737066 h 2146918"/>
              <a:gd name="connsiteX5252" fmla="*/ 2252863 w 5521505"/>
              <a:gd name="connsiteY5252" fmla="*/ 734887 h 2146918"/>
              <a:gd name="connsiteX5253" fmla="*/ 2254080 w 5521505"/>
              <a:gd name="connsiteY5253" fmla="*/ 732537 h 2146918"/>
              <a:gd name="connsiteX5254" fmla="*/ 2255298 w 5521505"/>
              <a:gd name="connsiteY5254" fmla="*/ 729894 h 2146918"/>
              <a:gd name="connsiteX5255" fmla="*/ 2256175 w 5521505"/>
              <a:gd name="connsiteY5255" fmla="*/ 727581 h 2146918"/>
              <a:gd name="connsiteX5256" fmla="*/ 2256893 w 5521505"/>
              <a:gd name="connsiteY5256" fmla="*/ 725243 h 2146918"/>
              <a:gd name="connsiteX5257" fmla="*/ 2257356 w 5521505"/>
              <a:gd name="connsiteY5257" fmla="*/ 723367 h 2146918"/>
              <a:gd name="connsiteX5258" fmla="*/ 2257733 w 5521505"/>
              <a:gd name="connsiteY5258" fmla="*/ 721383 h 2146918"/>
              <a:gd name="connsiteX5259" fmla="*/ 2257965 w 5521505"/>
              <a:gd name="connsiteY5259" fmla="*/ 719873 h 2146918"/>
              <a:gd name="connsiteX5260" fmla="*/ 2258135 w 5521505"/>
              <a:gd name="connsiteY5260" fmla="*/ 718265 h 2146918"/>
              <a:gd name="connsiteX5261" fmla="*/ 2258269 w 5521505"/>
              <a:gd name="connsiteY5261" fmla="*/ 715830 h 2146918"/>
              <a:gd name="connsiteX5262" fmla="*/ 2258269 w 5521505"/>
              <a:gd name="connsiteY5262" fmla="*/ 713042 h 2146918"/>
              <a:gd name="connsiteX5263" fmla="*/ 2258111 w 5521505"/>
              <a:gd name="connsiteY5263" fmla="*/ 710691 h 2146918"/>
              <a:gd name="connsiteX5264" fmla="*/ 2257807 w 5521505"/>
              <a:gd name="connsiteY5264" fmla="*/ 708037 h 2146918"/>
              <a:gd name="connsiteX5265" fmla="*/ 2257478 w 5521505"/>
              <a:gd name="connsiteY5265" fmla="*/ 705979 h 2146918"/>
              <a:gd name="connsiteX5266" fmla="*/ 2255505 w 5521505"/>
              <a:gd name="connsiteY5266" fmla="*/ 703361 h 2146918"/>
              <a:gd name="connsiteX5267" fmla="*/ 2254580 w 5521505"/>
              <a:gd name="connsiteY5267" fmla="*/ 702642 h 2146918"/>
              <a:gd name="connsiteX5268" fmla="*/ 2253740 w 5521505"/>
              <a:gd name="connsiteY5268" fmla="*/ 701863 h 2146918"/>
              <a:gd name="connsiteX5269" fmla="*/ 2251402 w 5521505"/>
              <a:gd name="connsiteY5269" fmla="*/ 697212 h 2146918"/>
              <a:gd name="connsiteX5270" fmla="*/ 2251402 w 5521505"/>
              <a:gd name="connsiteY5270" fmla="*/ 695933 h 2146918"/>
              <a:gd name="connsiteX5271" fmla="*/ 2251499 w 5521505"/>
              <a:gd name="connsiteY5271" fmla="*/ 691866 h 2146918"/>
              <a:gd name="connsiteX5272" fmla="*/ 2247359 w 5521505"/>
              <a:gd name="connsiteY5272" fmla="*/ 685217 h 2146918"/>
              <a:gd name="connsiteX5273" fmla="*/ 2239334 w 5521505"/>
              <a:gd name="connsiteY5273" fmla="*/ 683488 h 2146918"/>
              <a:gd name="connsiteX5274" fmla="*/ 2238823 w 5521505"/>
              <a:gd name="connsiteY5274" fmla="*/ 683366 h 2146918"/>
              <a:gd name="connsiteX5275" fmla="*/ 2237313 w 5521505"/>
              <a:gd name="connsiteY5275" fmla="*/ 681162 h 2146918"/>
              <a:gd name="connsiteX5276" fmla="*/ 2236789 w 5521505"/>
              <a:gd name="connsiteY5276" fmla="*/ 676755 h 2146918"/>
              <a:gd name="connsiteX5277" fmla="*/ 2241392 w 5521505"/>
              <a:gd name="connsiteY5277" fmla="*/ 663640 h 2146918"/>
              <a:gd name="connsiteX5278" fmla="*/ 2246397 w 5521505"/>
              <a:gd name="connsiteY5278" fmla="*/ 656115 h 2146918"/>
              <a:gd name="connsiteX5279" fmla="*/ 2250683 w 5521505"/>
              <a:gd name="connsiteY5279" fmla="*/ 648212 h 2146918"/>
              <a:gd name="connsiteX5280" fmla="*/ 2262957 w 5521505"/>
              <a:gd name="connsiteY5280" fmla="*/ 637935 h 2146918"/>
              <a:gd name="connsiteX5281" fmla="*/ 2271834 w 5521505"/>
              <a:gd name="connsiteY5281" fmla="*/ 631846 h 2146918"/>
              <a:gd name="connsiteX5282" fmla="*/ 2272541 w 5521505"/>
              <a:gd name="connsiteY5282" fmla="*/ 625758 h 2146918"/>
              <a:gd name="connsiteX5283" fmla="*/ 2272309 w 5521505"/>
              <a:gd name="connsiteY5283" fmla="*/ 618610 h 2146918"/>
              <a:gd name="connsiteX5284" fmla="*/ 2287798 w 5521505"/>
              <a:gd name="connsiteY5284" fmla="*/ 604899 h 2146918"/>
              <a:gd name="connsiteX5285" fmla="*/ 2298757 w 5521505"/>
              <a:gd name="connsiteY5285" fmla="*/ 592941 h 2146918"/>
              <a:gd name="connsiteX5286" fmla="*/ 2311019 w 5521505"/>
              <a:gd name="connsiteY5286" fmla="*/ 581982 h 2146918"/>
              <a:gd name="connsiteX5287" fmla="*/ 2337078 w 5521505"/>
              <a:gd name="connsiteY5287" fmla="*/ 570780 h 2146918"/>
              <a:gd name="connsiteX5288" fmla="*/ 2360664 w 5521505"/>
              <a:gd name="connsiteY5288" fmla="*/ 546426 h 2146918"/>
              <a:gd name="connsiteX5289" fmla="*/ 2360238 w 5521505"/>
              <a:gd name="connsiteY5289" fmla="*/ 544380 h 2146918"/>
              <a:gd name="connsiteX5290" fmla="*/ 2359118 w 5521505"/>
              <a:gd name="connsiteY5290" fmla="*/ 542456 h 2146918"/>
              <a:gd name="connsiteX5291" fmla="*/ 2359191 w 5521505"/>
              <a:gd name="connsiteY5291" fmla="*/ 536136 h 2146918"/>
              <a:gd name="connsiteX5292" fmla="*/ 2361626 w 5521505"/>
              <a:gd name="connsiteY5292" fmla="*/ 531728 h 2146918"/>
              <a:gd name="connsiteX5293" fmla="*/ 2364999 w 5521505"/>
              <a:gd name="connsiteY5293" fmla="*/ 526492 h 2146918"/>
              <a:gd name="connsiteX5294" fmla="*/ 2367301 w 5521505"/>
              <a:gd name="connsiteY5294" fmla="*/ 522839 h 2146918"/>
              <a:gd name="connsiteX5295" fmla="*/ 2368908 w 5521505"/>
              <a:gd name="connsiteY5295" fmla="*/ 520404 h 2146918"/>
              <a:gd name="connsiteX5296" fmla="*/ 2370126 w 5521505"/>
              <a:gd name="connsiteY5296" fmla="*/ 519259 h 2146918"/>
              <a:gd name="connsiteX5297" fmla="*/ 2372659 w 5521505"/>
              <a:gd name="connsiteY5297" fmla="*/ 517542 h 2146918"/>
              <a:gd name="connsiteX5298" fmla="*/ 2378284 w 5521505"/>
              <a:gd name="connsiteY5298" fmla="*/ 513524 h 2146918"/>
              <a:gd name="connsiteX5299" fmla="*/ 2382254 w 5521505"/>
              <a:gd name="connsiteY5299" fmla="*/ 510723 h 2146918"/>
              <a:gd name="connsiteX5300" fmla="*/ 2389645 w 5521505"/>
              <a:gd name="connsiteY5300" fmla="*/ 506206 h 2146918"/>
              <a:gd name="connsiteX5301" fmla="*/ 2393773 w 5521505"/>
              <a:gd name="connsiteY5301" fmla="*/ 504245 h 2146918"/>
              <a:gd name="connsiteX5302" fmla="*/ 2399862 w 5521505"/>
              <a:gd name="connsiteY5302" fmla="*/ 501627 h 2146918"/>
              <a:gd name="connsiteX5303" fmla="*/ 2405804 w 5521505"/>
              <a:gd name="connsiteY5303" fmla="*/ 498412 h 2146918"/>
              <a:gd name="connsiteX5304" fmla="*/ 2409140 w 5521505"/>
              <a:gd name="connsiteY5304" fmla="*/ 496184 h 2146918"/>
              <a:gd name="connsiteX5305" fmla="*/ 2413000 w 5521505"/>
              <a:gd name="connsiteY5305" fmla="*/ 493116 h 2146918"/>
              <a:gd name="connsiteX5306" fmla="*/ 2416203 w 5521505"/>
              <a:gd name="connsiteY5306" fmla="*/ 490096 h 2146918"/>
              <a:gd name="connsiteX5307" fmla="*/ 2418967 w 5521505"/>
              <a:gd name="connsiteY5307" fmla="*/ 487112 h 2146918"/>
              <a:gd name="connsiteX5308" fmla="*/ 2420696 w 5521505"/>
              <a:gd name="connsiteY5308" fmla="*/ 485091 h 2146918"/>
              <a:gd name="connsiteX5309" fmla="*/ 2423546 w 5521505"/>
              <a:gd name="connsiteY5309" fmla="*/ 481584 h 2146918"/>
              <a:gd name="connsiteX5310" fmla="*/ 2425129 w 5521505"/>
              <a:gd name="connsiteY5310" fmla="*/ 479611 h 2146918"/>
              <a:gd name="connsiteX5311" fmla="*/ 2426858 w 5521505"/>
              <a:gd name="connsiteY5311" fmla="*/ 477298 h 2146918"/>
              <a:gd name="connsiteX5312" fmla="*/ 2431509 w 5521505"/>
              <a:gd name="connsiteY5312" fmla="*/ 472427 h 2146918"/>
              <a:gd name="connsiteX5313" fmla="*/ 2444502 w 5521505"/>
              <a:gd name="connsiteY5313" fmla="*/ 471210 h 2146918"/>
              <a:gd name="connsiteX5314" fmla="*/ 2451565 w 5521505"/>
              <a:gd name="connsiteY5314" fmla="*/ 473645 h 2146918"/>
              <a:gd name="connsiteX5315" fmla="*/ 2471352 w 5521505"/>
              <a:gd name="connsiteY5315" fmla="*/ 472062 h 2146918"/>
              <a:gd name="connsiteX5316" fmla="*/ 2484588 w 5521505"/>
              <a:gd name="connsiteY5316" fmla="*/ 470248 h 2146918"/>
              <a:gd name="connsiteX5317" fmla="*/ 2492808 w 5521505"/>
              <a:gd name="connsiteY5317" fmla="*/ 469748 h 2146918"/>
              <a:gd name="connsiteX5318" fmla="*/ 2498153 w 5521505"/>
              <a:gd name="connsiteY5318" fmla="*/ 469298 h 2146918"/>
              <a:gd name="connsiteX5319" fmla="*/ 2501526 w 5521505"/>
              <a:gd name="connsiteY5319" fmla="*/ 468896 h 2146918"/>
              <a:gd name="connsiteX5320" fmla="*/ 2503840 w 5521505"/>
              <a:gd name="connsiteY5320" fmla="*/ 468530 h 2146918"/>
              <a:gd name="connsiteX5321" fmla="*/ 2504022 w 5521505"/>
              <a:gd name="connsiteY5321" fmla="*/ 468530 h 2146918"/>
              <a:gd name="connsiteX5322" fmla="*/ 2507006 w 5521505"/>
              <a:gd name="connsiteY5322" fmla="*/ 467934 h 2146918"/>
              <a:gd name="connsiteX5323" fmla="*/ 2509965 w 5521505"/>
              <a:gd name="connsiteY5323" fmla="*/ 467155 h 2146918"/>
              <a:gd name="connsiteX5324" fmla="*/ 2512571 w 5521505"/>
              <a:gd name="connsiteY5324" fmla="*/ 466278 h 2146918"/>
              <a:gd name="connsiteX5325" fmla="*/ 2515189 w 5521505"/>
              <a:gd name="connsiteY5325" fmla="*/ 465170 h 2146918"/>
              <a:gd name="connsiteX5326" fmla="*/ 2518062 w 5521505"/>
              <a:gd name="connsiteY5326" fmla="*/ 463636 h 2146918"/>
              <a:gd name="connsiteX5327" fmla="*/ 2519804 w 5521505"/>
              <a:gd name="connsiteY5327" fmla="*/ 462674 h 2146918"/>
              <a:gd name="connsiteX5328" fmla="*/ 2521849 w 5521505"/>
              <a:gd name="connsiteY5328" fmla="*/ 461699 h 2146918"/>
              <a:gd name="connsiteX5329" fmla="*/ 2527012 w 5521505"/>
              <a:gd name="connsiteY5329" fmla="*/ 459568 h 2146918"/>
              <a:gd name="connsiteX5330" fmla="*/ 2537789 w 5521505"/>
              <a:gd name="connsiteY5330" fmla="*/ 454990 h 2146918"/>
              <a:gd name="connsiteX5331" fmla="*/ 2540650 w 5521505"/>
              <a:gd name="connsiteY5331" fmla="*/ 453553 h 2146918"/>
              <a:gd name="connsiteX5332" fmla="*/ 2542270 w 5521505"/>
              <a:gd name="connsiteY5332" fmla="*/ 452579 h 2146918"/>
              <a:gd name="connsiteX5333" fmla="*/ 2543950 w 5521505"/>
              <a:gd name="connsiteY5333" fmla="*/ 451519 h 2146918"/>
              <a:gd name="connsiteX5334" fmla="*/ 2546288 w 5521505"/>
              <a:gd name="connsiteY5334" fmla="*/ 450217 h 2146918"/>
              <a:gd name="connsiteX5335" fmla="*/ 2548724 w 5521505"/>
              <a:gd name="connsiteY5335" fmla="*/ 448999 h 2146918"/>
              <a:gd name="connsiteX5336" fmla="*/ 2564639 w 5521505"/>
              <a:gd name="connsiteY5336" fmla="*/ 444347 h 2146918"/>
              <a:gd name="connsiteX5337" fmla="*/ 2574551 w 5521505"/>
              <a:gd name="connsiteY5337" fmla="*/ 442655 h 2146918"/>
              <a:gd name="connsiteX5338" fmla="*/ 2587276 w 5521505"/>
              <a:gd name="connsiteY5338" fmla="*/ 440414 h 2146918"/>
              <a:gd name="connsiteX5339" fmla="*/ 2602838 w 5521505"/>
              <a:gd name="connsiteY5339" fmla="*/ 437553 h 2146918"/>
              <a:gd name="connsiteX5340" fmla="*/ 2618887 w 5521505"/>
              <a:gd name="connsiteY5340" fmla="*/ 434521 h 2146918"/>
              <a:gd name="connsiteX5341" fmla="*/ 2643240 w 5521505"/>
              <a:gd name="connsiteY5341" fmla="*/ 433059 h 2146918"/>
              <a:gd name="connsiteX5342" fmla="*/ 2655344 w 5521505"/>
              <a:gd name="connsiteY5342" fmla="*/ 431695 h 2146918"/>
              <a:gd name="connsiteX5343" fmla="*/ 2656659 w 5521505"/>
              <a:gd name="connsiteY5343" fmla="*/ 431221 h 2146918"/>
              <a:gd name="connsiteX5344" fmla="*/ 2658547 w 5521505"/>
              <a:gd name="connsiteY5344" fmla="*/ 430600 h 2146918"/>
              <a:gd name="connsiteX5345" fmla="*/ 2662200 w 5521505"/>
              <a:gd name="connsiteY5345" fmla="*/ 429589 h 2146918"/>
              <a:gd name="connsiteX5346" fmla="*/ 2692398 w 5521505"/>
              <a:gd name="connsiteY5346" fmla="*/ 426435 h 2146918"/>
              <a:gd name="connsiteX5347" fmla="*/ 2720685 w 5521505"/>
              <a:gd name="connsiteY5347" fmla="*/ 422149 h 2146918"/>
              <a:gd name="connsiteX5348" fmla="*/ 2731985 w 5521505"/>
              <a:gd name="connsiteY5348" fmla="*/ 421236 h 2146918"/>
              <a:gd name="connsiteX5349" fmla="*/ 2733142 w 5521505"/>
              <a:gd name="connsiteY5349" fmla="*/ 421650 h 2146918"/>
              <a:gd name="connsiteX5350" fmla="*/ 2749630 w 5521505"/>
              <a:gd name="connsiteY5350" fmla="*/ 422003 h 2146918"/>
              <a:gd name="connsiteX5351" fmla="*/ 2752199 w 5521505"/>
              <a:gd name="connsiteY5351" fmla="*/ 424134 h 2146918"/>
              <a:gd name="connsiteX5352" fmla="*/ 2750348 w 5521505"/>
              <a:gd name="connsiteY5352" fmla="*/ 431184 h 2146918"/>
              <a:gd name="connsiteX5353" fmla="*/ 2747912 w 5521505"/>
              <a:gd name="connsiteY5353" fmla="*/ 433303 h 2146918"/>
              <a:gd name="connsiteX5354" fmla="*/ 2746695 w 5521505"/>
              <a:gd name="connsiteY5354" fmla="*/ 434362 h 2146918"/>
              <a:gd name="connsiteX5355" fmla="*/ 2750445 w 5521505"/>
              <a:gd name="connsiteY5355" fmla="*/ 436591 h 2146918"/>
              <a:gd name="connsiteX5356" fmla="*/ 2753051 w 5521505"/>
              <a:gd name="connsiteY5356" fmla="*/ 444676 h 2146918"/>
              <a:gd name="connsiteX5357" fmla="*/ 2748497 w 5521505"/>
              <a:gd name="connsiteY5357" fmla="*/ 449949 h 2146918"/>
              <a:gd name="connsiteX5358" fmla="*/ 2745696 w 5521505"/>
              <a:gd name="connsiteY5358" fmla="*/ 452165 h 2146918"/>
              <a:gd name="connsiteX5359" fmla="*/ 2742956 w 5521505"/>
              <a:gd name="connsiteY5359" fmla="*/ 454308 h 2146918"/>
              <a:gd name="connsiteX5360" fmla="*/ 2741495 w 5521505"/>
              <a:gd name="connsiteY5360" fmla="*/ 455647 h 2146918"/>
              <a:gd name="connsiteX5361" fmla="*/ 2741215 w 5521505"/>
              <a:gd name="connsiteY5361" fmla="*/ 458448 h 2146918"/>
              <a:gd name="connsiteX5362" fmla="*/ 2742214 w 5521505"/>
              <a:gd name="connsiteY5362" fmla="*/ 459008 h 2146918"/>
              <a:gd name="connsiteX5363" fmla="*/ 2743651 w 5521505"/>
              <a:gd name="connsiteY5363" fmla="*/ 459581 h 2146918"/>
              <a:gd name="connsiteX5364" fmla="*/ 2746001 w 5521505"/>
              <a:gd name="connsiteY5364" fmla="*/ 460323 h 2146918"/>
              <a:gd name="connsiteX5365" fmla="*/ 2749751 w 5521505"/>
              <a:gd name="connsiteY5365" fmla="*/ 461371 h 2146918"/>
              <a:gd name="connsiteX5366" fmla="*/ 2753684 w 5521505"/>
              <a:gd name="connsiteY5366" fmla="*/ 462442 h 2146918"/>
              <a:gd name="connsiteX5367" fmla="*/ 2759237 w 5521505"/>
              <a:gd name="connsiteY5367" fmla="*/ 463940 h 2146918"/>
              <a:gd name="connsiteX5368" fmla="*/ 2763852 w 5521505"/>
              <a:gd name="connsiteY5368" fmla="*/ 465158 h 2146918"/>
              <a:gd name="connsiteX5369" fmla="*/ 2767700 w 5521505"/>
              <a:gd name="connsiteY5369" fmla="*/ 466071 h 2146918"/>
              <a:gd name="connsiteX5370" fmla="*/ 2772351 w 5521505"/>
              <a:gd name="connsiteY5370" fmla="*/ 467045 h 2146918"/>
              <a:gd name="connsiteX5371" fmla="*/ 2775505 w 5521505"/>
              <a:gd name="connsiteY5371" fmla="*/ 467569 h 2146918"/>
              <a:gd name="connsiteX5372" fmla="*/ 2798812 w 5521505"/>
              <a:gd name="connsiteY5372" fmla="*/ 467897 h 2146918"/>
              <a:gd name="connsiteX5373" fmla="*/ 2814240 w 5521505"/>
              <a:gd name="connsiteY5373" fmla="*/ 467642 h 2146918"/>
              <a:gd name="connsiteX5374" fmla="*/ 2832286 w 5521505"/>
              <a:gd name="connsiteY5374" fmla="*/ 469359 h 2146918"/>
              <a:gd name="connsiteX5375" fmla="*/ 2840116 w 5521505"/>
              <a:gd name="connsiteY5375" fmla="*/ 474034 h 2146918"/>
              <a:gd name="connsiteX5376" fmla="*/ 2841138 w 5521505"/>
              <a:gd name="connsiteY5376" fmla="*/ 475605 h 2146918"/>
              <a:gd name="connsiteX5377" fmla="*/ 2841577 w 5521505"/>
              <a:gd name="connsiteY5377" fmla="*/ 476385 h 2146918"/>
              <a:gd name="connsiteX5378" fmla="*/ 2842259 w 5521505"/>
              <a:gd name="connsiteY5378" fmla="*/ 477322 h 2146918"/>
              <a:gd name="connsiteX5379" fmla="*/ 2843099 w 5521505"/>
              <a:gd name="connsiteY5379" fmla="*/ 478223 h 2146918"/>
              <a:gd name="connsiteX5380" fmla="*/ 2855276 w 5521505"/>
              <a:gd name="connsiteY5380" fmla="*/ 481876 h 2146918"/>
              <a:gd name="connsiteX5381" fmla="*/ 2858758 w 5521505"/>
              <a:gd name="connsiteY5381" fmla="*/ 481876 h 2146918"/>
              <a:gd name="connsiteX5382" fmla="*/ 2874162 w 5521505"/>
              <a:gd name="connsiteY5382" fmla="*/ 482510 h 2146918"/>
              <a:gd name="connsiteX5383" fmla="*/ 2877596 w 5521505"/>
              <a:gd name="connsiteY5383" fmla="*/ 482960 h 2146918"/>
              <a:gd name="connsiteX5384" fmla="*/ 2880713 w 5521505"/>
              <a:gd name="connsiteY5384" fmla="*/ 483471 h 2146918"/>
              <a:gd name="connsiteX5385" fmla="*/ 2883684 w 5521505"/>
              <a:gd name="connsiteY5385" fmla="*/ 484068 h 2146918"/>
              <a:gd name="connsiteX5386" fmla="*/ 2888994 w 5521505"/>
              <a:gd name="connsiteY5386" fmla="*/ 485395 h 2146918"/>
              <a:gd name="connsiteX5387" fmla="*/ 2891965 w 5521505"/>
              <a:gd name="connsiteY5387" fmla="*/ 486297 h 2146918"/>
              <a:gd name="connsiteX5388" fmla="*/ 2894631 w 5521505"/>
              <a:gd name="connsiteY5388" fmla="*/ 487222 h 2146918"/>
              <a:gd name="connsiteX5389" fmla="*/ 2896287 w 5521505"/>
              <a:gd name="connsiteY5389" fmla="*/ 487855 h 2146918"/>
              <a:gd name="connsiteX5390" fmla="*/ 2898723 w 5521505"/>
              <a:gd name="connsiteY5390" fmla="*/ 488659 h 2146918"/>
              <a:gd name="connsiteX5391" fmla="*/ 2901621 w 5521505"/>
              <a:gd name="connsiteY5391" fmla="*/ 489341 h 2146918"/>
              <a:gd name="connsiteX5392" fmla="*/ 2914614 w 5521505"/>
              <a:gd name="connsiteY5392" fmla="*/ 490132 h 2146918"/>
              <a:gd name="connsiteX5393" fmla="*/ 2924793 w 5521505"/>
              <a:gd name="connsiteY5393" fmla="*/ 486223 h 2146918"/>
              <a:gd name="connsiteX5394" fmla="*/ 2924111 w 5521505"/>
              <a:gd name="connsiteY5394" fmla="*/ 479818 h 2146918"/>
              <a:gd name="connsiteX5395" fmla="*/ 2923612 w 5521505"/>
              <a:gd name="connsiteY5395" fmla="*/ 479039 h 2146918"/>
              <a:gd name="connsiteX5396" fmla="*/ 2923125 w 5521505"/>
              <a:gd name="connsiteY5396" fmla="*/ 478260 h 2146918"/>
              <a:gd name="connsiteX5397" fmla="*/ 2922845 w 5521505"/>
              <a:gd name="connsiteY5397" fmla="*/ 477761 h 2146918"/>
              <a:gd name="connsiteX5398" fmla="*/ 2922662 w 5521505"/>
              <a:gd name="connsiteY5398" fmla="*/ 477432 h 2146918"/>
              <a:gd name="connsiteX5399" fmla="*/ 2922662 w 5521505"/>
              <a:gd name="connsiteY5399" fmla="*/ 477359 h 2146918"/>
              <a:gd name="connsiteX5400" fmla="*/ 2922321 w 5521505"/>
              <a:gd name="connsiteY5400" fmla="*/ 476555 h 2146918"/>
              <a:gd name="connsiteX5401" fmla="*/ 2922723 w 5521505"/>
              <a:gd name="connsiteY5401" fmla="*/ 474436 h 2146918"/>
              <a:gd name="connsiteX5402" fmla="*/ 2923868 w 5521505"/>
              <a:gd name="connsiteY5402" fmla="*/ 473450 h 2146918"/>
              <a:gd name="connsiteX5403" fmla="*/ 2925329 w 5521505"/>
              <a:gd name="connsiteY5403" fmla="*/ 472232 h 2146918"/>
              <a:gd name="connsiteX5404" fmla="*/ 2926693 w 5521505"/>
              <a:gd name="connsiteY5404" fmla="*/ 471149 h 2146918"/>
              <a:gd name="connsiteX5405" fmla="*/ 2928495 w 5521505"/>
              <a:gd name="connsiteY5405" fmla="*/ 469882 h 2146918"/>
              <a:gd name="connsiteX5406" fmla="*/ 2930310 w 5521505"/>
              <a:gd name="connsiteY5406" fmla="*/ 468664 h 2146918"/>
              <a:gd name="connsiteX5407" fmla="*/ 2937129 w 5521505"/>
              <a:gd name="connsiteY5407" fmla="*/ 465888 h 2146918"/>
              <a:gd name="connsiteX5408" fmla="*/ 2938151 w 5521505"/>
              <a:gd name="connsiteY5408" fmla="*/ 465681 h 2146918"/>
              <a:gd name="connsiteX5409" fmla="*/ 2942218 w 5521505"/>
              <a:gd name="connsiteY5409" fmla="*/ 464877 h 2146918"/>
              <a:gd name="connsiteX5410" fmla="*/ 2948879 w 5521505"/>
              <a:gd name="connsiteY5410" fmla="*/ 463660 h 2146918"/>
              <a:gd name="connsiteX5411" fmla="*/ 2970031 w 5521505"/>
              <a:gd name="connsiteY5411" fmla="*/ 462138 h 2146918"/>
              <a:gd name="connsiteX5412" fmla="*/ 2979869 w 5521505"/>
              <a:gd name="connsiteY5412" fmla="*/ 463891 h 2146918"/>
              <a:gd name="connsiteX5413" fmla="*/ 2980235 w 5521505"/>
              <a:gd name="connsiteY5413" fmla="*/ 463988 h 2146918"/>
              <a:gd name="connsiteX5414" fmla="*/ 2980892 w 5521505"/>
              <a:gd name="connsiteY5414" fmla="*/ 464171 h 2146918"/>
              <a:gd name="connsiteX5415" fmla="*/ 2981416 w 5521505"/>
              <a:gd name="connsiteY5415" fmla="*/ 464281 h 2146918"/>
              <a:gd name="connsiteX5416" fmla="*/ 2982134 w 5521505"/>
              <a:gd name="connsiteY5416" fmla="*/ 464378 h 2146918"/>
              <a:gd name="connsiteX5417" fmla="*/ 2984436 w 5521505"/>
              <a:gd name="connsiteY5417" fmla="*/ 464805 h 2146918"/>
              <a:gd name="connsiteX5418" fmla="*/ 2984777 w 5521505"/>
              <a:gd name="connsiteY5418" fmla="*/ 464987 h 2146918"/>
              <a:gd name="connsiteX5419" fmla="*/ 2985410 w 5521505"/>
              <a:gd name="connsiteY5419" fmla="*/ 465328 h 2146918"/>
              <a:gd name="connsiteX5420" fmla="*/ 2986421 w 5521505"/>
              <a:gd name="connsiteY5420" fmla="*/ 465839 h 2146918"/>
              <a:gd name="connsiteX5421" fmla="*/ 2987638 w 5521505"/>
              <a:gd name="connsiteY5421" fmla="*/ 466412 h 2146918"/>
              <a:gd name="connsiteX5422" fmla="*/ 2989538 w 5521505"/>
              <a:gd name="connsiteY5422" fmla="*/ 467179 h 2146918"/>
              <a:gd name="connsiteX5423" fmla="*/ 2991364 w 5521505"/>
              <a:gd name="connsiteY5423" fmla="*/ 467824 h 2146918"/>
              <a:gd name="connsiteX5424" fmla="*/ 2993410 w 5521505"/>
              <a:gd name="connsiteY5424" fmla="*/ 468458 h 2146918"/>
              <a:gd name="connsiteX5425" fmla="*/ 2995845 w 5521505"/>
              <a:gd name="connsiteY5425" fmla="*/ 469115 h 2146918"/>
              <a:gd name="connsiteX5426" fmla="*/ 2998792 w 5521505"/>
              <a:gd name="connsiteY5426" fmla="*/ 469797 h 2146918"/>
              <a:gd name="connsiteX5427" fmla="*/ 3001836 w 5521505"/>
              <a:gd name="connsiteY5427" fmla="*/ 470418 h 2146918"/>
              <a:gd name="connsiteX5428" fmla="*/ 3005343 w 5521505"/>
              <a:gd name="connsiteY5428" fmla="*/ 471039 h 2146918"/>
              <a:gd name="connsiteX5429" fmla="*/ 3008570 w 5521505"/>
              <a:gd name="connsiteY5429" fmla="*/ 471562 h 2146918"/>
              <a:gd name="connsiteX5430" fmla="*/ 3010847 w 5521505"/>
              <a:gd name="connsiteY5430" fmla="*/ 471916 h 2146918"/>
              <a:gd name="connsiteX5431" fmla="*/ 3015718 w 5521505"/>
              <a:gd name="connsiteY5431" fmla="*/ 472683 h 2146918"/>
              <a:gd name="connsiteX5432" fmla="*/ 3018226 w 5521505"/>
              <a:gd name="connsiteY5432" fmla="*/ 473109 h 2146918"/>
              <a:gd name="connsiteX5433" fmla="*/ 3021429 w 5521505"/>
              <a:gd name="connsiteY5433" fmla="*/ 473706 h 2146918"/>
              <a:gd name="connsiteX5434" fmla="*/ 3024790 w 5521505"/>
              <a:gd name="connsiteY5434" fmla="*/ 474412 h 2146918"/>
              <a:gd name="connsiteX5435" fmla="*/ 3028102 w 5521505"/>
              <a:gd name="connsiteY5435" fmla="*/ 475252 h 2146918"/>
              <a:gd name="connsiteX5436" fmla="*/ 3034287 w 5521505"/>
              <a:gd name="connsiteY5436" fmla="*/ 476628 h 2146918"/>
              <a:gd name="connsiteX5437" fmla="*/ 3038537 w 5521505"/>
              <a:gd name="connsiteY5437" fmla="*/ 477249 h 2146918"/>
              <a:gd name="connsiteX5438" fmla="*/ 3043079 w 5521505"/>
              <a:gd name="connsiteY5438" fmla="*/ 477748 h 2146918"/>
              <a:gd name="connsiteX5439" fmla="*/ 3050556 w 5521505"/>
              <a:gd name="connsiteY5439" fmla="*/ 478406 h 2146918"/>
              <a:gd name="connsiteX5440" fmla="*/ 3055853 w 5521505"/>
              <a:gd name="connsiteY5440" fmla="*/ 478881 h 2146918"/>
              <a:gd name="connsiteX5441" fmla="*/ 3060212 w 5521505"/>
              <a:gd name="connsiteY5441" fmla="*/ 479356 h 2146918"/>
              <a:gd name="connsiteX5442" fmla="*/ 3060456 w 5521505"/>
              <a:gd name="connsiteY5442" fmla="*/ 479356 h 2146918"/>
              <a:gd name="connsiteX5443" fmla="*/ 3067762 w 5521505"/>
              <a:gd name="connsiteY5443" fmla="*/ 480391 h 2146918"/>
              <a:gd name="connsiteX5444" fmla="*/ 3094429 w 5521505"/>
              <a:gd name="connsiteY5444" fmla="*/ 484908 h 2146918"/>
              <a:gd name="connsiteX5445" fmla="*/ 3107921 w 5521505"/>
              <a:gd name="connsiteY5445" fmla="*/ 485274 h 2146918"/>
              <a:gd name="connsiteX5446" fmla="*/ 3111574 w 5521505"/>
              <a:gd name="connsiteY5446" fmla="*/ 484178 h 2146918"/>
              <a:gd name="connsiteX5447" fmla="*/ 3115617 w 5521505"/>
              <a:gd name="connsiteY5447" fmla="*/ 482814 h 2146918"/>
              <a:gd name="connsiteX5448" fmla="*/ 3118259 w 5521505"/>
              <a:gd name="connsiteY5448" fmla="*/ 482059 h 2146918"/>
              <a:gd name="connsiteX5449" fmla="*/ 3136037 w 5521505"/>
              <a:gd name="connsiteY5449" fmla="*/ 479928 h 2146918"/>
              <a:gd name="connsiteX5450" fmla="*/ 3158711 w 5521505"/>
              <a:gd name="connsiteY5450" fmla="*/ 484372 h 2146918"/>
              <a:gd name="connsiteX5451" fmla="*/ 3170547 w 5521505"/>
              <a:gd name="connsiteY5451" fmla="*/ 487052 h 2146918"/>
              <a:gd name="connsiteX5452" fmla="*/ 3193463 w 5521505"/>
              <a:gd name="connsiteY5452" fmla="*/ 486759 h 2146918"/>
              <a:gd name="connsiteX5453" fmla="*/ 3201817 w 5521505"/>
              <a:gd name="connsiteY5453" fmla="*/ 482522 h 2146918"/>
              <a:gd name="connsiteX5454" fmla="*/ 3202608 w 5521505"/>
              <a:gd name="connsiteY5454" fmla="*/ 481694 h 2146918"/>
              <a:gd name="connsiteX5455" fmla="*/ 3203655 w 5521505"/>
              <a:gd name="connsiteY5455" fmla="*/ 480367 h 2146918"/>
              <a:gd name="connsiteX5456" fmla="*/ 3205457 w 5521505"/>
              <a:gd name="connsiteY5456" fmla="*/ 477602 h 2146918"/>
              <a:gd name="connsiteX5457" fmla="*/ 3207430 w 5521505"/>
              <a:gd name="connsiteY5457" fmla="*/ 474156 h 2146918"/>
              <a:gd name="connsiteX5458" fmla="*/ 3209123 w 5521505"/>
              <a:gd name="connsiteY5458" fmla="*/ 470966 h 2146918"/>
              <a:gd name="connsiteX5459" fmla="*/ 3211071 w 5521505"/>
              <a:gd name="connsiteY5459" fmla="*/ 467313 h 2146918"/>
              <a:gd name="connsiteX5460" fmla="*/ 3215552 w 5521505"/>
              <a:gd name="connsiteY5460" fmla="*/ 460482 h 2146918"/>
              <a:gd name="connsiteX5461" fmla="*/ 3220776 w 5521505"/>
              <a:gd name="connsiteY5461" fmla="*/ 455112 h 2146918"/>
              <a:gd name="connsiteX5462" fmla="*/ 3222615 w 5521505"/>
              <a:gd name="connsiteY5462" fmla="*/ 452676 h 2146918"/>
              <a:gd name="connsiteX5463" fmla="*/ 3222700 w 5521505"/>
              <a:gd name="connsiteY5463" fmla="*/ 451459 h 2146918"/>
              <a:gd name="connsiteX5464" fmla="*/ 3223199 w 5521505"/>
              <a:gd name="connsiteY5464" fmla="*/ 443994 h 2146918"/>
              <a:gd name="connsiteX5465" fmla="*/ 3223747 w 5521505"/>
              <a:gd name="connsiteY5465" fmla="*/ 435166 h 2146918"/>
              <a:gd name="connsiteX5466" fmla="*/ 3224149 w 5521505"/>
              <a:gd name="connsiteY5466" fmla="*/ 428639 h 2146918"/>
              <a:gd name="connsiteX5467" fmla="*/ 3222310 w 5521505"/>
              <a:gd name="connsiteY5467" fmla="*/ 428639 h 2146918"/>
              <a:gd name="connsiteX5468" fmla="*/ 3220496 w 5521505"/>
              <a:gd name="connsiteY5468" fmla="*/ 428639 h 2146918"/>
              <a:gd name="connsiteX5469" fmla="*/ 3216137 w 5521505"/>
              <a:gd name="connsiteY5469" fmla="*/ 428639 h 2146918"/>
              <a:gd name="connsiteX5470" fmla="*/ 3209573 w 5521505"/>
              <a:gd name="connsiteY5470" fmla="*/ 428055 h 2146918"/>
              <a:gd name="connsiteX5471" fmla="*/ 3207856 w 5521505"/>
              <a:gd name="connsiteY5471" fmla="*/ 427629 h 2146918"/>
              <a:gd name="connsiteX5472" fmla="*/ 3198115 w 5521505"/>
              <a:gd name="connsiteY5472" fmla="*/ 426995 h 2146918"/>
              <a:gd name="connsiteX5473" fmla="*/ 3189445 w 5521505"/>
              <a:gd name="connsiteY5473" fmla="*/ 428822 h 2146918"/>
              <a:gd name="connsiteX5474" fmla="*/ 3187728 w 5521505"/>
              <a:gd name="connsiteY5474" fmla="*/ 429333 h 2146918"/>
              <a:gd name="connsiteX5475" fmla="*/ 3184940 w 5521505"/>
              <a:gd name="connsiteY5475" fmla="*/ 430137 h 2146918"/>
              <a:gd name="connsiteX5476" fmla="*/ 3179387 w 5521505"/>
              <a:gd name="connsiteY5476" fmla="*/ 431355 h 2146918"/>
              <a:gd name="connsiteX5477" fmla="*/ 3177122 w 5521505"/>
              <a:gd name="connsiteY5477" fmla="*/ 431683 h 2146918"/>
              <a:gd name="connsiteX5478" fmla="*/ 3154668 w 5521505"/>
              <a:gd name="connsiteY5478" fmla="*/ 427470 h 2146918"/>
              <a:gd name="connsiteX5479" fmla="*/ 3151624 w 5521505"/>
              <a:gd name="connsiteY5479" fmla="*/ 426252 h 2146918"/>
              <a:gd name="connsiteX5480" fmla="*/ 3149103 w 5521505"/>
              <a:gd name="connsiteY5480" fmla="*/ 425279 h 2146918"/>
              <a:gd name="connsiteX5481" fmla="*/ 3133103 w 5521505"/>
              <a:gd name="connsiteY5481" fmla="*/ 421942 h 2146918"/>
              <a:gd name="connsiteX5482" fmla="*/ 3130436 w 5521505"/>
              <a:gd name="connsiteY5482" fmla="*/ 421735 h 2146918"/>
              <a:gd name="connsiteX5483" fmla="*/ 3126503 w 5521505"/>
              <a:gd name="connsiteY5483" fmla="*/ 421479 h 2146918"/>
              <a:gd name="connsiteX5484" fmla="*/ 3125005 w 5521505"/>
              <a:gd name="connsiteY5484" fmla="*/ 422246 h 2146918"/>
              <a:gd name="connsiteX5485" fmla="*/ 3122716 w 5521505"/>
              <a:gd name="connsiteY5485" fmla="*/ 423464 h 2146918"/>
              <a:gd name="connsiteX5486" fmla="*/ 3121425 w 5521505"/>
              <a:gd name="connsiteY5486" fmla="*/ 424085 h 2146918"/>
              <a:gd name="connsiteX5487" fmla="*/ 3119818 w 5521505"/>
              <a:gd name="connsiteY5487" fmla="*/ 424730 h 2146918"/>
              <a:gd name="connsiteX5488" fmla="*/ 3118089 w 5521505"/>
              <a:gd name="connsiteY5488" fmla="*/ 425303 h 2146918"/>
              <a:gd name="connsiteX5489" fmla="*/ 3116725 w 5521505"/>
              <a:gd name="connsiteY5489" fmla="*/ 425680 h 2146918"/>
              <a:gd name="connsiteX5490" fmla="*/ 3106460 w 5521505"/>
              <a:gd name="connsiteY5490" fmla="*/ 426009 h 2146918"/>
              <a:gd name="connsiteX5491" fmla="*/ 3105400 w 5521505"/>
              <a:gd name="connsiteY5491" fmla="*/ 425765 h 2146918"/>
              <a:gd name="connsiteX5492" fmla="*/ 3104256 w 5521505"/>
              <a:gd name="connsiteY5492" fmla="*/ 425437 h 2146918"/>
              <a:gd name="connsiteX5493" fmla="*/ 3103343 w 5521505"/>
              <a:gd name="connsiteY5493" fmla="*/ 425132 h 2146918"/>
              <a:gd name="connsiteX5494" fmla="*/ 3102417 w 5521505"/>
              <a:gd name="connsiteY5494" fmla="*/ 424852 h 2146918"/>
              <a:gd name="connsiteX5495" fmla="*/ 3101760 w 5521505"/>
              <a:gd name="connsiteY5495" fmla="*/ 424670 h 2146918"/>
              <a:gd name="connsiteX5496" fmla="*/ 3101224 w 5521505"/>
              <a:gd name="connsiteY5496" fmla="*/ 424548 h 2146918"/>
              <a:gd name="connsiteX5497" fmla="*/ 3100274 w 5521505"/>
              <a:gd name="connsiteY5497" fmla="*/ 424329 h 2146918"/>
              <a:gd name="connsiteX5498" fmla="*/ 3099470 w 5521505"/>
              <a:gd name="connsiteY5498" fmla="*/ 424158 h 2146918"/>
              <a:gd name="connsiteX5499" fmla="*/ 3099008 w 5521505"/>
              <a:gd name="connsiteY5499" fmla="*/ 424049 h 2146918"/>
              <a:gd name="connsiteX5500" fmla="*/ 3098228 w 5521505"/>
              <a:gd name="connsiteY5500" fmla="*/ 423878 h 2146918"/>
              <a:gd name="connsiteX5501" fmla="*/ 3097400 w 5521505"/>
              <a:gd name="connsiteY5501" fmla="*/ 423671 h 2146918"/>
              <a:gd name="connsiteX5502" fmla="*/ 3096816 w 5521505"/>
              <a:gd name="connsiteY5502" fmla="*/ 423513 h 2146918"/>
              <a:gd name="connsiteX5503" fmla="*/ 3096256 w 5521505"/>
              <a:gd name="connsiteY5503" fmla="*/ 423342 h 2146918"/>
              <a:gd name="connsiteX5504" fmla="*/ 3095817 w 5521505"/>
              <a:gd name="connsiteY5504" fmla="*/ 423184 h 2146918"/>
              <a:gd name="connsiteX5505" fmla="*/ 3095391 w 5521505"/>
              <a:gd name="connsiteY5505" fmla="*/ 423026 h 2146918"/>
              <a:gd name="connsiteX5506" fmla="*/ 3093613 w 5521505"/>
              <a:gd name="connsiteY5506" fmla="*/ 422332 h 2146918"/>
              <a:gd name="connsiteX5507" fmla="*/ 3087245 w 5521505"/>
              <a:gd name="connsiteY5507" fmla="*/ 420347 h 2146918"/>
              <a:gd name="connsiteX5508" fmla="*/ 3075908 w 5521505"/>
              <a:gd name="connsiteY5508" fmla="*/ 418934 h 2146918"/>
              <a:gd name="connsiteX5509" fmla="*/ 3068809 w 5521505"/>
              <a:gd name="connsiteY5509" fmla="*/ 419421 h 2146918"/>
              <a:gd name="connsiteX5510" fmla="*/ 3067591 w 5521505"/>
              <a:gd name="connsiteY5510" fmla="*/ 419495 h 2146918"/>
              <a:gd name="connsiteX5511" fmla="*/ 3062051 w 5521505"/>
              <a:gd name="connsiteY5511" fmla="*/ 418398 h 2146918"/>
              <a:gd name="connsiteX5512" fmla="*/ 3060249 w 5521505"/>
              <a:gd name="connsiteY5512" fmla="*/ 417327 h 2146918"/>
              <a:gd name="connsiteX5513" fmla="*/ 3056717 w 5521505"/>
              <a:gd name="connsiteY5513" fmla="*/ 412188 h 2146918"/>
              <a:gd name="connsiteX5514" fmla="*/ 3041289 w 5521505"/>
              <a:gd name="connsiteY5514" fmla="*/ 403859 h 2146918"/>
              <a:gd name="connsiteX5515" fmla="*/ 3039877 w 5521505"/>
              <a:gd name="connsiteY5515" fmla="*/ 403531 h 2146918"/>
              <a:gd name="connsiteX5516" fmla="*/ 3038659 w 5521505"/>
              <a:gd name="connsiteY5516" fmla="*/ 403263 h 2146918"/>
              <a:gd name="connsiteX5517" fmla="*/ 3040412 w 5521505"/>
              <a:gd name="connsiteY5517" fmla="*/ 401984 h 2146918"/>
              <a:gd name="connsiteX5518" fmla="*/ 3041691 w 5521505"/>
              <a:gd name="connsiteY5518" fmla="*/ 401046 h 2146918"/>
              <a:gd name="connsiteX5519" fmla="*/ 3043347 w 5521505"/>
              <a:gd name="connsiteY5519" fmla="*/ 399829 h 2146918"/>
              <a:gd name="connsiteX5520" fmla="*/ 3047171 w 5521505"/>
              <a:gd name="connsiteY5520" fmla="*/ 397052 h 2146918"/>
              <a:gd name="connsiteX5521" fmla="*/ 3045101 w 5521505"/>
              <a:gd name="connsiteY5521" fmla="*/ 395080 h 2146918"/>
              <a:gd name="connsiteX5522" fmla="*/ 3043639 w 5521505"/>
              <a:gd name="connsiteY5522" fmla="*/ 393740 h 2146918"/>
              <a:gd name="connsiteX5523" fmla="*/ 3042531 w 5521505"/>
              <a:gd name="connsiteY5523" fmla="*/ 392730 h 2146918"/>
              <a:gd name="connsiteX5524" fmla="*/ 3041241 w 5521505"/>
              <a:gd name="connsiteY5524" fmla="*/ 391512 h 2146918"/>
              <a:gd name="connsiteX5525" fmla="*/ 3039219 w 5521505"/>
              <a:gd name="connsiteY5525" fmla="*/ 389527 h 2146918"/>
              <a:gd name="connsiteX5526" fmla="*/ 3037831 w 5521505"/>
              <a:gd name="connsiteY5526" fmla="*/ 387968 h 2146918"/>
              <a:gd name="connsiteX5527" fmla="*/ 3037052 w 5521505"/>
              <a:gd name="connsiteY5527" fmla="*/ 386970 h 2146918"/>
              <a:gd name="connsiteX5528" fmla="*/ 3036272 w 5521505"/>
              <a:gd name="connsiteY5528" fmla="*/ 385825 h 2146918"/>
              <a:gd name="connsiteX5529" fmla="*/ 3036090 w 5521505"/>
              <a:gd name="connsiteY5529" fmla="*/ 382172 h 2146918"/>
              <a:gd name="connsiteX5530" fmla="*/ 3036479 w 5521505"/>
              <a:gd name="connsiteY5530" fmla="*/ 381308 h 2146918"/>
              <a:gd name="connsiteX5531" fmla="*/ 3037247 w 5521505"/>
              <a:gd name="connsiteY5531" fmla="*/ 379822 h 2146918"/>
              <a:gd name="connsiteX5532" fmla="*/ 3037916 w 5521505"/>
              <a:gd name="connsiteY5532" fmla="*/ 378605 h 2146918"/>
              <a:gd name="connsiteX5533" fmla="*/ 3038282 w 5521505"/>
              <a:gd name="connsiteY5533" fmla="*/ 377874 h 2146918"/>
              <a:gd name="connsiteX5534" fmla="*/ 3038915 w 5521505"/>
              <a:gd name="connsiteY5534" fmla="*/ 376376 h 2146918"/>
              <a:gd name="connsiteX5535" fmla="*/ 3037356 w 5521505"/>
              <a:gd name="connsiteY5535" fmla="*/ 376181 h 2146918"/>
              <a:gd name="connsiteX5536" fmla="*/ 3031085 w 5521505"/>
              <a:gd name="connsiteY5536" fmla="*/ 375390 h 2146918"/>
              <a:gd name="connsiteX5537" fmla="*/ 3027054 w 5521505"/>
              <a:gd name="connsiteY5537" fmla="*/ 374891 h 2146918"/>
              <a:gd name="connsiteX5538" fmla="*/ 3018677 w 5521505"/>
              <a:gd name="connsiteY5538" fmla="*/ 373868 h 2146918"/>
              <a:gd name="connsiteX5539" fmla="*/ 3013039 w 5521505"/>
              <a:gd name="connsiteY5539" fmla="*/ 373210 h 2146918"/>
              <a:gd name="connsiteX5540" fmla="*/ 3008899 w 5521505"/>
              <a:gd name="connsiteY5540" fmla="*/ 372747 h 2146918"/>
              <a:gd name="connsiteX5541" fmla="*/ 3006184 w 5521505"/>
              <a:gd name="connsiteY5541" fmla="*/ 372455 h 2146918"/>
              <a:gd name="connsiteX5542" fmla="*/ 3004284 w 5521505"/>
              <a:gd name="connsiteY5542" fmla="*/ 372455 h 2146918"/>
              <a:gd name="connsiteX5543" fmla="*/ 3003066 w 5521505"/>
              <a:gd name="connsiteY5543" fmla="*/ 372686 h 2146918"/>
              <a:gd name="connsiteX5544" fmla="*/ 3000363 w 5521505"/>
              <a:gd name="connsiteY5544" fmla="*/ 373454 h 2146918"/>
              <a:gd name="connsiteX5545" fmla="*/ 2995590 w 5521505"/>
              <a:gd name="connsiteY5545" fmla="*/ 375000 h 2146918"/>
              <a:gd name="connsiteX5546" fmla="*/ 2991425 w 5521505"/>
              <a:gd name="connsiteY5546" fmla="*/ 376376 h 2146918"/>
              <a:gd name="connsiteX5547" fmla="*/ 2981684 w 5521505"/>
              <a:gd name="connsiteY5547" fmla="*/ 379676 h 2146918"/>
              <a:gd name="connsiteX5548" fmla="*/ 2983376 w 5521505"/>
              <a:gd name="connsiteY5548" fmla="*/ 381990 h 2146918"/>
              <a:gd name="connsiteX5549" fmla="*/ 2984874 w 5521505"/>
              <a:gd name="connsiteY5549" fmla="*/ 384084 h 2146918"/>
              <a:gd name="connsiteX5550" fmla="*/ 2987017 w 5521505"/>
              <a:gd name="connsiteY5550" fmla="*/ 386520 h 2146918"/>
              <a:gd name="connsiteX5551" fmla="*/ 2987175 w 5521505"/>
              <a:gd name="connsiteY5551" fmla="*/ 386714 h 2146918"/>
              <a:gd name="connsiteX5552" fmla="*/ 2987541 w 5521505"/>
              <a:gd name="connsiteY5552" fmla="*/ 388821 h 2146918"/>
              <a:gd name="connsiteX5553" fmla="*/ 2986981 w 5521505"/>
              <a:gd name="connsiteY5553" fmla="*/ 389819 h 2146918"/>
              <a:gd name="connsiteX5554" fmla="*/ 2991316 w 5521505"/>
              <a:gd name="connsiteY5554" fmla="*/ 394593 h 2146918"/>
              <a:gd name="connsiteX5555" fmla="*/ 2992752 w 5521505"/>
              <a:gd name="connsiteY5555" fmla="*/ 395689 h 2146918"/>
              <a:gd name="connsiteX5556" fmla="*/ 2995736 w 5521505"/>
              <a:gd name="connsiteY5556" fmla="*/ 399062 h 2146918"/>
              <a:gd name="connsiteX5557" fmla="*/ 2992728 w 5521505"/>
              <a:gd name="connsiteY5557" fmla="*/ 405832 h 2146918"/>
              <a:gd name="connsiteX5558" fmla="*/ 2978554 w 5521505"/>
              <a:gd name="connsiteY5558" fmla="*/ 405357 h 2146918"/>
              <a:gd name="connsiteX5559" fmla="*/ 2981428 w 5521505"/>
              <a:gd name="connsiteY5559" fmla="*/ 410885 h 2146918"/>
              <a:gd name="connsiteX5560" fmla="*/ 2983863 w 5521505"/>
              <a:gd name="connsiteY5560" fmla="*/ 415391 h 2146918"/>
              <a:gd name="connsiteX5561" fmla="*/ 2981769 w 5521505"/>
              <a:gd name="connsiteY5561" fmla="*/ 420809 h 2146918"/>
              <a:gd name="connsiteX5562" fmla="*/ 2974767 w 5521505"/>
              <a:gd name="connsiteY5562" fmla="*/ 420444 h 2146918"/>
              <a:gd name="connsiteX5563" fmla="*/ 2965123 w 5521505"/>
              <a:gd name="connsiteY5563" fmla="*/ 419981 h 2146918"/>
              <a:gd name="connsiteX5564" fmla="*/ 2958097 w 5521505"/>
              <a:gd name="connsiteY5564" fmla="*/ 419446 h 2146918"/>
              <a:gd name="connsiteX5565" fmla="*/ 2950791 w 5521505"/>
              <a:gd name="connsiteY5565" fmla="*/ 414964 h 2146918"/>
              <a:gd name="connsiteX5566" fmla="*/ 2950572 w 5521505"/>
              <a:gd name="connsiteY5566" fmla="*/ 414331 h 2146918"/>
              <a:gd name="connsiteX5567" fmla="*/ 2950316 w 5521505"/>
              <a:gd name="connsiteY5567" fmla="*/ 413601 h 2146918"/>
              <a:gd name="connsiteX5568" fmla="*/ 2949622 w 5521505"/>
              <a:gd name="connsiteY5568" fmla="*/ 412067 h 2146918"/>
              <a:gd name="connsiteX5569" fmla="*/ 2948697 w 5521505"/>
              <a:gd name="connsiteY5569" fmla="*/ 410459 h 2146918"/>
              <a:gd name="connsiteX5570" fmla="*/ 2947966 w 5521505"/>
              <a:gd name="connsiteY5570" fmla="*/ 409375 h 2146918"/>
              <a:gd name="connsiteX5571" fmla="*/ 2942097 w 5521505"/>
              <a:gd name="connsiteY5571" fmla="*/ 403604 h 2146918"/>
              <a:gd name="connsiteX5572" fmla="*/ 2940502 w 5521505"/>
              <a:gd name="connsiteY5572" fmla="*/ 402386 h 2146918"/>
              <a:gd name="connsiteX5573" fmla="*/ 2939418 w 5521505"/>
              <a:gd name="connsiteY5573" fmla="*/ 401655 h 2146918"/>
              <a:gd name="connsiteX5574" fmla="*/ 2937129 w 5521505"/>
              <a:gd name="connsiteY5574" fmla="*/ 400231 h 2146918"/>
              <a:gd name="connsiteX5575" fmla="*/ 2935838 w 5521505"/>
              <a:gd name="connsiteY5575" fmla="*/ 399488 h 2146918"/>
              <a:gd name="connsiteX5576" fmla="*/ 2934766 w 5521505"/>
              <a:gd name="connsiteY5576" fmla="*/ 398903 h 2146918"/>
              <a:gd name="connsiteX5577" fmla="*/ 2933938 w 5521505"/>
              <a:gd name="connsiteY5577" fmla="*/ 398453 h 2146918"/>
              <a:gd name="connsiteX5578" fmla="*/ 2932867 w 5521505"/>
              <a:gd name="connsiteY5578" fmla="*/ 397905 h 2146918"/>
              <a:gd name="connsiteX5579" fmla="*/ 2931478 w 5521505"/>
              <a:gd name="connsiteY5579" fmla="*/ 397138 h 2146918"/>
              <a:gd name="connsiteX5580" fmla="*/ 2930358 w 5521505"/>
              <a:gd name="connsiteY5580" fmla="*/ 396444 h 2146918"/>
              <a:gd name="connsiteX5581" fmla="*/ 2928946 w 5521505"/>
              <a:gd name="connsiteY5581" fmla="*/ 395494 h 2146918"/>
              <a:gd name="connsiteX5582" fmla="*/ 2928020 w 5521505"/>
              <a:gd name="connsiteY5582" fmla="*/ 394836 h 2146918"/>
              <a:gd name="connsiteX5583" fmla="*/ 2926961 w 5521505"/>
              <a:gd name="connsiteY5583" fmla="*/ 394033 h 2146918"/>
              <a:gd name="connsiteX5584" fmla="*/ 2925829 w 5521505"/>
              <a:gd name="connsiteY5584" fmla="*/ 393131 h 2146918"/>
              <a:gd name="connsiteX5585" fmla="*/ 2924367 w 5521505"/>
              <a:gd name="connsiteY5585" fmla="*/ 391914 h 2146918"/>
              <a:gd name="connsiteX5586" fmla="*/ 2923320 w 5521505"/>
              <a:gd name="connsiteY5586" fmla="*/ 390988 h 2146918"/>
              <a:gd name="connsiteX5587" fmla="*/ 2921579 w 5521505"/>
              <a:gd name="connsiteY5587" fmla="*/ 389466 h 2146918"/>
              <a:gd name="connsiteX5588" fmla="*/ 2919825 w 5521505"/>
              <a:gd name="connsiteY5588" fmla="*/ 387968 h 2146918"/>
              <a:gd name="connsiteX5589" fmla="*/ 2915478 w 5521505"/>
              <a:gd name="connsiteY5589" fmla="*/ 384315 h 2146918"/>
              <a:gd name="connsiteX5590" fmla="*/ 2914334 w 5521505"/>
              <a:gd name="connsiteY5590" fmla="*/ 383414 h 2146918"/>
              <a:gd name="connsiteX5591" fmla="*/ 2913761 w 5521505"/>
              <a:gd name="connsiteY5591" fmla="*/ 383037 h 2146918"/>
              <a:gd name="connsiteX5592" fmla="*/ 2913128 w 5521505"/>
              <a:gd name="connsiteY5592" fmla="*/ 382684 h 2146918"/>
              <a:gd name="connsiteX5593" fmla="*/ 2912580 w 5521505"/>
              <a:gd name="connsiteY5593" fmla="*/ 382428 h 2146918"/>
              <a:gd name="connsiteX5594" fmla="*/ 2911740 w 5521505"/>
              <a:gd name="connsiteY5594" fmla="*/ 382039 h 2146918"/>
              <a:gd name="connsiteX5595" fmla="*/ 2911216 w 5521505"/>
              <a:gd name="connsiteY5595" fmla="*/ 381770 h 2146918"/>
              <a:gd name="connsiteX5596" fmla="*/ 2910425 w 5521505"/>
              <a:gd name="connsiteY5596" fmla="*/ 381332 h 2146918"/>
              <a:gd name="connsiteX5597" fmla="*/ 2909207 w 5521505"/>
              <a:gd name="connsiteY5597" fmla="*/ 380516 h 2146918"/>
              <a:gd name="connsiteX5598" fmla="*/ 2906406 w 5521505"/>
              <a:gd name="connsiteY5598" fmla="*/ 375244 h 2146918"/>
              <a:gd name="connsiteX5599" fmla="*/ 2906309 w 5521505"/>
              <a:gd name="connsiteY5599" fmla="*/ 369874 h 2146918"/>
              <a:gd name="connsiteX5600" fmla="*/ 2900610 w 5521505"/>
              <a:gd name="connsiteY5600" fmla="*/ 361350 h 2146918"/>
              <a:gd name="connsiteX5601" fmla="*/ 2898175 w 5521505"/>
              <a:gd name="connsiteY5601" fmla="*/ 359609 h 2146918"/>
              <a:gd name="connsiteX5602" fmla="*/ 2895179 w 5521505"/>
              <a:gd name="connsiteY5602" fmla="*/ 357880 h 2146918"/>
              <a:gd name="connsiteX5603" fmla="*/ 2892659 w 5521505"/>
              <a:gd name="connsiteY5603" fmla="*/ 356662 h 2146918"/>
              <a:gd name="connsiteX5604" fmla="*/ 2890844 w 5521505"/>
              <a:gd name="connsiteY5604" fmla="*/ 355907 h 2146918"/>
              <a:gd name="connsiteX5605" fmla="*/ 2889225 w 5521505"/>
              <a:gd name="connsiteY5605" fmla="*/ 355286 h 2146918"/>
              <a:gd name="connsiteX5606" fmla="*/ 2887228 w 5521505"/>
              <a:gd name="connsiteY5606" fmla="*/ 354567 h 2146918"/>
              <a:gd name="connsiteX5607" fmla="*/ 2885206 w 5521505"/>
              <a:gd name="connsiteY5607" fmla="*/ 353922 h 2146918"/>
              <a:gd name="connsiteX5608" fmla="*/ 2883027 w 5521505"/>
              <a:gd name="connsiteY5608" fmla="*/ 353277 h 2146918"/>
              <a:gd name="connsiteX5609" fmla="*/ 2881663 w 5521505"/>
              <a:gd name="connsiteY5609" fmla="*/ 352899 h 2146918"/>
              <a:gd name="connsiteX5610" fmla="*/ 2879228 w 5521505"/>
              <a:gd name="connsiteY5610" fmla="*/ 352266 h 2146918"/>
              <a:gd name="connsiteX5611" fmla="*/ 2876975 w 5521505"/>
              <a:gd name="connsiteY5611" fmla="*/ 351560 h 2146918"/>
              <a:gd name="connsiteX5612" fmla="*/ 2874978 w 5521505"/>
              <a:gd name="connsiteY5612" fmla="*/ 350817 h 2146918"/>
              <a:gd name="connsiteX5613" fmla="*/ 2873346 w 5521505"/>
              <a:gd name="connsiteY5613" fmla="*/ 350172 h 2146918"/>
              <a:gd name="connsiteX5614" fmla="*/ 2871507 w 5521505"/>
              <a:gd name="connsiteY5614" fmla="*/ 349478 h 2146918"/>
              <a:gd name="connsiteX5615" fmla="*/ 2869072 w 5521505"/>
              <a:gd name="connsiteY5615" fmla="*/ 348710 h 2146918"/>
              <a:gd name="connsiteX5616" fmla="*/ 2866832 w 5521505"/>
              <a:gd name="connsiteY5616" fmla="*/ 348126 h 2146918"/>
              <a:gd name="connsiteX5617" fmla="*/ 2863580 w 5521505"/>
              <a:gd name="connsiteY5617" fmla="*/ 347359 h 2146918"/>
              <a:gd name="connsiteX5618" fmla="*/ 2859063 w 5521505"/>
              <a:gd name="connsiteY5618" fmla="*/ 346348 h 2146918"/>
              <a:gd name="connsiteX5619" fmla="*/ 2853912 w 5521505"/>
              <a:gd name="connsiteY5619" fmla="*/ 345130 h 2146918"/>
              <a:gd name="connsiteX5620" fmla="*/ 2849041 w 5521505"/>
              <a:gd name="connsiteY5620" fmla="*/ 343852 h 2146918"/>
              <a:gd name="connsiteX5621" fmla="*/ 2845181 w 5521505"/>
              <a:gd name="connsiteY5621" fmla="*/ 342853 h 2146918"/>
              <a:gd name="connsiteX5622" fmla="*/ 2841528 w 5521505"/>
              <a:gd name="connsiteY5622" fmla="*/ 341891 h 2146918"/>
              <a:gd name="connsiteX5623" fmla="*/ 2837315 w 5521505"/>
              <a:gd name="connsiteY5623" fmla="*/ 340674 h 2146918"/>
              <a:gd name="connsiteX5624" fmla="*/ 2834989 w 5521505"/>
              <a:gd name="connsiteY5624" fmla="*/ 339980 h 2146918"/>
              <a:gd name="connsiteX5625" fmla="*/ 2831336 w 5521505"/>
              <a:gd name="connsiteY5625" fmla="*/ 338762 h 2146918"/>
              <a:gd name="connsiteX5626" fmla="*/ 2829583 w 5521505"/>
              <a:gd name="connsiteY5626" fmla="*/ 338153 h 2146918"/>
              <a:gd name="connsiteX5627" fmla="*/ 2827500 w 5521505"/>
              <a:gd name="connsiteY5627" fmla="*/ 337349 h 2146918"/>
              <a:gd name="connsiteX5628" fmla="*/ 2823531 w 5521505"/>
              <a:gd name="connsiteY5628" fmla="*/ 335681 h 2146918"/>
              <a:gd name="connsiteX5629" fmla="*/ 2819975 w 5521505"/>
              <a:gd name="connsiteY5629" fmla="*/ 334074 h 2146918"/>
              <a:gd name="connsiteX5630" fmla="*/ 2815677 w 5521505"/>
              <a:gd name="connsiteY5630" fmla="*/ 332065 h 2146918"/>
              <a:gd name="connsiteX5631" fmla="*/ 2811391 w 5521505"/>
              <a:gd name="connsiteY5631" fmla="*/ 330141 h 2146918"/>
              <a:gd name="connsiteX5632" fmla="*/ 2807603 w 5521505"/>
              <a:gd name="connsiteY5632" fmla="*/ 328582 h 2146918"/>
              <a:gd name="connsiteX5633" fmla="*/ 2801515 w 5521505"/>
              <a:gd name="connsiteY5633" fmla="*/ 326244 h 2146918"/>
              <a:gd name="connsiteX5634" fmla="*/ 2796230 w 5521505"/>
              <a:gd name="connsiteY5634" fmla="*/ 324223 h 2146918"/>
              <a:gd name="connsiteX5635" fmla="*/ 2775347 w 5521505"/>
              <a:gd name="connsiteY5635" fmla="*/ 327985 h 2146918"/>
              <a:gd name="connsiteX5636" fmla="*/ 2774969 w 5521505"/>
              <a:gd name="connsiteY5636" fmla="*/ 328265 h 2146918"/>
              <a:gd name="connsiteX5637" fmla="*/ 2774105 w 5521505"/>
              <a:gd name="connsiteY5637" fmla="*/ 328899 h 2146918"/>
              <a:gd name="connsiteX5638" fmla="*/ 2773642 w 5521505"/>
              <a:gd name="connsiteY5638" fmla="*/ 329386 h 2146918"/>
              <a:gd name="connsiteX5639" fmla="*/ 2772924 w 5521505"/>
              <a:gd name="connsiteY5639" fmla="*/ 330810 h 2146918"/>
              <a:gd name="connsiteX5640" fmla="*/ 2772924 w 5521505"/>
              <a:gd name="connsiteY5640" fmla="*/ 335681 h 2146918"/>
              <a:gd name="connsiteX5641" fmla="*/ 2779633 w 5521505"/>
              <a:gd name="connsiteY5641" fmla="*/ 341149 h 2146918"/>
              <a:gd name="connsiteX5642" fmla="*/ 2785429 w 5521505"/>
              <a:gd name="connsiteY5642" fmla="*/ 343292 h 2146918"/>
              <a:gd name="connsiteX5643" fmla="*/ 2793807 w 5521505"/>
              <a:gd name="connsiteY5643" fmla="*/ 346226 h 2146918"/>
              <a:gd name="connsiteX5644" fmla="*/ 2800918 w 5521505"/>
              <a:gd name="connsiteY5644" fmla="*/ 351755 h 2146918"/>
              <a:gd name="connsiteX5645" fmla="*/ 2802453 w 5521505"/>
              <a:gd name="connsiteY5645" fmla="*/ 353155 h 2146918"/>
              <a:gd name="connsiteX5646" fmla="*/ 2806447 w 5521505"/>
              <a:gd name="connsiteY5646" fmla="*/ 355590 h 2146918"/>
              <a:gd name="connsiteX5647" fmla="*/ 2813521 w 5521505"/>
              <a:gd name="connsiteY5647" fmla="*/ 358233 h 2146918"/>
              <a:gd name="connsiteX5648" fmla="*/ 2827854 w 5521505"/>
              <a:gd name="connsiteY5648" fmla="*/ 360924 h 2146918"/>
              <a:gd name="connsiteX5649" fmla="*/ 2832213 w 5521505"/>
              <a:gd name="connsiteY5649" fmla="*/ 361435 h 2146918"/>
              <a:gd name="connsiteX5650" fmla="*/ 2839909 w 5521505"/>
              <a:gd name="connsiteY5650" fmla="*/ 362653 h 2146918"/>
              <a:gd name="connsiteX5651" fmla="*/ 2845157 w 5521505"/>
              <a:gd name="connsiteY5651" fmla="*/ 365563 h 2146918"/>
              <a:gd name="connsiteX5652" fmla="*/ 2848079 w 5521505"/>
              <a:gd name="connsiteY5652" fmla="*/ 367049 h 2146918"/>
              <a:gd name="connsiteX5653" fmla="*/ 2849394 w 5521505"/>
              <a:gd name="connsiteY5653" fmla="*/ 367378 h 2146918"/>
              <a:gd name="connsiteX5654" fmla="*/ 2850454 w 5521505"/>
              <a:gd name="connsiteY5654" fmla="*/ 367609 h 2146918"/>
              <a:gd name="connsiteX5655" fmla="*/ 2851757 w 5521505"/>
              <a:gd name="connsiteY5655" fmla="*/ 367852 h 2146918"/>
              <a:gd name="connsiteX5656" fmla="*/ 2852901 w 5521505"/>
              <a:gd name="connsiteY5656" fmla="*/ 368059 h 2146918"/>
              <a:gd name="connsiteX5657" fmla="*/ 2854691 w 5521505"/>
              <a:gd name="connsiteY5657" fmla="*/ 368376 h 2146918"/>
              <a:gd name="connsiteX5658" fmla="*/ 2857005 w 5521505"/>
              <a:gd name="connsiteY5658" fmla="*/ 368802 h 2146918"/>
              <a:gd name="connsiteX5659" fmla="*/ 2858795 w 5521505"/>
              <a:gd name="connsiteY5659" fmla="*/ 369216 h 2146918"/>
              <a:gd name="connsiteX5660" fmla="*/ 2862582 w 5521505"/>
              <a:gd name="connsiteY5660" fmla="*/ 370202 h 2146918"/>
              <a:gd name="connsiteX5661" fmla="*/ 2871106 w 5521505"/>
              <a:gd name="connsiteY5661" fmla="*/ 372370 h 2146918"/>
              <a:gd name="connsiteX5662" fmla="*/ 2878412 w 5521505"/>
              <a:gd name="connsiteY5662" fmla="*/ 374367 h 2146918"/>
              <a:gd name="connsiteX5663" fmla="*/ 2884914 w 5521505"/>
              <a:gd name="connsiteY5663" fmla="*/ 376364 h 2146918"/>
              <a:gd name="connsiteX5664" fmla="*/ 2888214 w 5521505"/>
              <a:gd name="connsiteY5664" fmla="*/ 377582 h 2146918"/>
              <a:gd name="connsiteX5665" fmla="*/ 2890893 w 5521505"/>
              <a:gd name="connsiteY5665" fmla="*/ 379092 h 2146918"/>
              <a:gd name="connsiteX5666" fmla="*/ 2891015 w 5521505"/>
              <a:gd name="connsiteY5666" fmla="*/ 380748 h 2146918"/>
              <a:gd name="connsiteX5667" fmla="*/ 2890698 w 5521505"/>
              <a:gd name="connsiteY5667" fmla="*/ 381137 h 2146918"/>
              <a:gd name="connsiteX5668" fmla="*/ 2890296 w 5521505"/>
              <a:gd name="connsiteY5668" fmla="*/ 381515 h 2146918"/>
              <a:gd name="connsiteX5669" fmla="*/ 2889554 w 5521505"/>
              <a:gd name="connsiteY5669" fmla="*/ 382111 h 2146918"/>
              <a:gd name="connsiteX5670" fmla="*/ 2888799 w 5521505"/>
              <a:gd name="connsiteY5670" fmla="*/ 382623 h 2146918"/>
              <a:gd name="connsiteX5671" fmla="*/ 2887946 w 5521505"/>
              <a:gd name="connsiteY5671" fmla="*/ 383171 h 2146918"/>
              <a:gd name="connsiteX5672" fmla="*/ 2886327 w 5521505"/>
              <a:gd name="connsiteY5672" fmla="*/ 384133 h 2146918"/>
              <a:gd name="connsiteX5673" fmla="*/ 2884391 w 5521505"/>
              <a:gd name="connsiteY5673" fmla="*/ 383828 h 2146918"/>
              <a:gd name="connsiteX5674" fmla="*/ 2880226 w 5521505"/>
              <a:gd name="connsiteY5674" fmla="*/ 383171 h 2146918"/>
              <a:gd name="connsiteX5675" fmla="*/ 2876829 w 5521505"/>
              <a:gd name="connsiteY5675" fmla="*/ 382635 h 2146918"/>
              <a:gd name="connsiteX5676" fmla="*/ 2871154 w 5521505"/>
              <a:gd name="connsiteY5676" fmla="*/ 381746 h 2146918"/>
              <a:gd name="connsiteX5677" fmla="*/ 2865711 w 5521505"/>
              <a:gd name="connsiteY5677" fmla="*/ 380906 h 2146918"/>
              <a:gd name="connsiteX5678" fmla="*/ 2860841 w 5521505"/>
              <a:gd name="connsiteY5678" fmla="*/ 380163 h 2146918"/>
              <a:gd name="connsiteX5679" fmla="*/ 2860731 w 5521505"/>
              <a:gd name="connsiteY5679" fmla="*/ 380955 h 2146918"/>
              <a:gd name="connsiteX5680" fmla="*/ 2860621 w 5521505"/>
              <a:gd name="connsiteY5680" fmla="*/ 381551 h 2146918"/>
              <a:gd name="connsiteX5681" fmla="*/ 2860475 w 5521505"/>
              <a:gd name="connsiteY5681" fmla="*/ 382209 h 2146918"/>
              <a:gd name="connsiteX5682" fmla="*/ 2859769 w 5521505"/>
              <a:gd name="connsiteY5682" fmla="*/ 385229 h 2146918"/>
              <a:gd name="connsiteX5683" fmla="*/ 2859927 w 5521505"/>
              <a:gd name="connsiteY5683" fmla="*/ 387299 h 2146918"/>
              <a:gd name="connsiteX5684" fmla="*/ 2861255 w 5521505"/>
              <a:gd name="connsiteY5684" fmla="*/ 389308 h 2146918"/>
              <a:gd name="connsiteX5685" fmla="*/ 2858990 w 5521505"/>
              <a:gd name="connsiteY5685" fmla="*/ 401010 h 2146918"/>
              <a:gd name="connsiteX5686" fmla="*/ 2846155 w 5521505"/>
              <a:gd name="connsiteY5686" fmla="*/ 407098 h 2146918"/>
              <a:gd name="connsiteX5687" fmla="*/ 2837985 w 5521505"/>
              <a:gd name="connsiteY5687" fmla="*/ 409095 h 2146918"/>
              <a:gd name="connsiteX5688" fmla="*/ 2832042 w 5521505"/>
              <a:gd name="connsiteY5688" fmla="*/ 415817 h 2146918"/>
              <a:gd name="connsiteX5689" fmla="*/ 2832140 w 5521505"/>
              <a:gd name="connsiteY5689" fmla="*/ 417108 h 2146918"/>
              <a:gd name="connsiteX5690" fmla="*/ 2831348 w 5521505"/>
              <a:gd name="connsiteY5690" fmla="*/ 419823 h 2146918"/>
              <a:gd name="connsiteX5691" fmla="*/ 2820048 w 5521505"/>
              <a:gd name="connsiteY5691" fmla="*/ 422076 h 2146918"/>
              <a:gd name="connsiteX5692" fmla="*/ 2816699 w 5521505"/>
              <a:gd name="connsiteY5692" fmla="*/ 421455 h 2146918"/>
              <a:gd name="connsiteX5693" fmla="*/ 2813704 w 5521505"/>
              <a:gd name="connsiteY5693" fmla="*/ 420846 h 2146918"/>
              <a:gd name="connsiteX5694" fmla="*/ 2809186 w 5521505"/>
              <a:gd name="connsiteY5694" fmla="*/ 419933 h 2146918"/>
              <a:gd name="connsiteX5695" fmla="*/ 2805156 w 5521505"/>
              <a:gd name="connsiteY5695" fmla="*/ 419105 h 2146918"/>
              <a:gd name="connsiteX5696" fmla="*/ 2801186 w 5521505"/>
              <a:gd name="connsiteY5696" fmla="*/ 418289 h 2146918"/>
              <a:gd name="connsiteX5697" fmla="*/ 2798276 w 5521505"/>
              <a:gd name="connsiteY5697" fmla="*/ 417680 h 2146918"/>
              <a:gd name="connsiteX5698" fmla="*/ 2794294 w 5521505"/>
              <a:gd name="connsiteY5698" fmla="*/ 416840 h 2146918"/>
              <a:gd name="connsiteX5699" fmla="*/ 2789569 w 5521505"/>
              <a:gd name="connsiteY5699" fmla="*/ 415805 h 2146918"/>
              <a:gd name="connsiteX5700" fmla="*/ 2786063 w 5521505"/>
              <a:gd name="connsiteY5700" fmla="*/ 415013 h 2146918"/>
              <a:gd name="connsiteX5701" fmla="*/ 2784090 w 5521505"/>
              <a:gd name="connsiteY5701" fmla="*/ 414526 h 2146918"/>
              <a:gd name="connsiteX5702" fmla="*/ 2779219 w 5521505"/>
              <a:gd name="connsiteY5702" fmla="*/ 412091 h 2146918"/>
              <a:gd name="connsiteX5703" fmla="*/ 2780169 w 5521505"/>
              <a:gd name="connsiteY5703" fmla="*/ 408998 h 2146918"/>
              <a:gd name="connsiteX5704" fmla="*/ 2789143 w 5521505"/>
              <a:gd name="connsiteY5704" fmla="*/ 407403 h 2146918"/>
              <a:gd name="connsiteX5705" fmla="*/ 2793222 w 5521505"/>
              <a:gd name="connsiteY5705" fmla="*/ 407110 h 2146918"/>
              <a:gd name="connsiteX5706" fmla="*/ 2810635 w 5521505"/>
              <a:gd name="connsiteY5706" fmla="*/ 405893 h 2146918"/>
              <a:gd name="connsiteX5707" fmla="*/ 2823701 w 5521505"/>
              <a:gd name="connsiteY5707" fmla="*/ 405004 h 2146918"/>
              <a:gd name="connsiteX5708" fmla="*/ 2834989 w 5521505"/>
              <a:gd name="connsiteY5708" fmla="*/ 404285 h 2146918"/>
              <a:gd name="connsiteX5709" fmla="*/ 2837424 w 5521505"/>
              <a:gd name="connsiteY5709" fmla="*/ 402751 h 2146918"/>
              <a:gd name="connsiteX5710" fmla="*/ 2841699 w 5521505"/>
              <a:gd name="connsiteY5710" fmla="*/ 398197 h 2146918"/>
              <a:gd name="connsiteX5711" fmla="*/ 2840895 w 5521505"/>
              <a:gd name="connsiteY5711" fmla="*/ 391427 h 2146918"/>
              <a:gd name="connsiteX5712" fmla="*/ 2840432 w 5521505"/>
              <a:gd name="connsiteY5712" fmla="*/ 390623 h 2146918"/>
              <a:gd name="connsiteX5713" fmla="*/ 2840432 w 5521505"/>
              <a:gd name="connsiteY5713" fmla="*/ 390562 h 2146918"/>
              <a:gd name="connsiteX5714" fmla="*/ 2839909 w 5521505"/>
              <a:gd name="connsiteY5714" fmla="*/ 389746 h 2146918"/>
              <a:gd name="connsiteX5715" fmla="*/ 2839349 w 5521505"/>
              <a:gd name="connsiteY5715" fmla="*/ 388894 h 2146918"/>
              <a:gd name="connsiteX5716" fmla="*/ 2838922 w 5521505"/>
              <a:gd name="connsiteY5716" fmla="*/ 388249 h 2146918"/>
              <a:gd name="connsiteX5717" fmla="*/ 2837132 w 5521505"/>
              <a:gd name="connsiteY5717" fmla="*/ 385959 h 2146918"/>
              <a:gd name="connsiteX5718" fmla="*/ 2836280 w 5521505"/>
              <a:gd name="connsiteY5718" fmla="*/ 385618 h 2146918"/>
              <a:gd name="connsiteX5719" fmla="*/ 2835659 w 5521505"/>
              <a:gd name="connsiteY5719" fmla="*/ 385618 h 2146918"/>
              <a:gd name="connsiteX5720" fmla="*/ 2833430 w 5521505"/>
              <a:gd name="connsiteY5720" fmla="*/ 385387 h 2146918"/>
              <a:gd name="connsiteX5721" fmla="*/ 2832018 w 5521505"/>
              <a:gd name="connsiteY5721" fmla="*/ 385156 h 2146918"/>
              <a:gd name="connsiteX5722" fmla="*/ 2829777 w 5521505"/>
              <a:gd name="connsiteY5722" fmla="*/ 384681 h 2146918"/>
              <a:gd name="connsiteX5723" fmla="*/ 2827683 w 5521505"/>
              <a:gd name="connsiteY5723" fmla="*/ 384096 h 2146918"/>
              <a:gd name="connsiteX5724" fmla="*/ 2826599 w 5521505"/>
              <a:gd name="connsiteY5724" fmla="*/ 383743 h 2146918"/>
              <a:gd name="connsiteX5725" fmla="*/ 2824894 w 5521505"/>
              <a:gd name="connsiteY5725" fmla="*/ 383122 h 2146918"/>
              <a:gd name="connsiteX5726" fmla="*/ 2822520 w 5521505"/>
              <a:gd name="connsiteY5726" fmla="*/ 382136 h 2146918"/>
              <a:gd name="connsiteX5727" fmla="*/ 2820340 w 5521505"/>
              <a:gd name="connsiteY5727" fmla="*/ 381162 h 2146918"/>
              <a:gd name="connsiteX5728" fmla="*/ 2818234 w 5521505"/>
              <a:gd name="connsiteY5728" fmla="*/ 380224 h 2146918"/>
              <a:gd name="connsiteX5729" fmla="*/ 2815798 w 5521505"/>
              <a:gd name="connsiteY5729" fmla="*/ 379189 h 2146918"/>
              <a:gd name="connsiteX5730" fmla="*/ 2814337 w 5521505"/>
              <a:gd name="connsiteY5730" fmla="*/ 378629 h 2146918"/>
              <a:gd name="connsiteX5731" fmla="*/ 2811902 w 5521505"/>
              <a:gd name="connsiteY5731" fmla="*/ 377862 h 2146918"/>
              <a:gd name="connsiteX5732" fmla="*/ 2809052 w 5521505"/>
              <a:gd name="connsiteY5732" fmla="*/ 377107 h 2146918"/>
              <a:gd name="connsiteX5733" fmla="*/ 2804827 w 5521505"/>
              <a:gd name="connsiteY5733" fmla="*/ 376072 h 2146918"/>
              <a:gd name="connsiteX5734" fmla="*/ 2802038 w 5521505"/>
              <a:gd name="connsiteY5734" fmla="*/ 375451 h 2146918"/>
              <a:gd name="connsiteX5735" fmla="*/ 2799603 w 5521505"/>
              <a:gd name="connsiteY5735" fmla="*/ 374927 h 2146918"/>
              <a:gd name="connsiteX5736" fmla="*/ 2794635 w 5521505"/>
              <a:gd name="connsiteY5736" fmla="*/ 373904 h 2146918"/>
              <a:gd name="connsiteX5737" fmla="*/ 2791165 w 5521505"/>
              <a:gd name="connsiteY5737" fmla="*/ 373222 h 2146918"/>
              <a:gd name="connsiteX5738" fmla="*/ 2786830 w 5521505"/>
              <a:gd name="connsiteY5738" fmla="*/ 372370 h 2146918"/>
              <a:gd name="connsiteX5739" fmla="*/ 2782239 w 5521505"/>
              <a:gd name="connsiteY5739" fmla="*/ 371432 h 2146918"/>
              <a:gd name="connsiteX5740" fmla="*/ 2778160 w 5521505"/>
              <a:gd name="connsiteY5740" fmla="*/ 370568 h 2146918"/>
              <a:gd name="connsiteX5741" fmla="*/ 2758068 w 5521505"/>
              <a:gd name="connsiteY5741" fmla="*/ 365247 h 2146918"/>
              <a:gd name="connsiteX5742" fmla="*/ 2754293 w 5521505"/>
              <a:gd name="connsiteY5742" fmla="*/ 363944 h 2146918"/>
              <a:gd name="connsiteX5743" fmla="*/ 2751931 w 5521505"/>
              <a:gd name="connsiteY5743" fmla="*/ 363055 h 2146918"/>
              <a:gd name="connsiteX5744" fmla="*/ 2749069 w 5521505"/>
              <a:gd name="connsiteY5744" fmla="*/ 361898 h 2146918"/>
              <a:gd name="connsiteX5745" fmla="*/ 2746634 w 5521505"/>
              <a:gd name="connsiteY5745" fmla="*/ 360838 h 2146918"/>
              <a:gd name="connsiteX5746" fmla="*/ 2744576 w 5521505"/>
              <a:gd name="connsiteY5746" fmla="*/ 359852 h 2146918"/>
              <a:gd name="connsiteX5747" fmla="*/ 2742981 w 5521505"/>
              <a:gd name="connsiteY5747" fmla="*/ 359048 h 2146918"/>
              <a:gd name="connsiteX5748" fmla="*/ 2741142 w 5521505"/>
              <a:gd name="connsiteY5748" fmla="*/ 358038 h 2146918"/>
              <a:gd name="connsiteX5749" fmla="*/ 2739511 w 5521505"/>
              <a:gd name="connsiteY5749" fmla="*/ 357088 h 2146918"/>
              <a:gd name="connsiteX5750" fmla="*/ 2738013 w 5521505"/>
              <a:gd name="connsiteY5750" fmla="*/ 356138 h 2146918"/>
              <a:gd name="connsiteX5751" fmla="*/ 2736625 w 5521505"/>
              <a:gd name="connsiteY5751" fmla="*/ 355189 h 2146918"/>
              <a:gd name="connsiteX5752" fmla="*/ 2735407 w 5521505"/>
              <a:gd name="connsiteY5752" fmla="*/ 354263 h 2146918"/>
              <a:gd name="connsiteX5753" fmla="*/ 2734494 w 5521505"/>
              <a:gd name="connsiteY5753" fmla="*/ 353557 h 2146918"/>
              <a:gd name="connsiteX5754" fmla="*/ 2733459 w 5521505"/>
              <a:gd name="connsiteY5754" fmla="*/ 352704 h 2146918"/>
              <a:gd name="connsiteX5755" fmla="*/ 2732241 w 5521505"/>
              <a:gd name="connsiteY5755" fmla="*/ 351694 h 2146918"/>
              <a:gd name="connsiteX5756" fmla="*/ 2731023 w 5521505"/>
              <a:gd name="connsiteY5756" fmla="*/ 350902 h 2146918"/>
              <a:gd name="connsiteX5757" fmla="*/ 2729574 w 5521505"/>
              <a:gd name="connsiteY5757" fmla="*/ 350111 h 2146918"/>
              <a:gd name="connsiteX5758" fmla="*/ 2727882 w 5521505"/>
              <a:gd name="connsiteY5758" fmla="*/ 349295 h 2146918"/>
              <a:gd name="connsiteX5759" fmla="*/ 2725617 w 5521505"/>
              <a:gd name="connsiteY5759" fmla="*/ 348345 h 2146918"/>
              <a:gd name="connsiteX5760" fmla="*/ 2723096 w 5521505"/>
              <a:gd name="connsiteY5760" fmla="*/ 347420 h 2146918"/>
              <a:gd name="connsiteX5761" fmla="*/ 2720271 w 5521505"/>
              <a:gd name="connsiteY5761" fmla="*/ 346482 h 2146918"/>
              <a:gd name="connsiteX5762" fmla="*/ 2711662 w 5521505"/>
              <a:gd name="connsiteY5762" fmla="*/ 344181 h 2146918"/>
              <a:gd name="connsiteX5763" fmla="*/ 2702006 w 5521505"/>
              <a:gd name="connsiteY5763" fmla="*/ 345678 h 2146918"/>
              <a:gd name="connsiteX5764" fmla="*/ 2700618 w 5521505"/>
              <a:gd name="connsiteY5764" fmla="*/ 346275 h 2146918"/>
              <a:gd name="connsiteX5765" fmla="*/ 2698937 w 5521505"/>
              <a:gd name="connsiteY5765" fmla="*/ 347066 h 2146918"/>
              <a:gd name="connsiteX5766" fmla="*/ 2697354 w 5521505"/>
              <a:gd name="connsiteY5766" fmla="*/ 347846 h 2146918"/>
              <a:gd name="connsiteX5767" fmla="*/ 2696563 w 5521505"/>
              <a:gd name="connsiteY5767" fmla="*/ 348236 h 2146918"/>
              <a:gd name="connsiteX5768" fmla="*/ 2696222 w 5521505"/>
              <a:gd name="connsiteY5768" fmla="*/ 348430 h 2146918"/>
              <a:gd name="connsiteX5769" fmla="*/ 2695796 w 5521505"/>
              <a:gd name="connsiteY5769" fmla="*/ 348698 h 2146918"/>
              <a:gd name="connsiteX5770" fmla="*/ 2694481 w 5521505"/>
              <a:gd name="connsiteY5770" fmla="*/ 349392 h 2146918"/>
              <a:gd name="connsiteX5771" fmla="*/ 2693786 w 5521505"/>
              <a:gd name="connsiteY5771" fmla="*/ 349550 h 2146918"/>
              <a:gd name="connsiteX5772" fmla="*/ 2683448 w 5521505"/>
              <a:gd name="connsiteY5772" fmla="*/ 352290 h 2146918"/>
              <a:gd name="connsiteX5773" fmla="*/ 2667265 w 5521505"/>
              <a:gd name="connsiteY5773" fmla="*/ 358574 h 2146918"/>
              <a:gd name="connsiteX5774" fmla="*/ 2665609 w 5521505"/>
              <a:gd name="connsiteY5774" fmla="*/ 359365 h 2146918"/>
              <a:gd name="connsiteX5775" fmla="*/ 2663332 w 5521505"/>
              <a:gd name="connsiteY5775" fmla="*/ 360485 h 2146918"/>
              <a:gd name="connsiteX5776" fmla="*/ 2659362 w 5521505"/>
              <a:gd name="connsiteY5776" fmla="*/ 361240 h 2146918"/>
              <a:gd name="connsiteX5777" fmla="*/ 2656294 w 5521505"/>
              <a:gd name="connsiteY5777" fmla="*/ 361314 h 2146918"/>
              <a:gd name="connsiteX5778" fmla="*/ 2651289 w 5521505"/>
              <a:gd name="connsiteY5778" fmla="*/ 361240 h 2146918"/>
              <a:gd name="connsiteX5779" fmla="*/ 2640111 w 5521505"/>
              <a:gd name="connsiteY5779" fmla="*/ 360826 h 2146918"/>
              <a:gd name="connsiteX5780" fmla="*/ 2634984 w 5521505"/>
              <a:gd name="connsiteY5780" fmla="*/ 360680 h 2146918"/>
              <a:gd name="connsiteX5781" fmla="*/ 2630662 w 5521505"/>
              <a:gd name="connsiteY5781" fmla="*/ 360741 h 2146918"/>
              <a:gd name="connsiteX5782" fmla="*/ 2628506 w 5521505"/>
              <a:gd name="connsiteY5782" fmla="*/ 360851 h 2146918"/>
              <a:gd name="connsiteX5783" fmla="*/ 2625840 w 5521505"/>
              <a:gd name="connsiteY5783" fmla="*/ 361082 h 2146918"/>
              <a:gd name="connsiteX5784" fmla="*/ 2612859 w 5521505"/>
              <a:gd name="connsiteY5784" fmla="*/ 363517 h 2146918"/>
              <a:gd name="connsiteX5785" fmla="*/ 2601474 w 5521505"/>
              <a:gd name="connsiteY5785" fmla="*/ 370592 h 2146918"/>
              <a:gd name="connsiteX5786" fmla="*/ 2601547 w 5521505"/>
              <a:gd name="connsiteY5786" fmla="*/ 371347 h 2146918"/>
              <a:gd name="connsiteX5787" fmla="*/ 2602241 w 5521505"/>
              <a:gd name="connsiteY5787" fmla="*/ 373783 h 2146918"/>
              <a:gd name="connsiteX5788" fmla="*/ 2599562 w 5521505"/>
              <a:gd name="connsiteY5788" fmla="*/ 382233 h 2146918"/>
              <a:gd name="connsiteX5789" fmla="*/ 2596445 w 5521505"/>
              <a:gd name="connsiteY5789" fmla="*/ 383926 h 2146918"/>
              <a:gd name="connsiteX5790" fmla="*/ 2577303 w 5521505"/>
              <a:gd name="connsiteY5790" fmla="*/ 392742 h 2146918"/>
              <a:gd name="connsiteX5791" fmla="*/ 2571628 w 5521505"/>
              <a:gd name="connsiteY5791" fmla="*/ 394459 h 2146918"/>
              <a:gd name="connsiteX5792" fmla="*/ 2554897 w 5521505"/>
              <a:gd name="connsiteY5792" fmla="*/ 402569 h 2146918"/>
              <a:gd name="connsiteX5793" fmla="*/ 2552693 w 5521505"/>
              <a:gd name="connsiteY5793" fmla="*/ 405004 h 2146918"/>
              <a:gd name="connsiteX5794" fmla="*/ 2550404 w 5521505"/>
              <a:gd name="connsiteY5794" fmla="*/ 407378 h 2146918"/>
              <a:gd name="connsiteX5795" fmla="*/ 2548310 w 5521505"/>
              <a:gd name="connsiteY5795" fmla="*/ 409156 h 2146918"/>
              <a:gd name="connsiteX5796" fmla="*/ 2545728 w 5521505"/>
              <a:gd name="connsiteY5796" fmla="*/ 410971 h 2146918"/>
              <a:gd name="connsiteX5797" fmla="*/ 2539469 w 5521505"/>
              <a:gd name="connsiteY5797" fmla="*/ 416292 h 2146918"/>
              <a:gd name="connsiteX5798" fmla="*/ 2542124 w 5521505"/>
              <a:gd name="connsiteY5798" fmla="*/ 423391 h 2146918"/>
              <a:gd name="connsiteX5799" fmla="*/ 2536851 w 5521505"/>
              <a:gd name="connsiteY5799" fmla="*/ 429833 h 2146918"/>
              <a:gd name="connsiteX5800" fmla="*/ 2531055 w 5521505"/>
              <a:gd name="connsiteY5800" fmla="*/ 436749 h 2146918"/>
              <a:gd name="connsiteX5801" fmla="*/ 2528620 w 5521505"/>
              <a:gd name="connsiteY5801" fmla="*/ 439184 h 2146918"/>
              <a:gd name="connsiteX5802" fmla="*/ 2527536 w 5521505"/>
              <a:gd name="connsiteY5802" fmla="*/ 439891 h 2146918"/>
              <a:gd name="connsiteX5803" fmla="*/ 2521642 w 5521505"/>
              <a:gd name="connsiteY5803" fmla="*/ 442996 h 2146918"/>
              <a:gd name="connsiteX5804" fmla="*/ 2514616 w 5521505"/>
              <a:gd name="connsiteY5804" fmla="*/ 446551 h 2146918"/>
              <a:gd name="connsiteX5805" fmla="*/ 2509746 w 5521505"/>
              <a:gd name="connsiteY5805" fmla="*/ 449437 h 2146918"/>
              <a:gd name="connsiteX5806" fmla="*/ 2507846 w 5521505"/>
              <a:gd name="connsiteY5806" fmla="*/ 450533 h 2146918"/>
              <a:gd name="connsiteX5807" fmla="*/ 2506178 w 5521505"/>
              <a:gd name="connsiteY5807" fmla="*/ 451373 h 2146918"/>
              <a:gd name="connsiteX5808" fmla="*/ 2500442 w 5521505"/>
              <a:gd name="connsiteY5808" fmla="*/ 453650 h 2146918"/>
              <a:gd name="connsiteX5809" fmla="*/ 2483480 w 5521505"/>
              <a:gd name="connsiteY5809" fmla="*/ 456902 h 2146918"/>
              <a:gd name="connsiteX5810" fmla="*/ 2465629 w 5521505"/>
              <a:gd name="connsiteY5810" fmla="*/ 460250 h 2146918"/>
              <a:gd name="connsiteX5811" fmla="*/ 2456240 w 5521505"/>
              <a:gd name="connsiteY5811" fmla="*/ 463611 h 2146918"/>
              <a:gd name="connsiteX5812" fmla="*/ 2441324 w 5521505"/>
              <a:gd name="connsiteY5812" fmla="*/ 467715 h 2146918"/>
              <a:gd name="connsiteX5813" fmla="*/ 2424496 w 5521505"/>
              <a:gd name="connsiteY5813" fmla="*/ 464390 h 2146918"/>
              <a:gd name="connsiteX5814" fmla="*/ 2422425 w 5521505"/>
              <a:gd name="connsiteY5814" fmla="*/ 463526 h 2146918"/>
              <a:gd name="connsiteX5815" fmla="*/ 2420526 w 5521505"/>
              <a:gd name="connsiteY5815" fmla="*/ 462880 h 2146918"/>
              <a:gd name="connsiteX5816" fmla="*/ 2418091 w 5521505"/>
              <a:gd name="connsiteY5816" fmla="*/ 462259 h 2146918"/>
              <a:gd name="connsiteX5817" fmla="*/ 2397122 w 5521505"/>
              <a:gd name="connsiteY5817" fmla="*/ 463331 h 2146918"/>
              <a:gd name="connsiteX5818" fmla="*/ 2394492 w 5521505"/>
              <a:gd name="connsiteY5818" fmla="*/ 463867 h 2146918"/>
              <a:gd name="connsiteX5819" fmla="*/ 2393091 w 5521505"/>
              <a:gd name="connsiteY5819" fmla="*/ 464135 h 2146918"/>
              <a:gd name="connsiteX5820" fmla="*/ 2391265 w 5521505"/>
              <a:gd name="connsiteY5820" fmla="*/ 464451 h 2146918"/>
              <a:gd name="connsiteX5821" fmla="*/ 2381682 w 5521505"/>
              <a:gd name="connsiteY5821" fmla="*/ 465949 h 2146918"/>
              <a:gd name="connsiteX5822" fmla="*/ 2374838 w 5521505"/>
              <a:gd name="connsiteY5822" fmla="*/ 467033 h 2146918"/>
              <a:gd name="connsiteX5823" fmla="*/ 2372987 w 5521505"/>
              <a:gd name="connsiteY5823" fmla="*/ 456001 h 2146918"/>
              <a:gd name="connsiteX5824" fmla="*/ 2366643 w 5521505"/>
              <a:gd name="connsiteY5824" fmla="*/ 450387 h 2146918"/>
              <a:gd name="connsiteX5825" fmla="*/ 2362893 w 5521505"/>
              <a:gd name="connsiteY5825" fmla="*/ 448621 h 2146918"/>
              <a:gd name="connsiteX5826" fmla="*/ 2363295 w 5521505"/>
              <a:gd name="connsiteY5826" fmla="*/ 445577 h 2146918"/>
              <a:gd name="connsiteX5827" fmla="*/ 2365060 w 5521505"/>
              <a:gd name="connsiteY5827" fmla="*/ 442801 h 2146918"/>
              <a:gd name="connsiteX5828" fmla="*/ 2367435 w 5521505"/>
              <a:gd name="connsiteY5828" fmla="*/ 439148 h 2146918"/>
              <a:gd name="connsiteX5829" fmla="*/ 2370783 w 5521505"/>
              <a:gd name="connsiteY5829" fmla="*/ 433912 h 2146918"/>
              <a:gd name="connsiteX5830" fmla="*/ 2374765 w 5521505"/>
              <a:gd name="connsiteY5830" fmla="*/ 427568 h 2146918"/>
              <a:gd name="connsiteX5831" fmla="*/ 2376360 w 5521505"/>
              <a:gd name="connsiteY5831" fmla="*/ 423988 h 2146918"/>
              <a:gd name="connsiteX5832" fmla="*/ 2376287 w 5521505"/>
              <a:gd name="connsiteY5832" fmla="*/ 423342 h 2146918"/>
              <a:gd name="connsiteX5833" fmla="*/ 2376165 w 5521505"/>
              <a:gd name="connsiteY5833" fmla="*/ 422466 h 2146918"/>
              <a:gd name="connsiteX5834" fmla="*/ 2375398 w 5521505"/>
              <a:gd name="connsiteY5834" fmla="*/ 417522 h 2146918"/>
              <a:gd name="connsiteX5835" fmla="*/ 2374424 w 5521505"/>
              <a:gd name="connsiteY5835" fmla="*/ 411433 h 2146918"/>
              <a:gd name="connsiteX5836" fmla="*/ 2373779 w 5521505"/>
              <a:gd name="connsiteY5836" fmla="*/ 407573 h 2146918"/>
              <a:gd name="connsiteX5837" fmla="*/ 2372841 w 5521505"/>
              <a:gd name="connsiteY5837" fmla="*/ 402008 h 2146918"/>
              <a:gd name="connsiteX5838" fmla="*/ 2371989 w 5521505"/>
              <a:gd name="connsiteY5838" fmla="*/ 396931 h 2146918"/>
              <a:gd name="connsiteX5839" fmla="*/ 2378077 w 5521505"/>
              <a:gd name="connsiteY5839" fmla="*/ 393667 h 2146918"/>
              <a:gd name="connsiteX5840" fmla="*/ 2382863 w 5521505"/>
              <a:gd name="connsiteY5840" fmla="*/ 391135 h 2146918"/>
              <a:gd name="connsiteX5841" fmla="*/ 2391070 w 5521505"/>
              <a:gd name="connsiteY5841" fmla="*/ 386970 h 2146918"/>
              <a:gd name="connsiteX5842" fmla="*/ 2397840 w 5521505"/>
              <a:gd name="connsiteY5842" fmla="*/ 385448 h 2146918"/>
              <a:gd name="connsiteX5843" fmla="*/ 2418163 w 5521505"/>
              <a:gd name="connsiteY5843" fmla="*/ 383086 h 2146918"/>
              <a:gd name="connsiteX5844" fmla="*/ 2450810 w 5521505"/>
              <a:gd name="connsiteY5844" fmla="*/ 379433 h 2146918"/>
              <a:gd name="connsiteX5845" fmla="*/ 2472265 w 5521505"/>
              <a:gd name="connsiteY5845" fmla="*/ 377156 h 2146918"/>
              <a:gd name="connsiteX5846" fmla="*/ 2503779 w 5521505"/>
              <a:gd name="connsiteY5846" fmla="*/ 374038 h 2146918"/>
              <a:gd name="connsiteX5847" fmla="*/ 2511596 w 5521505"/>
              <a:gd name="connsiteY5847" fmla="*/ 369654 h 2146918"/>
              <a:gd name="connsiteX5848" fmla="*/ 2512388 w 5521505"/>
              <a:gd name="connsiteY5848" fmla="*/ 367901 h 2146918"/>
              <a:gd name="connsiteX5849" fmla="*/ 2514385 w 5521505"/>
              <a:gd name="connsiteY5849" fmla="*/ 362945 h 2146918"/>
              <a:gd name="connsiteX5850" fmla="*/ 2517040 w 5521505"/>
              <a:gd name="connsiteY5850" fmla="*/ 355030 h 2146918"/>
              <a:gd name="connsiteX5851" fmla="*/ 2514836 w 5521505"/>
              <a:gd name="connsiteY5851" fmla="*/ 343986 h 2146918"/>
              <a:gd name="connsiteX5852" fmla="*/ 2511852 w 5521505"/>
              <a:gd name="connsiteY5852" fmla="*/ 341794 h 2146918"/>
              <a:gd name="connsiteX5853" fmla="*/ 2492247 w 5521505"/>
              <a:gd name="connsiteY5853" fmla="*/ 332053 h 2146918"/>
              <a:gd name="connsiteX5854" fmla="*/ 2468758 w 5521505"/>
              <a:gd name="connsiteY5854" fmla="*/ 329507 h 2146918"/>
              <a:gd name="connsiteX5855" fmla="*/ 2466323 w 5521505"/>
              <a:gd name="connsiteY5855" fmla="*/ 329629 h 2146918"/>
              <a:gd name="connsiteX5856" fmla="*/ 2463084 w 5521505"/>
              <a:gd name="connsiteY5856" fmla="*/ 329848 h 2146918"/>
              <a:gd name="connsiteX5857" fmla="*/ 2461306 w 5521505"/>
              <a:gd name="connsiteY5857" fmla="*/ 329848 h 2146918"/>
              <a:gd name="connsiteX5858" fmla="*/ 2450347 w 5521505"/>
              <a:gd name="connsiteY5858" fmla="*/ 325928 h 2146918"/>
              <a:gd name="connsiteX5859" fmla="*/ 2449519 w 5521505"/>
              <a:gd name="connsiteY5859" fmla="*/ 325051 h 2146918"/>
              <a:gd name="connsiteX5860" fmla="*/ 2448593 w 5521505"/>
              <a:gd name="connsiteY5860" fmla="*/ 323918 h 2146918"/>
              <a:gd name="connsiteX5861" fmla="*/ 2447047 w 5521505"/>
              <a:gd name="connsiteY5861" fmla="*/ 321873 h 2146918"/>
              <a:gd name="connsiteX5862" fmla="*/ 2451504 w 5521505"/>
              <a:gd name="connsiteY5862" fmla="*/ 320655 h 2146918"/>
              <a:gd name="connsiteX5863" fmla="*/ 2456825 w 5521505"/>
              <a:gd name="connsiteY5863" fmla="*/ 319121 h 2146918"/>
              <a:gd name="connsiteX5864" fmla="*/ 2468941 w 5521505"/>
              <a:gd name="connsiteY5864" fmla="*/ 315955 h 2146918"/>
              <a:gd name="connsiteX5865" fmla="*/ 2486963 w 5521505"/>
              <a:gd name="connsiteY5865" fmla="*/ 314420 h 2146918"/>
              <a:gd name="connsiteX5866" fmla="*/ 2500077 w 5521505"/>
              <a:gd name="connsiteY5866" fmla="*/ 313385 h 2146918"/>
              <a:gd name="connsiteX5867" fmla="*/ 2503730 w 5521505"/>
              <a:gd name="connsiteY5867" fmla="*/ 306445 h 2146918"/>
              <a:gd name="connsiteX5868" fmla="*/ 2503596 w 5521505"/>
              <a:gd name="connsiteY5868" fmla="*/ 305495 h 2146918"/>
              <a:gd name="connsiteX5869" fmla="*/ 2503596 w 5521505"/>
              <a:gd name="connsiteY5869" fmla="*/ 304910 h 2146918"/>
              <a:gd name="connsiteX5870" fmla="*/ 2503730 w 5521505"/>
              <a:gd name="connsiteY5870" fmla="*/ 303693 h 2146918"/>
              <a:gd name="connsiteX5871" fmla="*/ 2506592 w 5521505"/>
              <a:gd name="connsiteY5871" fmla="*/ 302353 h 2146918"/>
              <a:gd name="connsiteX5872" fmla="*/ 2520814 w 5521505"/>
              <a:gd name="connsiteY5872" fmla="*/ 301318 h 2146918"/>
              <a:gd name="connsiteX5873" fmla="*/ 2542440 w 5521505"/>
              <a:gd name="connsiteY5873" fmla="*/ 298115 h 2146918"/>
              <a:gd name="connsiteX5874" fmla="*/ 2551415 w 5521505"/>
              <a:gd name="connsiteY5874" fmla="*/ 294462 h 2146918"/>
              <a:gd name="connsiteX5875" fmla="*/ 2559561 w 5521505"/>
              <a:gd name="connsiteY5875" fmla="*/ 291808 h 2146918"/>
              <a:gd name="connsiteX5876" fmla="*/ 2561996 w 5521505"/>
              <a:gd name="connsiteY5876" fmla="*/ 290322 h 2146918"/>
              <a:gd name="connsiteX5877" fmla="*/ 2565004 w 5521505"/>
              <a:gd name="connsiteY5877" fmla="*/ 287095 h 2146918"/>
              <a:gd name="connsiteX5878" fmla="*/ 2572517 w 5521505"/>
              <a:gd name="connsiteY5878" fmla="*/ 280630 h 2146918"/>
              <a:gd name="connsiteX5879" fmla="*/ 2576925 w 5521505"/>
              <a:gd name="connsiteY5879" fmla="*/ 278767 h 2146918"/>
              <a:gd name="connsiteX5880" fmla="*/ 2598503 w 5521505"/>
              <a:gd name="connsiteY5880" fmla="*/ 270572 h 2146918"/>
              <a:gd name="connsiteX5881" fmla="*/ 2614138 w 5521505"/>
              <a:gd name="connsiteY5881" fmla="*/ 262194 h 2146918"/>
              <a:gd name="connsiteX5882" fmla="*/ 2617352 w 5521505"/>
              <a:gd name="connsiteY5882" fmla="*/ 258419 h 2146918"/>
              <a:gd name="connsiteX5883" fmla="*/ 2627179 w 5521505"/>
              <a:gd name="connsiteY5883" fmla="*/ 251941 h 2146918"/>
              <a:gd name="connsiteX5884" fmla="*/ 2629615 w 5521505"/>
              <a:gd name="connsiteY5884" fmla="*/ 251308 h 2146918"/>
              <a:gd name="connsiteX5885" fmla="*/ 2634899 w 5521505"/>
              <a:gd name="connsiteY5885" fmla="*/ 249980 h 2146918"/>
              <a:gd name="connsiteX5886" fmla="*/ 2642778 w 5521505"/>
              <a:gd name="connsiteY5886" fmla="*/ 248129 h 2146918"/>
              <a:gd name="connsiteX5887" fmla="*/ 2651180 w 5521505"/>
              <a:gd name="connsiteY5887" fmla="*/ 246120 h 2146918"/>
              <a:gd name="connsiteX5888" fmla="*/ 2657877 w 5521505"/>
              <a:gd name="connsiteY5888" fmla="*/ 244330 h 2146918"/>
              <a:gd name="connsiteX5889" fmla="*/ 2661299 w 5521505"/>
              <a:gd name="connsiteY5889" fmla="*/ 243307 h 2146918"/>
              <a:gd name="connsiteX5890" fmla="*/ 2663734 w 5521505"/>
              <a:gd name="connsiteY5890" fmla="*/ 242504 h 2146918"/>
              <a:gd name="connsiteX5891" fmla="*/ 2667643 w 5521505"/>
              <a:gd name="connsiteY5891" fmla="*/ 241286 h 2146918"/>
              <a:gd name="connsiteX5892" fmla="*/ 2671028 w 5521505"/>
              <a:gd name="connsiteY5892" fmla="*/ 240324 h 2146918"/>
              <a:gd name="connsiteX5893" fmla="*/ 2685774 w 5521505"/>
              <a:gd name="connsiteY5893" fmla="*/ 238826 h 2146918"/>
              <a:gd name="connsiteX5894" fmla="*/ 2690170 w 5521505"/>
              <a:gd name="connsiteY5894" fmla="*/ 236294 h 2146918"/>
              <a:gd name="connsiteX5895" fmla="*/ 2688952 w 5521505"/>
              <a:gd name="connsiteY5895" fmla="*/ 226772 h 2146918"/>
              <a:gd name="connsiteX5896" fmla="*/ 2687735 w 5521505"/>
              <a:gd name="connsiteY5896" fmla="*/ 226029 h 2146918"/>
              <a:gd name="connsiteX5897" fmla="*/ 2686517 w 5521505"/>
              <a:gd name="connsiteY5897" fmla="*/ 225201 h 2146918"/>
              <a:gd name="connsiteX5898" fmla="*/ 2685628 w 5521505"/>
              <a:gd name="connsiteY5898" fmla="*/ 224507 h 2146918"/>
              <a:gd name="connsiteX5899" fmla="*/ 2684118 w 5521505"/>
              <a:gd name="connsiteY5899" fmla="*/ 223203 h 2146918"/>
              <a:gd name="connsiteX5900" fmla="*/ 2679247 w 5521505"/>
              <a:gd name="connsiteY5900" fmla="*/ 218698 h 2146918"/>
              <a:gd name="connsiteX5901" fmla="*/ 2679734 w 5521505"/>
              <a:gd name="connsiteY5901" fmla="*/ 217663 h 2146918"/>
              <a:gd name="connsiteX5902" fmla="*/ 2680757 w 5521505"/>
              <a:gd name="connsiteY5902" fmla="*/ 215337 h 2146918"/>
              <a:gd name="connsiteX5903" fmla="*/ 2681610 w 5521505"/>
              <a:gd name="connsiteY5903" fmla="*/ 213486 h 2146918"/>
              <a:gd name="connsiteX5904" fmla="*/ 2683278 w 5521505"/>
              <a:gd name="connsiteY5904" fmla="*/ 210381 h 2146918"/>
              <a:gd name="connsiteX5905" fmla="*/ 2691132 w 5521505"/>
              <a:gd name="connsiteY5905" fmla="*/ 202905 h 2146918"/>
              <a:gd name="connsiteX5906" fmla="*/ 2693409 w 5521505"/>
              <a:gd name="connsiteY5906" fmla="*/ 202113 h 2146918"/>
              <a:gd name="connsiteX5907" fmla="*/ 2695443 w 5521505"/>
              <a:gd name="connsiteY5907" fmla="*/ 201602 h 2146918"/>
              <a:gd name="connsiteX5908" fmla="*/ 2697963 w 5521505"/>
              <a:gd name="connsiteY5908" fmla="*/ 201090 h 2146918"/>
              <a:gd name="connsiteX5909" fmla="*/ 2699278 w 5521505"/>
              <a:gd name="connsiteY5909" fmla="*/ 200652 h 2146918"/>
              <a:gd name="connsiteX5910" fmla="*/ 2701458 w 5521505"/>
              <a:gd name="connsiteY5910" fmla="*/ 199617 h 2146918"/>
              <a:gd name="connsiteX5911" fmla="*/ 2703808 w 5521505"/>
              <a:gd name="connsiteY5911" fmla="*/ 198399 h 2146918"/>
              <a:gd name="connsiteX5912" fmla="*/ 2705720 w 5521505"/>
              <a:gd name="connsiteY5912" fmla="*/ 197608 h 2146918"/>
              <a:gd name="connsiteX5913" fmla="*/ 2710030 w 5521505"/>
              <a:gd name="connsiteY5913" fmla="*/ 196013 h 2146918"/>
              <a:gd name="connsiteX5914" fmla="*/ 2723425 w 5521505"/>
              <a:gd name="connsiteY5914" fmla="*/ 193833 h 2146918"/>
              <a:gd name="connsiteX5915" fmla="*/ 2726883 w 5521505"/>
              <a:gd name="connsiteY5915" fmla="*/ 197206 h 2146918"/>
              <a:gd name="connsiteX5916" fmla="*/ 2725970 w 5521505"/>
              <a:gd name="connsiteY5916" fmla="*/ 198095 h 2146918"/>
              <a:gd name="connsiteX5917" fmla="*/ 2725154 w 5521505"/>
              <a:gd name="connsiteY5917" fmla="*/ 199045 h 2146918"/>
              <a:gd name="connsiteX5918" fmla="*/ 2722950 w 5521505"/>
              <a:gd name="connsiteY5918" fmla="*/ 204110 h 2146918"/>
              <a:gd name="connsiteX5919" fmla="*/ 2722512 w 5521505"/>
              <a:gd name="connsiteY5919" fmla="*/ 206375 h 2146918"/>
              <a:gd name="connsiteX5920" fmla="*/ 2722061 w 5521505"/>
              <a:gd name="connsiteY5920" fmla="*/ 208287 h 2146918"/>
              <a:gd name="connsiteX5921" fmla="*/ 2717422 w 5521505"/>
              <a:gd name="connsiteY5921" fmla="*/ 214789 h 2146918"/>
              <a:gd name="connsiteX5922" fmla="*/ 2713854 w 5521505"/>
              <a:gd name="connsiteY5922" fmla="*/ 218077 h 2146918"/>
              <a:gd name="connsiteX5923" fmla="*/ 2713647 w 5521505"/>
              <a:gd name="connsiteY5923" fmla="*/ 218869 h 2146918"/>
              <a:gd name="connsiteX5924" fmla="*/ 2720490 w 5521505"/>
              <a:gd name="connsiteY5924" fmla="*/ 225980 h 2146918"/>
              <a:gd name="connsiteX5925" fmla="*/ 2733312 w 5521505"/>
              <a:gd name="connsiteY5925" fmla="*/ 228415 h 2146918"/>
              <a:gd name="connsiteX5926" fmla="*/ 2736405 w 5521505"/>
              <a:gd name="connsiteY5926" fmla="*/ 228744 h 2146918"/>
              <a:gd name="connsiteX5927" fmla="*/ 2739036 w 5521505"/>
              <a:gd name="connsiteY5927" fmla="*/ 229085 h 2146918"/>
              <a:gd name="connsiteX5928" fmla="*/ 2744004 w 5521505"/>
              <a:gd name="connsiteY5928" fmla="*/ 230217 h 2146918"/>
              <a:gd name="connsiteX5929" fmla="*/ 2745733 w 5521505"/>
              <a:gd name="connsiteY5929" fmla="*/ 228440 h 2146918"/>
              <a:gd name="connsiteX5930" fmla="*/ 2743699 w 5521505"/>
              <a:gd name="connsiteY5930" fmla="*/ 227965 h 2146918"/>
              <a:gd name="connsiteX5931" fmla="*/ 2741264 w 5521505"/>
              <a:gd name="connsiteY5931" fmla="*/ 227417 h 2146918"/>
              <a:gd name="connsiteX5932" fmla="*/ 2738342 w 5521505"/>
              <a:gd name="connsiteY5932" fmla="*/ 225919 h 2146918"/>
              <a:gd name="connsiteX5933" fmla="*/ 2737660 w 5521505"/>
              <a:gd name="connsiteY5933" fmla="*/ 225225 h 2146918"/>
              <a:gd name="connsiteX5934" fmla="*/ 2737124 w 5521505"/>
              <a:gd name="connsiteY5934" fmla="*/ 222144 h 2146918"/>
              <a:gd name="connsiteX5935" fmla="*/ 2737623 w 5521505"/>
              <a:gd name="connsiteY5935" fmla="*/ 221535 h 2146918"/>
              <a:gd name="connsiteX5936" fmla="*/ 2736685 w 5521505"/>
              <a:gd name="connsiteY5936" fmla="*/ 217809 h 2146918"/>
              <a:gd name="connsiteX5937" fmla="*/ 2735991 w 5521505"/>
              <a:gd name="connsiteY5937" fmla="*/ 217139 h 2146918"/>
              <a:gd name="connsiteX5938" fmla="*/ 2735407 w 5521505"/>
              <a:gd name="connsiteY5938" fmla="*/ 216470 h 2146918"/>
              <a:gd name="connsiteX5939" fmla="*/ 2735188 w 5521505"/>
              <a:gd name="connsiteY5939" fmla="*/ 213657 h 2146918"/>
              <a:gd name="connsiteX5940" fmla="*/ 2744320 w 5521505"/>
              <a:gd name="connsiteY5940" fmla="*/ 210637 h 2146918"/>
              <a:gd name="connsiteX5941" fmla="*/ 2745538 w 5521505"/>
              <a:gd name="connsiteY5941" fmla="*/ 210540 h 2146918"/>
              <a:gd name="connsiteX5942" fmla="*/ 2749374 w 5521505"/>
              <a:gd name="connsiteY5942" fmla="*/ 210150 h 2146918"/>
              <a:gd name="connsiteX5943" fmla="*/ 2750750 w 5521505"/>
              <a:gd name="connsiteY5943" fmla="*/ 209809 h 2146918"/>
              <a:gd name="connsiteX5944" fmla="*/ 2760491 w 5521505"/>
              <a:gd name="connsiteY5944" fmla="*/ 206485 h 2146918"/>
              <a:gd name="connsiteX5945" fmla="*/ 2754707 w 5521505"/>
              <a:gd name="connsiteY5945" fmla="*/ 195526 h 2146918"/>
              <a:gd name="connsiteX5946" fmla="*/ 2742530 w 5521505"/>
              <a:gd name="connsiteY5946" fmla="*/ 188621 h 2146918"/>
              <a:gd name="connsiteX5947" fmla="*/ 2723522 w 5521505"/>
              <a:gd name="connsiteY5947" fmla="*/ 177735 h 2146918"/>
              <a:gd name="connsiteX5948" fmla="*/ 2708131 w 5521505"/>
              <a:gd name="connsiteY5948" fmla="*/ 181948 h 2146918"/>
              <a:gd name="connsiteX5949" fmla="*/ 2694432 w 5521505"/>
              <a:gd name="connsiteY5949" fmla="*/ 187611 h 2146918"/>
              <a:gd name="connsiteX5950" fmla="*/ 2690280 w 5521505"/>
              <a:gd name="connsiteY5950" fmla="*/ 189437 h 2146918"/>
              <a:gd name="connsiteX5951" fmla="*/ 2670200 w 5521505"/>
              <a:gd name="connsiteY5951" fmla="*/ 194308 h 2146918"/>
              <a:gd name="connsiteX5952" fmla="*/ 2646114 w 5521505"/>
              <a:gd name="connsiteY5952" fmla="*/ 193090 h 2146918"/>
              <a:gd name="connsiteX5953" fmla="*/ 2637456 w 5521505"/>
              <a:gd name="connsiteY5953" fmla="*/ 186515 h 2146918"/>
              <a:gd name="connsiteX5954" fmla="*/ 2632744 w 5521505"/>
              <a:gd name="connsiteY5954" fmla="*/ 179355 h 2146918"/>
              <a:gd name="connsiteX5955" fmla="*/ 2630905 w 5521505"/>
              <a:gd name="connsiteY5955" fmla="*/ 177893 h 2146918"/>
              <a:gd name="connsiteX5956" fmla="*/ 2625584 w 5521505"/>
              <a:gd name="connsiteY5956" fmla="*/ 166934 h 2146918"/>
              <a:gd name="connsiteX5957" fmla="*/ 2624939 w 5521505"/>
              <a:gd name="connsiteY5957" fmla="*/ 160651 h 2146918"/>
              <a:gd name="connsiteX5958" fmla="*/ 2631697 w 5521505"/>
              <a:gd name="connsiteY5958" fmla="*/ 152846 h 2146918"/>
              <a:gd name="connsiteX5959" fmla="*/ 2635971 w 5521505"/>
              <a:gd name="connsiteY5959" fmla="*/ 151689 h 2146918"/>
              <a:gd name="connsiteX5960" fmla="*/ 2639015 w 5521505"/>
              <a:gd name="connsiteY5960" fmla="*/ 150837 h 2146918"/>
              <a:gd name="connsiteX5961" fmla="*/ 2649317 w 5521505"/>
              <a:gd name="connsiteY5961" fmla="*/ 147622 h 2146918"/>
              <a:gd name="connsiteX5962" fmla="*/ 2655186 w 5521505"/>
              <a:gd name="connsiteY5962" fmla="*/ 145588 h 2146918"/>
              <a:gd name="connsiteX5963" fmla="*/ 2663576 w 5521505"/>
              <a:gd name="connsiteY5963" fmla="*/ 142544 h 2146918"/>
              <a:gd name="connsiteX5964" fmla="*/ 2670529 w 5521505"/>
              <a:gd name="connsiteY5964" fmla="*/ 139975 h 2146918"/>
              <a:gd name="connsiteX5965" fmla="*/ 2682949 w 5521505"/>
              <a:gd name="connsiteY5965" fmla="*/ 136066 h 2146918"/>
              <a:gd name="connsiteX5966" fmla="*/ 2686602 w 5521505"/>
              <a:gd name="connsiteY5966" fmla="*/ 135372 h 2146918"/>
              <a:gd name="connsiteX5967" fmla="*/ 2698146 w 5521505"/>
              <a:gd name="connsiteY5967" fmla="*/ 133205 h 2146918"/>
              <a:gd name="connsiteX5968" fmla="*/ 2707498 w 5521505"/>
              <a:gd name="connsiteY5968" fmla="*/ 130672 h 2146918"/>
              <a:gd name="connsiteX5969" fmla="*/ 2711504 w 5521505"/>
              <a:gd name="connsiteY5969" fmla="*/ 128796 h 2146918"/>
              <a:gd name="connsiteX5970" fmla="*/ 2718530 w 5521505"/>
              <a:gd name="connsiteY5970" fmla="*/ 125472 h 2146918"/>
              <a:gd name="connsiteX5971" fmla="*/ 2724691 w 5521505"/>
              <a:gd name="connsiteY5971" fmla="*/ 122538 h 2146918"/>
              <a:gd name="connsiteX5972" fmla="*/ 2731937 w 5521505"/>
              <a:gd name="connsiteY5972" fmla="*/ 119055 h 2146918"/>
              <a:gd name="connsiteX5973" fmla="*/ 2746950 w 5521505"/>
              <a:gd name="connsiteY5973" fmla="*/ 111895 h 2146918"/>
              <a:gd name="connsiteX5974" fmla="*/ 2748789 w 5521505"/>
              <a:gd name="connsiteY5974" fmla="*/ 110470 h 2146918"/>
              <a:gd name="connsiteX5975" fmla="*/ 2749228 w 5521505"/>
              <a:gd name="connsiteY5975" fmla="*/ 109825 h 2146918"/>
              <a:gd name="connsiteX5976" fmla="*/ 2750640 w 5521505"/>
              <a:gd name="connsiteY5976" fmla="*/ 108072 h 2146918"/>
              <a:gd name="connsiteX5977" fmla="*/ 2777210 w 5521505"/>
              <a:gd name="connsiteY5977" fmla="*/ 93861 h 2146918"/>
              <a:gd name="connsiteX5978" fmla="*/ 2786136 w 5521505"/>
              <a:gd name="connsiteY5978" fmla="*/ 90208 h 2146918"/>
              <a:gd name="connsiteX5979" fmla="*/ 2788827 w 5521505"/>
              <a:gd name="connsiteY5979" fmla="*/ 88552 h 2146918"/>
              <a:gd name="connsiteX5980" fmla="*/ 2804730 w 5521505"/>
              <a:gd name="connsiteY5980" fmla="*/ 77995 h 2146918"/>
              <a:gd name="connsiteX5981" fmla="*/ 2809028 w 5521505"/>
              <a:gd name="connsiteY5981" fmla="*/ 76582 h 2146918"/>
              <a:gd name="connsiteX5982" fmla="*/ 2812681 w 5521505"/>
              <a:gd name="connsiteY5982" fmla="*/ 75925 h 2146918"/>
              <a:gd name="connsiteX5983" fmla="*/ 2815847 w 5521505"/>
              <a:gd name="connsiteY5983" fmla="*/ 75218 h 2146918"/>
              <a:gd name="connsiteX5984" fmla="*/ 2837546 w 5521505"/>
              <a:gd name="connsiteY5984" fmla="*/ 66013 h 2146918"/>
              <a:gd name="connsiteX5985" fmla="*/ 2850710 w 5521505"/>
              <a:gd name="connsiteY5985" fmla="*/ 59571 h 2146918"/>
              <a:gd name="connsiteX5986" fmla="*/ 2860317 w 5521505"/>
              <a:gd name="connsiteY5986" fmla="*/ 59011 h 2146918"/>
              <a:gd name="connsiteX5987" fmla="*/ 2865723 w 5521505"/>
              <a:gd name="connsiteY5987" fmla="*/ 59669 h 2146918"/>
              <a:gd name="connsiteX5988" fmla="*/ 2893450 w 5521505"/>
              <a:gd name="connsiteY5988" fmla="*/ 57465 h 2146918"/>
              <a:gd name="connsiteX5989" fmla="*/ 2907514 w 5521505"/>
              <a:gd name="connsiteY5989" fmla="*/ 54018 h 2146918"/>
              <a:gd name="connsiteX5990" fmla="*/ 2930151 w 5521505"/>
              <a:gd name="connsiteY5990" fmla="*/ 49294 h 2146918"/>
              <a:gd name="connsiteX5991" fmla="*/ 2935278 w 5521505"/>
              <a:gd name="connsiteY5991" fmla="*/ 49196 h 2146918"/>
              <a:gd name="connsiteX5992" fmla="*/ 2953543 w 5521505"/>
              <a:gd name="connsiteY5992" fmla="*/ 48929 h 2146918"/>
              <a:gd name="connsiteX5993" fmla="*/ 3002323 w 5521505"/>
              <a:gd name="connsiteY5993" fmla="*/ 49513 h 2146918"/>
              <a:gd name="connsiteX5994" fmla="*/ 3030963 w 5521505"/>
              <a:gd name="connsiteY5994" fmla="*/ 51449 h 2146918"/>
              <a:gd name="connsiteX5995" fmla="*/ 3044358 w 5521505"/>
              <a:gd name="connsiteY5995" fmla="*/ 53885 h 2146918"/>
              <a:gd name="connsiteX5996" fmla="*/ 3046245 w 5521505"/>
              <a:gd name="connsiteY5996" fmla="*/ 58134 h 2146918"/>
              <a:gd name="connsiteX5997" fmla="*/ 3062635 w 5521505"/>
              <a:gd name="connsiteY5997" fmla="*/ 60143 h 2146918"/>
              <a:gd name="connsiteX5998" fmla="*/ 3078465 w 5521505"/>
              <a:gd name="connsiteY5998" fmla="*/ 62153 h 2146918"/>
              <a:gd name="connsiteX5999" fmla="*/ 3123167 w 5521505"/>
              <a:gd name="connsiteY5999" fmla="*/ 68095 h 2146918"/>
              <a:gd name="connsiteX6000" fmla="*/ 3167953 w 5521505"/>
              <a:gd name="connsiteY6000" fmla="*/ 74878 h 2146918"/>
              <a:gd name="connsiteX6001" fmla="*/ 3174273 w 5521505"/>
              <a:gd name="connsiteY6001" fmla="*/ 76205 h 2146918"/>
              <a:gd name="connsiteX6002" fmla="*/ 3181908 w 5521505"/>
              <a:gd name="connsiteY6002" fmla="*/ 77946 h 2146918"/>
              <a:gd name="connsiteX6003" fmla="*/ 3191515 w 5521505"/>
              <a:gd name="connsiteY6003" fmla="*/ 80321 h 2146918"/>
              <a:gd name="connsiteX6004" fmla="*/ 3210048 w 5521505"/>
              <a:gd name="connsiteY6004" fmla="*/ 85471 h 2146918"/>
              <a:gd name="connsiteX6005" fmla="*/ 3211899 w 5521505"/>
              <a:gd name="connsiteY6005" fmla="*/ 86238 h 2146918"/>
              <a:gd name="connsiteX6006" fmla="*/ 3220423 w 5521505"/>
              <a:gd name="connsiteY6006" fmla="*/ 91998 h 2146918"/>
              <a:gd name="connsiteX6007" fmla="*/ 3213847 w 5521505"/>
              <a:gd name="connsiteY6007" fmla="*/ 98476 h 2146918"/>
              <a:gd name="connsiteX6008" fmla="*/ 3210523 w 5521505"/>
              <a:gd name="connsiteY6008" fmla="*/ 99255 h 2146918"/>
              <a:gd name="connsiteX6009" fmla="*/ 3208429 w 5521505"/>
              <a:gd name="connsiteY6009" fmla="*/ 99718 h 2146918"/>
              <a:gd name="connsiteX6010" fmla="*/ 3205397 w 5521505"/>
              <a:gd name="connsiteY6010" fmla="*/ 100339 h 2146918"/>
              <a:gd name="connsiteX6011" fmla="*/ 3199308 w 5521505"/>
              <a:gd name="connsiteY6011" fmla="*/ 101398 h 2146918"/>
              <a:gd name="connsiteX6012" fmla="*/ 3176684 w 5521505"/>
              <a:gd name="connsiteY6012" fmla="*/ 102519 h 2146918"/>
              <a:gd name="connsiteX6013" fmla="*/ 3169049 w 5521505"/>
              <a:gd name="connsiteY6013" fmla="*/ 102117 h 2146918"/>
              <a:gd name="connsiteX6014" fmla="*/ 3157298 w 5521505"/>
              <a:gd name="connsiteY6014" fmla="*/ 101679 h 2146918"/>
              <a:gd name="connsiteX6015" fmla="*/ 3133078 w 5521505"/>
              <a:gd name="connsiteY6015" fmla="*/ 99450 h 2146918"/>
              <a:gd name="connsiteX6016" fmla="*/ 3127331 w 5521505"/>
              <a:gd name="connsiteY6016" fmla="*/ 98233 h 2146918"/>
              <a:gd name="connsiteX6017" fmla="*/ 3126369 w 5521505"/>
              <a:gd name="connsiteY6017" fmla="*/ 97989 h 2146918"/>
              <a:gd name="connsiteX6018" fmla="*/ 3125578 w 5521505"/>
              <a:gd name="connsiteY6018" fmla="*/ 97770 h 2146918"/>
              <a:gd name="connsiteX6019" fmla="*/ 3122789 w 5521505"/>
              <a:gd name="connsiteY6019" fmla="*/ 97770 h 2146918"/>
              <a:gd name="connsiteX6020" fmla="*/ 3122326 w 5521505"/>
              <a:gd name="connsiteY6020" fmla="*/ 97770 h 2146918"/>
              <a:gd name="connsiteX6021" fmla="*/ 3121900 w 5521505"/>
              <a:gd name="connsiteY6021" fmla="*/ 97770 h 2146918"/>
              <a:gd name="connsiteX6022" fmla="*/ 3122387 w 5521505"/>
              <a:gd name="connsiteY6022" fmla="*/ 98878 h 2146918"/>
              <a:gd name="connsiteX6023" fmla="*/ 3123069 w 5521505"/>
              <a:gd name="connsiteY6023" fmla="*/ 101118 h 2146918"/>
              <a:gd name="connsiteX6024" fmla="*/ 3123787 w 5521505"/>
              <a:gd name="connsiteY6024" fmla="*/ 103030 h 2146918"/>
              <a:gd name="connsiteX6025" fmla="*/ 3127063 w 5521505"/>
              <a:gd name="connsiteY6025" fmla="*/ 105843 h 2146918"/>
              <a:gd name="connsiteX6026" fmla="*/ 3128427 w 5521505"/>
              <a:gd name="connsiteY6026" fmla="*/ 106550 h 2146918"/>
              <a:gd name="connsiteX6027" fmla="*/ 3129998 w 5521505"/>
              <a:gd name="connsiteY6027" fmla="*/ 107451 h 2146918"/>
              <a:gd name="connsiteX6028" fmla="*/ 3132737 w 5521505"/>
              <a:gd name="connsiteY6028" fmla="*/ 109192 h 2146918"/>
              <a:gd name="connsiteX6029" fmla="*/ 3135952 w 5521505"/>
              <a:gd name="connsiteY6029" fmla="*/ 111298 h 2146918"/>
              <a:gd name="connsiteX6030" fmla="*/ 3138911 w 5521505"/>
              <a:gd name="connsiteY6030" fmla="*/ 113076 h 2146918"/>
              <a:gd name="connsiteX6031" fmla="*/ 3140884 w 5521505"/>
              <a:gd name="connsiteY6031" fmla="*/ 114099 h 2146918"/>
              <a:gd name="connsiteX6032" fmla="*/ 3157931 w 5521505"/>
              <a:gd name="connsiteY6032" fmla="*/ 117569 h 2146918"/>
              <a:gd name="connsiteX6033" fmla="*/ 3164020 w 5521505"/>
              <a:gd name="connsiteY6033" fmla="*/ 116827 h 2146918"/>
              <a:gd name="connsiteX6034" fmla="*/ 3155764 w 5521505"/>
              <a:gd name="connsiteY6034" fmla="*/ 114598 h 2146918"/>
              <a:gd name="connsiteX6035" fmla="*/ 3155119 w 5521505"/>
              <a:gd name="connsiteY6035" fmla="*/ 108741 h 2146918"/>
              <a:gd name="connsiteX6036" fmla="*/ 3172385 w 5521505"/>
              <a:gd name="connsiteY6036" fmla="*/ 108230 h 2146918"/>
              <a:gd name="connsiteX6037" fmla="*/ 3177402 w 5521505"/>
              <a:gd name="connsiteY6037" fmla="*/ 109447 h 2146918"/>
              <a:gd name="connsiteX6038" fmla="*/ 3182857 w 5521505"/>
              <a:gd name="connsiteY6038" fmla="*/ 110750 h 2146918"/>
              <a:gd name="connsiteX6039" fmla="*/ 3194925 w 5521505"/>
              <a:gd name="connsiteY6039" fmla="*/ 113295 h 2146918"/>
              <a:gd name="connsiteX6040" fmla="*/ 3210207 w 5521505"/>
              <a:gd name="connsiteY6040" fmla="*/ 116522 h 2146918"/>
              <a:gd name="connsiteX6041" fmla="*/ 3207942 w 5521505"/>
              <a:gd name="connsiteY6041" fmla="*/ 114854 h 2146918"/>
              <a:gd name="connsiteX6042" fmla="*/ 3203010 w 5521505"/>
              <a:gd name="connsiteY6042" fmla="*/ 110763 h 2146918"/>
              <a:gd name="connsiteX6043" fmla="*/ 3208161 w 5521505"/>
              <a:gd name="connsiteY6043" fmla="*/ 106537 h 2146918"/>
              <a:gd name="connsiteX6044" fmla="*/ 3217975 w 5521505"/>
              <a:gd name="connsiteY6044" fmla="*/ 105405 h 2146918"/>
              <a:gd name="connsiteX6045" fmla="*/ 3229482 w 5521505"/>
              <a:gd name="connsiteY6045" fmla="*/ 103201 h 2146918"/>
              <a:gd name="connsiteX6046" fmla="*/ 3236630 w 5521505"/>
              <a:gd name="connsiteY6046" fmla="*/ 101593 h 2146918"/>
              <a:gd name="connsiteX6047" fmla="*/ 3241379 w 5521505"/>
              <a:gd name="connsiteY6047" fmla="*/ 100534 h 2146918"/>
              <a:gd name="connsiteX6048" fmla="*/ 3252801 w 5521505"/>
              <a:gd name="connsiteY6048" fmla="*/ 99816 h 2146918"/>
              <a:gd name="connsiteX6049" fmla="*/ 3256819 w 5521505"/>
              <a:gd name="connsiteY6049" fmla="*/ 99816 h 2146918"/>
              <a:gd name="connsiteX6050" fmla="*/ 3260314 w 5521505"/>
              <a:gd name="connsiteY6050" fmla="*/ 99816 h 2146918"/>
              <a:gd name="connsiteX6051" fmla="*/ 3265380 w 5521505"/>
              <a:gd name="connsiteY6051" fmla="*/ 99816 h 2146918"/>
              <a:gd name="connsiteX6052" fmla="*/ 3263091 w 5521505"/>
              <a:gd name="connsiteY6052" fmla="*/ 98050 h 2146918"/>
              <a:gd name="connsiteX6053" fmla="*/ 3258317 w 5521505"/>
              <a:gd name="connsiteY6053" fmla="*/ 93106 h 2146918"/>
              <a:gd name="connsiteX6054" fmla="*/ 3258427 w 5521505"/>
              <a:gd name="connsiteY6054" fmla="*/ 88467 h 2146918"/>
              <a:gd name="connsiteX6055" fmla="*/ 3255748 w 5521505"/>
              <a:gd name="connsiteY6055" fmla="*/ 84315 h 2146918"/>
              <a:gd name="connsiteX6056" fmla="*/ 3254348 w 5521505"/>
              <a:gd name="connsiteY6056" fmla="*/ 83097 h 2146918"/>
              <a:gd name="connsiteX6057" fmla="*/ 3253264 w 5521505"/>
              <a:gd name="connsiteY6057" fmla="*/ 82123 h 2146918"/>
              <a:gd name="connsiteX6058" fmla="*/ 3252363 w 5521505"/>
              <a:gd name="connsiteY6058" fmla="*/ 81222 h 2146918"/>
              <a:gd name="connsiteX6059" fmla="*/ 3257733 w 5521505"/>
              <a:gd name="connsiteY6059" fmla="*/ 81002 h 2146918"/>
              <a:gd name="connsiteX6060" fmla="*/ 3282513 w 5521505"/>
              <a:gd name="connsiteY6060" fmla="*/ 81002 h 2146918"/>
              <a:gd name="connsiteX6061" fmla="*/ 3297856 w 5521505"/>
              <a:gd name="connsiteY6061" fmla="*/ 83815 h 2146918"/>
              <a:gd name="connsiteX6062" fmla="*/ 3306075 w 5521505"/>
              <a:gd name="connsiteY6062" fmla="*/ 89356 h 2146918"/>
              <a:gd name="connsiteX6063" fmla="*/ 3288930 w 5521505"/>
              <a:gd name="connsiteY6063" fmla="*/ 92838 h 2146918"/>
              <a:gd name="connsiteX6064" fmla="*/ 3301935 w 5521505"/>
              <a:gd name="connsiteY6064" fmla="*/ 97380 h 2146918"/>
              <a:gd name="connsiteX6065" fmla="*/ 3322635 w 5521505"/>
              <a:gd name="connsiteY6065" fmla="*/ 99816 h 2146918"/>
              <a:gd name="connsiteX6066" fmla="*/ 3332072 w 5521505"/>
              <a:gd name="connsiteY6066" fmla="*/ 93593 h 2146918"/>
              <a:gd name="connsiteX6067" fmla="*/ 3349619 w 5521505"/>
              <a:gd name="connsiteY6067" fmla="*/ 92376 h 2146918"/>
              <a:gd name="connsiteX6068" fmla="*/ 3357498 w 5521505"/>
              <a:gd name="connsiteY6068" fmla="*/ 92266 h 2146918"/>
              <a:gd name="connsiteX6069" fmla="*/ 3366022 w 5521505"/>
              <a:gd name="connsiteY6069" fmla="*/ 92047 h 2146918"/>
              <a:gd name="connsiteX6070" fmla="*/ 3390132 w 5521505"/>
              <a:gd name="connsiteY6070" fmla="*/ 89611 h 2146918"/>
              <a:gd name="connsiteX6071" fmla="*/ 3399995 w 5521505"/>
              <a:gd name="connsiteY6071" fmla="*/ 88333 h 2146918"/>
              <a:gd name="connsiteX6072" fmla="*/ 3421000 w 5521505"/>
              <a:gd name="connsiteY6072" fmla="*/ 91657 h 2146918"/>
              <a:gd name="connsiteX6073" fmla="*/ 3435916 w 5521505"/>
              <a:gd name="connsiteY6073" fmla="*/ 94580 h 2146918"/>
              <a:gd name="connsiteX6074" fmla="*/ 3456617 w 5521505"/>
              <a:gd name="connsiteY6074" fmla="*/ 95651 h 2146918"/>
              <a:gd name="connsiteX6075" fmla="*/ 3466651 w 5521505"/>
              <a:gd name="connsiteY6075" fmla="*/ 96029 h 2146918"/>
              <a:gd name="connsiteX6076" fmla="*/ 3482237 w 5521505"/>
              <a:gd name="connsiteY6076" fmla="*/ 96698 h 2146918"/>
              <a:gd name="connsiteX6077" fmla="*/ 3496984 w 5521505"/>
              <a:gd name="connsiteY6077" fmla="*/ 97721 h 2146918"/>
              <a:gd name="connsiteX6078" fmla="*/ 3507261 w 5521505"/>
              <a:gd name="connsiteY6078" fmla="*/ 100644 h 2146918"/>
              <a:gd name="connsiteX6079" fmla="*/ 3510548 w 5521505"/>
              <a:gd name="connsiteY6079" fmla="*/ 101398 h 2146918"/>
              <a:gd name="connsiteX6080" fmla="*/ 3512436 w 5521505"/>
              <a:gd name="connsiteY6080" fmla="*/ 101569 h 2146918"/>
              <a:gd name="connsiteX6081" fmla="*/ 3515066 w 5521505"/>
              <a:gd name="connsiteY6081" fmla="*/ 101800 h 2146918"/>
              <a:gd name="connsiteX6082" fmla="*/ 3516467 w 5521505"/>
              <a:gd name="connsiteY6082" fmla="*/ 101959 h 2146918"/>
              <a:gd name="connsiteX6083" fmla="*/ 3515979 w 5521505"/>
              <a:gd name="connsiteY6083" fmla="*/ 101021 h 2146918"/>
              <a:gd name="connsiteX6084" fmla="*/ 3514762 w 5521505"/>
              <a:gd name="connsiteY6084" fmla="*/ 98902 h 2146918"/>
              <a:gd name="connsiteX6085" fmla="*/ 3514153 w 5521505"/>
              <a:gd name="connsiteY6085" fmla="*/ 98160 h 2146918"/>
              <a:gd name="connsiteX6086" fmla="*/ 3514153 w 5521505"/>
              <a:gd name="connsiteY6086" fmla="*/ 93228 h 2146918"/>
              <a:gd name="connsiteX6087" fmla="*/ 3525112 w 5521505"/>
              <a:gd name="connsiteY6087" fmla="*/ 93228 h 2146918"/>
              <a:gd name="connsiteX6088" fmla="*/ 3550221 w 5521505"/>
              <a:gd name="connsiteY6088" fmla="*/ 95907 h 2146918"/>
              <a:gd name="connsiteX6089" fmla="*/ 3578836 w 5521505"/>
              <a:gd name="connsiteY6089" fmla="*/ 102482 h 2146918"/>
              <a:gd name="connsiteX6090" fmla="*/ 3583780 w 5521505"/>
              <a:gd name="connsiteY6090" fmla="*/ 104102 h 2146918"/>
              <a:gd name="connsiteX6091" fmla="*/ 3591305 w 5521505"/>
              <a:gd name="connsiteY6091" fmla="*/ 106537 h 2146918"/>
              <a:gd name="connsiteX6092" fmla="*/ 3601047 w 5521505"/>
              <a:gd name="connsiteY6092" fmla="*/ 109752 h 2146918"/>
              <a:gd name="connsiteX6093" fmla="*/ 3609242 w 5521505"/>
              <a:gd name="connsiteY6093" fmla="*/ 112467 h 2146918"/>
              <a:gd name="connsiteX6094" fmla="*/ 3627336 w 5521505"/>
              <a:gd name="connsiteY6094" fmla="*/ 118556 h 2146918"/>
              <a:gd name="connsiteX6095" fmla="*/ 3650619 w 5521505"/>
              <a:gd name="connsiteY6095" fmla="*/ 125533 h 2146918"/>
              <a:gd name="connsiteX6096" fmla="*/ 3640877 w 5521505"/>
              <a:gd name="connsiteY6096" fmla="*/ 119213 h 2146918"/>
              <a:gd name="connsiteX6097" fmla="*/ 3639343 w 5521505"/>
              <a:gd name="connsiteY6097" fmla="*/ 118519 h 2146918"/>
              <a:gd name="connsiteX6098" fmla="*/ 3637334 w 5521505"/>
              <a:gd name="connsiteY6098" fmla="*/ 117691 h 2146918"/>
              <a:gd name="connsiteX6099" fmla="*/ 3635471 w 5521505"/>
              <a:gd name="connsiteY6099" fmla="*/ 116985 h 2146918"/>
              <a:gd name="connsiteX6100" fmla="*/ 3633120 w 5521505"/>
              <a:gd name="connsiteY6100" fmla="*/ 116133 h 2146918"/>
              <a:gd name="connsiteX6101" fmla="*/ 3629906 w 5521505"/>
              <a:gd name="connsiteY6101" fmla="*/ 115061 h 2146918"/>
              <a:gd name="connsiteX6102" fmla="*/ 3626618 w 5521505"/>
              <a:gd name="connsiteY6102" fmla="*/ 114038 h 2146918"/>
              <a:gd name="connsiteX6103" fmla="*/ 3620177 w 5521505"/>
              <a:gd name="connsiteY6103" fmla="*/ 111603 h 2146918"/>
              <a:gd name="connsiteX6104" fmla="*/ 3614587 w 5521505"/>
              <a:gd name="connsiteY6104" fmla="*/ 107195 h 2146918"/>
              <a:gd name="connsiteX6105" fmla="*/ 3610801 w 5521505"/>
              <a:gd name="connsiteY6105" fmla="*/ 102896 h 2146918"/>
              <a:gd name="connsiteX6106" fmla="*/ 3609583 w 5521505"/>
              <a:gd name="connsiteY6106" fmla="*/ 101679 h 2146918"/>
              <a:gd name="connsiteX6107" fmla="*/ 3607598 w 5521505"/>
              <a:gd name="connsiteY6107" fmla="*/ 99949 h 2146918"/>
              <a:gd name="connsiteX6108" fmla="*/ 3602861 w 5521505"/>
              <a:gd name="connsiteY6108" fmla="*/ 95907 h 2146918"/>
              <a:gd name="connsiteX6109" fmla="*/ 3600742 w 5521505"/>
              <a:gd name="connsiteY6109" fmla="*/ 94044 h 2146918"/>
              <a:gd name="connsiteX6110" fmla="*/ 3602642 w 5521505"/>
              <a:gd name="connsiteY6110" fmla="*/ 91913 h 2146918"/>
              <a:gd name="connsiteX6111" fmla="*/ 3610362 w 5521505"/>
              <a:gd name="connsiteY6111" fmla="*/ 90306 h 2146918"/>
              <a:gd name="connsiteX6112" fmla="*/ 3617802 w 5521505"/>
              <a:gd name="connsiteY6112" fmla="*/ 89356 h 2146918"/>
              <a:gd name="connsiteX6113" fmla="*/ 3618520 w 5521505"/>
              <a:gd name="connsiteY6113" fmla="*/ 88662 h 2146918"/>
              <a:gd name="connsiteX6114" fmla="*/ 3618971 w 5521505"/>
              <a:gd name="connsiteY6114" fmla="*/ 87444 h 2146918"/>
              <a:gd name="connsiteX6115" fmla="*/ 3619300 w 5521505"/>
              <a:gd name="connsiteY6115" fmla="*/ 82452 h 2146918"/>
              <a:gd name="connsiteX6116" fmla="*/ 3624232 w 5521505"/>
              <a:gd name="connsiteY6116" fmla="*/ 79444 h 2146918"/>
              <a:gd name="connsiteX6117" fmla="*/ 3635337 w 5521505"/>
              <a:gd name="connsiteY6117" fmla="*/ 79444 h 2146918"/>
              <a:gd name="connsiteX6118" fmla="*/ 3661334 w 5521505"/>
              <a:gd name="connsiteY6118" fmla="*/ 82829 h 2146918"/>
              <a:gd name="connsiteX6119" fmla="*/ 3679478 w 5521505"/>
              <a:gd name="connsiteY6119" fmla="*/ 88771 h 2146918"/>
              <a:gd name="connsiteX6120" fmla="*/ 3685225 w 5521505"/>
              <a:gd name="connsiteY6120" fmla="*/ 95164 h 2146918"/>
              <a:gd name="connsiteX6121" fmla="*/ 3684824 w 5521505"/>
              <a:gd name="connsiteY6121" fmla="*/ 102032 h 2146918"/>
              <a:gd name="connsiteX6122" fmla="*/ 3689487 w 5521505"/>
              <a:gd name="connsiteY6122" fmla="*/ 103676 h 2146918"/>
              <a:gd name="connsiteX6123" fmla="*/ 3698851 w 5521505"/>
              <a:gd name="connsiteY6123" fmla="*/ 106976 h 2146918"/>
              <a:gd name="connsiteX6124" fmla="*/ 3701384 w 5521505"/>
              <a:gd name="connsiteY6124" fmla="*/ 107889 h 2146918"/>
              <a:gd name="connsiteX6125" fmla="*/ 3703016 w 5521505"/>
              <a:gd name="connsiteY6125" fmla="*/ 109374 h 2146918"/>
              <a:gd name="connsiteX6126" fmla="*/ 3703210 w 5521505"/>
              <a:gd name="connsiteY6126" fmla="*/ 111481 h 2146918"/>
              <a:gd name="connsiteX6127" fmla="*/ 3705646 w 5521505"/>
              <a:gd name="connsiteY6127" fmla="*/ 115244 h 2146918"/>
              <a:gd name="connsiteX6128" fmla="*/ 3706547 w 5521505"/>
              <a:gd name="connsiteY6128" fmla="*/ 116291 h 2146918"/>
              <a:gd name="connsiteX6129" fmla="*/ 3712051 w 5521505"/>
              <a:gd name="connsiteY6129" fmla="*/ 122659 h 2146918"/>
              <a:gd name="connsiteX6130" fmla="*/ 3716021 w 5521505"/>
              <a:gd name="connsiteY6130" fmla="*/ 128322 h 2146918"/>
              <a:gd name="connsiteX6131" fmla="*/ 3722864 w 5521505"/>
              <a:gd name="connsiteY6131" fmla="*/ 133923 h 2146918"/>
              <a:gd name="connsiteX6132" fmla="*/ 3733056 w 5521505"/>
              <a:gd name="connsiteY6132" fmla="*/ 143019 h 2146918"/>
              <a:gd name="connsiteX6133" fmla="*/ 3724094 w 5521505"/>
              <a:gd name="connsiteY6133" fmla="*/ 151689 h 2146918"/>
              <a:gd name="connsiteX6134" fmla="*/ 3713329 w 5521505"/>
              <a:gd name="connsiteY6134" fmla="*/ 154684 h 2146918"/>
              <a:gd name="connsiteX6135" fmla="*/ 3710334 w 5521505"/>
              <a:gd name="connsiteY6135" fmla="*/ 155464 h 2146918"/>
              <a:gd name="connsiteX6136" fmla="*/ 3736733 w 5521505"/>
              <a:gd name="connsiteY6136" fmla="*/ 160748 h 2146918"/>
              <a:gd name="connsiteX6137" fmla="*/ 3752685 w 5521505"/>
              <a:gd name="connsiteY6137" fmla="*/ 153564 h 2146918"/>
              <a:gd name="connsiteX6138" fmla="*/ 3748070 w 5521505"/>
              <a:gd name="connsiteY6138" fmla="*/ 145418 h 2146918"/>
              <a:gd name="connsiteX6139" fmla="*/ 3744575 w 5521505"/>
              <a:gd name="connsiteY6139" fmla="*/ 137552 h 2146918"/>
              <a:gd name="connsiteX6140" fmla="*/ 3723643 w 5521505"/>
              <a:gd name="connsiteY6140" fmla="*/ 129369 h 2146918"/>
              <a:gd name="connsiteX6141" fmla="*/ 3719600 w 5521505"/>
              <a:gd name="connsiteY6141" fmla="*/ 123281 h 2146918"/>
              <a:gd name="connsiteX6142" fmla="*/ 3714547 w 5521505"/>
              <a:gd name="connsiteY6142" fmla="*/ 117594 h 2146918"/>
              <a:gd name="connsiteX6143" fmla="*/ 3704294 w 5521505"/>
              <a:gd name="connsiteY6143" fmla="*/ 109703 h 2146918"/>
              <a:gd name="connsiteX6144" fmla="*/ 3701761 w 5521505"/>
              <a:gd name="connsiteY6144" fmla="*/ 107511 h 2146918"/>
              <a:gd name="connsiteX6145" fmla="*/ 3699996 w 5521505"/>
              <a:gd name="connsiteY6145" fmla="*/ 104333 h 2146918"/>
              <a:gd name="connsiteX6146" fmla="*/ 3706815 w 5521505"/>
              <a:gd name="connsiteY6146" fmla="*/ 101058 h 2146918"/>
              <a:gd name="connsiteX6147" fmla="*/ 3712794 w 5521505"/>
              <a:gd name="connsiteY6147" fmla="*/ 97052 h 2146918"/>
              <a:gd name="connsiteX6148" fmla="*/ 3713013 w 5521505"/>
              <a:gd name="connsiteY6148" fmla="*/ 95128 h 2146918"/>
              <a:gd name="connsiteX6149" fmla="*/ 3724557 w 5521505"/>
              <a:gd name="connsiteY6149" fmla="*/ 97052 h 2146918"/>
              <a:gd name="connsiteX6150" fmla="*/ 3734785 w 5521505"/>
              <a:gd name="connsiteY6150" fmla="*/ 102482 h 2146918"/>
              <a:gd name="connsiteX6151" fmla="*/ 3752247 w 5521505"/>
              <a:gd name="connsiteY6151" fmla="*/ 107195 h 2146918"/>
              <a:gd name="connsiteX6152" fmla="*/ 3759845 w 5521505"/>
              <a:gd name="connsiteY6152" fmla="*/ 107597 h 2146918"/>
              <a:gd name="connsiteX6153" fmla="*/ 3774323 w 5521505"/>
              <a:gd name="connsiteY6153" fmla="*/ 109423 h 2146918"/>
              <a:gd name="connsiteX6154" fmla="*/ 3784065 w 5521505"/>
              <a:gd name="connsiteY6154" fmla="*/ 110909 h 2146918"/>
              <a:gd name="connsiteX6155" fmla="*/ 3791627 w 5521505"/>
              <a:gd name="connsiteY6155" fmla="*/ 112199 h 2146918"/>
              <a:gd name="connsiteX6156" fmla="*/ 3799286 w 5521505"/>
              <a:gd name="connsiteY6156" fmla="*/ 113770 h 2146918"/>
              <a:gd name="connsiteX6157" fmla="*/ 3794951 w 5521505"/>
              <a:gd name="connsiteY6157" fmla="*/ 110361 h 2146918"/>
              <a:gd name="connsiteX6158" fmla="*/ 3792272 w 5521505"/>
              <a:gd name="connsiteY6158" fmla="*/ 108315 h 2146918"/>
              <a:gd name="connsiteX6159" fmla="*/ 3788424 w 5521505"/>
              <a:gd name="connsiteY6159" fmla="*/ 104224 h 2146918"/>
              <a:gd name="connsiteX6160" fmla="*/ 3803998 w 5521505"/>
              <a:gd name="connsiteY6160" fmla="*/ 101691 h 2146918"/>
              <a:gd name="connsiteX6161" fmla="*/ 3812948 w 5521505"/>
              <a:gd name="connsiteY6161" fmla="*/ 103128 h 2146918"/>
              <a:gd name="connsiteX6162" fmla="*/ 3834343 w 5521505"/>
              <a:gd name="connsiteY6162" fmla="*/ 106781 h 2146918"/>
              <a:gd name="connsiteX6163" fmla="*/ 3845168 w 5521505"/>
              <a:gd name="connsiteY6163" fmla="*/ 108705 h 2146918"/>
              <a:gd name="connsiteX6164" fmla="*/ 3858173 w 5521505"/>
              <a:gd name="connsiteY6164" fmla="*/ 111031 h 2146918"/>
              <a:gd name="connsiteX6165" fmla="*/ 3862606 w 5521505"/>
              <a:gd name="connsiteY6165" fmla="*/ 111664 h 2146918"/>
              <a:gd name="connsiteX6166" fmla="*/ 3866051 w 5521505"/>
              <a:gd name="connsiteY6166" fmla="*/ 111834 h 2146918"/>
              <a:gd name="connsiteX6167" fmla="*/ 3863105 w 5521505"/>
              <a:gd name="connsiteY6167" fmla="*/ 105502 h 2146918"/>
              <a:gd name="connsiteX6168" fmla="*/ 3865199 w 5521505"/>
              <a:gd name="connsiteY6168" fmla="*/ 105210 h 2146918"/>
              <a:gd name="connsiteX6169" fmla="*/ 3871288 w 5521505"/>
              <a:gd name="connsiteY6169" fmla="*/ 104735 h 2146918"/>
              <a:gd name="connsiteX6170" fmla="*/ 3879677 w 5521505"/>
              <a:gd name="connsiteY6170" fmla="*/ 104954 h 2146918"/>
              <a:gd name="connsiteX6171" fmla="*/ 3933328 w 5521505"/>
              <a:gd name="connsiteY6171" fmla="*/ 109728 h 2146918"/>
              <a:gd name="connsiteX6172" fmla="*/ 3941317 w 5521505"/>
              <a:gd name="connsiteY6172" fmla="*/ 110945 h 2146918"/>
              <a:gd name="connsiteX6173" fmla="*/ 3944836 w 5521505"/>
              <a:gd name="connsiteY6173" fmla="*/ 111493 h 2146918"/>
              <a:gd name="connsiteX6174" fmla="*/ 3952312 w 5521505"/>
              <a:gd name="connsiteY6174" fmla="*/ 112711 h 2146918"/>
              <a:gd name="connsiteX6175" fmla="*/ 3957086 w 5521505"/>
              <a:gd name="connsiteY6175" fmla="*/ 113551 h 2146918"/>
              <a:gd name="connsiteX6176" fmla="*/ 3959679 w 5521505"/>
              <a:gd name="connsiteY6176" fmla="*/ 113989 h 2146918"/>
              <a:gd name="connsiteX6177" fmla="*/ 3967485 w 5521505"/>
              <a:gd name="connsiteY6177" fmla="*/ 115207 h 2146918"/>
              <a:gd name="connsiteX6178" fmla="*/ 3983777 w 5521505"/>
              <a:gd name="connsiteY6178" fmla="*/ 118190 h 2146918"/>
              <a:gd name="connsiteX6179" fmla="*/ 3999193 w 5521505"/>
              <a:gd name="connsiteY6179" fmla="*/ 121576 h 2146918"/>
              <a:gd name="connsiteX6180" fmla="*/ 4003467 w 5521505"/>
              <a:gd name="connsiteY6180" fmla="*/ 122391 h 2146918"/>
              <a:gd name="connsiteX6181" fmla="*/ 4009397 w 5521505"/>
              <a:gd name="connsiteY6181" fmla="*/ 123512 h 2146918"/>
              <a:gd name="connsiteX6182" fmla="*/ 4035212 w 5521505"/>
              <a:gd name="connsiteY6182" fmla="*/ 128383 h 2146918"/>
              <a:gd name="connsiteX6183" fmla="*/ 4036795 w 5521505"/>
              <a:gd name="connsiteY6183" fmla="*/ 125375 h 2146918"/>
              <a:gd name="connsiteX6184" fmla="*/ 4050762 w 5521505"/>
              <a:gd name="connsiteY6184" fmla="*/ 124900 h 2146918"/>
              <a:gd name="connsiteX6185" fmla="*/ 4096145 w 5521505"/>
              <a:gd name="connsiteY6185" fmla="*/ 137807 h 2146918"/>
              <a:gd name="connsiteX6186" fmla="*/ 4101016 w 5521505"/>
              <a:gd name="connsiteY6186" fmla="*/ 140097 h 2146918"/>
              <a:gd name="connsiteX6187" fmla="*/ 4105217 w 5521505"/>
              <a:gd name="connsiteY6187" fmla="*/ 141692 h 2146918"/>
              <a:gd name="connsiteX6188" fmla="*/ 4122070 w 5521505"/>
              <a:gd name="connsiteY6188" fmla="*/ 147464 h 2146918"/>
              <a:gd name="connsiteX6189" fmla="*/ 4136682 w 5521505"/>
              <a:gd name="connsiteY6189" fmla="*/ 152748 h 2146918"/>
              <a:gd name="connsiteX6190" fmla="*/ 4140566 w 5521505"/>
              <a:gd name="connsiteY6190" fmla="*/ 154575 h 2146918"/>
              <a:gd name="connsiteX6191" fmla="*/ 4165042 w 5521505"/>
              <a:gd name="connsiteY6191" fmla="*/ 163866 h 2146918"/>
              <a:gd name="connsiteX6192" fmla="*/ 4172348 w 5521505"/>
              <a:gd name="connsiteY6192" fmla="*/ 166167 h 2146918"/>
              <a:gd name="connsiteX6193" fmla="*/ 4181931 w 5521505"/>
              <a:gd name="connsiteY6193" fmla="*/ 169065 h 2146918"/>
              <a:gd name="connsiteX6194" fmla="*/ 4213774 w 5521505"/>
              <a:gd name="connsiteY6194" fmla="*/ 180134 h 2146918"/>
              <a:gd name="connsiteX6195" fmla="*/ 4243108 w 5521505"/>
              <a:gd name="connsiteY6195" fmla="*/ 196208 h 2146918"/>
              <a:gd name="connsiteX6196" fmla="*/ 4247418 w 5521505"/>
              <a:gd name="connsiteY6196" fmla="*/ 199507 h 2146918"/>
              <a:gd name="connsiteX6197" fmla="*/ 4251741 w 5521505"/>
              <a:gd name="connsiteY6197" fmla="*/ 202819 h 2146918"/>
              <a:gd name="connsiteX6198" fmla="*/ 4224526 w 5521505"/>
              <a:gd name="connsiteY6198" fmla="*/ 203879 h 2146918"/>
              <a:gd name="connsiteX6199" fmla="*/ 4217646 w 5521505"/>
              <a:gd name="connsiteY6199" fmla="*/ 203587 h 2146918"/>
              <a:gd name="connsiteX6200" fmla="*/ 4212288 w 5521505"/>
              <a:gd name="connsiteY6200" fmla="*/ 203587 h 2146918"/>
              <a:gd name="connsiteX6201" fmla="*/ 4200343 w 5521505"/>
              <a:gd name="connsiteY6201" fmla="*/ 205182 h 2146918"/>
              <a:gd name="connsiteX6202" fmla="*/ 4217232 w 5521505"/>
              <a:gd name="connsiteY6202" fmla="*/ 210698 h 2146918"/>
              <a:gd name="connsiteX6203" fmla="*/ 4240721 w 5521505"/>
              <a:gd name="connsiteY6203" fmla="*/ 214826 h 2146918"/>
              <a:gd name="connsiteX6204" fmla="*/ 4270688 w 5521505"/>
              <a:gd name="connsiteY6204" fmla="*/ 222363 h 2146918"/>
              <a:gd name="connsiteX6205" fmla="*/ 4280028 w 5521505"/>
              <a:gd name="connsiteY6205" fmla="*/ 226577 h 2146918"/>
              <a:gd name="connsiteX6206" fmla="*/ 4282293 w 5521505"/>
              <a:gd name="connsiteY6206" fmla="*/ 227465 h 2146918"/>
              <a:gd name="connsiteX6207" fmla="*/ 4289270 w 5521505"/>
              <a:gd name="connsiteY6207" fmla="*/ 230047 h 2146918"/>
              <a:gd name="connsiteX6208" fmla="*/ 4307535 w 5521505"/>
              <a:gd name="connsiteY6208" fmla="*/ 236720 h 2146918"/>
              <a:gd name="connsiteX6209" fmla="*/ 4325618 w 5521505"/>
              <a:gd name="connsiteY6209" fmla="*/ 243429 h 2146918"/>
              <a:gd name="connsiteX6210" fmla="*/ 4350069 w 5521505"/>
              <a:gd name="connsiteY6210" fmla="*/ 252647 h 2146918"/>
              <a:gd name="connsiteX6211" fmla="*/ 4364998 w 5521505"/>
              <a:gd name="connsiteY6211" fmla="*/ 258383 h 2146918"/>
              <a:gd name="connsiteX6212" fmla="*/ 4378051 w 5521505"/>
              <a:gd name="connsiteY6212" fmla="*/ 263460 h 2146918"/>
              <a:gd name="connsiteX6213" fmla="*/ 4391361 w 5521505"/>
              <a:gd name="connsiteY6213" fmla="*/ 268745 h 2146918"/>
              <a:gd name="connsiteX6214" fmla="*/ 4404073 w 5521505"/>
              <a:gd name="connsiteY6214" fmla="*/ 274225 h 2146918"/>
              <a:gd name="connsiteX6215" fmla="*/ 4417590 w 5521505"/>
              <a:gd name="connsiteY6215" fmla="*/ 280313 h 2146918"/>
              <a:gd name="connsiteX6216" fmla="*/ 4418089 w 5521505"/>
              <a:gd name="connsiteY6216" fmla="*/ 280082 h 2146918"/>
              <a:gd name="connsiteX6217" fmla="*/ 4418552 w 5521505"/>
              <a:gd name="connsiteY6217" fmla="*/ 279899 h 2146918"/>
              <a:gd name="connsiteX6218" fmla="*/ 4419392 w 5521505"/>
              <a:gd name="connsiteY6218" fmla="*/ 279595 h 2146918"/>
              <a:gd name="connsiteX6219" fmla="*/ 4439240 w 5521505"/>
              <a:gd name="connsiteY6219" fmla="*/ 281372 h 2146918"/>
              <a:gd name="connsiteX6220" fmla="*/ 4458492 w 5521505"/>
              <a:gd name="connsiteY6220" fmla="*/ 292100 h 2146918"/>
              <a:gd name="connsiteX6221" fmla="*/ 4465688 w 5521505"/>
              <a:gd name="connsiteY6221" fmla="*/ 295924 h 2146918"/>
              <a:gd name="connsiteX6222" fmla="*/ 4482492 w 5521505"/>
              <a:gd name="connsiteY6222" fmla="*/ 302012 h 2146918"/>
              <a:gd name="connsiteX6223" fmla="*/ 4495887 w 5521505"/>
              <a:gd name="connsiteY6223" fmla="*/ 306384 h 2146918"/>
              <a:gd name="connsiteX6224" fmla="*/ 4523200 w 5521505"/>
              <a:gd name="connsiteY6224" fmla="*/ 320241 h 2146918"/>
              <a:gd name="connsiteX6225" fmla="*/ 4533355 w 5521505"/>
              <a:gd name="connsiteY6225" fmla="*/ 327109 h 2146918"/>
              <a:gd name="connsiteX6226" fmla="*/ 4539321 w 5521505"/>
              <a:gd name="connsiteY6226" fmla="*/ 331857 h 2146918"/>
              <a:gd name="connsiteX6227" fmla="*/ 4539882 w 5521505"/>
              <a:gd name="connsiteY6227" fmla="*/ 332552 h 2146918"/>
              <a:gd name="connsiteX6228" fmla="*/ 4540929 w 5521505"/>
              <a:gd name="connsiteY6228" fmla="*/ 334135 h 2146918"/>
              <a:gd name="connsiteX6229" fmla="*/ 4542147 w 5521505"/>
              <a:gd name="connsiteY6229" fmla="*/ 335742 h 2146918"/>
              <a:gd name="connsiteX6230" fmla="*/ 4543438 w 5521505"/>
              <a:gd name="connsiteY6230" fmla="*/ 337276 h 2146918"/>
              <a:gd name="connsiteX6231" fmla="*/ 4544825 w 5521505"/>
              <a:gd name="connsiteY6231" fmla="*/ 338774 h 2146918"/>
              <a:gd name="connsiteX6232" fmla="*/ 4546274 w 5521505"/>
              <a:gd name="connsiteY6232" fmla="*/ 340199 h 2146918"/>
              <a:gd name="connsiteX6233" fmla="*/ 4548187 w 5521505"/>
              <a:gd name="connsiteY6233" fmla="*/ 341964 h 2146918"/>
              <a:gd name="connsiteX6234" fmla="*/ 4550561 w 5521505"/>
              <a:gd name="connsiteY6234" fmla="*/ 343986 h 2146918"/>
              <a:gd name="connsiteX6235" fmla="*/ 4553155 w 5521505"/>
              <a:gd name="connsiteY6235" fmla="*/ 346044 h 2146918"/>
              <a:gd name="connsiteX6236" fmla="*/ 4555590 w 5521505"/>
              <a:gd name="connsiteY6236" fmla="*/ 347870 h 2146918"/>
              <a:gd name="connsiteX6237" fmla="*/ 4558451 w 5521505"/>
              <a:gd name="connsiteY6237" fmla="*/ 349928 h 2146918"/>
              <a:gd name="connsiteX6238" fmla="*/ 4561630 w 5521505"/>
              <a:gd name="connsiteY6238" fmla="*/ 352120 h 2146918"/>
              <a:gd name="connsiteX6239" fmla="*/ 4567121 w 5521505"/>
              <a:gd name="connsiteY6239" fmla="*/ 355773 h 2146918"/>
              <a:gd name="connsiteX6240" fmla="*/ 4572236 w 5521505"/>
              <a:gd name="connsiteY6240" fmla="*/ 359207 h 2146918"/>
              <a:gd name="connsiteX6241" fmla="*/ 4576583 w 5521505"/>
              <a:gd name="connsiteY6241" fmla="*/ 362178 h 2146918"/>
              <a:gd name="connsiteX6242" fmla="*/ 4579798 w 5521505"/>
              <a:gd name="connsiteY6242" fmla="*/ 364491 h 2146918"/>
              <a:gd name="connsiteX6243" fmla="*/ 4581831 w 5521505"/>
              <a:gd name="connsiteY6243" fmla="*/ 366014 h 2146918"/>
              <a:gd name="connsiteX6244" fmla="*/ 4582476 w 5521505"/>
              <a:gd name="connsiteY6244" fmla="*/ 366501 h 2146918"/>
              <a:gd name="connsiteX6245" fmla="*/ 4582878 w 5521505"/>
              <a:gd name="connsiteY6245" fmla="*/ 366817 h 2146918"/>
              <a:gd name="connsiteX6246" fmla="*/ 4583122 w 5521505"/>
              <a:gd name="connsiteY6246" fmla="*/ 366976 h 2146918"/>
              <a:gd name="connsiteX6247" fmla="*/ 4583353 w 5521505"/>
              <a:gd name="connsiteY6247" fmla="*/ 367098 h 2146918"/>
              <a:gd name="connsiteX6248" fmla="*/ 4583633 w 5521505"/>
              <a:gd name="connsiteY6248" fmla="*/ 367219 h 2146918"/>
              <a:gd name="connsiteX6249" fmla="*/ 4586872 w 5521505"/>
              <a:gd name="connsiteY6249" fmla="*/ 368510 h 2146918"/>
              <a:gd name="connsiteX6250" fmla="*/ 4586117 w 5521505"/>
              <a:gd name="connsiteY6250" fmla="*/ 365721 h 2146918"/>
              <a:gd name="connsiteX6251" fmla="*/ 4584059 w 5521505"/>
              <a:gd name="connsiteY6251" fmla="*/ 358135 h 2146918"/>
              <a:gd name="connsiteX6252" fmla="*/ 4590695 w 5521505"/>
              <a:gd name="connsiteY6252" fmla="*/ 361277 h 2146918"/>
              <a:gd name="connsiteX6253" fmla="*/ 4593058 w 5521505"/>
              <a:gd name="connsiteY6253" fmla="*/ 362421 h 2146918"/>
              <a:gd name="connsiteX6254" fmla="*/ 4594276 w 5521505"/>
              <a:gd name="connsiteY6254" fmla="*/ 363079 h 2146918"/>
              <a:gd name="connsiteX6255" fmla="*/ 4595834 w 5521505"/>
              <a:gd name="connsiteY6255" fmla="*/ 363956 h 2146918"/>
              <a:gd name="connsiteX6256" fmla="*/ 4598160 w 5521505"/>
              <a:gd name="connsiteY6256" fmla="*/ 365368 h 2146918"/>
              <a:gd name="connsiteX6257" fmla="*/ 4602422 w 5521505"/>
              <a:gd name="connsiteY6257" fmla="*/ 367938 h 2146918"/>
              <a:gd name="connsiteX6258" fmla="*/ 4606976 w 5521505"/>
              <a:gd name="connsiteY6258" fmla="*/ 370556 h 2146918"/>
              <a:gd name="connsiteX6259" fmla="*/ 4631574 w 5521505"/>
              <a:gd name="connsiteY6259" fmla="*/ 381698 h 2146918"/>
              <a:gd name="connsiteX6260" fmla="*/ 4642180 w 5521505"/>
              <a:gd name="connsiteY6260" fmla="*/ 384547 h 2146918"/>
              <a:gd name="connsiteX6261" fmla="*/ 4643726 w 5521505"/>
              <a:gd name="connsiteY6261" fmla="*/ 384912 h 2146918"/>
              <a:gd name="connsiteX6262" fmla="*/ 4662490 w 5521505"/>
              <a:gd name="connsiteY6262" fmla="*/ 392717 h 2146918"/>
              <a:gd name="connsiteX6263" fmla="*/ 4669297 w 5521505"/>
              <a:gd name="connsiteY6263" fmla="*/ 396468 h 2146918"/>
              <a:gd name="connsiteX6264" fmla="*/ 4671270 w 5521505"/>
              <a:gd name="connsiteY6264" fmla="*/ 397357 h 2146918"/>
              <a:gd name="connsiteX6265" fmla="*/ 4674107 w 5521505"/>
              <a:gd name="connsiteY6265" fmla="*/ 398574 h 2146918"/>
              <a:gd name="connsiteX6266" fmla="*/ 4684214 w 5521505"/>
              <a:gd name="connsiteY6266" fmla="*/ 402849 h 2146918"/>
              <a:gd name="connsiteX6267" fmla="*/ 4682034 w 5521505"/>
              <a:gd name="connsiteY6267" fmla="*/ 397065 h 2146918"/>
              <a:gd name="connsiteX6268" fmla="*/ 4688987 w 5521505"/>
              <a:gd name="connsiteY6268" fmla="*/ 396858 h 2146918"/>
              <a:gd name="connsiteX6269" fmla="*/ 4710187 w 5521505"/>
              <a:gd name="connsiteY6269" fmla="*/ 403969 h 2146918"/>
              <a:gd name="connsiteX6270" fmla="*/ 4717372 w 5521505"/>
              <a:gd name="connsiteY6270" fmla="*/ 408060 h 2146918"/>
              <a:gd name="connsiteX6271" fmla="*/ 4723070 w 5521505"/>
              <a:gd name="connsiteY6271" fmla="*/ 411129 h 2146918"/>
              <a:gd name="connsiteX6272" fmla="*/ 4734370 w 5521505"/>
              <a:gd name="connsiteY6272" fmla="*/ 416876 h 2146918"/>
              <a:gd name="connsiteX6273" fmla="*/ 4753208 w 5521505"/>
              <a:gd name="connsiteY6273" fmla="*/ 426618 h 2146918"/>
              <a:gd name="connsiteX6274" fmla="*/ 4760380 w 5521505"/>
              <a:gd name="connsiteY6274" fmla="*/ 430454 h 2146918"/>
              <a:gd name="connsiteX6275" fmla="*/ 4787169 w 5521505"/>
              <a:gd name="connsiteY6275" fmla="*/ 444981 h 2146918"/>
              <a:gd name="connsiteX6276" fmla="*/ 4797544 w 5521505"/>
              <a:gd name="connsiteY6276" fmla="*/ 450630 h 2146918"/>
              <a:gd name="connsiteX6277" fmla="*/ 4803815 w 5521505"/>
              <a:gd name="connsiteY6277" fmla="*/ 453955 h 2146918"/>
              <a:gd name="connsiteX6278" fmla="*/ 4809903 w 5521505"/>
              <a:gd name="connsiteY6278" fmla="*/ 457133 h 2146918"/>
              <a:gd name="connsiteX6279" fmla="*/ 4829472 w 5521505"/>
              <a:gd name="connsiteY6279" fmla="*/ 468238 h 2146918"/>
              <a:gd name="connsiteX6280" fmla="*/ 4835365 w 5521505"/>
              <a:gd name="connsiteY6280" fmla="*/ 472013 h 2146918"/>
              <a:gd name="connsiteX6281" fmla="*/ 4843706 w 5521505"/>
              <a:gd name="connsiteY6281" fmla="*/ 477456 h 2146918"/>
              <a:gd name="connsiteX6282" fmla="*/ 4857296 w 5521505"/>
              <a:gd name="connsiteY6282" fmla="*/ 486528 h 2146918"/>
              <a:gd name="connsiteX6283" fmla="*/ 4868255 w 5521505"/>
              <a:gd name="connsiteY6283" fmla="*/ 494005 h 2146918"/>
              <a:gd name="connsiteX6284" fmla="*/ 4876060 w 5521505"/>
              <a:gd name="connsiteY6284" fmla="*/ 499448 h 2146918"/>
              <a:gd name="connsiteX6285" fmla="*/ 4887835 w 5521505"/>
              <a:gd name="connsiteY6285" fmla="*/ 507813 h 2146918"/>
              <a:gd name="connsiteX6286" fmla="*/ 4918679 w 5521505"/>
              <a:gd name="connsiteY6286" fmla="*/ 525993 h 2146918"/>
              <a:gd name="connsiteX6287" fmla="*/ 4924536 w 5521505"/>
              <a:gd name="connsiteY6287" fmla="*/ 528903 h 2146918"/>
              <a:gd name="connsiteX6288" fmla="*/ 4928749 w 5521505"/>
              <a:gd name="connsiteY6288" fmla="*/ 530937 h 2146918"/>
              <a:gd name="connsiteX6289" fmla="*/ 4940098 w 5521505"/>
              <a:gd name="connsiteY6289" fmla="*/ 536416 h 2146918"/>
              <a:gd name="connsiteX6290" fmla="*/ 4972976 w 5521505"/>
              <a:gd name="connsiteY6290" fmla="*/ 554463 h 2146918"/>
              <a:gd name="connsiteX6291" fmla="*/ 4978175 w 5521505"/>
              <a:gd name="connsiteY6291" fmla="*/ 557714 h 2146918"/>
              <a:gd name="connsiteX6292" fmla="*/ 4986078 w 5521505"/>
              <a:gd name="connsiteY6292" fmla="*/ 562901 h 2146918"/>
              <a:gd name="connsiteX6293" fmla="*/ 4989220 w 5521505"/>
              <a:gd name="connsiteY6293" fmla="*/ 565056 h 2146918"/>
              <a:gd name="connsiteX6294" fmla="*/ 4992811 w 5521505"/>
              <a:gd name="connsiteY6294" fmla="*/ 567601 h 2146918"/>
              <a:gd name="connsiteX6295" fmla="*/ 4996465 w 5521505"/>
              <a:gd name="connsiteY6295" fmla="*/ 570195 h 2146918"/>
              <a:gd name="connsiteX6296" fmla="*/ 4999351 w 5521505"/>
              <a:gd name="connsiteY6296" fmla="*/ 572119 h 2146918"/>
              <a:gd name="connsiteX6297" fmla="*/ 5004307 w 5521505"/>
              <a:gd name="connsiteY6297" fmla="*/ 575346 h 2146918"/>
              <a:gd name="connsiteX6298" fmla="*/ 5019796 w 5521505"/>
              <a:gd name="connsiteY6298" fmla="*/ 586695 h 2146918"/>
              <a:gd name="connsiteX6299" fmla="*/ 5020904 w 5521505"/>
              <a:gd name="connsiteY6299" fmla="*/ 587912 h 2146918"/>
              <a:gd name="connsiteX6300" fmla="*/ 5021525 w 5521505"/>
              <a:gd name="connsiteY6300" fmla="*/ 588655 h 2146918"/>
              <a:gd name="connsiteX6301" fmla="*/ 5023071 w 5521505"/>
              <a:gd name="connsiteY6301" fmla="*/ 590421 h 2146918"/>
              <a:gd name="connsiteX6302" fmla="*/ 5024983 w 5521505"/>
              <a:gd name="connsiteY6302" fmla="*/ 592454 h 2146918"/>
              <a:gd name="connsiteX6303" fmla="*/ 5026810 w 5521505"/>
              <a:gd name="connsiteY6303" fmla="*/ 594281 h 2146918"/>
              <a:gd name="connsiteX6304" fmla="*/ 5065507 w 5521505"/>
              <a:gd name="connsiteY6304" fmla="*/ 621508 h 2146918"/>
              <a:gd name="connsiteX6305" fmla="*/ 5075590 w 5521505"/>
              <a:gd name="connsiteY6305" fmla="*/ 627597 h 2146918"/>
              <a:gd name="connsiteX6306" fmla="*/ 5089630 w 5521505"/>
              <a:gd name="connsiteY6306" fmla="*/ 636121 h 2146918"/>
              <a:gd name="connsiteX6307" fmla="*/ 5098227 w 5521505"/>
              <a:gd name="connsiteY6307" fmla="*/ 641332 h 2146918"/>
              <a:gd name="connsiteX6308" fmla="*/ 5106044 w 5521505"/>
              <a:gd name="connsiteY6308" fmla="*/ 646093 h 2146918"/>
              <a:gd name="connsiteX6309" fmla="*/ 5119439 w 5521505"/>
              <a:gd name="connsiteY6309" fmla="*/ 654373 h 2146918"/>
              <a:gd name="connsiteX6310" fmla="*/ 5139993 w 5521505"/>
              <a:gd name="connsiteY6310" fmla="*/ 667963 h 2146918"/>
              <a:gd name="connsiteX6311" fmla="*/ 5143878 w 5521505"/>
              <a:gd name="connsiteY6311" fmla="*/ 670739 h 2146918"/>
              <a:gd name="connsiteX6312" fmla="*/ 5149381 w 5521505"/>
              <a:gd name="connsiteY6312" fmla="*/ 674684 h 2146918"/>
              <a:gd name="connsiteX6313" fmla="*/ 5156261 w 5521505"/>
              <a:gd name="connsiteY6313" fmla="*/ 679555 h 2146918"/>
              <a:gd name="connsiteX6314" fmla="*/ 5162910 w 5521505"/>
              <a:gd name="connsiteY6314" fmla="*/ 684341 h 2146918"/>
              <a:gd name="connsiteX6315" fmla="*/ 5171081 w 5521505"/>
              <a:gd name="connsiteY6315" fmla="*/ 690283 h 2146918"/>
              <a:gd name="connsiteX6316" fmla="*/ 5172554 w 5521505"/>
              <a:gd name="connsiteY6316" fmla="*/ 687263 h 2146918"/>
              <a:gd name="connsiteX6317" fmla="*/ 5173638 w 5521505"/>
              <a:gd name="connsiteY6317" fmla="*/ 685035 h 2146918"/>
              <a:gd name="connsiteX6318" fmla="*/ 5174758 w 5521505"/>
              <a:gd name="connsiteY6318" fmla="*/ 685607 h 2146918"/>
              <a:gd name="connsiteX6319" fmla="*/ 5175525 w 5521505"/>
              <a:gd name="connsiteY6319" fmla="*/ 685985 h 2146918"/>
              <a:gd name="connsiteX6320" fmla="*/ 5176841 w 5521505"/>
              <a:gd name="connsiteY6320" fmla="*/ 686618 h 2146918"/>
              <a:gd name="connsiteX6321" fmla="*/ 5180688 w 5521505"/>
              <a:gd name="connsiteY6321" fmla="*/ 688554 h 2146918"/>
              <a:gd name="connsiteX6322" fmla="*/ 5184500 w 5521505"/>
              <a:gd name="connsiteY6322" fmla="*/ 690989 h 2146918"/>
              <a:gd name="connsiteX6323" fmla="*/ 5187300 w 5521505"/>
              <a:gd name="connsiteY6323" fmla="*/ 692718 h 2146918"/>
              <a:gd name="connsiteX6324" fmla="*/ 5195435 w 5521505"/>
              <a:gd name="connsiteY6324" fmla="*/ 698234 h 2146918"/>
              <a:gd name="connsiteX6325" fmla="*/ 5203203 w 5521505"/>
              <a:gd name="connsiteY6325" fmla="*/ 703544 h 2146918"/>
              <a:gd name="connsiteX6326" fmla="*/ 5212421 w 5521505"/>
              <a:gd name="connsiteY6326" fmla="*/ 709888 h 2146918"/>
              <a:gd name="connsiteX6327" fmla="*/ 5223831 w 5521505"/>
              <a:gd name="connsiteY6327" fmla="*/ 717852 h 2146918"/>
              <a:gd name="connsiteX6328" fmla="*/ 5227691 w 5521505"/>
              <a:gd name="connsiteY6328" fmla="*/ 720555 h 2146918"/>
              <a:gd name="connsiteX6329" fmla="*/ 5234072 w 5521505"/>
              <a:gd name="connsiteY6329" fmla="*/ 725097 h 2146918"/>
              <a:gd name="connsiteX6330" fmla="*/ 5240477 w 5521505"/>
              <a:gd name="connsiteY6330" fmla="*/ 729687 h 2146918"/>
              <a:gd name="connsiteX6331" fmla="*/ 5254346 w 5521505"/>
              <a:gd name="connsiteY6331" fmla="*/ 739757 h 2146918"/>
              <a:gd name="connsiteX6332" fmla="*/ 5263601 w 5521505"/>
              <a:gd name="connsiteY6332" fmla="*/ 746577 h 2146918"/>
              <a:gd name="connsiteX6333" fmla="*/ 5271625 w 5521505"/>
              <a:gd name="connsiteY6333" fmla="*/ 752556 h 2146918"/>
              <a:gd name="connsiteX6334" fmla="*/ 5282499 w 5521505"/>
              <a:gd name="connsiteY6334" fmla="*/ 760787 h 2146918"/>
              <a:gd name="connsiteX6335" fmla="*/ 5298487 w 5521505"/>
              <a:gd name="connsiteY6335" fmla="*/ 773183 h 2146918"/>
              <a:gd name="connsiteX6336" fmla="*/ 5311979 w 5521505"/>
              <a:gd name="connsiteY6336" fmla="*/ 783911 h 2146918"/>
              <a:gd name="connsiteX6337" fmla="*/ 5327480 w 5521505"/>
              <a:gd name="connsiteY6337" fmla="*/ 796417 h 2146918"/>
              <a:gd name="connsiteX6338" fmla="*/ 5338366 w 5521505"/>
              <a:gd name="connsiteY6338" fmla="*/ 805330 h 2146918"/>
              <a:gd name="connsiteX6339" fmla="*/ 5347888 w 5521505"/>
              <a:gd name="connsiteY6339" fmla="*/ 813245 h 2146918"/>
              <a:gd name="connsiteX6340" fmla="*/ 5389192 w 5521505"/>
              <a:gd name="connsiteY6340" fmla="*/ 849045 h 2146918"/>
              <a:gd name="connsiteX6341" fmla="*/ 5391738 w 5521505"/>
              <a:gd name="connsiteY6341" fmla="*/ 851419 h 2146918"/>
              <a:gd name="connsiteX6342" fmla="*/ 5393771 w 5521505"/>
              <a:gd name="connsiteY6342" fmla="*/ 853355 h 2146918"/>
              <a:gd name="connsiteX6343" fmla="*/ 5395793 w 5521505"/>
              <a:gd name="connsiteY6343" fmla="*/ 855304 h 2146918"/>
              <a:gd name="connsiteX6344" fmla="*/ 5397680 w 5521505"/>
              <a:gd name="connsiteY6344" fmla="*/ 857142 h 2146918"/>
              <a:gd name="connsiteX6345" fmla="*/ 5402100 w 5521505"/>
              <a:gd name="connsiteY6345" fmla="*/ 861563 h 2146918"/>
              <a:gd name="connsiteX6346" fmla="*/ 5408578 w 5521505"/>
              <a:gd name="connsiteY6346" fmla="*/ 868369 h 2146918"/>
              <a:gd name="connsiteX6347" fmla="*/ 5414508 w 5521505"/>
              <a:gd name="connsiteY6347" fmla="*/ 874933 h 2146918"/>
              <a:gd name="connsiteX6348" fmla="*/ 5417223 w 5521505"/>
              <a:gd name="connsiteY6348" fmla="*/ 877904 h 2146918"/>
              <a:gd name="connsiteX6349" fmla="*/ 5447970 w 5521505"/>
              <a:gd name="connsiteY6349" fmla="*/ 907969 h 2146918"/>
              <a:gd name="connsiteX6350" fmla="*/ 5454753 w 5521505"/>
              <a:gd name="connsiteY6350" fmla="*/ 914191 h 2146918"/>
              <a:gd name="connsiteX6351" fmla="*/ 5462205 w 5521505"/>
              <a:gd name="connsiteY6351" fmla="*/ 920986 h 2146918"/>
              <a:gd name="connsiteX6352" fmla="*/ 5468622 w 5521505"/>
              <a:gd name="connsiteY6352" fmla="*/ 926855 h 2146918"/>
              <a:gd name="connsiteX6353" fmla="*/ 5474601 w 5521505"/>
              <a:gd name="connsiteY6353" fmla="*/ 932371 h 2146918"/>
              <a:gd name="connsiteX6354" fmla="*/ 5479605 w 5521505"/>
              <a:gd name="connsiteY6354" fmla="*/ 937071 h 2146918"/>
              <a:gd name="connsiteX6355" fmla="*/ 5485109 w 5521505"/>
              <a:gd name="connsiteY6355" fmla="*/ 942490 h 2146918"/>
              <a:gd name="connsiteX6356" fmla="*/ 5494473 w 5521505"/>
              <a:gd name="connsiteY6356" fmla="*/ 952232 h 2146918"/>
              <a:gd name="connsiteX6357" fmla="*/ 5498309 w 5521505"/>
              <a:gd name="connsiteY6357" fmla="*/ 956432 h 2146918"/>
              <a:gd name="connsiteX6358" fmla="*/ 5501402 w 5521505"/>
              <a:gd name="connsiteY6358" fmla="*/ 959842 h 2146918"/>
              <a:gd name="connsiteX6359" fmla="*/ 5505518 w 5521505"/>
              <a:gd name="connsiteY6359" fmla="*/ 964457 h 2146918"/>
              <a:gd name="connsiteX6360" fmla="*/ 5508635 w 5521505"/>
              <a:gd name="connsiteY6360" fmla="*/ 967964 h 2146918"/>
              <a:gd name="connsiteX6361" fmla="*/ 5512629 w 5521505"/>
              <a:gd name="connsiteY6361" fmla="*/ 972470 h 2146918"/>
              <a:gd name="connsiteX6362" fmla="*/ 5515746 w 5521505"/>
              <a:gd name="connsiteY6362" fmla="*/ 976123 h 2146918"/>
              <a:gd name="connsiteX6363" fmla="*/ 5516964 w 5521505"/>
              <a:gd name="connsiteY6363" fmla="*/ 977839 h 2146918"/>
              <a:gd name="connsiteX6364" fmla="*/ 5518864 w 5521505"/>
              <a:gd name="connsiteY6364" fmla="*/ 981188 h 2146918"/>
              <a:gd name="connsiteX6365" fmla="*/ 5520410 w 5521505"/>
              <a:gd name="connsiteY6365" fmla="*/ 984074 h 2146918"/>
              <a:gd name="connsiteX6366" fmla="*/ 5521506 w 5521505"/>
              <a:gd name="connsiteY6366" fmla="*/ 985998 h 2146918"/>
              <a:gd name="connsiteX6367" fmla="*/ 5513409 w 5521505"/>
              <a:gd name="connsiteY6367" fmla="*/ 982637 h 2146918"/>
              <a:gd name="connsiteX6368" fmla="*/ 5514151 w 5521505"/>
              <a:gd name="connsiteY6368" fmla="*/ 989809 h 2146918"/>
              <a:gd name="connsiteX6369" fmla="*/ 5514979 w 5521505"/>
              <a:gd name="connsiteY6369" fmla="*/ 998017 h 2146918"/>
              <a:gd name="connsiteX6370" fmla="*/ 5507138 w 5521505"/>
              <a:gd name="connsiteY6370" fmla="*/ 993255 h 2146918"/>
              <a:gd name="connsiteX6371" fmla="*/ 5487119 w 5521505"/>
              <a:gd name="connsiteY6371" fmla="*/ 976732 h 2146918"/>
              <a:gd name="connsiteX6372" fmla="*/ 5482151 w 5521505"/>
              <a:gd name="connsiteY6372" fmla="*/ 971532 h 2146918"/>
              <a:gd name="connsiteX6373" fmla="*/ 5478875 w 5521505"/>
              <a:gd name="connsiteY6373" fmla="*/ 968073 h 2146918"/>
              <a:gd name="connsiteX6374" fmla="*/ 5473883 w 5521505"/>
              <a:gd name="connsiteY6374" fmla="*/ 962825 h 2146918"/>
              <a:gd name="connsiteX6375" fmla="*/ 5467928 w 5521505"/>
              <a:gd name="connsiteY6375" fmla="*/ 956567 h 2146918"/>
              <a:gd name="connsiteX6376" fmla="*/ 5456226 w 5521505"/>
              <a:gd name="connsiteY6376" fmla="*/ 944390 h 2146918"/>
              <a:gd name="connsiteX6377" fmla="*/ 5450965 w 5521505"/>
              <a:gd name="connsiteY6377" fmla="*/ 938935 h 2146918"/>
              <a:gd name="connsiteX6378" fmla="*/ 5440530 w 5521505"/>
              <a:gd name="connsiteY6378" fmla="*/ 928194 h 2146918"/>
              <a:gd name="connsiteX6379" fmla="*/ 5428877 w 5521505"/>
              <a:gd name="connsiteY6379" fmla="*/ 917235 h 2146918"/>
              <a:gd name="connsiteX6380" fmla="*/ 5408322 w 5521505"/>
              <a:gd name="connsiteY6380" fmla="*/ 906495 h 2146918"/>
              <a:gd name="connsiteX6381" fmla="*/ 5404937 w 5521505"/>
              <a:gd name="connsiteY6381" fmla="*/ 905789 h 2146918"/>
              <a:gd name="connsiteX6382" fmla="*/ 5400858 w 5521505"/>
              <a:gd name="connsiteY6382" fmla="*/ 905119 h 2146918"/>
              <a:gd name="connsiteX6383" fmla="*/ 5393893 w 5521505"/>
              <a:gd name="connsiteY6383" fmla="*/ 903840 h 2146918"/>
              <a:gd name="connsiteX6384" fmla="*/ 5407287 w 5521505"/>
              <a:gd name="connsiteY6384" fmla="*/ 920425 h 2146918"/>
              <a:gd name="connsiteX6385" fmla="*/ 5427282 w 5521505"/>
              <a:gd name="connsiteY6385" fmla="*/ 942259 h 2146918"/>
              <a:gd name="connsiteX6386" fmla="*/ 5434162 w 5521505"/>
              <a:gd name="connsiteY6386" fmla="*/ 948579 h 2146918"/>
              <a:gd name="connsiteX6387" fmla="*/ 5443830 w 5521505"/>
              <a:gd name="connsiteY6387" fmla="*/ 963824 h 2146918"/>
              <a:gd name="connsiteX6388" fmla="*/ 5430508 w 5521505"/>
              <a:gd name="connsiteY6388" fmla="*/ 959038 h 2146918"/>
              <a:gd name="connsiteX6389" fmla="*/ 5428584 w 5521505"/>
              <a:gd name="connsiteY6389" fmla="*/ 957821 h 2146918"/>
              <a:gd name="connsiteX6390" fmla="*/ 5426844 w 5521505"/>
              <a:gd name="connsiteY6390" fmla="*/ 956603 h 2146918"/>
              <a:gd name="connsiteX6391" fmla="*/ 5425151 w 5521505"/>
              <a:gd name="connsiteY6391" fmla="*/ 955385 h 2146918"/>
              <a:gd name="connsiteX6392" fmla="*/ 5420536 w 5521505"/>
              <a:gd name="connsiteY6392" fmla="*/ 951854 h 2146918"/>
              <a:gd name="connsiteX6393" fmla="*/ 5416225 w 5521505"/>
              <a:gd name="connsiteY6393" fmla="*/ 948432 h 2146918"/>
              <a:gd name="connsiteX6394" fmla="*/ 5413558 w 5521505"/>
              <a:gd name="connsiteY6394" fmla="*/ 946338 h 2146918"/>
              <a:gd name="connsiteX6395" fmla="*/ 5411610 w 5521505"/>
              <a:gd name="connsiteY6395" fmla="*/ 944804 h 2146918"/>
              <a:gd name="connsiteX6396" fmla="*/ 5409503 w 5521505"/>
              <a:gd name="connsiteY6396" fmla="*/ 942880 h 2146918"/>
              <a:gd name="connsiteX6397" fmla="*/ 5407823 w 5521505"/>
              <a:gd name="connsiteY6397" fmla="*/ 941211 h 2146918"/>
              <a:gd name="connsiteX6398" fmla="*/ 5400517 w 5521505"/>
              <a:gd name="connsiteY6398" fmla="*/ 935281 h 2146918"/>
              <a:gd name="connsiteX6399" fmla="*/ 5399117 w 5521505"/>
              <a:gd name="connsiteY6399" fmla="*/ 934697 h 2146918"/>
              <a:gd name="connsiteX6400" fmla="*/ 5397984 w 5521505"/>
              <a:gd name="connsiteY6400" fmla="*/ 934380 h 2146918"/>
              <a:gd name="connsiteX6401" fmla="*/ 5396888 w 5521505"/>
              <a:gd name="connsiteY6401" fmla="*/ 934173 h 2146918"/>
              <a:gd name="connsiteX6402" fmla="*/ 5395878 w 5521505"/>
              <a:gd name="connsiteY6402" fmla="*/ 933954 h 2146918"/>
              <a:gd name="connsiteX6403" fmla="*/ 5393722 w 5521505"/>
              <a:gd name="connsiteY6403" fmla="*/ 933394 h 2146918"/>
              <a:gd name="connsiteX6404" fmla="*/ 5390666 w 5521505"/>
              <a:gd name="connsiteY6404" fmla="*/ 932444 h 2146918"/>
              <a:gd name="connsiteX6405" fmla="*/ 5384785 w 5521505"/>
              <a:gd name="connsiteY6405" fmla="*/ 930460 h 2146918"/>
              <a:gd name="connsiteX6406" fmla="*/ 5381217 w 5521505"/>
              <a:gd name="connsiteY6406" fmla="*/ 929327 h 2146918"/>
              <a:gd name="connsiteX6407" fmla="*/ 5378550 w 5521505"/>
              <a:gd name="connsiteY6407" fmla="*/ 928609 h 2146918"/>
              <a:gd name="connsiteX6408" fmla="*/ 5375372 w 5521505"/>
              <a:gd name="connsiteY6408" fmla="*/ 928036 h 2146918"/>
              <a:gd name="connsiteX6409" fmla="*/ 5372608 w 5521505"/>
              <a:gd name="connsiteY6409" fmla="*/ 927914 h 2146918"/>
              <a:gd name="connsiteX6410" fmla="*/ 5370635 w 5521505"/>
              <a:gd name="connsiteY6410" fmla="*/ 928170 h 2146918"/>
              <a:gd name="connsiteX6411" fmla="*/ 5369502 w 5521505"/>
              <a:gd name="connsiteY6411" fmla="*/ 928511 h 2146918"/>
              <a:gd name="connsiteX6412" fmla="*/ 5354744 w 5521505"/>
              <a:gd name="connsiteY6412" fmla="*/ 928816 h 2146918"/>
              <a:gd name="connsiteX6413" fmla="*/ 5329867 w 5521505"/>
              <a:gd name="connsiteY6413" fmla="*/ 910708 h 2146918"/>
              <a:gd name="connsiteX6414" fmla="*/ 5319748 w 5521505"/>
              <a:gd name="connsiteY6414" fmla="*/ 901880 h 2146918"/>
              <a:gd name="connsiteX6415" fmla="*/ 5305562 w 5521505"/>
              <a:gd name="connsiteY6415" fmla="*/ 896352 h 2146918"/>
              <a:gd name="connsiteX6416" fmla="*/ 5298877 w 5521505"/>
              <a:gd name="connsiteY6416" fmla="*/ 895792 h 2146918"/>
              <a:gd name="connsiteX6417" fmla="*/ 5291072 w 5521505"/>
              <a:gd name="connsiteY6417" fmla="*/ 887097 h 2146918"/>
              <a:gd name="connsiteX6418" fmla="*/ 5289854 w 5521505"/>
              <a:gd name="connsiteY6418" fmla="*/ 885210 h 2146918"/>
              <a:gd name="connsiteX6419" fmla="*/ 5288526 w 5521505"/>
              <a:gd name="connsiteY6419" fmla="*/ 883177 h 2146918"/>
              <a:gd name="connsiteX6420" fmla="*/ 5287431 w 5521505"/>
              <a:gd name="connsiteY6420" fmla="*/ 881496 h 2146918"/>
              <a:gd name="connsiteX6421" fmla="*/ 5286310 w 5521505"/>
              <a:gd name="connsiteY6421" fmla="*/ 879791 h 2146918"/>
              <a:gd name="connsiteX6422" fmla="*/ 5285750 w 5521505"/>
              <a:gd name="connsiteY6422" fmla="*/ 878951 h 2146918"/>
              <a:gd name="connsiteX6423" fmla="*/ 5282900 w 5521505"/>
              <a:gd name="connsiteY6423" fmla="*/ 878549 h 2146918"/>
              <a:gd name="connsiteX6424" fmla="*/ 5275376 w 5521505"/>
              <a:gd name="connsiteY6424" fmla="*/ 875797 h 2146918"/>
              <a:gd name="connsiteX6425" fmla="*/ 5263954 w 5521505"/>
              <a:gd name="connsiteY6425" fmla="*/ 867590 h 2146918"/>
              <a:gd name="connsiteX6426" fmla="*/ 5263308 w 5521505"/>
              <a:gd name="connsiteY6426" fmla="*/ 869100 h 2146918"/>
              <a:gd name="connsiteX6427" fmla="*/ 5262541 w 5521505"/>
              <a:gd name="connsiteY6427" fmla="*/ 870829 h 2146918"/>
              <a:gd name="connsiteX6428" fmla="*/ 5262017 w 5521505"/>
              <a:gd name="connsiteY6428" fmla="*/ 873045 h 2146918"/>
              <a:gd name="connsiteX6429" fmla="*/ 5262017 w 5521505"/>
              <a:gd name="connsiteY6429" fmla="*/ 873386 h 2146918"/>
              <a:gd name="connsiteX6430" fmla="*/ 5262152 w 5521505"/>
              <a:gd name="connsiteY6430" fmla="*/ 874044 h 2146918"/>
              <a:gd name="connsiteX6431" fmla="*/ 5262468 w 5521505"/>
              <a:gd name="connsiteY6431" fmla="*/ 875189 h 2146918"/>
              <a:gd name="connsiteX6432" fmla="*/ 5262687 w 5521505"/>
              <a:gd name="connsiteY6432" fmla="*/ 876236 h 2146918"/>
              <a:gd name="connsiteX6433" fmla="*/ 5262687 w 5521505"/>
              <a:gd name="connsiteY6433" fmla="*/ 876771 h 2146918"/>
              <a:gd name="connsiteX6434" fmla="*/ 5262590 w 5521505"/>
              <a:gd name="connsiteY6434" fmla="*/ 877149 h 2146918"/>
              <a:gd name="connsiteX6435" fmla="*/ 5262224 w 5521505"/>
              <a:gd name="connsiteY6435" fmla="*/ 877880 h 2146918"/>
              <a:gd name="connsiteX6436" fmla="*/ 5261944 w 5521505"/>
              <a:gd name="connsiteY6436" fmla="*/ 878574 h 2146918"/>
              <a:gd name="connsiteX6437" fmla="*/ 5261555 w 5521505"/>
              <a:gd name="connsiteY6437" fmla="*/ 880023 h 2146918"/>
              <a:gd name="connsiteX6438" fmla="*/ 5261445 w 5521505"/>
              <a:gd name="connsiteY6438" fmla="*/ 881520 h 2146918"/>
              <a:gd name="connsiteX6439" fmla="*/ 5261543 w 5521505"/>
              <a:gd name="connsiteY6439" fmla="*/ 882665 h 2146918"/>
              <a:gd name="connsiteX6440" fmla="*/ 5277908 w 5521505"/>
              <a:gd name="connsiteY6440" fmla="*/ 900224 h 2146918"/>
              <a:gd name="connsiteX6441" fmla="*/ 5280113 w 5521505"/>
              <a:gd name="connsiteY6441" fmla="*/ 902587 h 2146918"/>
              <a:gd name="connsiteX6442" fmla="*/ 5280843 w 5521505"/>
              <a:gd name="connsiteY6442" fmla="*/ 903804 h 2146918"/>
              <a:gd name="connsiteX6443" fmla="*/ 5281829 w 5521505"/>
              <a:gd name="connsiteY6443" fmla="*/ 905375 h 2146918"/>
              <a:gd name="connsiteX6444" fmla="*/ 5284873 w 5521505"/>
              <a:gd name="connsiteY6444" fmla="*/ 909917 h 2146918"/>
              <a:gd name="connsiteX6445" fmla="*/ 5294164 w 5521505"/>
              <a:gd name="connsiteY6445" fmla="*/ 924931 h 2146918"/>
              <a:gd name="connsiteX6446" fmla="*/ 5295552 w 5521505"/>
              <a:gd name="connsiteY6446" fmla="*/ 935890 h 2146918"/>
              <a:gd name="connsiteX6447" fmla="*/ 5295711 w 5521505"/>
              <a:gd name="connsiteY6447" fmla="*/ 939738 h 2146918"/>
              <a:gd name="connsiteX6448" fmla="*/ 5299876 w 5521505"/>
              <a:gd name="connsiteY6448" fmla="*/ 947787 h 2146918"/>
              <a:gd name="connsiteX6449" fmla="*/ 5302140 w 5521505"/>
              <a:gd name="connsiteY6449" fmla="*/ 950953 h 2146918"/>
              <a:gd name="connsiteX6450" fmla="*/ 5307413 w 5521505"/>
              <a:gd name="connsiteY6450" fmla="*/ 959708 h 2146918"/>
              <a:gd name="connsiteX6451" fmla="*/ 5296856 w 5521505"/>
              <a:gd name="connsiteY6451" fmla="*/ 963129 h 2146918"/>
              <a:gd name="connsiteX6452" fmla="*/ 5292606 w 5521505"/>
              <a:gd name="connsiteY6452" fmla="*/ 961133 h 2146918"/>
              <a:gd name="connsiteX6453" fmla="*/ 5288721 w 5521505"/>
              <a:gd name="connsiteY6453" fmla="*/ 959513 h 2146918"/>
              <a:gd name="connsiteX6454" fmla="*/ 5290560 w 5521505"/>
              <a:gd name="connsiteY6454" fmla="*/ 963593 h 2146918"/>
              <a:gd name="connsiteX6455" fmla="*/ 5293921 w 5521505"/>
              <a:gd name="connsiteY6455" fmla="*/ 971081 h 2146918"/>
              <a:gd name="connsiteX6456" fmla="*/ 5297221 w 5521505"/>
              <a:gd name="connsiteY6456" fmla="*/ 978387 h 2146918"/>
              <a:gd name="connsiteX6457" fmla="*/ 5291777 w 5521505"/>
              <a:gd name="connsiteY6457" fmla="*/ 976050 h 2146918"/>
              <a:gd name="connsiteX6458" fmla="*/ 5283851 w 5521505"/>
              <a:gd name="connsiteY6458" fmla="*/ 972664 h 2146918"/>
              <a:gd name="connsiteX6459" fmla="*/ 5280575 w 5521505"/>
              <a:gd name="connsiteY6459" fmla="*/ 971264 h 2146918"/>
              <a:gd name="connsiteX6460" fmla="*/ 5280465 w 5521505"/>
              <a:gd name="connsiteY6460" fmla="*/ 971995 h 2146918"/>
              <a:gd name="connsiteX6461" fmla="*/ 5280380 w 5521505"/>
              <a:gd name="connsiteY6461" fmla="*/ 973480 h 2146918"/>
              <a:gd name="connsiteX6462" fmla="*/ 5280441 w 5521505"/>
              <a:gd name="connsiteY6462" fmla="*/ 975368 h 2146918"/>
              <a:gd name="connsiteX6463" fmla="*/ 5280441 w 5521505"/>
              <a:gd name="connsiteY6463" fmla="*/ 987544 h 2146918"/>
              <a:gd name="connsiteX6464" fmla="*/ 5269202 w 5521505"/>
              <a:gd name="connsiteY6464" fmla="*/ 991282 h 2146918"/>
              <a:gd name="connsiteX6465" fmla="*/ 5264063 w 5521505"/>
              <a:gd name="connsiteY6465" fmla="*/ 984549 h 2146918"/>
              <a:gd name="connsiteX6466" fmla="*/ 5260410 w 5521505"/>
              <a:gd name="connsiteY6466" fmla="*/ 979508 h 2146918"/>
              <a:gd name="connsiteX6467" fmla="*/ 5257342 w 5521505"/>
              <a:gd name="connsiteY6467" fmla="*/ 974734 h 2146918"/>
              <a:gd name="connsiteX6468" fmla="*/ 5255393 w 5521505"/>
              <a:gd name="connsiteY6468" fmla="*/ 971617 h 2146918"/>
              <a:gd name="connsiteX6469" fmla="*/ 5253213 w 5521505"/>
              <a:gd name="connsiteY6469" fmla="*/ 968171 h 2146918"/>
              <a:gd name="connsiteX6470" fmla="*/ 5250949 w 5521505"/>
              <a:gd name="connsiteY6470" fmla="*/ 964749 h 2146918"/>
              <a:gd name="connsiteX6471" fmla="*/ 5247965 w 5521505"/>
              <a:gd name="connsiteY6471" fmla="*/ 960560 h 2146918"/>
              <a:gd name="connsiteX6472" fmla="*/ 5244093 w 5521505"/>
              <a:gd name="connsiteY6472" fmla="*/ 955178 h 2146918"/>
              <a:gd name="connsiteX6473" fmla="*/ 5242181 w 5521505"/>
              <a:gd name="connsiteY6473" fmla="*/ 952463 h 2146918"/>
              <a:gd name="connsiteX6474" fmla="*/ 5240903 w 5521505"/>
              <a:gd name="connsiteY6474" fmla="*/ 950612 h 2146918"/>
              <a:gd name="connsiteX6475" fmla="*/ 5238346 w 5521505"/>
              <a:gd name="connsiteY6475" fmla="*/ 946788 h 2146918"/>
              <a:gd name="connsiteX6476" fmla="*/ 5235557 w 5521505"/>
              <a:gd name="connsiteY6476" fmla="*/ 942478 h 2146918"/>
              <a:gd name="connsiteX6477" fmla="*/ 5233487 w 5521505"/>
              <a:gd name="connsiteY6477" fmla="*/ 939105 h 2146918"/>
              <a:gd name="connsiteX6478" fmla="*/ 5231283 w 5521505"/>
              <a:gd name="connsiteY6478" fmla="*/ 935318 h 2146918"/>
              <a:gd name="connsiteX6479" fmla="*/ 5229371 w 5521505"/>
              <a:gd name="connsiteY6479" fmla="*/ 931823 h 2146918"/>
              <a:gd name="connsiteX6480" fmla="*/ 5226741 w 5521505"/>
              <a:gd name="connsiteY6480" fmla="*/ 926575 h 2146918"/>
              <a:gd name="connsiteX6481" fmla="*/ 5224184 w 5521505"/>
              <a:gd name="connsiteY6481" fmla="*/ 921363 h 2146918"/>
              <a:gd name="connsiteX6482" fmla="*/ 5221749 w 5521505"/>
              <a:gd name="connsiteY6482" fmla="*/ 916870 h 2146918"/>
              <a:gd name="connsiteX6483" fmla="*/ 5218644 w 5521505"/>
              <a:gd name="connsiteY6483" fmla="*/ 911792 h 2146918"/>
              <a:gd name="connsiteX6484" fmla="*/ 5216354 w 5521505"/>
              <a:gd name="connsiteY6484" fmla="*/ 908371 h 2146918"/>
              <a:gd name="connsiteX6485" fmla="*/ 5212920 w 5521505"/>
              <a:gd name="connsiteY6485" fmla="*/ 903597 h 2146918"/>
              <a:gd name="connsiteX6486" fmla="*/ 5208975 w 5521505"/>
              <a:gd name="connsiteY6486" fmla="*/ 898361 h 2146918"/>
              <a:gd name="connsiteX6487" fmla="*/ 5206430 w 5521505"/>
              <a:gd name="connsiteY6487" fmla="*/ 894793 h 2146918"/>
              <a:gd name="connsiteX6488" fmla="*/ 5203910 w 5521505"/>
              <a:gd name="connsiteY6488" fmla="*/ 891043 h 2146918"/>
              <a:gd name="connsiteX6489" fmla="*/ 5201255 w 5521505"/>
              <a:gd name="connsiteY6489" fmla="*/ 886781 h 2146918"/>
              <a:gd name="connsiteX6490" fmla="*/ 5199465 w 5521505"/>
              <a:gd name="connsiteY6490" fmla="*/ 883724 h 2146918"/>
              <a:gd name="connsiteX6491" fmla="*/ 5197614 w 5521505"/>
              <a:gd name="connsiteY6491" fmla="*/ 880339 h 2146918"/>
              <a:gd name="connsiteX6492" fmla="*/ 5195788 w 5521505"/>
              <a:gd name="connsiteY6492" fmla="*/ 876686 h 2146918"/>
              <a:gd name="connsiteX6493" fmla="*/ 5193352 w 5521505"/>
              <a:gd name="connsiteY6493" fmla="*/ 871231 h 2146918"/>
              <a:gd name="connsiteX6494" fmla="*/ 5188786 w 5521505"/>
              <a:gd name="connsiteY6494" fmla="*/ 855949 h 2146918"/>
              <a:gd name="connsiteX6495" fmla="*/ 5188591 w 5521505"/>
              <a:gd name="connsiteY6495" fmla="*/ 854610 h 2146918"/>
              <a:gd name="connsiteX6496" fmla="*/ 5188165 w 5521505"/>
              <a:gd name="connsiteY6496" fmla="*/ 851188 h 2146918"/>
              <a:gd name="connsiteX6497" fmla="*/ 5187885 w 5521505"/>
              <a:gd name="connsiteY6497" fmla="*/ 848826 h 2146918"/>
              <a:gd name="connsiteX6498" fmla="*/ 5187678 w 5521505"/>
              <a:gd name="connsiteY6498" fmla="*/ 847194 h 2146918"/>
              <a:gd name="connsiteX6499" fmla="*/ 5187191 w 5521505"/>
              <a:gd name="connsiteY6499" fmla="*/ 843967 h 2146918"/>
              <a:gd name="connsiteX6500" fmla="*/ 5195812 w 5521505"/>
              <a:gd name="connsiteY6500" fmla="*/ 846013 h 2146918"/>
              <a:gd name="connsiteX6501" fmla="*/ 5205554 w 5521505"/>
              <a:gd name="connsiteY6501" fmla="*/ 848338 h 2146918"/>
              <a:gd name="connsiteX6502" fmla="*/ 5215295 w 5521505"/>
              <a:gd name="connsiteY6502" fmla="*/ 850701 h 2146918"/>
              <a:gd name="connsiteX6503" fmla="*/ 5213067 w 5521505"/>
              <a:gd name="connsiteY6503" fmla="*/ 845903 h 2146918"/>
              <a:gd name="connsiteX6504" fmla="*/ 5214418 w 5521505"/>
              <a:gd name="connsiteY6504" fmla="*/ 840046 h 2146918"/>
              <a:gd name="connsiteX6505" fmla="*/ 5214418 w 5521505"/>
              <a:gd name="connsiteY6505" fmla="*/ 840046 h 2146918"/>
              <a:gd name="connsiteX6506" fmla="*/ 5215258 w 5521505"/>
              <a:gd name="connsiteY6506" fmla="*/ 839291 h 2146918"/>
              <a:gd name="connsiteX6507" fmla="*/ 5216914 w 5521505"/>
              <a:gd name="connsiteY6507" fmla="*/ 838134 h 2146918"/>
              <a:gd name="connsiteX6508" fmla="*/ 5219276 w 5521505"/>
              <a:gd name="connsiteY6508" fmla="*/ 836637 h 2146918"/>
              <a:gd name="connsiteX6509" fmla="*/ 5220409 w 5521505"/>
              <a:gd name="connsiteY6509" fmla="*/ 835808 h 2146918"/>
              <a:gd name="connsiteX6510" fmla="*/ 5221127 w 5521505"/>
              <a:gd name="connsiteY6510" fmla="*/ 835151 h 2146918"/>
              <a:gd name="connsiteX6511" fmla="*/ 5221591 w 5521505"/>
              <a:gd name="connsiteY6511" fmla="*/ 834627 h 2146918"/>
              <a:gd name="connsiteX6512" fmla="*/ 5223673 w 5521505"/>
              <a:gd name="connsiteY6512" fmla="*/ 834116 h 2146918"/>
              <a:gd name="connsiteX6513" fmla="*/ 5225244 w 5521505"/>
              <a:gd name="connsiteY6513" fmla="*/ 834335 h 2146918"/>
              <a:gd name="connsiteX6514" fmla="*/ 5227886 w 5521505"/>
              <a:gd name="connsiteY6514" fmla="*/ 834883 h 2146918"/>
              <a:gd name="connsiteX6515" fmla="*/ 5230187 w 5521505"/>
              <a:gd name="connsiteY6515" fmla="*/ 835358 h 2146918"/>
              <a:gd name="connsiteX6516" fmla="*/ 5232111 w 5521505"/>
              <a:gd name="connsiteY6516" fmla="*/ 835687 h 2146918"/>
              <a:gd name="connsiteX6517" fmla="*/ 5233999 w 5521505"/>
              <a:gd name="connsiteY6517" fmla="*/ 835845 h 2146918"/>
              <a:gd name="connsiteX6518" fmla="*/ 5235435 w 5521505"/>
              <a:gd name="connsiteY6518" fmla="*/ 832533 h 2146918"/>
              <a:gd name="connsiteX6519" fmla="*/ 5235009 w 5521505"/>
              <a:gd name="connsiteY6519" fmla="*/ 831705 h 2146918"/>
              <a:gd name="connsiteX6520" fmla="*/ 5234522 w 5521505"/>
              <a:gd name="connsiteY6520" fmla="*/ 830816 h 2146918"/>
              <a:gd name="connsiteX6521" fmla="*/ 5234047 w 5521505"/>
              <a:gd name="connsiteY6521" fmla="*/ 830024 h 2146918"/>
              <a:gd name="connsiteX6522" fmla="*/ 5233560 w 5521505"/>
              <a:gd name="connsiteY6522" fmla="*/ 829209 h 2146918"/>
              <a:gd name="connsiteX6523" fmla="*/ 5232915 w 5521505"/>
              <a:gd name="connsiteY6523" fmla="*/ 828259 h 2146918"/>
              <a:gd name="connsiteX6524" fmla="*/ 5232221 w 5521505"/>
              <a:gd name="connsiteY6524" fmla="*/ 827285 h 2146918"/>
              <a:gd name="connsiteX6525" fmla="*/ 5231271 w 5521505"/>
              <a:gd name="connsiteY6525" fmla="*/ 825994 h 2146918"/>
              <a:gd name="connsiteX6526" fmla="*/ 5230516 w 5521505"/>
              <a:gd name="connsiteY6526" fmla="*/ 824935 h 2146918"/>
              <a:gd name="connsiteX6527" fmla="*/ 5229907 w 5521505"/>
              <a:gd name="connsiteY6527" fmla="*/ 824046 h 2146918"/>
              <a:gd name="connsiteX6528" fmla="*/ 5229030 w 5521505"/>
              <a:gd name="connsiteY6528" fmla="*/ 822609 h 2146918"/>
              <a:gd name="connsiteX6529" fmla="*/ 5228202 w 5521505"/>
              <a:gd name="connsiteY6529" fmla="*/ 821124 h 2146918"/>
              <a:gd name="connsiteX6530" fmla="*/ 5227776 w 5521505"/>
              <a:gd name="connsiteY6530" fmla="*/ 820344 h 2146918"/>
              <a:gd name="connsiteX6531" fmla="*/ 5227326 w 5521505"/>
              <a:gd name="connsiteY6531" fmla="*/ 819540 h 2146918"/>
              <a:gd name="connsiteX6532" fmla="*/ 5218096 w 5521505"/>
              <a:gd name="connsiteY6532" fmla="*/ 816484 h 2146918"/>
              <a:gd name="connsiteX6533" fmla="*/ 5210521 w 5521505"/>
              <a:gd name="connsiteY6533" fmla="*/ 815973 h 2146918"/>
              <a:gd name="connsiteX6534" fmla="*/ 5209304 w 5521505"/>
              <a:gd name="connsiteY6534" fmla="*/ 816253 h 2146918"/>
              <a:gd name="connsiteX6535" fmla="*/ 5208220 w 5521505"/>
              <a:gd name="connsiteY6535" fmla="*/ 816520 h 2146918"/>
              <a:gd name="connsiteX6536" fmla="*/ 5207003 w 5521505"/>
              <a:gd name="connsiteY6536" fmla="*/ 816667 h 2146918"/>
              <a:gd name="connsiteX6537" fmla="*/ 5197176 w 5521505"/>
              <a:gd name="connsiteY6537" fmla="*/ 812320 h 2146918"/>
              <a:gd name="connsiteX6538" fmla="*/ 5195775 w 5521505"/>
              <a:gd name="connsiteY6538" fmla="*/ 811102 h 2146918"/>
              <a:gd name="connsiteX6539" fmla="*/ 5193474 w 5521505"/>
              <a:gd name="connsiteY6539" fmla="*/ 808995 h 2146918"/>
              <a:gd name="connsiteX6540" fmla="*/ 5190880 w 5521505"/>
              <a:gd name="connsiteY6540" fmla="*/ 806560 h 2146918"/>
              <a:gd name="connsiteX6541" fmla="*/ 5188786 w 5521505"/>
              <a:gd name="connsiteY6541" fmla="*/ 804660 h 2146918"/>
              <a:gd name="connsiteX6542" fmla="*/ 5187154 w 5521505"/>
              <a:gd name="connsiteY6542" fmla="*/ 803163 h 2146918"/>
              <a:gd name="connsiteX6543" fmla="*/ 5185328 w 5521505"/>
              <a:gd name="connsiteY6543" fmla="*/ 801446 h 2146918"/>
              <a:gd name="connsiteX6544" fmla="*/ 5178740 w 5521505"/>
              <a:gd name="connsiteY6544" fmla="*/ 793664 h 2146918"/>
              <a:gd name="connsiteX6545" fmla="*/ 5177035 w 5521505"/>
              <a:gd name="connsiteY6545" fmla="*/ 787917 h 2146918"/>
              <a:gd name="connsiteX6546" fmla="*/ 5172700 w 5521505"/>
              <a:gd name="connsiteY6546" fmla="*/ 785092 h 2146918"/>
              <a:gd name="connsiteX6547" fmla="*/ 5169948 w 5521505"/>
              <a:gd name="connsiteY6547" fmla="*/ 783302 h 2146918"/>
              <a:gd name="connsiteX6548" fmla="*/ 5162338 w 5521505"/>
              <a:gd name="connsiteY6548" fmla="*/ 778431 h 2146918"/>
              <a:gd name="connsiteX6549" fmla="*/ 5154776 w 5521505"/>
              <a:gd name="connsiteY6549" fmla="*/ 773561 h 2146918"/>
              <a:gd name="connsiteX6550" fmla="*/ 5151123 w 5521505"/>
              <a:gd name="connsiteY6550" fmla="*/ 771198 h 2146918"/>
              <a:gd name="connsiteX6551" fmla="*/ 5144730 w 5521505"/>
              <a:gd name="connsiteY6551" fmla="*/ 767107 h 2146918"/>
              <a:gd name="connsiteX6552" fmla="*/ 5140602 w 5521505"/>
              <a:gd name="connsiteY6552" fmla="*/ 764477 h 2146918"/>
              <a:gd name="connsiteX6553" fmla="*/ 5138751 w 5521505"/>
              <a:gd name="connsiteY6553" fmla="*/ 763259 h 2146918"/>
              <a:gd name="connsiteX6554" fmla="*/ 5138082 w 5521505"/>
              <a:gd name="connsiteY6554" fmla="*/ 763575 h 2146918"/>
              <a:gd name="connsiteX6555" fmla="*/ 5136864 w 5521505"/>
              <a:gd name="connsiteY6555" fmla="*/ 764111 h 2146918"/>
              <a:gd name="connsiteX6556" fmla="*/ 5135707 w 5521505"/>
              <a:gd name="connsiteY6556" fmla="*/ 764611 h 2146918"/>
              <a:gd name="connsiteX6557" fmla="*/ 5134392 w 5521505"/>
              <a:gd name="connsiteY6557" fmla="*/ 765159 h 2146918"/>
              <a:gd name="connsiteX6558" fmla="*/ 5133040 w 5521505"/>
              <a:gd name="connsiteY6558" fmla="*/ 765731 h 2146918"/>
              <a:gd name="connsiteX6559" fmla="*/ 5131762 w 5521505"/>
              <a:gd name="connsiteY6559" fmla="*/ 766303 h 2146918"/>
              <a:gd name="connsiteX6560" fmla="*/ 5130922 w 5521505"/>
              <a:gd name="connsiteY6560" fmla="*/ 766693 h 2146918"/>
              <a:gd name="connsiteX6561" fmla="*/ 5129960 w 5521505"/>
              <a:gd name="connsiteY6561" fmla="*/ 767180 h 2146918"/>
              <a:gd name="connsiteX6562" fmla="*/ 5129083 w 5521505"/>
              <a:gd name="connsiteY6562" fmla="*/ 767679 h 2146918"/>
              <a:gd name="connsiteX6563" fmla="*/ 5128267 w 5521505"/>
              <a:gd name="connsiteY6563" fmla="*/ 768191 h 2146918"/>
              <a:gd name="connsiteX6564" fmla="*/ 5127427 w 5521505"/>
              <a:gd name="connsiteY6564" fmla="*/ 768799 h 2146918"/>
              <a:gd name="connsiteX6565" fmla="*/ 5126550 w 5521505"/>
              <a:gd name="connsiteY6565" fmla="*/ 769579 h 2146918"/>
              <a:gd name="connsiteX6566" fmla="*/ 5126136 w 5521505"/>
              <a:gd name="connsiteY6566" fmla="*/ 770078 h 2146918"/>
              <a:gd name="connsiteX6567" fmla="*/ 5125990 w 5521505"/>
              <a:gd name="connsiteY6567" fmla="*/ 770528 h 2146918"/>
              <a:gd name="connsiteX6568" fmla="*/ 5125990 w 5521505"/>
              <a:gd name="connsiteY6568" fmla="*/ 771015 h 2146918"/>
              <a:gd name="connsiteX6569" fmla="*/ 5126100 w 5521505"/>
              <a:gd name="connsiteY6569" fmla="*/ 771819 h 2146918"/>
              <a:gd name="connsiteX6570" fmla="*/ 5126307 w 5521505"/>
              <a:gd name="connsiteY6570" fmla="*/ 772574 h 2146918"/>
              <a:gd name="connsiteX6571" fmla="*/ 5126818 w 5521505"/>
              <a:gd name="connsiteY6571" fmla="*/ 773914 h 2146918"/>
              <a:gd name="connsiteX6572" fmla="*/ 5127427 w 5521505"/>
              <a:gd name="connsiteY6572" fmla="*/ 775241 h 2146918"/>
              <a:gd name="connsiteX6573" fmla="*/ 5128645 w 5521505"/>
              <a:gd name="connsiteY6573" fmla="*/ 777676 h 2146918"/>
              <a:gd name="connsiteX6574" fmla="*/ 5129217 w 5521505"/>
              <a:gd name="connsiteY6574" fmla="*/ 778760 h 2146918"/>
              <a:gd name="connsiteX6575" fmla="*/ 5129704 w 5521505"/>
              <a:gd name="connsiteY6575" fmla="*/ 779442 h 2146918"/>
              <a:gd name="connsiteX6576" fmla="*/ 5130532 w 5521505"/>
              <a:gd name="connsiteY6576" fmla="*/ 780245 h 2146918"/>
              <a:gd name="connsiteX6577" fmla="*/ 5131749 w 5521505"/>
              <a:gd name="connsiteY6577" fmla="*/ 781256 h 2146918"/>
              <a:gd name="connsiteX6578" fmla="*/ 5134185 w 5521505"/>
              <a:gd name="connsiteY6578" fmla="*/ 783436 h 2146918"/>
              <a:gd name="connsiteX6579" fmla="*/ 5134526 w 5521505"/>
              <a:gd name="connsiteY6579" fmla="*/ 783887 h 2146918"/>
              <a:gd name="connsiteX6580" fmla="*/ 5135208 w 5521505"/>
              <a:gd name="connsiteY6580" fmla="*/ 785104 h 2146918"/>
              <a:gd name="connsiteX6581" fmla="*/ 5136097 w 5521505"/>
              <a:gd name="connsiteY6581" fmla="*/ 787065 h 2146918"/>
              <a:gd name="connsiteX6582" fmla="*/ 5137631 w 5521505"/>
              <a:gd name="connsiteY6582" fmla="*/ 791229 h 2146918"/>
              <a:gd name="connsiteX6583" fmla="*/ 5135122 w 5521505"/>
              <a:gd name="connsiteY6583" fmla="*/ 790426 h 2146918"/>
              <a:gd name="connsiteX6584" fmla="*/ 5132018 w 5521505"/>
              <a:gd name="connsiteY6584" fmla="*/ 789451 h 2146918"/>
              <a:gd name="connsiteX6585" fmla="*/ 5130325 w 5521505"/>
              <a:gd name="connsiteY6585" fmla="*/ 788818 h 2146918"/>
              <a:gd name="connsiteX6586" fmla="*/ 5129643 w 5521505"/>
              <a:gd name="connsiteY6586" fmla="*/ 788514 h 2146918"/>
              <a:gd name="connsiteX6587" fmla="*/ 5127074 w 5521505"/>
              <a:gd name="connsiteY6587" fmla="*/ 787211 h 2146918"/>
              <a:gd name="connsiteX6588" fmla="*/ 5122300 w 5521505"/>
              <a:gd name="connsiteY6588" fmla="*/ 784690 h 2146918"/>
              <a:gd name="connsiteX6589" fmla="*/ 5118343 w 5521505"/>
              <a:gd name="connsiteY6589" fmla="*/ 782596 h 2146918"/>
              <a:gd name="connsiteX6590" fmla="*/ 5111719 w 5521505"/>
              <a:gd name="connsiteY6590" fmla="*/ 779077 h 2146918"/>
              <a:gd name="connsiteX6591" fmla="*/ 5101320 w 5521505"/>
              <a:gd name="connsiteY6591" fmla="*/ 773354 h 2146918"/>
              <a:gd name="connsiteX6592" fmla="*/ 5096010 w 5521505"/>
              <a:gd name="connsiteY6592" fmla="*/ 770273 h 2146918"/>
              <a:gd name="connsiteX6593" fmla="*/ 5089691 w 5521505"/>
              <a:gd name="connsiteY6593" fmla="*/ 765658 h 2146918"/>
              <a:gd name="connsiteX6594" fmla="*/ 5086293 w 5521505"/>
              <a:gd name="connsiteY6594" fmla="*/ 762553 h 2146918"/>
              <a:gd name="connsiteX6595" fmla="*/ 5081715 w 5521505"/>
              <a:gd name="connsiteY6595" fmla="*/ 758364 h 2146918"/>
              <a:gd name="connsiteX6596" fmla="*/ 5063657 w 5521505"/>
              <a:gd name="connsiteY6596" fmla="*/ 742912 h 2146918"/>
              <a:gd name="connsiteX6597" fmla="*/ 5041507 w 5521505"/>
              <a:gd name="connsiteY6597" fmla="*/ 731161 h 2146918"/>
              <a:gd name="connsiteX6598" fmla="*/ 5022316 w 5521505"/>
              <a:gd name="connsiteY6598" fmla="*/ 719848 h 2146918"/>
              <a:gd name="connsiteX6599" fmla="*/ 5019309 w 5521505"/>
              <a:gd name="connsiteY6599" fmla="*/ 718314 h 2146918"/>
              <a:gd name="connsiteX6600" fmla="*/ 4995479 w 5521505"/>
              <a:gd name="connsiteY6600" fmla="*/ 705906 h 2146918"/>
              <a:gd name="connsiteX6601" fmla="*/ 4989816 w 5521505"/>
              <a:gd name="connsiteY6601" fmla="*/ 702642 h 2146918"/>
              <a:gd name="connsiteX6602" fmla="*/ 4985554 w 5521505"/>
              <a:gd name="connsiteY6602" fmla="*/ 700122 h 2146918"/>
              <a:gd name="connsiteX6603" fmla="*/ 4979466 w 5521505"/>
              <a:gd name="connsiteY6603" fmla="*/ 696469 h 2146918"/>
              <a:gd name="connsiteX6604" fmla="*/ 4970626 w 5521505"/>
              <a:gd name="connsiteY6604" fmla="*/ 691160 h 2146918"/>
              <a:gd name="connsiteX6605" fmla="*/ 4962516 w 5521505"/>
              <a:gd name="connsiteY6605" fmla="*/ 686289 h 2146918"/>
              <a:gd name="connsiteX6606" fmla="*/ 4956647 w 5521505"/>
              <a:gd name="connsiteY6606" fmla="*/ 683026 h 2146918"/>
              <a:gd name="connsiteX6607" fmla="*/ 4946248 w 5521505"/>
              <a:gd name="connsiteY6607" fmla="*/ 681114 h 2146918"/>
              <a:gd name="connsiteX6608" fmla="*/ 4945188 w 5521505"/>
              <a:gd name="connsiteY6608" fmla="*/ 681419 h 2146918"/>
              <a:gd name="connsiteX6609" fmla="*/ 4944530 w 5521505"/>
              <a:gd name="connsiteY6609" fmla="*/ 681662 h 2146918"/>
              <a:gd name="connsiteX6610" fmla="*/ 4944068 w 5521505"/>
              <a:gd name="connsiteY6610" fmla="*/ 681869 h 2146918"/>
              <a:gd name="connsiteX6611" fmla="*/ 4941632 w 5521505"/>
              <a:gd name="connsiteY6611" fmla="*/ 682879 h 2146918"/>
              <a:gd name="connsiteX6612" fmla="*/ 4939404 w 5521505"/>
              <a:gd name="connsiteY6612" fmla="*/ 683646 h 2146918"/>
              <a:gd name="connsiteX6613" fmla="*/ 4936250 w 5521505"/>
              <a:gd name="connsiteY6613" fmla="*/ 684572 h 2146918"/>
              <a:gd name="connsiteX6614" fmla="*/ 4934765 w 5521505"/>
              <a:gd name="connsiteY6614" fmla="*/ 684962 h 2146918"/>
              <a:gd name="connsiteX6615" fmla="*/ 4931757 w 5521505"/>
              <a:gd name="connsiteY6615" fmla="*/ 685729 h 2146918"/>
              <a:gd name="connsiteX6616" fmla="*/ 4929504 w 5521505"/>
              <a:gd name="connsiteY6616" fmla="*/ 686277 h 2146918"/>
              <a:gd name="connsiteX6617" fmla="*/ 4928640 w 5521505"/>
              <a:gd name="connsiteY6617" fmla="*/ 686484 h 2146918"/>
              <a:gd name="connsiteX6618" fmla="*/ 4927556 w 5521505"/>
              <a:gd name="connsiteY6618" fmla="*/ 686764 h 2146918"/>
              <a:gd name="connsiteX6619" fmla="*/ 4926655 w 5521505"/>
              <a:gd name="connsiteY6619" fmla="*/ 686983 h 2146918"/>
              <a:gd name="connsiteX6620" fmla="*/ 4925571 w 5521505"/>
              <a:gd name="connsiteY6620" fmla="*/ 687263 h 2146918"/>
              <a:gd name="connsiteX6621" fmla="*/ 4925571 w 5521505"/>
              <a:gd name="connsiteY6621" fmla="*/ 687263 h 2146918"/>
              <a:gd name="connsiteX6622" fmla="*/ 4924780 w 5521505"/>
              <a:gd name="connsiteY6622" fmla="*/ 687470 h 2146918"/>
              <a:gd name="connsiteX6623" fmla="*/ 4924256 w 5521505"/>
              <a:gd name="connsiteY6623" fmla="*/ 687616 h 2146918"/>
              <a:gd name="connsiteX6624" fmla="*/ 4923842 w 5521505"/>
              <a:gd name="connsiteY6624" fmla="*/ 687726 h 2146918"/>
              <a:gd name="connsiteX6625" fmla="*/ 4923501 w 5521505"/>
              <a:gd name="connsiteY6625" fmla="*/ 687799 h 2146918"/>
              <a:gd name="connsiteX6626" fmla="*/ 4922905 w 5521505"/>
              <a:gd name="connsiteY6626" fmla="*/ 687884 h 2146918"/>
              <a:gd name="connsiteX6627" fmla="*/ 4922259 w 5521505"/>
              <a:gd name="connsiteY6627" fmla="*/ 687957 h 2146918"/>
              <a:gd name="connsiteX6628" fmla="*/ 4921906 w 5521505"/>
              <a:gd name="connsiteY6628" fmla="*/ 688018 h 2146918"/>
              <a:gd name="connsiteX6629" fmla="*/ 4921516 w 5521505"/>
              <a:gd name="connsiteY6629" fmla="*/ 688140 h 2146918"/>
              <a:gd name="connsiteX6630" fmla="*/ 4921127 w 5521505"/>
              <a:gd name="connsiteY6630" fmla="*/ 688457 h 2146918"/>
              <a:gd name="connsiteX6631" fmla="*/ 4913614 w 5521505"/>
              <a:gd name="connsiteY6631" fmla="*/ 695008 h 2146918"/>
              <a:gd name="connsiteX6632" fmla="*/ 4904177 w 5521505"/>
              <a:gd name="connsiteY6632" fmla="*/ 697967 h 2146918"/>
              <a:gd name="connsiteX6633" fmla="*/ 4894776 w 5521505"/>
              <a:gd name="connsiteY6633" fmla="*/ 700536 h 2146918"/>
              <a:gd name="connsiteX6634" fmla="*/ 4906770 w 5521505"/>
              <a:gd name="connsiteY6634" fmla="*/ 707611 h 2146918"/>
              <a:gd name="connsiteX6635" fmla="*/ 4916889 w 5521505"/>
              <a:gd name="connsiteY6635" fmla="*/ 713979 h 2146918"/>
              <a:gd name="connsiteX6636" fmla="*/ 4923331 w 5521505"/>
              <a:gd name="connsiteY6636" fmla="*/ 720810 h 2146918"/>
              <a:gd name="connsiteX6637" fmla="*/ 4923562 w 5521505"/>
              <a:gd name="connsiteY6637" fmla="*/ 721650 h 2146918"/>
              <a:gd name="connsiteX6638" fmla="*/ 4923732 w 5521505"/>
              <a:gd name="connsiteY6638" fmla="*/ 722649 h 2146918"/>
              <a:gd name="connsiteX6639" fmla="*/ 4926485 w 5521505"/>
              <a:gd name="connsiteY6639" fmla="*/ 728591 h 2146918"/>
              <a:gd name="connsiteX6640" fmla="*/ 4938990 w 5521505"/>
              <a:gd name="connsiteY6640" fmla="*/ 738028 h 2146918"/>
              <a:gd name="connsiteX6641" fmla="*/ 4939611 w 5521505"/>
              <a:gd name="connsiteY6641" fmla="*/ 738345 h 2146918"/>
              <a:gd name="connsiteX6642" fmla="*/ 4940561 w 5521505"/>
              <a:gd name="connsiteY6642" fmla="*/ 738893 h 2146918"/>
              <a:gd name="connsiteX6643" fmla="*/ 4941547 w 5521505"/>
              <a:gd name="connsiteY6643" fmla="*/ 739539 h 2146918"/>
              <a:gd name="connsiteX6644" fmla="*/ 4942509 w 5521505"/>
              <a:gd name="connsiteY6644" fmla="*/ 740244 h 2146918"/>
              <a:gd name="connsiteX6645" fmla="*/ 4944762 w 5521505"/>
              <a:gd name="connsiteY6645" fmla="*/ 742023 h 2146918"/>
              <a:gd name="connsiteX6646" fmla="*/ 4947197 w 5521505"/>
              <a:gd name="connsiteY6646" fmla="*/ 743946 h 2146918"/>
              <a:gd name="connsiteX6647" fmla="*/ 4951995 w 5521505"/>
              <a:gd name="connsiteY6647" fmla="*/ 741097 h 2146918"/>
              <a:gd name="connsiteX6648" fmla="*/ 4960677 w 5521505"/>
              <a:gd name="connsiteY6648" fmla="*/ 746150 h 2146918"/>
              <a:gd name="connsiteX6649" fmla="*/ 4985579 w 5521505"/>
              <a:gd name="connsiteY6649" fmla="*/ 764574 h 2146918"/>
              <a:gd name="connsiteX6650" fmla="*/ 4990888 w 5521505"/>
              <a:gd name="connsiteY6650" fmla="*/ 769286 h 2146918"/>
              <a:gd name="connsiteX6651" fmla="*/ 4994005 w 5521505"/>
              <a:gd name="connsiteY6651" fmla="*/ 772221 h 2146918"/>
              <a:gd name="connsiteX6652" fmla="*/ 4997914 w 5521505"/>
              <a:gd name="connsiteY6652" fmla="*/ 776105 h 2146918"/>
              <a:gd name="connsiteX6653" fmla="*/ 5000495 w 5521505"/>
              <a:gd name="connsiteY6653" fmla="*/ 778797 h 2146918"/>
              <a:gd name="connsiteX6654" fmla="*/ 5003101 w 5521505"/>
              <a:gd name="connsiteY6654" fmla="*/ 781658 h 2146918"/>
              <a:gd name="connsiteX6655" fmla="*/ 5005768 w 5521505"/>
              <a:gd name="connsiteY6655" fmla="*/ 784739 h 2146918"/>
              <a:gd name="connsiteX6656" fmla="*/ 5007899 w 5521505"/>
              <a:gd name="connsiteY6656" fmla="*/ 787382 h 2146918"/>
              <a:gd name="connsiteX6657" fmla="*/ 5009896 w 5521505"/>
              <a:gd name="connsiteY6657" fmla="*/ 789999 h 2146918"/>
              <a:gd name="connsiteX6658" fmla="*/ 5010225 w 5521505"/>
              <a:gd name="connsiteY6658" fmla="*/ 789488 h 2146918"/>
              <a:gd name="connsiteX6659" fmla="*/ 5010468 w 5521505"/>
              <a:gd name="connsiteY6659" fmla="*/ 789135 h 2146918"/>
              <a:gd name="connsiteX6660" fmla="*/ 5010675 w 5521505"/>
              <a:gd name="connsiteY6660" fmla="*/ 788831 h 2146918"/>
              <a:gd name="connsiteX6661" fmla="*/ 5011004 w 5521505"/>
              <a:gd name="connsiteY6661" fmla="*/ 788380 h 2146918"/>
              <a:gd name="connsiteX6662" fmla="*/ 5011601 w 5521505"/>
              <a:gd name="connsiteY6662" fmla="*/ 787564 h 2146918"/>
              <a:gd name="connsiteX6663" fmla="*/ 5012879 w 5521505"/>
              <a:gd name="connsiteY6663" fmla="*/ 783704 h 2146918"/>
              <a:gd name="connsiteX6664" fmla="*/ 5012806 w 5521505"/>
              <a:gd name="connsiteY6664" fmla="*/ 782973 h 2146918"/>
              <a:gd name="connsiteX6665" fmla="*/ 5012514 w 5521505"/>
              <a:gd name="connsiteY6665" fmla="*/ 781476 h 2146918"/>
              <a:gd name="connsiteX6666" fmla="*/ 5011990 w 5521505"/>
              <a:gd name="connsiteY6666" fmla="*/ 779430 h 2146918"/>
              <a:gd name="connsiteX6667" fmla="*/ 5011661 w 5521505"/>
              <a:gd name="connsiteY6667" fmla="*/ 777981 h 2146918"/>
              <a:gd name="connsiteX6668" fmla="*/ 5015314 w 5521505"/>
              <a:gd name="connsiteY6668" fmla="*/ 778894 h 2146918"/>
              <a:gd name="connsiteX6669" fmla="*/ 5021403 w 5521505"/>
              <a:gd name="connsiteY6669" fmla="*/ 784033 h 2146918"/>
              <a:gd name="connsiteX6670" fmla="*/ 5024046 w 5521505"/>
              <a:gd name="connsiteY6670" fmla="*/ 787929 h 2146918"/>
              <a:gd name="connsiteX6671" fmla="*/ 5025458 w 5521505"/>
              <a:gd name="connsiteY6671" fmla="*/ 790365 h 2146918"/>
              <a:gd name="connsiteX6672" fmla="*/ 5027224 w 5521505"/>
              <a:gd name="connsiteY6672" fmla="*/ 793579 h 2146918"/>
              <a:gd name="connsiteX6673" fmla="*/ 5028441 w 5521505"/>
              <a:gd name="connsiteY6673" fmla="*/ 795673 h 2146918"/>
              <a:gd name="connsiteX6674" fmla="*/ 5030048 w 5521505"/>
              <a:gd name="connsiteY6674" fmla="*/ 798316 h 2146918"/>
              <a:gd name="connsiteX6675" fmla="*/ 5032252 w 5521505"/>
              <a:gd name="connsiteY6675" fmla="*/ 801494 h 2146918"/>
              <a:gd name="connsiteX6676" fmla="*/ 5033933 w 5521505"/>
              <a:gd name="connsiteY6676" fmla="*/ 803759 h 2146918"/>
              <a:gd name="connsiteX6677" fmla="*/ 5036758 w 5521505"/>
              <a:gd name="connsiteY6677" fmla="*/ 807412 h 2146918"/>
              <a:gd name="connsiteX6678" fmla="*/ 5039352 w 5521505"/>
              <a:gd name="connsiteY6678" fmla="*/ 810736 h 2146918"/>
              <a:gd name="connsiteX6679" fmla="*/ 5041787 w 5521505"/>
              <a:gd name="connsiteY6679" fmla="*/ 813756 h 2146918"/>
              <a:gd name="connsiteX6680" fmla="*/ 5044052 w 5521505"/>
              <a:gd name="connsiteY6680" fmla="*/ 816387 h 2146918"/>
              <a:gd name="connsiteX6681" fmla="*/ 5045014 w 5521505"/>
              <a:gd name="connsiteY6681" fmla="*/ 817738 h 2146918"/>
              <a:gd name="connsiteX6682" fmla="*/ 5045988 w 5521505"/>
              <a:gd name="connsiteY6682" fmla="*/ 819540 h 2146918"/>
              <a:gd name="connsiteX6683" fmla="*/ 5046804 w 5521505"/>
              <a:gd name="connsiteY6683" fmla="*/ 821075 h 2146918"/>
              <a:gd name="connsiteX6684" fmla="*/ 5048484 w 5521505"/>
              <a:gd name="connsiteY6684" fmla="*/ 824228 h 2146918"/>
              <a:gd name="connsiteX6685" fmla="*/ 5050773 w 5521505"/>
              <a:gd name="connsiteY6685" fmla="*/ 828539 h 2146918"/>
              <a:gd name="connsiteX6686" fmla="*/ 5053659 w 5521505"/>
              <a:gd name="connsiteY6686" fmla="*/ 834031 h 2146918"/>
              <a:gd name="connsiteX6687" fmla="*/ 5055693 w 5521505"/>
              <a:gd name="connsiteY6687" fmla="*/ 837939 h 2146918"/>
              <a:gd name="connsiteX6688" fmla="*/ 5057909 w 5521505"/>
              <a:gd name="connsiteY6688" fmla="*/ 842214 h 2146918"/>
              <a:gd name="connsiteX6689" fmla="*/ 5060345 w 5521505"/>
              <a:gd name="connsiteY6689" fmla="*/ 846865 h 2146918"/>
              <a:gd name="connsiteX6690" fmla="*/ 5063352 w 5521505"/>
              <a:gd name="connsiteY6690" fmla="*/ 852795 h 2146918"/>
              <a:gd name="connsiteX6691" fmla="*/ 5065057 w 5521505"/>
              <a:gd name="connsiteY6691" fmla="*/ 856181 h 2146918"/>
              <a:gd name="connsiteX6692" fmla="*/ 5066409 w 5521505"/>
              <a:gd name="connsiteY6692" fmla="*/ 858859 h 2146918"/>
              <a:gd name="connsiteX6693" fmla="*/ 5067699 w 5521505"/>
              <a:gd name="connsiteY6693" fmla="*/ 861295 h 2146918"/>
              <a:gd name="connsiteX6694" fmla="*/ 5068783 w 5521505"/>
              <a:gd name="connsiteY6694" fmla="*/ 863194 h 2146918"/>
              <a:gd name="connsiteX6695" fmla="*/ 5070001 w 5521505"/>
              <a:gd name="connsiteY6695" fmla="*/ 865155 h 2146918"/>
              <a:gd name="connsiteX6696" fmla="*/ 5070902 w 5521505"/>
              <a:gd name="connsiteY6696" fmla="*/ 866519 h 2146918"/>
              <a:gd name="connsiteX6697" fmla="*/ 5072631 w 5521505"/>
              <a:gd name="connsiteY6697" fmla="*/ 868954 h 2146918"/>
              <a:gd name="connsiteX6698" fmla="*/ 5074056 w 5521505"/>
              <a:gd name="connsiteY6698" fmla="*/ 870732 h 2146918"/>
              <a:gd name="connsiteX6699" fmla="*/ 5075651 w 5521505"/>
              <a:gd name="connsiteY6699" fmla="*/ 872558 h 2146918"/>
              <a:gd name="connsiteX6700" fmla="*/ 5077831 w 5521505"/>
              <a:gd name="connsiteY6700" fmla="*/ 874823 h 2146918"/>
              <a:gd name="connsiteX6701" fmla="*/ 5079620 w 5521505"/>
              <a:gd name="connsiteY6701" fmla="*/ 876528 h 2146918"/>
              <a:gd name="connsiteX6702" fmla="*/ 5081264 w 5521505"/>
              <a:gd name="connsiteY6702" fmla="*/ 878038 h 2146918"/>
              <a:gd name="connsiteX6703" fmla="*/ 5082859 w 5521505"/>
              <a:gd name="connsiteY6703" fmla="*/ 879597 h 2146918"/>
              <a:gd name="connsiteX6704" fmla="*/ 5084150 w 5521505"/>
              <a:gd name="connsiteY6704" fmla="*/ 880973 h 2146918"/>
              <a:gd name="connsiteX6705" fmla="*/ 5085648 w 5521505"/>
              <a:gd name="connsiteY6705" fmla="*/ 882775 h 2146918"/>
              <a:gd name="connsiteX6706" fmla="*/ 5086257 w 5521505"/>
              <a:gd name="connsiteY6706" fmla="*/ 883591 h 2146918"/>
              <a:gd name="connsiteX6707" fmla="*/ 5088912 w 5521505"/>
              <a:gd name="connsiteY6707" fmla="*/ 892114 h 2146918"/>
              <a:gd name="connsiteX6708" fmla="*/ 5075980 w 5521505"/>
              <a:gd name="connsiteY6708" fmla="*/ 885076 h 2146918"/>
              <a:gd name="connsiteX6709" fmla="*/ 5075590 w 5521505"/>
              <a:gd name="connsiteY6709" fmla="*/ 886769 h 2146918"/>
              <a:gd name="connsiteX6710" fmla="*/ 5075407 w 5521505"/>
              <a:gd name="connsiteY6710" fmla="*/ 888388 h 2146918"/>
              <a:gd name="connsiteX6711" fmla="*/ 5075407 w 5521505"/>
              <a:gd name="connsiteY6711" fmla="*/ 890105 h 2146918"/>
              <a:gd name="connsiteX6712" fmla="*/ 5075566 w 5521505"/>
              <a:gd name="connsiteY6712" fmla="*/ 891786 h 2146918"/>
              <a:gd name="connsiteX6713" fmla="*/ 5076065 w 5521505"/>
              <a:gd name="connsiteY6713" fmla="*/ 894306 h 2146918"/>
              <a:gd name="connsiteX6714" fmla="*/ 5076552 w 5521505"/>
              <a:gd name="connsiteY6714" fmla="*/ 895974 h 2146918"/>
              <a:gd name="connsiteX6715" fmla="*/ 5079791 w 5521505"/>
              <a:gd name="connsiteY6715" fmla="*/ 903402 h 2146918"/>
              <a:gd name="connsiteX6716" fmla="*/ 5080668 w 5521505"/>
              <a:gd name="connsiteY6716" fmla="*/ 904998 h 2146918"/>
              <a:gd name="connsiteX6717" fmla="*/ 5082494 w 5521505"/>
              <a:gd name="connsiteY6717" fmla="*/ 908090 h 2146918"/>
              <a:gd name="connsiteX6718" fmla="*/ 5083822 w 5521505"/>
              <a:gd name="connsiteY6718" fmla="*/ 910197 h 2146918"/>
              <a:gd name="connsiteX6719" fmla="*/ 5085502 w 5521505"/>
              <a:gd name="connsiteY6719" fmla="*/ 912779 h 2146918"/>
              <a:gd name="connsiteX6720" fmla="*/ 5087450 w 5521505"/>
              <a:gd name="connsiteY6720" fmla="*/ 915677 h 2146918"/>
              <a:gd name="connsiteX6721" fmla="*/ 5089435 w 5521505"/>
              <a:gd name="connsiteY6721" fmla="*/ 918575 h 2146918"/>
              <a:gd name="connsiteX6722" fmla="*/ 5091103 w 5521505"/>
              <a:gd name="connsiteY6722" fmla="*/ 921010 h 2146918"/>
              <a:gd name="connsiteX6723" fmla="*/ 5092894 w 5521505"/>
              <a:gd name="connsiteY6723" fmla="*/ 923665 h 2146918"/>
              <a:gd name="connsiteX6724" fmla="*/ 5094196 w 5521505"/>
              <a:gd name="connsiteY6724" fmla="*/ 925625 h 2146918"/>
              <a:gd name="connsiteX6725" fmla="*/ 5095974 w 5521505"/>
              <a:gd name="connsiteY6725" fmla="*/ 928377 h 2146918"/>
              <a:gd name="connsiteX6726" fmla="*/ 5097411 w 5521505"/>
              <a:gd name="connsiteY6726" fmla="*/ 930703 h 2146918"/>
              <a:gd name="connsiteX6727" fmla="*/ 5098714 w 5521505"/>
              <a:gd name="connsiteY6727" fmla="*/ 932943 h 2146918"/>
              <a:gd name="connsiteX6728" fmla="*/ 5094549 w 5521505"/>
              <a:gd name="connsiteY6728" fmla="*/ 932456 h 2146918"/>
              <a:gd name="connsiteX6729" fmla="*/ 5090251 w 5521505"/>
              <a:gd name="connsiteY6729" fmla="*/ 931957 h 2146918"/>
              <a:gd name="connsiteX6730" fmla="*/ 5087401 w 5521505"/>
              <a:gd name="connsiteY6730" fmla="*/ 931640 h 2146918"/>
              <a:gd name="connsiteX6731" fmla="*/ 5085234 w 5521505"/>
              <a:gd name="connsiteY6731" fmla="*/ 931397 h 2146918"/>
              <a:gd name="connsiteX6732" fmla="*/ 5083249 w 5521505"/>
              <a:gd name="connsiteY6732" fmla="*/ 931165 h 2146918"/>
              <a:gd name="connsiteX6733" fmla="*/ 5082397 w 5521505"/>
              <a:gd name="connsiteY6733" fmla="*/ 930678 h 2146918"/>
              <a:gd name="connsiteX6734" fmla="*/ 5079085 w 5521505"/>
              <a:gd name="connsiteY6734" fmla="*/ 928401 h 2146918"/>
              <a:gd name="connsiteX6735" fmla="*/ 5071620 w 5521505"/>
              <a:gd name="connsiteY6735" fmla="*/ 919208 h 2146918"/>
              <a:gd name="connsiteX6736" fmla="*/ 5070731 w 5521505"/>
              <a:gd name="connsiteY6736" fmla="*/ 916687 h 2146918"/>
              <a:gd name="connsiteX6737" fmla="*/ 5070001 w 5521505"/>
              <a:gd name="connsiteY6737" fmla="*/ 914422 h 2146918"/>
              <a:gd name="connsiteX6738" fmla="*/ 5069477 w 5521505"/>
              <a:gd name="connsiteY6738" fmla="*/ 912803 h 2146918"/>
              <a:gd name="connsiteX6739" fmla="*/ 5068929 w 5521505"/>
              <a:gd name="connsiteY6739" fmla="*/ 911037 h 2146918"/>
              <a:gd name="connsiteX6740" fmla="*/ 5068418 w 5521505"/>
              <a:gd name="connsiteY6740" fmla="*/ 909430 h 2146918"/>
              <a:gd name="connsiteX6741" fmla="*/ 5067821 w 5521505"/>
              <a:gd name="connsiteY6741" fmla="*/ 907567 h 2146918"/>
              <a:gd name="connsiteX6742" fmla="*/ 5067115 w 5521505"/>
              <a:gd name="connsiteY6742" fmla="*/ 905363 h 2146918"/>
              <a:gd name="connsiteX6743" fmla="*/ 5066470 w 5521505"/>
              <a:gd name="connsiteY6743" fmla="*/ 903390 h 2146918"/>
              <a:gd name="connsiteX6744" fmla="*/ 5065605 w 5521505"/>
              <a:gd name="connsiteY6744" fmla="*/ 900760 h 2146918"/>
              <a:gd name="connsiteX6745" fmla="*/ 5064996 w 5521505"/>
              <a:gd name="connsiteY6745" fmla="*/ 898982 h 2146918"/>
              <a:gd name="connsiteX6746" fmla="*/ 5063778 w 5521505"/>
              <a:gd name="connsiteY6746" fmla="*/ 895548 h 2146918"/>
              <a:gd name="connsiteX6747" fmla="*/ 5062415 w 5521505"/>
              <a:gd name="connsiteY6747" fmla="*/ 891895 h 2146918"/>
              <a:gd name="connsiteX6748" fmla="*/ 5061355 w 5521505"/>
              <a:gd name="connsiteY6748" fmla="*/ 889253 h 2146918"/>
              <a:gd name="connsiteX6749" fmla="*/ 5060393 w 5521505"/>
              <a:gd name="connsiteY6749" fmla="*/ 886964 h 2146918"/>
              <a:gd name="connsiteX6750" fmla="*/ 5059358 w 5521505"/>
              <a:gd name="connsiteY6750" fmla="*/ 884528 h 2146918"/>
              <a:gd name="connsiteX6751" fmla="*/ 5058701 w 5521505"/>
              <a:gd name="connsiteY6751" fmla="*/ 883006 h 2146918"/>
              <a:gd name="connsiteX6752" fmla="*/ 5056959 w 5521505"/>
              <a:gd name="connsiteY6752" fmla="*/ 878915 h 2146918"/>
              <a:gd name="connsiteX6753" fmla="*/ 5055377 w 5521505"/>
              <a:gd name="connsiteY6753" fmla="*/ 875262 h 2146918"/>
              <a:gd name="connsiteX6754" fmla="*/ 5053733 w 5521505"/>
              <a:gd name="connsiteY6754" fmla="*/ 871474 h 2146918"/>
              <a:gd name="connsiteX6755" fmla="*/ 5052405 w 5521505"/>
              <a:gd name="connsiteY6755" fmla="*/ 868467 h 2146918"/>
              <a:gd name="connsiteX6756" fmla="*/ 5050238 w 5521505"/>
              <a:gd name="connsiteY6756" fmla="*/ 863596 h 2146918"/>
              <a:gd name="connsiteX6757" fmla="*/ 5048874 w 5521505"/>
              <a:gd name="connsiteY6757" fmla="*/ 860588 h 2146918"/>
              <a:gd name="connsiteX6758" fmla="*/ 5047120 w 5521505"/>
              <a:gd name="connsiteY6758" fmla="*/ 856753 h 2146918"/>
              <a:gd name="connsiteX6759" fmla="*/ 5045781 w 5521505"/>
              <a:gd name="connsiteY6759" fmla="*/ 853842 h 2146918"/>
              <a:gd name="connsiteX6760" fmla="*/ 5044307 w 5521505"/>
              <a:gd name="connsiteY6760" fmla="*/ 850677 h 2146918"/>
              <a:gd name="connsiteX6761" fmla="*/ 5042371 w 5521505"/>
              <a:gd name="connsiteY6761" fmla="*/ 846573 h 2146918"/>
              <a:gd name="connsiteX6762" fmla="*/ 5040387 w 5521505"/>
              <a:gd name="connsiteY6762" fmla="*/ 842469 h 2146918"/>
              <a:gd name="connsiteX6763" fmla="*/ 5037111 w 5521505"/>
              <a:gd name="connsiteY6763" fmla="*/ 835772 h 2146918"/>
              <a:gd name="connsiteX6764" fmla="*/ 5035625 w 5521505"/>
              <a:gd name="connsiteY6764" fmla="*/ 832837 h 2146918"/>
              <a:gd name="connsiteX6765" fmla="*/ 5034627 w 5521505"/>
              <a:gd name="connsiteY6765" fmla="*/ 831072 h 2146918"/>
              <a:gd name="connsiteX6766" fmla="*/ 5033860 w 5521505"/>
              <a:gd name="connsiteY6766" fmla="*/ 829854 h 2146918"/>
              <a:gd name="connsiteX6767" fmla="*/ 5032192 w 5521505"/>
              <a:gd name="connsiteY6767" fmla="*/ 827419 h 2146918"/>
              <a:gd name="connsiteX6768" fmla="*/ 5030390 w 5521505"/>
              <a:gd name="connsiteY6768" fmla="*/ 824984 h 2146918"/>
              <a:gd name="connsiteX6769" fmla="*/ 5028173 w 5521505"/>
              <a:gd name="connsiteY6769" fmla="*/ 822158 h 2146918"/>
              <a:gd name="connsiteX6770" fmla="*/ 5024764 w 5521505"/>
              <a:gd name="connsiteY6770" fmla="*/ 817933 h 2146918"/>
              <a:gd name="connsiteX6771" fmla="*/ 5020551 w 5521505"/>
              <a:gd name="connsiteY6771" fmla="*/ 812563 h 2146918"/>
              <a:gd name="connsiteX6772" fmla="*/ 5017531 w 5521505"/>
              <a:gd name="connsiteY6772" fmla="*/ 817519 h 2146918"/>
              <a:gd name="connsiteX6773" fmla="*/ 5017653 w 5521505"/>
              <a:gd name="connsiteY6773" fmla="*/ 817921 h 2146918"/>
              <a:gd name="connsiteX6774" fmla="*/ 5018566 w 5521505"/>
              <a:gd name="connsiteY6774" fmla="*/ 820709 h 2146918"/>
              <a:gd name="connsiteX6775" fmla="*/ 5019674 w 5521505"/>
              <a:gd name="connsiteY6775" fmla="*/ 823230 h 2146918"/>
              <a:gd name="connsiteX6776" fmla="*/ 5022316 w 5521505"/>
              <a:gd name="connsiteY6776" fmla="*/ 829135 h 2146918"/>
              <a:gd name="connsiteX6777" fmla="*/ 5026700 w 5521505"/>
              <a:gd name="connsiteY6777" fmla="*/ 838317 h 2146918"/>
              <a:gd name="connsiteX6778" fmla="*/ 5032606 w 5521505"/>
              <a:gd name="connsiteY6778" fmla="*/ 849045 h 2146918"/>
              <a:gd name="connsiteX6779" fmla="*/ 5031863 w 5521505"/>
              <a:gd name="connsiteY6779" fmla="*/ 864181 h 2146918"/>
              <a:gd name="connsiteX6780" fmla="*/ 5029159 w 5521505"/>
              <a:gd name="connsiteY6780" fmla="*/ 867188 h 2146918"/>
              <a:gd name="connsiteX6781" fmla="*/ 5026554 w 5521505"/>
              <a:gd name="connsiteY6781" fmla="*/ 869538 h 2146918"/>
              <a:gd name="connsiteX6782" fmla="*/ 5024119 w 5521505"/>
              <a:gd name="connsiteY6782" fmla="*/ 871694 h 2146918"/>
              <a:gd name="connsiteX6783" fmla="*/ 5019126 w 5521505"/>
              <a:gd name="connsiteY6783" fmla="*/ 876089 h 2146918"/>
              <a:gd name="connsiteX6784" fmla="*/ 5014949 w 5521505"/>
              <a:gd name="connsiteY6784" fmla="*/ 879669 h 2146918"/>
              <a:gd name="connsiteX6785" fmla="*/ 5007302 w 5521505"/>
              <a:gd name="connsiteY6785" fmla="*/ 885076 h 2146918"/>
              <a:gd name="connsiteX6786" fmla="*/ 5000788 w 5521505"/>
              <a:gd name="connsiteY6786" fmla="*/ 888534 h 2146918"/>
              <a:gd name="connsiteX6787" fmla="*/ 4994955 w 5521505"/>
              <a:gd name="connsiteY6787" fmla="*/ 891494 h 2146918"/>
              <a:gd name="connsiteX6788" fmla="*/ 4990169 w 5521505"/>
              <a:gd name="connsiteY6788" fmla="*/ 894014 h 2146918"/>
              <a:gd name="connsiteX6789" fmla="*/ 4986127 w 5521505"/>
              <a:gd name="connsiteY6789" fmla="*/ 896352 h 2146918"/>
              <a:gd name="connsiteX6790" fmla="*/ 4983423 w 5521505"/>
              <a:gd name="connsiteY6790" fmla="*/ 898032 h 2146918"/>
              <a:gd name="connsiteX6791" fmla="*/ 4980440 w 5521505"/>
              <a:gd name="connsiteY6791" fmla="*/ 899518 h 2146918"/>
              <a:gd name="connsiteX6792" fmla="*/ 4960360 w 5521505"/>
              <a:gd name="connsiteY6792" fmla="*/ 897923 h 2146918"/>
              <a:gd name="connsiteX6793" fmla="*/ 4936725 w 5521505"/>
              <a:gd name="connsiteY6793" fmla="*/ 881545 h 2146918"/>
              <a:gd name="connsiteX6794" fmla="*/ 4933352 w 5521505"/>
              <a:gd name="connsiteY6794" fmla="*/ 878038 h 2146918"/>
              <a:gd name="connsiteX6795" fmla="*/ 4930333 w 5521505"/>
              <a:gd name="connsiteY6795" fmla="*/ 874872 h 2146918"/>
              <a:gd name="connsiteX6796" fmla="*/ 4926813 w 5521505"/>
              <a:gd name="connsiteY6796" fmla="*/ 874531 h 2146918"/>
              <a:gd name="connsiteX6797" fmla="*/ 4923830 w 5521505"/>
              <a:gd name="connsiteY6797" fmla="*/ 874373 h 2146918"/>
              <a:gd name="connsiteX6798" fmla="*/ 4920274 w 5521505"/>
              <a:gd name="connsiteY6798" fmla="*/ 874373 h 2146918"/>
              <a:gd name="connsiteX6799" fmla="*/ 4909133 w 5521505"/>
              <a:gd name="connsiteY6799" fmla="*/ 884662 h 2146918"/>
              <a:gd name="connsiteX6800" fmla="*/ 4896079 w 5521505"/>
              <a:gd name="connsiteY6800" fmla="*/ 890446 h 2146918"/>
              <a:gd name="connsiteX6801" fmla="*/ 4889881 w 5521505"/>
              <a:gd name="connsiteY6801" fmla="*/ 889667 h 2146918"/>
              <a:gd name="connsiteX6802" fmla="*/ 4885619 w 5521505"/>
              <a:gd name="connsiteY6802" fmla="*/ 889435 h 2146918"/>
              <a:gd name="connsiteX6803" fmla="*/ 4887239 w 5521505"/>
              <a:gd name="connsiteY6803" fmla="*/ 903317 h 2146918"/>
              <a:gd name="connsiteX6804" fmla="*/ 4889223 w 5521505"/>
              <a:gd name="connsiteY6804" fmla="*/ 905521 h 2146918"/>
              <a:gd name="connsiteX6805" fmla="*/ 4890977 w 5521505"/>
              <a:gd name="connsiteY6805" fmla="*/ 907555 h 2146918"/>
              <a:gd name="connsiteX6806" fmla="*/ 4892852 w 5521505"/>
              <a:gd name="connsiteY6806" fmla="*/ 909831 h 2146918"/>
              <a:gd name="connsiteX6807" fmla="*/ 4917206 w 5521505"/>
              <a:gd name="connsiteY6807" fmla="*/ 949759 h 2146918"/>
              <a:gd name="connsiteX6808" fmla="*/ 4919057 w 5521505"/>
              <a:gd name="connsiteY6808" fmla="*/ 955556 h 2146918"/>
              <a:gd name="connsiteX6809" fmla="*/ 4919690 w 5521505"/>
              <a:gd name="connsiteY6809" fmla="*/ 957991 h 2146918"/>
              <a:gd name="connsiteX6810" fmla="*/ 4920701 w 5521505"/>
              <a:gd name="connsiteY6810" fmla="*/ 963520 h 2146918"/>
              <a:gd name="connsiteX6811" fmla="*/ 4920992 w 5521505"/>
              <a:gd name="connsiteY6811" fmla="*/ 966149 h 2146918"/>
              <a:gd name="connsiteX6812" fmla="*/ 4920992 w 5521505"/>
              <a:gd name="connsiteY6812" fmla="*/ 969864 h 2146918"/>
              <a:gd name="connsiteX6813" fmla="*/ 4912469 w 5521505"/>
              <a:gd name="connsiteY6813" fmla="*/ 971726 h 2146918"/>
              <a:gd name="connsiteX6814" fmla="*/ 4903360 w 5521505"/>
              <a:gd name="connsiteY6814" fmla="*/ 968293 h 2146918"/>
              <a:gd name="connsiteX6815" fmla="*/ 4891914 w 5521505"/>
              <a:gd name="connsiteY6815" fmla="*/ 963860 h 2146918"/>
              <a:gd name="connsiteX6816" fmla="*/ 4880626 w 5521505"/>
              <a:gd name="connsiteY6816" fmla="*/ 959562 h 2146918"/>
              <a:gd name="connsiteX6817" fmla="*/ 4876657 w 5521505"/>
              <a:gd name="connsiteY6817" fmla="*/ 958064 h 2146918"/>
              <a:gd name="connsiteX6818" fmla="*/ 4871372 w 5521505"/>
              <a:gd name="connsiteY6818" fmla="*/ 956067 h 2146918"/>
              <a:gd name="connsiteX6819" fmla="*/ 4869010 w 5521505"/>
              <a:gd name="connsiteY6819" fmla="*/ 940882 h 2146918"/>
              <a:gd name="connsiteX6820" fmla="*/ 4867232 w 5521505"/>
              <a:gd name="connsiteY6820" fmla="*/ 929778 h 2146918"/>
              <a:gd name="connsiteX6821" fmla="*/ 4866331 w 5521505"/>
              <a:gd name="connsiteY6821" fmla="*/ 924152 h 2146918"/>
              <a:gd name="connsiteX6822" fmla="*/ 4865515 w 5521505"/>
              <a:gd name="connsiteY6822" fmla="*/ 919196 h 2146918"/>
              <a:gd name="connsiteX6823" fmla="*/ 4869278 w 5521505"/>
              <a:gd name="connsiteY6823" fmla="*/ 914617 h 2146918"/>
              <a:gd name="connsiteX6824" fmla="*/ 4861898 w 5521505"/>
              <a:gd name="connsiteY6824" fmla="*/ 905582 h 2146918"/>
              <a:gd name="connsiteX6825" fmla="*/ 4860023 w 5521505"/>
              <a:gd name="connsiteY6825" fmla="*/ 904169 h 2146918"/>
              <a:gd name="connsiteX6826" fmla="*/ 4856760 w 5521505"/>
              <a:gd name="connsiteY6826" fmla="*/ 901831 h 2146918"/>
              <a:gd name="connsiteX6827" fmla="*/ 4852948 w 5521505"/>
              <a:gd name="connsiteY6827" fmla="*/ 899225 h 2146918"/>
              <a:gd name="connsiteX6828" fmla="*/ 4838470 w 5521505"/>
              <a:gd name="connsiteY6828" fmla="*/ 887706 h 2146918"/>
              <a:gd name="connsiteX6829" fmla="*/ 4835889 w 5521505"/>
              <a:gd name="connsiteY6829" fmla="*/ 879377 h 2146918"/>
              <a:gd name="connsiteX6830" fmla="*/ 4836205 w 5521505"/>
              <a:gd name="connsiteY6830" fmla="*/ 878476 h 2146918"/>
              <a:gd name="connsiteX6831" fmla="*/ 4836948 w 5521505"/>
              <a:gd name="connsiteY6831" fmla="*/ 876735 h 2146918"/>
              <a:gd name="connsiteX6832" fmla="*/ 4837667 w 5521505"/>
              <a:gd name="connsiteY6832" fmla="*/ 871572 h 2146918"/>
              <a:gd name="connsiteX6833" fmla="*/ 4837532 w 5521505"/>
              <a:gd name="connsiteY6833" fmla="*/ 871243 h 2146918"/>
              <a:gd name="connsiteX6834" fmla="*/ 4837362 w 5521505"/>
              <a:gd name="connsiteY6834" fmla="*/ 870914 h 2146918"/>
              <a:gd name="connsiteX6835" fmla="*/ 4837155 w 5521505"/>
              <a:gd name="connsiteY6835" fmla="*/ 870585 h 2146918"/>
              <a:gd name="connsiteX6836" fmla="*/ 4836960 w 5521505"/>
              <a:gd name="connsiteY6836" fmla="*/ 870342 h 2146918"/>
              <a:gd name="connsiteX6837" fmla="*/ 4836814 w 5521505"/>
              <a:gd name="connsiteY6837" fmla="*/ 870160 h 2146918"/>
              <a:gd name="connsiteX6838" fmla="*/ 4822555 w 5521505"/>
              <a:gd name="connsiteY6838" fmla="*/ 857812 h 2146918"/>
              <a:gd name="connsiteX6839" fmla="*/ 4797617 w 5521505"/>
              <a:gd name="connsiteY6839" fmla="*/ 846549 h 2146918"/>
              <a:gd name="connsiteX6840" fmla="*/ 4794926 w 5521505"/>
              <a:gd name="connsiteY6840" fmla="*/ 846207 h 2146918"/>
              <a:gd name="connsiteX6841" fmla="*/ 4793270 w 5521505"/>
              <a:gd name="connsiteY6841" fmla="*/ 846098 h 2146918"/>
              <a:gd name="connsiteX6842" fmla="*/ 4791528 w 5521505"/>
              <a:gd name="connsiteY6842" fmla="*/ 846098 h 2146918"/>
              <a:gd name="connsiteX6843" fmla="*/ 4789227 w 5521505"/>
              <a:gd name="connsiteY6843" fmla="*/ 845989 h 2146918"/>
              <a:gd name="connsiteX6844" fmla="*/ 4786183 w 5521505"/>
              <a:gd name="connsiteY6844" fmla="*/ 845672 h 2146918"/>
              <a:gd name="connsiteX6845" fmla="*/ 4781580 w 5521505"/>
              <a:gd name="connsiteY6845" fmla="*/ 845014 h 2146918"/>
              <a:gd name="connsiteX6846" fmla="*/ 4774968 w 5521505"/>
              <a:gd name="connsiteY6846" fmla="*/ 844089 h 2146918"/>
              <a:gd name="connsiteX6847" fmla="*/ 4774542 w 5521505"/>
              <a:gd name="connsiteY6847" fmla="*/ 842676 h 2146918"/>
              <a:gd name="connsiteX6848" fmla="*/ 4773787 w 5521505"/>
              <a:gd name="connsiteY6848" fmla="*/ 840485 h 2146918"/>
              <a:gd name="connsiteX6849" fmla="*/ 4773214 w 5521505"/>
              <a:gd name="connsiteY6849" fmla="*/ 838853 h 2146918"/>
              <a:gd name="connsiteX6850" fmla="*/ 4772423 w 5521505"/>
              <a:gd name="connsiteY6850" fmla="*/ 836490 h 2146918"/>
              <a:gd name="connsiteX6851" fmla="*/ 4771741 w 5521505"/>
              <a:gd name="connsiteY6851" fmla="*/ 833629 h 2146918"/>
              <a:gd name="connsiteX6852" fmla="*/ 4774639 w 5521505"/>
              <a:gd name="connsiteY6852" fmla="*/ 826919 h 2146918"/>
              <a:gd name="connsiteX6853" fmla="*/ 4774189 w 5521505"/>
              <a:gd name="connsiteY6853" fmla="*/ 820502 h 2146918"/>
              <a:gd name="connsiteX6854" fmla="*/ 4763668 w 5521505"/>
              <a:gd name="connsiteY6854" fmla="*/ 813549 h 2146918"/>
              <a:gd name="connsiteX6855" fmla="*/ 4762450 w 5521505"/>
              <a:gd name="connsiteY6855" fmla="*/ 812855 h 2146918"/>
              <a:gd name="connsiteX6856" fmla="*/ 4761013 w 5521505"/>
              <a:gd name="connsiteY6856" fmla="*/ 812088 h 2146918"/>
              <a:gd name="connsiteX6857" fmla="*/ 4760039 w 5521505"/>
              <a:gd name="connsiteY6857" fmla="*/ 812088 h 2146918"/>
              <a:gd name="connsiteX6858" fmla="*/ 4757604 w 5521505"/>
              <a:gd name="connsiteY6858" fmla="*/ 812161 h 2146918"/>
              <a:gd name="connsiteX6859" fmla="*/ 4755558 w 5521505"/>
              <a:gd name="connsiteY6859" fmla="*/ 812222 h 2146918"/>
              <a:gd name="connsiteX6860" fmla="*/ 4751698 w 5521505"/>
              <a:gd name="connsiteY6860" fmla="*/ 812332 h 2146918"/>
              <a:gd name="connsiteX6861" fmla="*/ 4750273 w 5521505"/>
              <a:gd name="connsiteY6861" fmla="*/ 812332 h 2146918"/>
              <a:gd name="connsiteX6862" fmla="*/ 4749238 w 5521505"/>
              <a:gd name="connsiteY6862" fmla="*/ 812332 h 2146918"/>
              <a:gd name="connsiteX6863" fmla="*/ 4748666 w 5521505"/>
              <a:gd name="connsiteY6863" fmla="*/ 812332 h 2146918"/>
              <a:gd name="connsiteX6864" fmla="*/ 4748009 w 5521505"/>
              <a:gd name="connsiteY6864" fmla="*/ 812332 h 2146918"/>
              <a:gd name="connsiteX6865" fmla="*/ 4747144 w 5521505"/>
              <a:gd name="connsiteY6865" fmla="*/ 812332 h 2146918"/>
              <a:gd name="connsiteX6866" fmla="*/ 4746048 w 5521505"/>
              <a:gd name="connsiteY6866" fmla="*/ 812332 h 2146918"/>
              <a:gd name="connsiteX6867" fmla="*/ 4745695 w 5521505"/>
              <a:gd name="connsiteY6867" fmla="*/ 812332 h 2146918"/>
              <a:gd name="connsiteX6868" fmla="*/ 4745281 w 5521505"/>
              <a:gd name="connsiteY6868" fmla="*/ 812332 h 2146918"/>
              <a:gd name="connsiteX6869" fmla="*/ 4744636 w 5521505"/>
              <a:gd name="connsiteY6869" fmla="*/ 812332 h 2146918"/>
              <a:gd name="connsiteX6870" fmla="*/ 4744136 w 5521505"/>
              <a:gd name="connsiteY6870" fmla="*/ 812332 h 2146918"/>
              <a:gd name="connsiteX6871" fmla="*/ 4743722 w 5521505"/>
              <a:gd name="connsiteY6871" fmla="*/ 812332 h 2146918"/>
              <a:gd name="connsiteX6872" fmla="*/ 4743491 w 5521505"/>
              <a:gd name="connsiteY6872" fmla="*/ 812332 h 2146918"/>
              <a:gd name="connsiteX6873" fmla="*/ 4743101 w 5521505"/>
              <a:gd name="connsiteY6873" fmla="*/ 812660 h 2146918"/>
              <a:gd name="connsiteX6874" fmla="*/ 4743028 w 5521505"/>
              <a:gd name="connsiteY6874" fmla="*/ 812794 h 2146918"/>
              <a:gd name="connsiteX6875" fmla="*/ 4742870 w 5521505"/>
              <a:gd name="connsiteY6875" fmla="*/ 813050 h 2146918"/>
              <a:gd name="connsiteX6876" fmla="*/ 4742712 w 5521505"/>
              <a:gd name="connsiteY6876" fmla="*/ 813306 h 2146918"/>
              <a:gd name="connsiteX6877" fmla="*/ 4742334 w 5521505"/>
              <a:gd name="connsiteY6877" fmla="*/ 813781 h 2146918"/>
              <a:gd name="connsiteX6878" fmla="*/ 4733396 w 5521505"/>
              <a:gd name="connsiteY6878" fmla="*/ 816045 h 2146918"/>
              <a:gd name="connsiteX6879" fmla="*/ 4720513 w 5521505"/>
              <a:gd name="connsiteY6879" fmla="*/ 812222 h 2146918"/>
              <a:gd name="connsiteX6880" fmla="*/ 4718321 w 5521505"/>
              <a:gd name="connsiteY6880" fmla="*/ 811382 h 2146918"/>
              <a:gd name="connsiteX6881" fmla="*/ 4714668 w 5521505"/>
              <a:gd name="connsiteY6881" fmla="*/ 809957 h 2146918"/>
              <a:gd name="connsiteX6882" fmla="*/ 4715886 w 5521505"/>
              <a:gd name="connsiteY6882" fmla="*/ 813610 h 2146918"/>
              <a:gd name="connsiteX6883" fmla="*/ 4727393 w 5521505"/>
              <a:gd name="connsiteY6883" fmla="*/ 823145 h 2146918"/>
              <a:gd name="connsiteX6884" fmla="*/ 4739436 w 5521505"/>
              <a:gd name="connsiteY6884" fmla="*/ 831510 h 2146918"/>
              <a:gd name="connsiteX6885" fmla="*/ 4742821 w 5521505"/>
              <a:gd name="connsiteY6885" fmla="*/ 838487 h 2146918"/>
              <a:gd name="connsiteX6886" fmla="*/ 4742821 w 5521505"/>
              <a:gd name="connsiteY6886" fmla="*/ 839291 h 2146918"/>
              <a:gd name="connsiteX6887" fmla="*/ 4742821 w 5521505"/>
              <a:gd name="connsiteY6887" fmla="*/ 840509 h 2146918"/>
              <a:gd name="connsiteX6888" fmla="*/ 4743734 w 5521505"/>
              <a:gd name="connsiteY6888" fmla="*/ 843553 h 2146918"/>
              <a:gd name="connsiteX6889" fmla="*/ 4757981 w 5521505"/>
              <a:gd name="connsiteY6889" fmla="*/ 850226 h 2146918"/>
              <a:gd name="connsiteX6890" fmla="*/ 4760563 w 5521505"/>
              <a:gd name="connsiteY6890" fmla="*/ 850226 h 2146918"/>
              <a:gd name="connsiteX6891" fmla="*/ 4762426 w 5521505"/>
              <a:gd name="connsiteY6891" fmla="*/ 850372 h 2146918"/>
              <a:gd name="connsiteX6892" fmla="*/ 4774030 w 5521505"/>
              <a:gd name="connsiteY6892" fmla="*/ 855644 h 2146918"/>
              <a:gd name="connsiteX6893" fmla="*/ 4775614 w 5521505"/>
              <a:gd name="connsiteY6893" fmla="*/ 856972 h 2146918"/>
              <a:gd name="connsiteX6894" fmla="*/ 4778243 w 5521505"/>
              <a:gd name="connsiteY6894" fmla="*/ 859334 h 2146918"/>
              <a:gd name="connsiteX6895" fmla="*/ 4785623 w 5521505"/>
              <a:gd name="connsiteY6895" fmla="*/ 865301 h 2146918"/>
              <a:gd name="connsiteX6896" fmla="*/ 4798396 w 5521505"/>
              <a:gd name="connsiteY6896" fmla="*/ 872996 h 2146918"/>
              <a:gd name="connsiteX6897" fmla="*/ 4799078 w 5521505"/>
              <a:gd name="connsiteY6897" fmla="*/ 873374 h 2146918"/>
              <a:gd name="connsiteX6898" fmla="*/ 4799614 w 5521505"/>
              <a:gd name="connsiteY6898" fmla="*/ 873678 h 2146918"/>
              <a:gd name="connsiteX6899" fmla="*/ 4800272 w 5521505"/>
              <a:gd name="connsiteY6899" fmla="*/ 874093 h 2146918"/>
              <a:gd name="connsiteX6900" fmla="*/ 4804545 w 5521505"/>
              <a:gd name="connsiteY6900" fmla="*/ 880011 h 2146918"/>
              <a:gd name="connsiteX6901" fmla="*/ 4798932 w 5521505"/>
              <a:gd name="connsiteY6901" fmla="*/ 881046 h 2146918"/>
              <a:gd name="connsiteX6902" fmla="*/ 4797446 w 5521505"/>
              <a:gd name="connsiteY6902" fmla="*/ 880802 h 2146918"/>
              <a:gd name="connsiteX6903" fmla="*/ 4796350 w 5521505"/>
              <a:gd name="connsiteY6903" fmla="*/ 880522 h 2146918"/>
              <a:gd name="connsiteX6904" fmla="*/ 4795815 w 5521505"/>
              <a:gd name="connsiteY6904" fmla="*/ 880339 h 2146918"/>
              <a:gd name="connsiteX6905" fmla="*/ 4795230 w 5521505"/>
              <a:gd name="connsiteY6905" fmla="*/ 880084 h 2146918"/>
              <a:gd name="connsiteX6906" fmla="*/ 4794670 w 5521505"/>
              <a:gd name="connsiteY6906" fmla="*/ 879816 h 2146918"/>
              <a:gd name="connsiteX6907" fmla="*/ 4794134 w 5521505"/>
              <a:gd name="connsiteY6907" fmla="*/ 879548 h 2146918"/>
              <a:gd name="connsiteX6908" fmla="*/ 4792771 w 5521505"/>
              <a:gd name="connsiteY6908" fmla="*/ 879024 h 2146918"/>
              <a:gd name="connsiteX6909" fmla="*/ 4790457 w 5521505"/>
              <a:gd name="connsiteY6909" fmla="*/ 878038 h 2146918"/>
              <a:gd name="connsiteX6910" fmla="*/ 4790201 w 5521505"/>
              <a:gd name="connsiteY6910" fmla="*/ 877940 h 2146918"/>
              <a:gd name="connsiteX6911" fmla="*/ 4770195 w 5521505"/>
              <a:gd name="connsiteY6911" fmla="*/ 876175 h 2146918"/>
              <a:gd name="connsiteX6912" fmla="*/ 4765981 w 5521505"/>
              <a:gd name="connsiteY6912" fmla="*/ 876273 h 2146918"/>
              <a:gd name="connsiteX6913" fmla="*/ 4758188 w 5521505"/>
              <a:gd name="connsiteY6913" fmla="*/ 875664 h 2146918"/>
              <a:gd name="connsiteX6914" fmla="*/ 4753220 w 5521505"/>
              <a:gd name="connsiteY6914" fmla="*/ 881411 h 2146918"/>
              <a:gd name="connsiteX6915" fmla="*/ 4755485 w 5521505"/>
              <a:gd name="connsiteY6915" fmla="*/ 883115 h 2146918"/>
              <a:gd name="connsiteX6916" fmla="*/ 4757494 w 5521505"/>
              <a:gd name="connsiteY6916" fmla="*/ 884564 h 2146918"/>
              <a:gd name="connsiteX6917" fmla="*/ 4758444 w 5521505"/>
              <a:gd name="connsiteY6917" fmla="*/ 885186 h 2146918"/>
              <a:gd name="connsiteX6918" fmla="*/ 4760770 w 5521505"/>
              <a:gd name="connsiteY6918" fmla="*/ 886647 h 2146918"/>
              <a:gd name="connsiteX6919" fmla="*/ 4773811 w 5521505"/>
              <a:gd name="connsiteY6919" fmla="*/ 899384 h 2146918"/>
              <a:gd name="connsiteX6920" fmla="*/ 4775699 w 5521505"/>
              <a:gd name="connsiteY6920" fmla="*/ 903378 h 2146918"/>
              <a:gd name="connsiteX6921" fmla="*/ 4778378 w 5521505"/>
              <a:gd name="connsiteY6921" fmla="*/ 909831 h 2146918"/>
              <a:gd name="connsiteX6922" fmla="*/ 4779692 w 5521505"/>
              <a:gd name="connsiteY6922" fmla="*/ 912912 h 2146918"/>
              <a:gd name="connsiteX6923" fmla="*/ 4781214 w 5521505"/>
              <a:gd name="connsiteY6923" fmla="*/ 916383 h 2146918"/>
              <a:gd name="connsiteX6924" fmla="*/ 4783394 w 5521505"/>
              <a:gd name="connsiteY6924" fmla="*/ 921254 h 2146918"/>
              <a:gd name="connsiteX6925" fmla="*/ 4785294 w 5521505"/>
              <a:gd name="connsiteY6925" fmla="*/ 925369 h 2146918"/>
              <a:gd name="connsiteX6926" fmla="*/ 4786183 w 5521505"/>
              <a:gd name="connsiteY6926" fmla="*/ 927172 h 2146918"/>
              <a:gd name="connsiteX6927" fmla="*/ 4787680 w 5521505"/>
              <a:gd name="connsiteY6927" fmla="*/ 929765 h 2146918"/>
              <a:gd name="connsiteX6928" fmla="*/ 4790676 w 5521505"/>
              <a:gd name="connsiteY6928" fmla="*/ 934344 h 2146918"/>
              <a:gd name="connsiteX6929" fmla="*/ 4793184 w 5521505"/>
              <a:gd name="connsiteY6929" fmla="*/ 938191 h 2146918"/>
              <a:gd name="connsiteX6930" fmla="*/ 4801270 w 5521505"/>
              <a:gd name="connsiteY6930" fmla="*/ 955178 h 2146918"/>
              <a:gd name="connsiteX6931" fmla="*/ 4796643 w 5521505"/>
              <a:gd name="connsiteY6931" fmla="*/ 960329 h 2146918"/>
              <a:gd name="connsiteX6932" fmla="*/ 4790920 w 5521505"/>
              <a:gd name="connsiteY6932" fmla="*/ 961449 h 2146918"/>
              <a:gd name="connsiteX6933" fmla="*/ 4796704 w 5521505"/>
              <a:gd name="connsiteY6933" fmla="*/ 966247 h 2146918"/>
              <a:gd name="connsiteX6934" fmla="*/ 4801891 w 5521505"/>
              <a:gd name="connsiteY6934" fmla="*/ 972201 h 2146918"/>
              <a:gd name="connsiteX6935" fmla="*/ 4801708 w 5521505"/>
              <a:gd name="connsiteY6935" fmla="*/ 976683 h 2146918"/>
              <a:gd name="connsiteX6936" fmla="*/ 4801161 w 5521505"/>
              <a:gd name="connsiteY6936" fmla="*/ 977900 h 2146918"/>
              <a:gd name="connsiteX6937" fmla="*/ 4800357 w 5521505"/>
              <a:gd name="connsiteY6937" fmla="*/ 979337 h 2146918"/>
              <a:gd name="connsiteX6938" fmla="*/ 4799723 w 5521505"/>
              <a:gd name="connsiteY6938" fmla="*/ 980408 h 2146918"/>
              <a:gd name="connsiteX6939" fmla="*/ 4799005 w 5521505"/>
              <a:gd name="connsiteY6939" fmla="*/ 981626 h 2146918"/>
              <a:gd name="connsiteX6940" fmla="*/ 4797934 w 5521505"/>
              <a:gd name="connsiteY6940" fmla="*/ 983197 h 2146918"/>
              <a:gd name="connsiteX6941" fmla="*/ 4796619 w 5521505"/>
              <a:gd name="connsiteY6941" fmla="*/ 984792 h 2146918"/>
              <a:gd name="connsiteX6942" fmla="*/ 4794670 w 5521505"/>
              <a:gd name="connsiteY6942" fmla="*/ 986753 h 2146918"/>
              <a:gd name="connsiteX6943" fmla="*/ 4792929 w 5521505"/>
              <a:gd name="connsiteY6943" fmla="*/ 988214 h 2146918"/>
              <a:gd name="connsiteX6944" fmla="*/ 4791163 w 5521505"/>
              <a:gd name="connsiteY6944" fmla="*/ 989517 h 2146918"/>
              <a:gd name="connsiteX6945" fmla="*/ 4789860 w 5521505"/>
              <a:gd name="connsiteY6945" fmla="*/ 990382 h 2146918"/>
              <a:gd name="connsiteX6946" fmla="*/ 4788911 w 5521505"/>
              <a:gd name="connsiteY6946" fmla="*/ 990978 h 2146918"/>
              <a:gd name="connsiteX6947" fmla="*/ 4787242 w 5521505"/>
              <a:gd name="connsiteY6947" fmla="*/ 991953 h 2146918"/>
              <a:gd name="connsiteX6948" fmla="*/ 4785562 w 5521505"/>
              <a:gd name="connsiteY6948" fmla="*/ 992866 h 2146918"/>
              <a:gd name="connsiteX6949" fmla="*/ 4784259 w 5521505"/>
              <a:gd name="connsiteY6949" fmla="*/ 993535 h 2146918"/>
              <a:gd name="connsiteX6950" fmla="*/ 4782396 w 5521505"/>
              <a:gd name="connsiteY6950" fmla="*/ 994460 h 2146918"/>
              <a:gd name="connsiteX6951" fmla="*/ 4781044 w 5521505"/>
              <a:gd name="connsiteY6951" fmla="*/ 995094 h 2146918"/>
              <a:gd name="connsiteX6952" fmla="*/ 4779607 w 5521505"/>
              <a:gd name="connsiteY6952" fmla="*/ 995751 h 2146918"/>
              <a:gd name="connsiteX6953" fmla="*/ 4777866 w 5521505"/>
              <a:gd name="connsiteY6953" fmla="*/ 996543 h 2146918"/>
              <a:gd name="connsiteX6954" fmla="*/ 4776100 w 5521505"/>
              <a:gd name="connsiteY6954" fmla="*/ 997322 h 2146918"/>
              <a:gd name="connsiteX6955" fmla="*/ 4774335 w 5521505"/>
              <a:gd name="connsiteY6955" fmla="*/ 998102 h 2146918"/>
              <a:gd name="connsiteX6956" fmla="*/ 4773397 w 5521505"/>
              <a:gd name="connsiteY6956" fmla="*/ 998515 h 2146918"/>
              <a:gd name="connsiteX6957" fmla="*/ 4772094 w 5521505"/>
              <a:gd name="connsiteY6957" fmla="*/ 999100 h 2146918"/>
              <a:gd name="connsiteX6958" fmla="*/ 4771120 w 5521505"/>
              <a:gd name="connsiteY6958" fmla="*/ 999551 h 2146918"/>
              <a:gd name="connsiteX6959" fmla="*/ 4770024 w 5521505"/>
              <a:gd name="connsiteY6959" fmla="*/ 1000050 h 2146918"/>
              <a:gd name="connsiteX6960" fmla="*/ 4768661 w 5521505"/>
              <a:gd name="connsiteY6960" fmla="*/ 1000671 h 2146918"/>
              <a:gd name="connsiteX6961" fmla="*/ 4767686 w 5521505"/>
              <a:gd name="connsiteY6961" fmla="*/ 1001024 h 2146918"/>
              <a:gd name="connsiteX6962" fmla="*/ 4767004 w 5521505"/>
              <a:gd name="connsiteY6962" fmla="*/ 1001292 h 2146918"/>
              <a:gd name="connsiteX6963" fmla="*/ 4766615 w 5521505"/>
              <a:gd name="connsiteY6963" fmla="*/ 1001499 h 2146918"/>
              <a:gd name="connsiteX6964" fmla="*/ 4766091 w 5521505"/>
              <a:gd name="connsiteY6964" fmla="*/ 1002022 h 2146918"/>
              <a:gd name="connsiteX6965" fmla="*/ 4765981 w 5521505"/>
              <a:gd name="connsiteY6965" fmla="*/ 1002181 h 2146918"/>
              <a:gd name="connsiteX6966" fmla="*/ 4765884 w 5521505"/>
              <a:gd name="connsiteY6966" fmla="*/ 1002375 h 2146918"/>
              <a:gd name="connsiteX6967" fmla="*/ 4765568 w 5521505"/>
              <a:gd name="connsiteY6967" fmla="*/ 1002826 h 2146918"/>
              <a:gd name="connsiteX6968" fmla="*/ 4765336 w 5521505"/>
              <a:gd name="connsiteY6968" fmla="*/ 1003167 h 2146918"/>
              <a:gd name="connsiteX6969" fmla="*/ 4764849 w 5521505"/>
              <a:gd name="connsiteY6969" fmla="*/ 1003764 h 2146918"/>
              <a:gd name="connsiteX6970" fmla="*/ 4764496 w 5521505"/>
              <a:gd name="connsiteY6970" fmla="*/ 1004166 h 2146918"/>
              <a:gd name="connsiteX6971" fmla="*/ 4764131 w 5521505"/>
              <a:gd name="connsiteY6971" fmla="*/ 1004543 h 2146918"/>
              <a:gd name="connsiteX6972" fmla="*/ 4748301 w 5521505"/>
              <a:gd name="connsiteY6972" fmla="*/ 1010498 h 2146918"/>
              <a:gd name="connsiteX6973" fmla="*/ 4728197 w 5521505"/>
              <a:gd name="connsiteY6973" fmla="*/ 1011436 h 2146918"/>
              <a:gd name="connsiteX6974" fmla="*/ 4712781 w 5521505"/>
              <a:gd name="connsiteY6974" fmla="*/ 1011070 h 2146918"/>
              <a:gd name="connsiteX6975" fmla="*/ 4709444 w 5521505"/>
              <a:gd name="connsiteY6975" fmla="*/ 1010729 h 2146918"/>
              <a:gd name="connsiteX6976" fmla="*/ 4705535 w 5521505"/>
              <a:gd name="connsiteY6976" fmla="*/ 1010205 h 2146918"/>
              <a:gd name="connsiteX6977" fmla="*/ 4690583 w 5521505"/>
              <a:gd name="connsiteY6977" fmla="*/ 1006710 h 2146918"/>
              <a:gd name="connsiteX6978" fmla="*/ 4688914 w 5521505"/>
              <a:gd name="connsiteY6978" fmla="*/ 1006175 h 2146918"/>
              <a:gd name="connsiteX6979" fmla="*/ 4687331 w 5521505"/>
              <a:gd name="connsiteY6979" fmla="*/ 1005639 h 2146918"/>
              <a:gd name="connsiteX6980" fmla="*/ 4686381 w 5521505"/>
              <a:gd name="connsiteY6980" fmla="*/ 1005310 h 2146918"/>
              <a:gd name="connsiteX6981" fmla="*/ 4684932 w 5521505"/>
              <a:gd name="connsiteY6981" fmla="*/ 1004835 h 2146918"/>
              <a:gd name="connsiteX6982" fmla="*/ 4669711 w 5521505"/>
              <a:gd name="connsiteY6982" fmla="*/ 1001815 h 2146918"/>
              <a:gd name="connsiteX6983" fmla="*/ 4668335 w 5521505"/>
              <a:gd name="connsiteY6983" fmla="*/ 1001815 h 2146918"/>
              <a:gd name="connsiteX6984" fmla="*/ 4667642 w 5521505"/>
              <a:gd name="connsiteY6984" fmla="*/ 1001815 h 2146918"/>
              <a:gd name="connsiteX6985" fmla="*/ 4662028 w 5521505"/>
              <a:gd name="connsiteY6985" fmla="*/ 1001182 h 2146918"/>
              <a:gd name="connsiteX6986" fmla="*/ 4652773 w 5521505"/>
              <a:gd name="connsiteY6986" fmla="*/ 994169 h 2146918"/>
              <a:gd name="connsiteX6987" fmla="*/ 4651835 w 5521505"/>
              <a:gd name="connsiteY6987" fmla="*/ 993158 h 2146918"/>
              <a:gd name="connsiteX6988" fmla="*/ 4650740 w 5521505"/>
              <a:gd name="connsiteY6988" fmla="*/ 991940 h 2146918"/>
              <a:gd name="connsiteX6989" fmla="*/ 4646831 w 5521505"/>
              <a:gd name="connsiteY6989" fmla="*/ 992464 h 2146918"/>
              <a:gd name="connsiteX6990" fmla="*/ 4638429 w 5521505"/>
              <a:gd name="connsiteY6990" fmla="*/ 991916 h 2146918"/>
              <a:gd name="connsiteX6991" fmla="*/ 4625510 w 5521505"/>
              <a:gd name="connsiteY6991" fmla="*/ 987142 h 2146918"/>
              <a:gd name="connsiteX6992" fmla="*/ 4624292 w 5521505"/>
              <a:gd name="connsiteY6992" fmla="*/ 986521 h 2146918"/>
              <a:gd name="connsiteX6993" fmla="*/ 4623074 w 5521505"/>
              <a:gd name="connsiteY6993" fmla="*/ 985937 h 2146918"/>
              <a:gd name="connsiteX6994" fmla="*/ 4611884 w 5521505"/>
              <a:gd name="connsiteY6994" fmla="*/ 981699 h 2146918"/>
              <a:gd name="connsiteX6995" fmla="*/ 4609923 w 5521505"/>
              <a:gd name="connsiteY6995" fmla="*/ 981078 h 2146918"/>
              <a:gd name="connsiteX6996" fmla="*/ 4606623 w 5521505"/>
              <a:gd name="connsiteY6996" fmla="*/ 980056 h 2146918"/>
              <a:gd name="connsiteX6997" fmla="*/ 4602398 w 5521505"/>
              <a:gd name="connsiteY6997" fmla="*/ 978716 h 2146918"/>
              <a:gd name="connsiteX6998" fmla="*/ 4599000 w 5521505"/>
              <a:gd name="connsiteY6998" fmla="*/ 977596 h 2146918"/>
              <a:gd name="connsiteX6999" fmla="*/ 4594385 w 5521505"/>
              <a:gd name="connsiteY6999" fmla="*/ 986704 h 2146918"/>
              <a:gd name="connsiteX7000" fmla="*/ 4589904 w 5521505"/>
              <a:gd name="connsiteY7000" fmla="*/ 985487 h 2146918"/>
              <a:gd name="connsiteX7001" fmla="*/ 4584413 w 5521505"/>
              <a:gd name="connsiteY7001" fmla="*/ 983343 h 2146918"/>
              <a:gd name="connsiteX7002" fmla="*/ 4581685 w 5521505"/>
              <a:gd name="connsiteY7002" fmla="*/ 978679 h 2146918"/>
              <a:gd name="connsiteX7003" fmla="*/ 4581685 w 5521505"/>
              <a:gd name="connsiteY7003" fmla="*/ 977462 h 2146918"/>
              <a:gd name="connsiteX7004" fmla="*/ 4577070 w 5521505"/>
              <a:gd name="connsiteY7004" fmla="*/ 966966 h 2146918"/>
              <a:gd name="connsiteX7005" fmla="*/ 4559048 w 5521505"/>
              <a:gd name="connsiteY7005" fmla="*/ 955032 h 2146918"/>
              <a:gd name="connsiteX7006" fmla="*/ 4552400 w 5521505"/>
              <a:gd name="connsiteY7006" fmla="*/ 953692 h 2146918"/>
              <a:gd name="connsiteX7007" fmla="*/ 4547687 w 5521505"/>
              <a:gd name="connsiteY7007" fmla="*/ 953364 h 2146918"/>
              <a:gd name="connsiteX7008" fmla="*/ 4539516 w 5521505"/>
              <a:gd name="connsiteY7008" fmla="*/ 953218 h 2146918"/>
              <a:gd name="connsiteX7009" fmla="*/ 4524904 w 5521505"/>
              <a:gd name="connsiteY7009" fmla="*/ 955166 h 2146918"/>
              <a:gd name="connsiteX7010" fmla="*/ 4512727 w 5521505"/>
              <a:gd name="connsiteY7010" fmla="*/ 964640 h 2146918"/>
              <a:gd name="connsiteX7011" fmla="*/ 4520216 w 5521505"/>
              <a:gd name="connsiteY7011" fmla="*/ 979970 h 2146918"/>
              <a:gd name="connsiteX7012" fmla="*/ 4544679 w 5521505"/>
              <a:gd name="connsiteY7012" fmla="*/ 1015867 h 2146918"/>
              <a:gd name="connsiteX7013" fmla="*/ 4553349 w 5521505"/>
              <a:gd name="connsiteY7013" fmla="*/ 1030942 h 2146918"/>
              <a:gd name="connsiteX7014" fmla="*/ 4556856 w 5521505"/>
              <a:gd name="connsiteY7014" fmla="*/ 1059935 h 2146918"/>
              <a:gd name="connsiteX7015" fmla="*/ 4550573 w 5521505"/>
              <a:gd name="connsiteY7015" fmla="*/ 1075108 h 2146918"/>
              <a:gd name="connsiteX7016" fmla="*/ 4534293 w 5521505"/>
              <a:gd name="connsiteY7016" fmla="*/ 1078761 h 2146918"/>
              <a:gd name="connsiteX7017" fmla="*/ 4530859 w 5521505"/>
              <a:gd name="connsiteY7017" fmla="*/ 1078518 h 2146918"/>
              <a:gd name="connsiteX7018" fmla="*/ 4526877 w 5521505"/>
              <a:gd name="connsiteY7018" fmla="*/ 1078091 h 2146918"/>
              <a:gd name="connsiteX7019" fmla="*/ 4520045 w 5521505"/>
              <a:gd name="connsiteY7019" fmla="*/ 1077081 h 2146918"/>
              <a:gd name="connsiteX7020" fmla="*/ 4512874 w 5521505"/>
              <a:gd name="connsiteY7020" fmla="*/ 1075863 h 2146918"/>
              <a:gd name="connsiteX7021" fmla="*/ 4505628 w 5521505"/>
              <a:gd name="connsiteY7021" fmla="*/ 1074645 h 2146918"/>
              <a:gd name="connsiteX7022" fmla="*/ 4502815 w 5521505"/>
              <a:gd name="connsiteY7022" fmla="*/ 1074207 h 2146918"/>
              <a:gd name="connsiteX7023" fmla="*/ 4500161 w 5521505"/>
              <a:gd name="connsiteY7023" fmla="*/ 1076180 h 2146918"/>
              <a:gd name="connsiteX7024" fmla="*/ 4488824 w 5521505"/>
              <a:gd name="connsiteY7024" fmla="*/ 1077397 h 2146918"/>
              <a:gd name="connsiteX7025" fmla="*/ 4484319 w 5521505"/>
              <a:gd name="connsiteY7025" fmla="*/ 1077276 h 2146918"/>
              <a:gd name="connsiteX7026" fmla="*/ 4483674 w 5521505"/>
              <a:gd name="connsiteY7026" fmla="*/ 1077422 h 2146918"/>
              <a:gd name="connsiteX7027" fmla="*/ 4482565 w 5521505"/>
              <a:gd name="connsiteY7027" fmla="*/ 1077689 h 2146918"/>
              <a:gd name="connsiteX7028" fmla="*/ 4481348 w 5521505"/>
              <a:gd name="connsiteY7028" fmla="*/ 1077958 h 2146918"/>
              <a:gd name="connsiteX7029" fmla="*/ 4472106 w 5521505"/>
              <a:gd name="connsiteY7029" fmla="*/ 1078432 h 2146918"/>
              <a:gd name="connsiteX7030" fmla="*/ 4462218 w 5521505"/>
              <a:gd name="connsiteY7030" fmla="*/ 1075680 h 2146918"/>
              <a:gd name="connsiteX7031" fmla="*/ 4463801 w 5521505"/>
              <a:gd name="connsiteY7031" fmla="*/ 1065939 h 2146918"/>
              <a:gd name="connsiteX7032" fmla="*/ 4464312 w 5521505"/>
              <a:gd name="connsiteY7032" fmla="*/ 1062773 h 2146918"/>
              <a:gd name="connsiteX7033" fmla="*/ 4464678 w 5521505"/>
              <a:gd name="connsiteY7033" fmla="*/ 1056222 h 2146918"/>
              <a:gd name="connsiteX7034" fmla="*/ 4464678 w 5521505"/>
              <a:gd name="connsiteY7034" fmla="*/ 1056064 h 2146918"/>
              <a:gd name="connsiteX7035" fmla="*/ 4461840 w 5521505"/>
              <a:gd name="connsiteY7035" fmla="*/ 1053287 h 2146918"/>
              <a:gd name="connsiteX7036" fmla="*/ 4454692 w 5521505"/>
              <a:gd name="connsiteY7036" fmla="*/ 1050767 h 2146918"/>
              <a:gd name="connsiteX7037" fmla="*/ 4453268 w 5521505"/>
              <a:gd name="connsiteY7037" fmla="*/ 1049111 h 2146918"/>
              <a:gd name="connsiteX7038" fmla="*/ 4450966 w 5521505"/>
              <a:gd name="connsiteY7038" fmla="*/ 1046468 h 2146918"/>
              <a:gd name="connsiteX7039" fmla="*/ 4448994 w 5521505"/>
              <a:gd name="connsiteY7039" fmla="*/ 1044191 h 2146918"/>
              <a:gd name="connsiteX7040" fmla="*/ 4446766 w 5521505"/>
              <a:gd name="connsiteY7040" fmla="*/ 1041561 h 2146918"/>
              <a:gd name="connsiteX7041" fmla="*/ 4444695 w 5521505"/>
              <a:gd name="connsiteY7041" fmla="*/ 1039016 h 2146918"/>
              <a:gd name="connsiteX7042" fmla="*/ 4442991 w 5521505"/>
              <a:gd name="connsiteY7042" fmla="*/ 1035229 h 2146918"/>
              <a:gd name="connsiteX7043" fmla="*/ 4442991 w 5521505"/>
              <a:gd name="connsiteY7043" fmla="*/ 1034595 h 2146918"/>
              <a:gd name="connsiteX7044" fmla="*/ 4442930 w 5521505"/>
              <a:gd name="connsiteY7044" fmla="*/ 1033938 h 2146918"/>
              <a:gd name="connsiteX7045" fmla="*/ 4442771 w 5521505"/>
              <a:gd name="connsiteY7045" fmla="*/ 1032988 h 2146918"/>
              <a:gd name="connsiteX7046" fmla="*/ 4440397 w 5521505"/>
              <a:gd name="connsiteY7046" fmla="*/ 1026620 h 2146918"/>
              <a:gd name="connsiteX7047" fmla="*/ 4438290 w 5521505"/>
              <a:gd name="connsiteY7047" fmla="*/ 1023064 h 2146918"/>
              <a:gd name="connsiteX7048" fmla="*/ 4437633 w 5521505"/>
              <a:gd name="connsiteY7048" fmla="*/ 1022066 h 2146918"/>
              <a:gd name="connsiteX7049" fmla="*/ 4437170 w 5521505"/>
              <a:gd name="connsiteY7049" fmla="*/ 1021384 h 2146918"/>
              <a:gd name="connsiteX7050" fmla="*/ 4436513 w 5521505"/>
              <a:gd name="connsiteY7050" fmla="*/ 1020446 h 2146918"/>
              <a:gd name="connsiteX7051" fmla="*/ 4435769 w 5521505"/>
              <a:gd name="connsiteY7051" fmla="*/ 1019411 h 2146918"/>
              <a:gd name="connsiteX7052" fmla="*/ 4434747 w 5521505"/>
              <a:gd name="connsiteY7052" fmla="*/ 1018023 h 2146918"/>
              <a:gd name="connsiteX7053" fmla="*/ 4434004 w 5521505"/>
              <a:gd name="connsiteY7053" fmla="*/ 1017025 h 2146918"/>
              <a:gd name="connsiteX7054" fmla="*/ 4433213 w 5521505"/>
              <a:gd name="connsiteY7054" fmla="*/ 1015977 h 2146918"/>
              <a:gd name="connsiteX7055" fmla="*/ 4432372 w 5521505"/>
              <a:gd name="connsiteY7055" fmla="*/ 1014857 h 2146918"/>
              <a:gd name="connsiteX7056" fmla="*/ 4431362 w 5521505"/>
              <a:gd name="connsiteY7056" fmla="*/ 1013530 h 2146918"/>
              <a:gd name="connsiteX7057" fmla="*/ 4430631 w 5521505"/>
              <a:gd name="connsiteY7057" fmla="*/ 1012556 h 2146918"/>
              <a:gd name="connsiteX7058" fmla="*/ 4429925 w 5521505"/>
              <a:gd name="connsiteY7058" fmla="*/ 1011618 h 2146918"/>
              <a:gd name="connsiteX7059" fmla="*/ 4429352 w 5521505"/>
              <a:gd name="connsiteY7059" fmla="*/ 1010827 h 2146918"/>
              <a:gd name="connsiteX7060" fmla="*/ 4429097 w 5521505"/>
              <a:gd name="connsiteY7060" fmla="*/ 1010485 h 2146918"/>
              <a:gd name="connsiteX7061" fmla="*/ 4428452 w 5521505"/>
              <a:gd name="connsiteY7061" fmla="*/ 1009572 h 2146918"/>
              <a:gd name="connsiteX7062" fmla="*/ 4427818 w 5521505"/>
              <a:gd name="connsiteY7062" fmla="*/ 1008659 h 2146918"/>
              <a:gd name="connsiteX7063" fmla="*/ 4427294 w 5521505"/>
              <a:gd name="connsiteY7063" fmla="*/ 1007965 h 2146918"/>
              <a:gd name="connsiteX7064" fmla="*/ 4426881 w 5521505"/>
              <a:gd name="connsiteY7064" fmla="*/ 1007490 h 2146918"/>
              <a:gd name="connsiteX7065" fmla="*/ 4416494 w 5521505"/>
              <a:gd name="connsiteY7065" fmla="*/ 1000939 h 2146918"/>
              <a:gd name="connsiteX7066" fmla="*/ 4413864 w 5521505"/>
              <a:gd name="connsiteY7066" fmla="*/ 999721 h 2146918"/>
              <a:gd name="connsiteX7067" fmla="*/ 4408713 w 5521505"/>
              <a:gd name="connsiteY7067" fmla="*/ 997286 h 2146918"/>
              <a:gd name="connsiteX7068" fmla="*/ 4407617 w 5521505"/>
              <a:gd name="connsiteY7068" fmla="*/ 988080 h 2146918"/>
              <a:gd name="connsiteX7069" fmla="*/ 4404682 w 5521505"/>
              <a:gd name="connsiteY7069" fmla="*/ 986302 h 2146918"/>
              <a:gd name="connsiteX7070" fmla="*/ 4397291 w 5521505"/>
              <a:gd name="connsiteY7070" fmla="*/ 987289 h 2146918"/>
              <a:gd name="connsiteX7071" fmla="*/ 4396914 w 5521505"/>
              <a:gd name="connsiteY7071" fmla="*/ 987934 h 2146918"/>
              <a:gd name="connsiteX7072" fmla="*/ 4396585 w 5521505"/>
              <a:gd name="connsiteY7072" fmla="*/ 988689 h 2146918"/>
              <a:gd name="connsiteX7073" fmla="*/ 4396049 w 5521505"/>
              <a:gd name="connsiteY7073" fmla="*/ 990345 h 2146918"/>
              <a:gd name="connsiteX7074" fmla="*/ 4395208 w 5521505"/>
              <a:gd name="connsiteY7074" fmla="*/ 992476 h 2146918"/>
              <a:gd name="connsiteX7075" fmla="*/ 4393821 w 5521505"/>
              <a:gd name="connsiteY7075" fmla="*/ 995057 h 2146918"/>
              <a:gd name="connsiteX7076" fmla="*/ 4392980 w 5521505"/>
              <a:gd name="connsiteY7076" fmla="*/ 996348 h 2146918"/>
              <a:gd name="connsiteX7077" fmla="*/ 4386685 w 5521505"/>
              <a:gd name="connsiteY7077" fmla="*/ 1002997 h 2146918"/>
              <a:gd name="connsiteX7078" fmla="*/ 4383909 w 5521505"/>
              <a:gd name="connsiteY7078" fmla="*/ 1005140 h 2146918"/>
              <a:gd name="connsiteX7079" fmla="*/ 4382581 w 5521505"/>
              <a:gd name="connsiteY7079" fmla="*/ 1006077 h 2146918"/>
              <a:gd name="connsiteX7080" fmla="*/ 4376371 w 5521505"/>
              <a:gd name="connsiteY7080" fmla="*/ 1012568 h 2146918"/>
              <a:gd name="connsiteX7081" fmla="*/ 4375689 w 5521505"/>
              <a:gd name="connsiteY7081" fmla="*/ 1013688 h 2146918"/>
              <a:gd name="connsiteX7082" fmla="*/ 4374983 w 5521505"/>
              <a:gd name="connsiteY7082" fmla="*/ 1014905 h 2146918"/>
              <a:gd name="connsiteX7083" fmla="*/ 4373960 w 5521505"/>
              <a:gd name="connsiteY7083" fmla="*/ 1016683 h 2146918"/>
              <a:gd name="connsiteX7084" fmla="*/ 4372560 w 5521505"/>
              <a:gd name="connsiteY7084" fmla="*/ 1018985 h 2146918"/>
              <a:gd name="connsiteX7085" fmla="*/ 4371695 w 5521505"/>
              <a:gd name="connsiteY7085" fmla="*/ 1020288 h 2146918"/>
              <a:gd name="connsiteX7086" fmla="*/ 4378782 w 5521505"/>
              <a:gd name="connsiteY7086" fmla="*/ 1024209 h 2146918"/>
              <a:gd name="connsiteX7087" fmla="*/ 4384457 w 5521505"/>
              <a:gd name="connsiteY7087" fmla="*/ 1034255 h 2146918"/>
              <a:gd name="connsiteX7088" fmla="*/ 4384530 w 5521505"/>
              <a:gd name="connsiteY7088" fmla="*/ 1036179 h 2146918"/>
              <a:gd name="connsiteX7089" fmla="*/ 4384700 w 5521505"/>
              <a:gd name="connsiteY7089" fmla="*/ 1038115 h 2146918"/>
              <a:gd name="connsiteX7090" fmla="*/ 4384956 w 5521505"/>
              <a:gd name="connsiteY7090" fmla="*/ 1040027 h 2146918"/>
              <a:gd name="connsiteX7091" fmla="*/ 4385175 w 5521505"/>
              <a:gd name="connsiteY7091" fmla="*/ 1041378 h 2146918"/>
              <a:gd name="connsiteX7092" fmla="*/ 4385674 w 5521505"/>
              <a:gd name="connsiteY7092" fmla="*/ 1043996 h 2146918"/>
              <a:gd name="connsiteX7093" fmla="*/ 4386380 w 5521505"/>
              <a:gd name="connsiteY7093" fmla="*/ 1047272 h 2146918"/>
              <a:gd name="connsiteX7094" fmla="*/ 4386855 w 5521505"/>
              <a:gd name="connsiteY7094" fmla="*/ 1049391 h 2146918"/>
              <a:gd name="connsiteX7095" fmla="*/ 4387160 w 5521505"/>
              <a:gd name="connsiteY7095" fmla="*/ 1050778 h 2146918"/>
              <a:gd name="connsiteX7096" fmla="*/ 4387513 w 5521505"/>
              <a:gd name="connsiteY7096" fmla="*/ 1052362 h 2146918"/>
              <a:gd name="connsiteX7097" fmla="*/ 4387854 w 5521505"/>
              <a:gd name="connsiteY7097" fmla="*/ 1054066 h 2146918"/>
              <a:gd name="connsiteX7098" fmla="*/ 4388572 w 5521505"/>
              <a:gd name="connsiteY7098" fmla="*/ 1056392 h 2146918"/>
              <a:gd name="connsiteX7099" fmla="*/ 4390119 w 5521505"/>
              <a:gd name="connsiteY7099" fmla="*/ 1057951 h 2146918"/>
              <a:gd name="connsiteX7100" fmla="*/ 4394576 w 5521505"/>
              <a:gd name="connsiteY7100" fmla="*/ 1061166 h 2146918"/>
              <a:gd name="connsiteX7101" fmla="*/ 4398618 w 5521505"/>
              <a:gd name="connsiteY7101" fmla="*/ 1066036 h 2146918"/>
              <a:gd name="connsiteX7102" fmla="*/ 4399653 w 5521505"/>
              <a:gd name="connsiteY7102" fmla="*/ 1067668 h 2146918"/>
              <a:gd name="connsiteX7103" fmla="*/ 4401151 w 5521505"/>
              <a:gd name="connsiteY7103" fmla="*/ 1070043 h 2146918"/>
              <a:gd name="connsiteX7104" fmla="*/ 4403586 w 5521505"/>
              <a:gd name="connsiteY7104" fmla="*/ 1073318 h 2146918"/>
              <a:gd name="connsiteX7105" fmla="*/ 4404682 w 5521505"/>
              <a:gd name="connsiteY7105" fmla="*/ 1074451 h 2146918"/>
              <a:gd name="connsiteX7106" fmla="*/ 4405815 w 5521505"/>
              <a:gd name="connsiteY7106" fmla="*/ 1075437 h 2146918"/>
              <a:gd name="connsiteX7107" fmla="*/ 4408177 w 5521505"/>
              <a:gd name="connsiteY7107" fmla="*/ 1077616 h 2146918"/>
              <a:gd name="connsiteX7108" fmla="*/ 4414606 w 5521505"/>
              <a:gd name="connsiteY7108" fmla="*/ 1085288 h 2146918"/>
              <a:gd name="connsiteX7109" fmla="*/ 4417894 w 5521505"/>
              <a:gd name="connsiteY7109" fmla="*/ 1090061 h 2146918"/>
              <a:gd name="connsiteX7110" fmla="*/ 4424116 w 5521505"/>
              <a:gd name="connsiteY7110" fmla="*/ 1101776 h 2146918"/>
              <a:gd name="connsiteX7111" fmla="*/ 4422899 w 5521505"/>
              <a:gd name="connsiteY7111" fmla="*/ 1113599 h 2146918"/>
              <a:gd name="connsiteX7112" fmla="*/ 4422217 w 5521505"/>
              <a:gd name="connsiteY7112" fmla="*/ 1114817 h 2146918"/>
              <a:gd name="connsiteX7113" fmla="*/ 4421450 w 5521505"/>
              <a:gd name="connsiteY7113" fmla="*/ 1116546 h 2146918"/>
              <a:gd name="connsiteX7114" fmla="*/ 4420756 w 5521505"/>
              <a:gd name="connsiteY7114" fmla="*/ 1127505 h 2146918"/>
              <a:gd name="connsiteX7115" fmla="*/ 4421632 w 5521505"/>
              <a:gd name="connsiteY7115" fmla="*/ 1131645 h 2146918"/>
              <a:gd name="connsiteX7116" fmla="*/ 4422850 w 5521505"/>
              <a:gd name="connsiteY7116" fmla="*/ 1135919 h 2146918"/>
              <a:gd name="connsiteX7117" fmla="*/ 4424068 w 5521505"/>
              <a:gd name="connsiteY7117" fmla="*/ 1142008 h 2146918"/>
              <a:gd name="connsiteX7118" fmla="*/ 4418321 w 5521505"/>
              <a:gd name="connsiteY7118" fmla="*/ 1145368 h 2146918"/>
              <a:gd name="connsiteX7119" fmla="*/ 4408347 w 5521505"/>
              <a:gd name="connsiteY7119" fmla="*/ 1141375 h 2146918"/>
              <a:gd name="connsiteX7120" fmla="*/ 4407130 w 5521505"/>
              <a:gd name="connsiteY7120" fmla="*/ 1140035 h 2146918"/>
              <a:gd name="connsiteX7121" fmla="*/ 4406119 w 5521505"/>
              <a:gd name="connsiteY7121" fmla="*/ 1138817 h 2146918"/>
              <a:gd name="connsiteX7122" fmla="*/ 4404902 w 5521505"/>
              <a:gd name="connsiteY7122" fmla="*/ 1137453 h 2146918"/>
              <a:gd name="connsiteX7123" fmla="*/ 4403270 w 5521505"/>
              <a:gd name="connsiteY7123" fmla="*/ 1135761 h 2146918"/>
              <a:gd name="connsiteX7124" fmla="*/ 4400652 w 5521505"/>
              <a:gd name="connsiteY7124" fmla="*/ 1133216 h 2146918"/>
              <a:gd name="connsiteX7125" fmla="*/ 4395501 w 5521505"/>
              <a:gd name="connsiteY7125" fmla="*/ 1128479 h 2146918"/>
              <a:gd name="connsiteX7126" fmla="*/ 4383385 w 5521505"/>
              <a:gd name="connsiteY7126" fmla="*/ 1116546 h 2146918"/>
              <a:gd name="connsiteX7127" fmla="*/ 4378965 w 5521505"/>
              <a:gd name="connsiteY7127" fmla="*/ 1103383 h 2146918"/>
              <a:gd name="connsiteX7128" fmla="*/ 4375433 w 5521505"/>
              <a:gd name="connsiteY7128" fmla="*/ 1096795 h 2146918"/>
              <a:gd name="connsiteX7129" fmla="*/ 4374276 w 5521505"/>
              <a:gd name="connsiteY7129" fmla="*/ 1082389 h 2146918"/>
              <a:gd name="connsiteX7130" fmla="*/ 4371537 w 5521505"/>
              <a:gd name="connsiteY7130" fmla="*/ 1063869 h 2146918"/>
              <a:gd name="connsiteX7131" fmla="*/ 4369625 w 5521505"/>
              <a:gd name="connsiteY7131" fmla="*/ 1059363 h 2146918"/>
              <a:gd name="connsiteX7132" fmla="*/ 4367835 w 5521505"/>
              <a:gd name="connsiteY7132" fmla="*/ 1055710 h 2146918"/>
              <a:gd name="connsiteX7133" fmla="*/ 4364925 w 5521505"/>
              <a:gd name="connsiteY7133" fmla="*/ 1050243 h 2146918"/>
              <a:gd name="connsiteX7134" fmla="*/ 4360359 w 5521505"/>
              <a:gd name="connsiteY7134" fmla="*/ 1042267 h 2146918"/>
              <a:gd name="connsiteX7135" fmla="*/ 4359141 w 5521505"/>
              <a:gd name="connsiteY7135" fmla="*/ 1040221 h 2146918"/>
              <a:gd name="connsiteX7136" fmla="*/ 4358666 w 5521505"/>
              <a:gd name="connsiteY7136" fmla="*/ 1039394 h 2146918"/>
              <a:gd name="connsiteX7137" fmla="*/ 4354782 w 5521505"/>
              <a:gd name="connsiteY7137" fmla="*/ 1035314 h 2146918"/>
              <a:gd name="connsiteX7138" fmla="*/ 4352577 w 5521505"/>
              <a:gd name="connsiteY7138" fmla="*/ 1033731 h 2146918"/>
              <a:gd name="connsiteX7139" fmla="*/ 4350142 w 5521505"/>
              <a:gd name="connsiteY7139" fmla="*/ 1031941 h 2146918"/>
              <a:gd name="connsiteX7140" fmla="*/ 4348718 w 5521505"/>
              <a:gd name="connsiteY7140" fmla="*/ 1030857 h 2146918"/>
              <a:gd name="connsiteX7141" fmla="*/ 4348364 w 5521505"/>
              <a:gd name="connsiteY7141" fmla="*/ 1028179 h 2146918"/>
              <a:gd name="connsiteX7142" fmla="*/ 4350507 w 5521505"/>
              <a:gd name="connsiteY7142" fmla="*/ 1019764 h 2146918"/>
              <a:gd name="connsiteX7143" fmla="*/ 4354684 w 5521505"/>
              <a:gd name="connsiteY7143" fmla="*/ 1014467 h 2146918"/>
              <a:gd name="connsiteX7144" fmla="*/ 4355804 w 5521505"/>
              <a:gd name="connsiteY7144" fmla="*/ 1013700 h 2146918"/>
              <a:gd name="connsiteX7145" fmla="*/ 4357533 w 5521505"/>
              <a:gd name="connsiteY7145" fmla="*/ 1011265 h 2146918"/>
              <a:gd name="connsiteX7146" fmla="*/ 4361649 w 5521505"/>
              <a:gd name="connsiteY7146" fmla="*/ 999234 h 2146918"/>
              <a:gd name="connsiteX7147" fmla="*/ 4362538 w 5521505"/>
              <a:gd name="connsiteY7147" fmla="*/ 997639 h 2146918"/>
              <a:gd name="connsiteX7148" fmla="*/ 4363975 w 5521505"/>
              <a:gd name="connsiteY7148" fmla="*/ 995118 h 2146918"/>
              <a:gd name="connsiteX7149" fmla="*/ 4368371 w 5521505"/>
              <a:gd name="connsiteY7149" fmla="*/ 977450 h 2146918"/>
              <a:gd name="connsiteX7150" fmla="*/ 4367579 w 5521505"/>
              <a:gd name="connsiteY7150" fmla="*/ 973857 h 2146918"/>
              <a:gd name="connsiteX7151" fmla="*/ 4366545 w 5521505"/>
              <a:gd name="connsiteY7151" fmla="*/ 970204 h 2146918"/>
              <a:gd name="connsiteX7152" fmla="*/ 4365485 w 5521505"/>
              <a:gd name="connsiteY7152" fmla="*/ 966807 h 2146918"/>
              <a:gd name="connsiteX7153" fmla="*/ 4364621 w 5521505"/>
              <a:gd name="connsiteY7153" fmla="*/ 964092 h 2146918"/>
              <a:gd name="connsiteX7154" fmla="*/ 4363902 w 5521505"/>
              <a:gd name="connsiteY7154" fmla="*/ 961754 h 2146918"/>
              <a:gd name="connsiteX7155" fmla="*/ 4363342 w 5521505"/>
              <a:gd name="connsiteY7155" fmla="*/ 959805 h 2146918"/>
              <a:gd name="connsiteX7156" fmla="*/ 4362964 w 5521505"/>
              <a:gd name="connsiteY7156" fmla="*/ 958381 h 2146918"/>
              <a:gd name="connsiteX7157" fmla="*/ 4362234 w 5521505"/>
              <a:gd name="connsiteY7157" fmla="*/ 955032 h 2146918"/>
              <a:gd name="connsiteX7158" fmla="*/ 4361941 w 5521505"/>
              <a:gd name="connsiteY7158" fmla="*/ 953522 h 2146918"/>
              <a:gd name="connsiteX7159" fmla="*/ 4361552 w 5521505"/>
              <a:gd name="connsiteY7159" fmla="*/ 951281 h 2146918"/>
              <a:gd name="connsiteX7160" fmla="*/ 4361101 w 5521505"/>
              <a:gd name="connsiteY7160" fmla="*/ 948737 h 2146918"/>
              <a:gd name="connsiteX7161" fmla="*/ 4360712 w 5521505"/>
              <a:gd name="connsiteY7161" fmla="*/ 946642 h 2146918"/>
              <a:gd name="connsiteX7162" fmla="*/ 4359823 w 5521505"/>
              <a:gd name="connsiteY7162" fmla="*/ 942843 h 2146918"/>
              <a:gd name="connsiteX7163" fmla="*/ 4358885 w 5521505"/>
              <a:gd name="connsiteY7163" fmla="*/ 939726 h 2146918"/>
              <a:gd name="connsiteX7164" fmla="*/ 4357302 w 5521505"/>
              <a:gd name="connsiteY7164" fmla="*/ 934989 h 2146918"/>
              <a:gd name="connsiteX7165" fmla="*/ 4354757 w 5521505"/>
              <a:gd name="connsiteY7165" fmla="*/ 927987 h 2146918"/>
              <a:gd name="connsiteX7166" fmla="*/ 4353966 w 5521505"/>
              <a:gd name="connsiteY7166" fmla="*/ 925869 h 2146918"/>
              <a:gd name="connsiteX7167" fmla="*/ 4353576 w 5521505"/>
              <a:gd name="connsiteY7167" fmla="*/ 924821 h 2146918"/>
              <a:gd name="connsiteX7168" fmla="*/ 4352943 w 5521505"/>
              <a:gd name="connsiteY7168" fmla="*/ 923117 h 2146918"/>
              <a:gd name="connsiteX7169" fmla="*/ 4352566 w 5521505"/>
              <a:gd name="connsiteY7169" fmla="*/ 922118 h 2146918"/>
              <a:gd name="connsiteX7170" fmla="*/ 4352005 w 5521505"/>
              <a:gd name="connsiteY7170" fmla="*/ 920584 h 2146918"/>
              <a:gd name="connsiteX7171" fmla="*/ 4351591 w 5521505"/>
              <a:gd name="connsiteY7171" fmla="*/ 919452 h 2146918"/>
              <a:gd name="connsiteX7172" fmla="*/ 4350836 w 5521505"/>
              <a:gd name="connsiteY7172" fmla="*/ 920511 h 2146918"/>
              <a:gd name="connsiteX7173" fmla="*/ 4346477 w 5521505"/>
              <a:gd name="connsiteY7173" fmla="*/ 923725 h 2146918"/>
              <a:gd name="connsiteX7174" fmla="*/ 4338720 w 5521505"/>
              <a:gd name="connsiteY7174" fmla="*/ 924079 h 2146918"/>
              <a:gd name="connsiteX7175" fmla="*/ 3041204 w 5521505"/>
              <a:gd name="connsiteY7175" fmla="*/ 158155 h 2146918"/>
              <a:gd name="connsiteX7176" fmla="*/ 3038610 w 5521505"/>
              <a:gd name="connsiteY7176" fmla="*/ 157376 h 2146918"/>
              <a:gd name="connsiteX7177" fmla="*/ 3030586 w 5521505"/>
              <a:gd name="connsiteY7177" fmla="*/ 155098 h 2146918"/>
              <a:gd name="connsiteX7178" fmla="*/ 3024327 w 5521505"/>
              <a:gd name="connsiteY7178" fmla="*/ 155098 h 2146918"/>
              <a:gd name="connsiteX7179" fmla="*/ 3009605 w 5521505"/>
              <a:gd name="connsiteY7179" fmla="*/ 155780 h 2146918"/>
              <a:gd name="connsiteX7180" fmla="*/ 2985008 w 5521505"/>
              <a:gd name="connsiteY7180" fmla="*/ 157777 h 2146918"/>
              <a:gd name="connsiteX7181" fmla="*/ 2978919 w 5521505"/>
              <a:gd name="connsiteY7181" fmla="*/ 158617 h 2146918"/>
              <a:gd name="connsiteX7182" fmla="*/ 2959692 w 5521505"/>
              <a:gd name="connsiteY7182" fmla="*/ 161053 h 2146918"/>
              <a:gd name="connsiteX7183" fmla="*/ 2935339 w 5521505"/>
              <a:gd name="connsiteY7183" fmla="*/ 160797 h 2146918"/>
              <a:gd name="connsiteX7184" fmla="*/ 2910486 w 5521505"/>
              <a:gd name="connsiteY7184" fmla="*/ 153369 h 2146918"/>
              <a:gd name="connsiteX7185" fmla="*/ 2909426 w 5521505"/>
              <a:gd name="connsiteY7185" fmla="*/ 150410 h 2146918"/>
              <a:gd name="connsiteX7186" fmla="*/ 2903618 w 5521505"/>
              <a:gd name="connsiteY7186" fmla="*/ 142605 h 2146918"/>
              <a:gd name="connsiteX7187" fmla="*/ 2902534 w 5521505"/>
              <a:gd name="connsiteY7187" fmla="*/ 130197 h 2146918"/>
              <a:gd name="connsiteX7188" fmla="*/ 2927631 w 5521505"/>
              <a:gd name="connsiteY7188" fmla="*/ 120321 h 2146918"/>
              <a:gd name="connsiteX7189" fmla="*/ 2960179 w 5521505"/>
              <a:gd name="connsiteY7189" fmla="*/ 106622 h 2146918"/>
              <a:gd name="connsiteX7190" fmla="*/ 2921603 w 5521505"/>
              <a:gd name="connsiteY7190" fmla="*/ 104662 h 2146918"/>
              <a:gd name="connsiteX7191" fmla="*/ 2904178 w 5521505"/>
              <a:gd name="connsiteY7191" fmla="*/ 110154 h 2146918"/>
              <a:gd name="connsiteX7192" fmla="*/ 2903472 w 5521505"/>
              <a:gd name="connsiteY7192" fmla="*/ 116900 h 2146918"/>
              <a:gd name="connsiteX7193" fmla="*/ 2874150 w 5521505"/>
              <a:gd name="connsiteY7193" fmla="*/ 126641 h 2146918"/>
              <a:gd name="connsiteX7194" fmla="*/ 2855349 w 5521505"/>
              <a:gd name="connsiteY7194" fmla="*/ 132023 h 2146918"/>
              <a:gd name="connsiteX7195" fmla="*/ 2840128 w 5521505"/>
              <a:gd name="connsiteY7195" fmla="*/ 139330 h 2146918"/>
              <a:gd name="connsiteX7196" fmla="*/ 2844402 w 5521505"/>
              <a:gd name="connsiteY7196" fmla="*/ 153747 h 2146918"/>
              <a:gd name="connsiteX7197" fmla="*/ 2852012 w 5521505"/>
              <a:gd name="connsiteY7197" fmla="*/ 155817 h 2146918"/>
              <a:gd name="connsiteX7198" fmla="*/ 2864409 w 5521505"/>
              <a:gd name="connsiteY7198" fmla="*/ 159957 h 2146918"/>
              <a:gd name="connsiteX7199" fmla="*/ 2868804 w 5521505"/>
              <a:gd name="connsiteY7199" fmla="*/ 163695 h 2146918"/>
              <a:gd name="connsiteX7200" fmla="*/ 2856956 w 5521505"/>
              <a:gd name="connsiteY7200" fmla="*/ 173108 h 2146918"/>
              <a:gd name="connsiteX7201" fmla="*/ 2837948 w 5521505"/>
              <a:gd name="connsiteY7201" fmla="*/ 178734 h 2146918"/>
              <a:gd name="connsiteX7202" fmla="*/ 2833077 w 5521505"/>
              <a:gd name="connsiteY7202" fmla="*/ 185577 h 2146918"/>
              <a:gd name="connsiteX7203" fmla="*/ 2828791 w 5521505"/>
              <a:gd name="connsiteY7203" fmla="*/ 198460 h 2146918"/>
              <a:gd name="connsiteX7204" fmla="*/ 2822240 w 5521505"/>
              <a:gd name="connsiteY7204" fmla="*/ 205693 h 2146918"/>
              <a:gd name="connsiteX7205" fmla="*/ 2811804 w 5521505"/>
              <a:gd name="connsiteY7205" fmla="*/ 207069 h 2146918"/>
              <a:gd name="connsiteX7206" fmla="*/ 2797838 w 5521505"/>
              <a:gd name="connsiteY7206" fmla="*/ 211611 h 2146918"/>
              <a:gd name="connsiteX7207" fmla="*/ 2794355 w 5521505"/>
              <a:gd name="connsiteY7207" fmla="*/ 214461 h 2146918"/>
              <a:gd name="connsiteX7208" fmla="*/ 2773837 w 5521505"/>
              <a:gd name="connsiteY7208" fmla="*/ 215764 h 2146918"/>
              <a:gd name="connsiteX7209" fmla="*/ 2763426 w 5521505"/>
              <a:gd name="connsiteY7209" fmla="*/ 210028 h 2146918"/>
              <a:gd name="connsiteX7210" fmla="*/ 2755389 w 5521505"/>
              <a:gd name="connsiteY7210" fmla="*/ 226187 h 2146918"/>
              <a:gd name="connsiteX7211" fmla="*/ 2786124 w 5521505"/>
              <a:gd name="connsiteY7211" fmla="*/ 226637 h 2146918"/>
              <a:gd name="connsiteX7212" fmla="*/ 2794525 w 5521505"/>
              <a:gd name="connsiteY7212" fmla="*/ 229925 h 2146918"/>
              <a:gd name="connsiteX7213" fmla="*/ 2807226 w 5521505"/>
              <a:gd name="connsiteY7213" fmla="*/ 227112 h 2146918"/>
              <a:gd name="connsiteX7214" fmla="*/ 2840639 w 5521505"/>
              <a:gd name="connsiteY7214" fmla="*/ 220695 h 2146918"/>
              <a:gd name="connsiteX7215" fmla="*/ 2866211 w 5521505"/>
              <a:gd name="connsiteY7215" fmla="*/ 217286 h 2146918"/>
              <a:gd name="connsiteX7216" fmla="*/ 2873383 w 5521505"/>
              <a:gd name="connsiteY7216" fmla="*/ 217286 h 2146918"/>
              <a:gd name="connsiteX7217" fmla="*/ 2895386 w 5521505"/>
              <a:gd name="connsiteY7217" fmla="*/ 217286 h 2146918"/>
              <a:gd name="connsiteX7218" fmla="*/ 2904908 w 5521505"/>
              <a:gd name="connsiteY7218" fmla="*/ 212865 h 2146918"/>
              <a:gd name="connsiteX7219" fmla="*/ 2910900 w 5521505"/>
              <a:gd name="connsiteY7219" fmla="*/ 210065 h 2146918"/>
              <a:gd name="connsiteX7220" fmla="*/ 2912909 w 5521505"/>
              <a:gd name="connsiteY7220" fmla="*/ 201541 h 2146918"/>
              <a:gd name="connsiteX7221" fmla="*/ 2913591 w 5521505"/>
              <a:gd name="connsiteY7221" fmla="*/ 196768 h 2146918"/>
              <a:gd name="connsiteX7222" fmla="*/ 2924769 w 5521505"/>
              <a:gd name="connsiteY7222" fmla="*/ 185528 h 2146918"/>
              <a:gd name="connsiteX7223" fmla="*/ 2929189 w 5521505"/>
              <a:gd name="connsiteY7223" fmla="*/ 184481 h 2146918"/>
              <a:gd name="connsiteX7224" fmla="*/ 2930017 w 5521505"/>
              <a:gd name="connsiteY7224" fmla="*/ 182715 h 2146918"/>
              <a:gd name="connsiteX7225" fmla="*/ 2940027 w 5521505"/>
              <a:gd name="connsiteY7225" fmla="*/ 184615 h 2146918"/>
              <a:gd name="connsiteX7226" fmla="*/ 2963041 w 5521505"/>
              <a:gd name="connsiteY7226" fmla="*/ 189486 h 2146918"/>
              <a:gd name="connsiteX7227" fmla="*/ 2966694 w 5521505"/>
              <a:gd name="connsiteY7227" fmla="*/ 179270 h 2146918"/>
              <a:gd name="connsiteX7228" fmla="*/ 2952471 w 5521505"/>
              <a:gd name="connsiteY7228" fmla="*/ 177845 h 2146918"/>
              <a:gd name="connsiteX7229" fmla="*/ 2943278 w 5521505"/>
              <a:gd name="connsiteY7229" fmla="*/ 180134 h 2146918"/>
              <a:gd name="connsiteX7230" fmla="*/ 2931710 w 5521505"/>
              <a:gd name="connsiteY7230" fmla="*/ 182350 h 2146918"/>
              <a:gd name="connsiteX7231" fmla="*/ 2930285 w 5521505"/>
              <a:gd name="connsiteY7231" fmla="*/ 182630 h 2146918"/>
              <a:gd name="connsiteX7232" fmla="*/ 2928373 w 5521505"/>
              <a:gd name="connsiteY7232" fmla="*/ 182107 h 2146918"/>
              <a:gd name="connsiteX7233" fmla="*/ 2925780 w 5521505"/>
              <a:gd name="connsiteY7233" fmla="*/ 177650 h 2146918"/>
              <a:gd name="connsiteX7234" fmla="*/ 2939332 w 5521505"/>
              <a:gd name="connsiteY7234" fmla="*/ 171233 h 2146918"/>
              <a:gd name="connsiteX7235" fmla="*/ 2994433 w 5521505"/>
              <a:gd name="connsiteY7235" fmla="*/ 163574 h 2146918"/>
              <a:gd name="connsiteX7236" fmla="*/ 3009179 w 5521505"/>
              <a:gd name="connsiteY7236" fmla="*/ 164974 h 2146918"/>
              <a:gd name="connsiteX7237" fmla="*/ 3029465 w 5521505"/>
              <a:gd name="connsiteY7237" fmla="*/ 163074 h 2146918"/>
              <a:gd name="connsiteX7238" fmla="*/ 3159210 w 5521505"/>
              <a:gd name="connsiteY7238" fmla="*/ 850092 h 2146918"/>
              <a:gd name="connsiteX7239" fmla="*/ 3154424 w 5521505"/>
              <a:gd name="connsiteY7239" fmla="*/ 870659 h 2146918"/>
              <a:gd name="connsiteX7240" fmla="*/ 3177463 w 5521505"/>
              <a:gd name="connsiteY7240" fmla="*/ 871876 h 2146918"/>
              <a:gd name="connsiteX7241" fmla="*/ 3203034 w 5521505"/>
              <a:gd name="connsiteY7241" fmla="*/ 851480 h 2146918"/>
              <a:gd name="connsiteX7242" fmla="*/ 3196386 w 5521505"/>
              <a:gd name="connsiteY7242" fmla="*/ 849800 h 2146918"/>
              <a:gd name="connsiteX7243" fmla="*/ 3189250 w 5521505"/>
              <a:gd name="connsiteY7243" fmla="*/ 847279 h 2146918"/>
              <a:gd name="connsiteX7244" fmla="*/ 3179509 w 5521505"/>
              <a:gd name="connsiteY7244" fmla="*/ 845355 h 2146918"/>
              <a:gd name="connsiteX7245" fmla="*/ 3159210 w 5521505"/>
              <a:gd name="connsiteY7245" fmla="*/ 850140 h 2146918"/>
              <a:gd name="connsiteX7246" fmla="*/ 3308060 w 5521505"/>
              <a:gd name="connsiteY7246" fmla="*/ 363408 h 2146918"/>
              <a:gd name="connsiteX7247" fmla="*/ 3298574 w 5521505"/>
              <a:gd name="connsiteY7247" fmla="*/ 358866 h 2146918"/>
              <a:gd name="connsiteX7248" fmla="*/ 3291670 w 5521505"/>
              <a:gd name="connsiteY7248" fmla="*/ 355919 h 2146918"/>
              <a:gd name="connsiteX7249" fmla="*/ 3285703 w 5521505"/>
              <a:gd name="connsiteY7249" fmla="*/ 352802 h 2146918"/>
              <a:gd name="connsiteX7250" fmla="*/ 3267243 w 5521505"/>
              <a:gd name="connsiteY7250" fmla="*/ 345569 h 2146918"/>
              <a:gd name="connsiteX7251" fmla="*/ 3248271 w 5521505"/>
              <a:gd name="connsiteY7251" fmla="*/ 339407 h 2146918"/>
              <a:gd name="connsiteX7252" fmla="*/ 3233111 w 5521505"/>
              <a:gd name="connsiteY7252" fmla="*/ 334268 h 2146918"/>
              <a:gd name="connsiteX7253" fmla="*/ 3224453 w 5521505"/>
              <a:gd name="connsiteY7253" fmla="*/ 327060 h 2146918"/>
              <a:gd name="connsiteX7254" fmla="*/ 3238700 w 5521505"/>
              <a:gd name="connsiteY7254" fmla="*/ 325769 h 2146918"/>
              <a:gd name="connsiteX7255" fmla="*/ 3241367 w 5521505"/>
              <a:gd name="connsiteY7255" fmla="*/ 321848 h 2146918"/>
              <a:gd name="connsiteX7256" fmla="*/ 3237592 w 5521505"/>
              <a:gd name="connsiteY7256" fmla="*/ 313142 h 2146918"/>
              <a:gd name="connsiteX7257" fmla="*/ 3229215 w 5521505"/>
              <a:gd name="connsiteY7257" fmla="*/ 313397 h 2146918"/>
              <a:gd name="connsiteX7258" fmla="*/ 3218743 w 5521505"/>
              <a:gd name="connsiteY7258" fmla="*/ 313726 h 2146918"/>
              <a:gd name="connsiteX7259" fmla="*/ 3207723 w 5521505"/>
              <a:gd name="connsiteY7259" fmla="*/ 314213 h 2146918"/>
              <a:gd name="connsiteX7260" fmla="*/ 3186510 w 5521505"/>
              <a:gd name="connsiteY7260" fmla="*/ 319181 h 2146918"/>
              <a:gd name="connsiteX7261" fmla="*/ 3190736 w 5521505"/>
              <a:gd name="connsiteY7261" fmla="*/ 321398 h 2146918"/>
              <a:gd name="connsiteX7262" fmla="*/ 3208088 w 5521505"/>
              <a:gd name="connsiteY7262" fmla="*/ 325051 h 2146918"/>
              <a:gd name="connsiteX7263" fmla="*/ 3214030 w 5521505"/>
              <a:gd name="connsiteY7263" fmla="*/ 325611 h 2146918"/>
              <a:gd name="connsiteX7264" fmla="*/ 3219351 w 5521505"/>
              <a:gd name="connsiteY7264" fmla="*/ 327583 h 2146918"/>
              <a:gd name="connsiteX7265" fmla="*/ 3217196 w 5521505"/>
              <a:gd name="connsiteY7265" fmla="*/ 331638 h 2146918"/>
              <a:gd name="connsiteX7266" fmla="*/ 3203704 w 5521505"/>
              <a:gd name="connsiteY7266" fmla="*/ 332515 h 2146918"/>
              <a:gd name="connsiteX7267" fmla="*/ 3194498 w 5521505"/>
              <a:gd name="connsiteY7267" fmla="*/ 331517 h 2146918"/>
              <a:gd name="connsiteX7268" fmla="*/ 3180617 w 5521505"/>
              <a:gd name="connsiteY7268" fmla="*/ 334378 h 2146918"/>
              <a:gd name="connsiteX7269" fmla="*/ 3172446 w 5521505"/>
              <a:gd name="connsiteY7269" fmla="*/ 336278 h 2146918"/>
              <a:gd name="connsiteX7270" fmla="*/ 3164446 w 5521505"/>
              <a:gd name="connsiteY7270" fmla="*/ 332004 h 2146918"/>
              <a:gd name="connsiteX7271" fmla="*/ 3160391 w 5521505"/>
              <a:gd name="connsiteY7271" fmla="*/ 328533 h 2146918"/>
              <a:gd name="connsiteX7272" fmla="*/ 3155240 w 5521505"/>
              <a:gd name="connsiteY7272" fmla="*/ 325988 h 2146918"/>
              <a:gd name="connsiteX7273" fmla="*/ 3149383 w 5521505"/>
              <a:gd name="connsiteY7273" fmla="*/ 323139 h 2146918"/>
              <a:gd name="connsiteX7274" fmla="*/ 3152902 w 5521505"/>
              <a:gd name="connsiteY7274" fmla="*/ 318658 h 2146918"/>
              <a:gd name="connsiteX7275" fmla="*/ 3142028 w 5521505"/>
              <a:gd name="connsiteY7275" fmla="*/ 316369 h 2146918"/>
              <a:gd name="connsiteX7276" fmla="*/ 3134114 w 5521505"/>
              <a:gd name="connsiteY7276" fmla="*/ 313812 h 2146918"/>
              <a:gd name="connsiteX7277" fmla="*/ 3122472 w 5521505"/>
              <a:gd name="connsiteY7277" fmla="*/ 310999 h 2146918"/>
              <a:gd name="connsiteX7278" fmla="*/ 3102478 w 5521505"/>
              <a:gd name="connsiteY7278" fmla="*/ 316624 h 2146918"/>
              <a:gd name="connsiteX7279" fmla="*/ 3091592 w 5521505"/>
              <a:gd name="connsiteY7279" fmla="*/ 326768 h 2146918"/>
              <a:gd name="connsiteX7280" fmla="*/ 3084359 w 5521505"/>
              <a:gd name="connsiteY7280" fmla="*/ 329471 h 2146918"/>
              <a:gd name="connsiteX7281" fmla="*/ 3081570 w 5521505"/>
              <a:gd name="connsiteY7281" fmla="*/ 330823 h 2146918"/>
              <a:gd name="connsiteX7282" fmla="*/ 3076895 w 5521505"/>
              <a:gd name="connsiteY7282" fmla="*/ 339249 h 2146918"/>
              <a:gd name="connsiteX7283" fmla="*/ 3067153 w 5521505"/>
              <a:gd name="connsiteY7283" fmla="*/ 347675 h 2146918"/>
              <a:gd name="connsiteX7284" fmla="*/ 3062465 w 5521505"/>
              <a:gd name="connsiteY7284" fmla="*/ 353325 h 2146918"/>
              <a:gd name="connsiteX7285" fmla="*/ 3064900 w 5521505"/>
              <a:gd name="connsiteY7285" fmla="*/ 355761 h 2146918"/>
              <a:gd name="connsiteX7286" fmla="*/ 3075859 w 5521505"/>
              <a:gd name="connsiteY7286" fmla="*/ 364163 h 2146918"/>
              <a:gd name="connsiteX7287" fmla="*/ 3089802 w 5521505"/>
              <a:gd name="connsiteY7287" fmla="*/ 369399 h 2146918"/>
              <a:gd name="connsiteX7288" fmla="*/ 3085783 w 5521505"/>
              <a:gd name="connsiteY7288" fmla="*/ 372065 h 2146918"/>
              <a:gd name="connsiteX7289" fmla="*/ 3073923 w 5521505"/>
              <a:gd name="connsiteY7289" fmla="*/ 372954 h 2146918"/>
              <a:gd name="connsiteX7290" fmla="*/ 3067555 w 5521505"/>
              <a:gd name="connsiteY7290" fmla="*/ 373137 h 2146918"/>
              <a:gd name="connsiteX7291" fmla="*/ 3059762 w 5521505"/>
              <a:gd name="connsiteY7291" fmla="*/ 375767 h 2146918"/>
              <a:gd name="connsiteX7292" fmla="*/ 3063415 w 5521505"/>
              <a:gd name="connsiteY7292" fmla="*/ 375853 h 2146918"/>
              <a:gd name="connsiteX7293" fmla="*/ 3078027 w 5521505"/>
              <a:gd name="connsiteY7293" fmla="*/ 376047 h 2146918"/>
              <a:gd name="connsiteX7294" fmla="*/ 3091080 w 5521505"/>
              <a:gd name="connsiteY7294" fmla="*/ 373612 h 2146918"/>
              <a:gd name="connsiteX7295" fmla="*/ 3093857 w 5521505"/>
              <a:gd name="connsiteY7295" fmla="*/ 371359 h 2146918"/>
              <a:gd name="connsiteX7296" fmla="*/ 3113973 w 5521505"/>
              <a:gd name="connsiteY7296" fmla="*/ 369009 h 2146918"/>
              <a:gd name="connsiteX7297" fmla="*/ 3131021 w 5521505"/>
              <a:gd name="connsiteY7297" fmla="*/ 368948 h 2146918"/>
              <a:gd name="connsiteX7298" fmla="*/ 3152050 w 5521505"/>
              <a:gd name="connsiteY7298" fmla="*/ 364687 h 2146918"/>
              <a:gd name="connsiteX7299" fmla="*/ 3193536 w 5521505"/>
              <a:gd name="connsiteY7299" fmla="*/ 361935 h 2146918"/>
              <a:gd name="connsiteX7300" fmla="*/ 3197189 w 5521505"/>
              <a:gd name="connsiteY7300" fmla="*/ 362202 h 2146918"/>
              <a:gd name="connsiteX7301" fmla="*/ 3232198 w 5521505"/>
              <a:gd name="connsiteY7301" fmla="*/ 371152 h 2146918"/>
              <a:gd name="connsiteX7302" fmla="*/ 3253824 w 5521505"/>
              <a:gd name="connsiteY7302" fmla="*/ 375512 h 2146918"/>
              <a:gd name="connsiteX7303" fmla="*/ 3277727 w 5521505"/>
              <a:gd name="connsiteY7303" fmla="*/ 378799 h 2146918"/>
              <a:gd name="connsiteX7304" fmla="*/ 3292339 w 5521505"/>
              <a:gd name="connsiteY7304" fmla="*/ 380321 h 2146918"/>
              <a:gd name="connsiteX7305" fmla="*/ 3317290 w 5521505"/>
              <a:gd name="connsiteY7305" fmla="*/ 374562 h 2146918"/>
              <a:gd name="connsiteX7306" fmla="*/ 3308060 w 5521505"/>
              <a:gd name="connsiteY7306" fmla="*/ 363457 h 2146918"/>
              <a:gd name="connsiteX7307" fmla="*/ 4058787 w 5521505"/>
              <a:gd name="connsiteY7307" fmla="*/ 915019 h 2146918"/>
              <a:gd name="connsiteX7308" fmla="*/ 4052929 w 5521505"/>
              <a:gd name="connsiteY7308" fmla="*/ 905411 h 2146918"/>
              <a:gd name="connsiteX7309" fmla="*/ 4037185 w 5521505"/>
              <a:gd name="connsiteY7309" fmla="*/ 892163 h 2146918"/>
              <a:gd name="connsiteX7310" fmla="*/ 4032886 w 5521505"/>
              <a:gd name="connsiteY7310" fmla="*/ 897204 h 2146918"/>
              <a:gd name="connsiteX7311" fmla="*/ 4029988 w 5521505"/>
              <a:gd name="connsiteY7311" fmla="*/ 900407 h 2146918"/>
              <a:gd name="connsiteX7312" fmla="*/ 4022743 w 5521505"/>
              <a:gd name="connsiteY7312" fmla="*/ 915384 h 2146918"/>
              <a:gd name="connsiteX7313" fmla="*/ 4022743 w 5521505"/>
              <a:gd name="connsiteY7313" fmla="*/ 918319 h 2146918"/>
              <a:gd name="connsiteX7314" fmla="*/ 4023194 w 5521505"/>
              <a:gd name="connsiteY7314" fmla="*/ 922739 h 2146918"/>
              <a:gd name="connsiteX7315" fmla="*/ 4024411 w 5521505"/>
              <a:gd name="connsiteY7315" fmla="*/ 927939 h 2146918"/>
              <a:gd name="connsiteX7316" fmla="*/ 4025909 w 5521505"/>
              <a:gd name="connsiteY7316" fmla="*/ 932566 h 2146918"/>
              <a:gd name="connsiteX7317" fmla="*/ 4029696 w 5521505"/>
              <a:gd name="connsiteY7317" fmla="*/ 937071 h 2146918"/>
              <a:gd name="connsiteX7318" fmla="*/ 4039986 w 5521505"/>
              <a:gd name="connsiteY7318" fmla="*/ 939982 h 2146918"/>
              <a:gd name="connsiteX7319" fmla="*/ 4056631 w 5521505"/>
              <a:gd name="connsiteY7319" fmla="*/ 939373 h 2146918"/>
              <a:gd name="connsiteX7320" fmla="*/ 4061344 w 5521505"/>
              <a:gd name="connsiteY7320" fmla="*/ 937059 h 2146918"/>
              <a:gd name="connsiteX7321" fmla="*/ 4062988 w 5521505"/>
              <a:gd name="connsiteY7321" fmla="*/ 934088 h 2146918"/>
              <a:gd name="connsiteX7322" fmla="*/ 4061465 w 5521505"/>
              <a:gd name="connsiteY7322" fmla="*/ 919244 h 2146918"/>
              <a:gd name="connsiteX7323" fmla="*/ 4058787 w 5521505"/>
              <a:gd name="connsiteY7323" fmla="*/ 915019 h 2146918"/>
              <a:gd name="connsiteX7324" fmla="*/ 4596541 w 5521505"/>
              <a:gd name="connsiteY7324" fmla="*/ 1003617 h 2146918"/>
              <a:gd name="connsiteX7325" fmla="*/ 4598501 w 5521505"/>
              <a:gd name="connsiteY7325" fmla="*/ 994254 h 2146918"/>
              <a:gd name="connsiteX7326" fmla="*/ 4588930 w 5521505"/>
              <a:gd name="connsiteY7326" fmla="*/ 987824 h 2146918"/>
              <a:gd name="connsiteX7327" fmla="*/ 4584656 w 5521505"/>
              <a:gd name="connsiteY7327" fmla="*/ 986351 h 2146918"/>
              <a:gd name="connsiteX7328" fmla="*/ 4581904 w 5521505"/>
              <a:gd name="connsiteY7328" fmla="*/ 985365 h 2146918"/>
              <a:gd name="connsiteX7329" fmla="*/ 4577813 w 5521505"/>
              <a:gd name="connsiteY7329" fmla="*/ 984001 h 2146918"/>
              <a:gd name="connsiteX7330" fmla="*/ 4560875 w 5521505"/>
              <a:gd name="connsiteY7330" fmla="*/ 985218 h 2146918"/>
              <a:gd name="connsiteX7331" fmla="*/ 4565819 w 5521505"/>
              <a:gd name="connsiteY7331" fmla="*/ 998930 h 2146918"/>
              <a:gd name="connsiteX7332" fmla="*/ 4582355 w 5521505"/>
              <a:gd name="connsiteY7332" fmla="*/ 1007332 h 2146918"/>
              <a:gd name="connsiteX7333" fmla="*/ 4592595 w 5521505"/>
              <a:gd name="connsiteY7333" fmla="*/ 1005870 h 2146918"/>
              <a:gd name="connsiteX7334" fmla="*/ 2367934 w 5521505"/>
              <a:gd name="connsiteY7334" fmla="*/ 286608 h 2146918"/>
              <a:gd name="connsiteX7335" fmla="*/ 2367423 w 5521505"/>
              <a:gd name="connsiteY7335" fmla="*/ 286962 h 2146918"/>
              <a:gd name="connsiteX7336" fmla="*/ 2363246 w 5521505"/>
              <a:gd name="connsiteY7336" fmla="*/ 289397 h 2146918"/>
              <a:gd name="connsiteX7337" fmla="*/ 2356269 w 5521505"/>
              <a:gd name="connsiteY7337" fmla="*/ 292928 h 2146918"/>
              <a:gd name="connsiteX7338" fmla="*/ 2352993 w 5521505"/>
              <a:gd name="connsiteY7338" fmla="*/ 296971 h 2146918"/>
              <a:gd name="connsiteX7339" fmla="*/ 2365937 w 5521505"/>
              <a:gd name="connsiteY7339" fmla="*/ 303291 h 2146918"/>
              <a:gd name="connsiteX7340" fmla="*/ 2373523 w 5521505"/>
              <a:gd name="connsiteY7340" fmla="*/ 302414 h 2146918"/>
              <a:gd name="connsiteX7341" fmla="*/ 2377176 w 5521505"/>
              <a:gd name="connsiteY7341" fmla="*/ 301196 h 2146918"/>
              <a:gd name="connsiteX7342" fmla="*/ 2380574 w 5521505"/>
              <a:gd name="connsiteY7342" fmla="*/ 299869 h 2146918"/>
              <a:gd name="connsiteX7343" fmla="*/ 2383289 w 5521505"/>
              <a:gd name="connsiteY7343" fmla="*/ 298651 h 2146918"/>
              <a:gd name="connsiteX7344" fmla="*/ 2386942 w 5521505"/>
              <a:gd name="connsiteY7344" fmla="*/ 296934 h 2146918"/>
              <a:gd name="connsiteX7345" fmla="*/ 2390291 w 5521505"/>
              <a:gd name="connsiteY7345" fmla="*/ 295388 h 2146918"/>
              <a:gd name="connsiteX7346" fmla="*/ 2392604 w 5521505"/>
              <a:gd name="connsiteY7346" fmla="*/ 294450 h 2146918"/>
              <a:gd name="connsiteX7347" fmla="*/ 2402650 w 5521505"/>
              <a:gd name="connsiteY7347" fmla="*/ 290688 h 2146918"/>
              <a:gd name="connsiteX7348" fmla="*/ 2410383 w 5521505"/>
              <a:gd name="connsiteY7348" fmla="*/ 288715 h 2146918"/>
              <a:gd name="connsiteX7349" fmla="*/ 2412574 w 5521505"/>
              <a:gd name="connsiteY7349" fmla="*/ 288362 h 2146918"/>
              <a:gd name="connsiteX7350" fmla="*/ 2414474 w 5521505"/>
              <a:gd name="connsiteY7350" fmla="*/ 288009 h 2146918"/>
              <a:gd name="connsiteX7351" fmla="*/ 2417299 w 5521505"/>
              <a:gd name="connsiteY7351" fmla="*/ 287315 h 2146918"/>
              <a:gd name="connsiteX7352" fmla="*/ 2419454 w 5521505"/>
              <a:gd name="connsiteY7352" fmla="*/ 286608 h 2146918"/>
              <a:gd name="connsiteX7353" fmla="*/ 2426760 w 5521505"/>
              <a:gd name="connsiteY7353" fmla="*/ 280422 h 2146918"/>
              <a:gd name="connsiteX7354" fmla="*/ 2427369 w 5521505"/>
              <a:gd name="connsiteY7354" fmla="*/ 278864 h 2146918"/>
              <a:gd name="connsiteX7355" fmla="*/ 2428258 w 5521505"/>
              <a:gd name="connsiteY7355" fmla="*/ 276891 h 2146918"/>
              <a:gd name="connsiteX7356" fmla="*/ 2429476 w 5521505"/>
              <a:gd name="connsiteY7356" fmla="*/ 272666 h 2146918"/>
              <a:gd name="connsiteX7357" fmla="*/ 2429744 w 5521505"/>
              <a:gd name="connsiteY7357" fmla="*/ 269707 h 2146918"/>
              <a:gd name="connsiteX7358" fmla="*/ 2436721 w 5521505"/>
              <a:gd name="connsiteY7358" fmla="*/ 263838 h 2146918"/>
              <a:gd name="connsiteX7359" fmla="*/ 2442103 w 5521505"/>
              <a:gd name="connsiteY7359" fmla="*/ 258711 h 2146918"/>
              <a:gd name="connsiteX7360" fmla="*/ 2427345 w 5521505"/>
              <a:gd name="connsiteY7360" fmla="*/ 251710 h 2146918"/>
              <a:gd name="connsiteX7361" fmla="*/ 2396075 w 5521505"/>
              <a:gd name="connsiteY7361" fmla="*/ 256653 h 2146918"/>
              <a:gd name="connsiteX7362" fmla="*/ 2389572 w 5521505"/>
              <a:gd name="connsiteY7362" fmla="*/ 260757 h 2146918"/>
              <a:gd name="connsiteX7363" fmla="*/ 2388732 w 5521505"/>
              <a:gd name="connsiteY7363" fmla="*/ 262303 h 2146918"/>
              <a:gd name="connsiteX7364" fmla="*/ 2375009 w 5521505"/>
              <a:gd name="connsiteY7364" fmla="*/ 268709 h 2146918"/>
              <a:gd name="connsiteX7365" fmla="*/ 2371429 w 5521505"/>
              <a:gd name="connsiteY7365" fmla="*/ 269342 h 2146918"/>
              <a:gd name="connsiteX7366" fmla="*/ 2367898 w 5521505"/>
              <a:gd name="connsiteY7366" fmla="*/ 270036 h 2146918"/>
              <a:gd name="connsiteX7367" fmla="*/ 2358327 w 5521505"/>
              <a:gd name="connsiteY7367" fmla="*/ 274906 h 2146918"/>
              <a:gd name="connsiteX7368" fmla="*/ 2363112 w 5521505"/>
              <a:gd name="connsiteY7368" fmla="*/ 281592 h 2146918"/>
              <a:gd name="connsiteX7369" fmla="*/ 2365827 w 5521505"/>
              <a:gd name="connsiteY7369" fmla="*/ 283016 h 2146918"/>
              <a:gd name="connsiteX7370" fmla="*/ 2369152 w 5521505"/>
              <a:gd name="connsiteY7370" fmla="*/ 284697 h 2146918"/>
              <a:gd name="connsiteX7371" fmla="*/ 2368506 w 5521505"/>
              <a:gd name="connsiteY7371" fmla="*/ 285914 h 2146918"/>
              <a:gd name="connsiteX7372" fmla="*/ 2367934 w 5521505"/>
              <a:gd name="connsiteY7372" fmla="*/ 286608 h 2146918"/>
              <a:gd name="connsiteX7373" fmla="*/ 2427442 w 5521505"/>
              <a:gd name="connsiteY7373" fmla="*/ 229962 h 2146918"/>
              <a:gd name="connsiteX7374" fmla="*/ 2429062 w 5521505"/>
              <a:gd name="connsiteY7374" fmla="*/ 231350 h 2146918"/>
              <a:gd name="connsiteX7375" fmla="*/ 2432118 w 5521505"/>
              <a:gd name="connsiteY7375" fmla="*/ 233956 h 2146918"/>
              <a:gd name="connsiteX7376" fmla="*/ 2434054 w 5521505"/>
              <a:gd name="connsiteY7376" fmla="*/ 235624 h 2146918"/>
              <a:gd name="connsiteX7377" fmla="*/ 2437281 w 5521505"/>
              <a:gd name="connsiteY7377" fmla="*/ 238388 h 2146918"/>
              <a:gd name="connsiteX7378" fmla="*/ 2435187 w 5521505"/>
              <a:gd name="connsiteY7378" fmla="*/ 241798 h 2146918"/>
              <a:gd name="connsiteX7379" fmla="*/ 2432824 w 5521505"/>
              <a:gd name="connsiteY7379" fmla="*/ 245646 h 2146918"/>
              <a:gd name="connsiteX7380" fmla="*/ 2434627 w 5521505"/>
              <a:gd name="connsiteY7380" fmla="*/ 246096 h 2146918"/>
              <a:gd name="connsiteX7381" fmla="*/ 2435844 w 5521505"/>
              <a:gd name="connsiteY7381" fmla="*/ 246413 h 2146918"/>
              <a:gd name="connsiteX7382" fmla="*/ 2438645 w 5521505"/>
              <a:gd name="connsiteY7382" fmla="*/ 247180 h 2146918"/>
              <a:gd name="connsiteX7383" fmla="*/ 2440898 w 5521505"/>
              <a:gd name="connsiteY7383" fmla="*/ 247874 h 2146918"/>
              <a:gd name="connsiteX7384" fmla="*/ 2442688 w 5521505"/>
              <a:gd name="connsiteY7384" fmla="*/ 248519 h 2146918"/>
              <a:gd name="connsiteX7385" fmla="*/ 2444051 w 5521505"/>
              <a:gd name="connsiteY7385" fmla="*/ 249079 h 2146918"/>
              <a:gd name="connsiteX7386" fmla="*/ 2451163 w 5521505"/>
              <a:gd name="connsiteY7386" fmla="*/ 251308 h 2146918"/>
              <a:gd name="connsiteX7387" fmla="*/ 2464776 w 5521505"/>
              <a:gd name="connsiteY7387" fmla="*/ 251466 h 2146918"/>
              <a:gd name="connsiteX7388" fmla="*/ 2472850 w 5521505"/>
              <a:gd name="connsiteY7388" fmla="*/ 250078 h 2146918"/>
              <a:gd name="connsiteX7389" fmla="*/ 2473459 w 5521505"/>
              <a:gd name="connsiteY7389" fmla="*/ 250979 h 2146918"/>
              <a:gd name="connsiteX7390" fmla="*/ 2474153 w 5521505"/>
              <a:gd name="connsiteY7390" fmla="*/ 252063 h 2146918"/>
              <a:gd name="connsiteX7391" fmla="*/ 2477940 w 5521505"/>
              <a:gd name="connsiteY7391" fmla="*/ 254997 h 2146918"/>
              <a:gd name="connsiteX7392" fmla="*/ 2478963 w 5521505"/>
              <a:gd name="connsiteY7392" fmla="*/ 255387 h 2146918"/>
              <a:gd name="connsiteX7393" fmla="*/ 2479669 w 5521505"/>
              <a:gd name="connsiteY7393" fmla="*/ 255655 h 2146918"/>
              <a:gd name="connsiteX7394" fmla="*/ 2485148 w 5521505"/>
              <a:gd name="connsiteY7394" fmla="*/ 261244 h 2146918"/>
              <a:gd name="connsiteX7395" fmla="*/ 2475127 w 5521505"/>
              <a:gd name="connsiteY7395" fmla="*/ 266042 h 2146918"/>
              <a:gd name="connsiteX7396" fmla="*/ 2473507 w 5521505"/>
              <a:gd name="connsiteY7396" fmla="*/ 266346 h 2146918"/>
              <a:gd name="connsiteX7397" fmla="*/ 2471206 w 5521505"/>
              <a:gd name="connsiteY7397" fmla="*/ 266797 h 2146918"/>
              <a:gd name="connsiteX7398" fmla="*/ 2465446 w 5521505"/>
              <a:gd name="connsiteY7398" fmla="*/ 268574 h 2146918"/>
              <a:gd name="connsiteX7399" fmla="*/ 2458871 w 5521505"/>
              <a:gd name="connsiteY7399" fmla="*/ 271570 h 2146918"/>
              <a:gd name="connsiteX7400" fmla="*/ 2455644 w 5521505"/>
              <a:gd name="connsiteY7400" fmla="*/ 273080 h 2146918"/>
              <a:gd name="connsiteX7401" fmla="*/ 2464655 w 5521505"/>
              <a:gd name="connsiteY7401" fmla="*/ 277951 h 2146918"/>
              <a:gd name="connsiteX7402" fmla="*/ 2458907 w 5521505"/>
              <a:gd name="connsiteY7402" fmla="*/ 279960 h 2146918"/>
              <a:gd name="connsiteX7403" fmla="*/ 2453367 w 5521505"/>
              <a:gd name="connsiteY7403" fmla="*/ 283686 h 2146918"/>
              <a:gd name="connsiteX7404" fmla="*/ 2450773 w 5521505"/>
              <a:gd name="connsiteY7404" fmla="*/ 285951 h 2146918"/>
              <a:gd name="connsiteX7405" fmla="*/ 2452867 w 5521505"/>
              <a:gd name="connsiteY7405" fmla="*/ 286243 h 2146918"/>
              <a:gd name="connsiteX7406" fmla="*/ 2455656 w 5521505"/>
              <a:gd name="connsiteY7406" fmla="*/ 286657 h 2146918"/>
              <a:gd name="connsiteX7407" fmla="*/ 2458091 w 5521505"/>
              <a:gd name="connsiteY7407" fmla="*/ 286962 h 2146918"/>
              <a:gd name="connsiteX7408" fmla="*/ 2464180 w 5521505"/>
              <a:gd name="connsiteY7408" fmla="*/ 286888 h 2146918"/>
              <a:gd name="connsiteX7409" fmla="*/ 2466895 w 5521505"/>
              <a:gd name="connsiteY7409" fmla="*/ 286462 h 2146918"/>
              <a:gd name="connsiteX7410" fmla="*/ 2472801 w 5521505"/>
              <a:gd name="connsiteY7410" fmla="*/ 286560 h 2146918"/>
              <a:gd name="connsiteX7411" fmla="*/ 2474323 w 5521505"/>
              <a:gd name="connsiteY7411" fmla="*/ 287400 h 2146918"/>
              <a:gd name="connsiteX7412" fmla="*/ 2442261 w 5521505"/>
              <a:gd name="connsiteY7412" fmla="*/ 306396 h 2146918"/>
              <a:gd name="connsiteX7413" fmla="*/ 2466822 w 5521505"/>
              <a:gd name="connsiteY7413" fmla="*/ 302122 h 2146918"/>
              <a:gd name="connsiteX7414" fmla="*/ 2470390 w 5521505"/>
              <a:gd name="connsiteY7414" fmla="*/ 300904 h 2146918"/>
              <a:gd name="connsiteX7415" fmla="*/ 2490068 w 5521505"/>
              <a:gd name="connsiteY7415" fmla="*/ 295424 h 2146918"/>
              <a:gd name="connsiteX7416" fmla="*/ 2503109 w 5521505"/>
              <a:gd name="connsiteY7416" fmla="*/ 292989 h 2146918"/>
              <a:gd name="connsiteX7417" fmla="*/ 2524662 w 5521505"/>
              <a:gd name="connsiteY7417" fmla="*/ 289226 h 2146918"/>
              <a:gd name="connsiteX7418" fmla="*/ 2538946 w 5521505"/>
              <a:gd name="connsiteY7418" fmla="*/ 286852 h 2146918"/>
              <a:gd name="connsiteX7419" fmla="*/ 2553631 w 5521505"/>
              <a:gd name="connsiteY7419" fmla="*/ 284417 h 2146918"/>
              <a:gd name="connsiteX7420" fmla="*/ 2559488 w 5521505"/>
              <a:gd name="connsiteY7420" fmla="*/ 283321 h 2146918"/>
              <a:gd name="connsiteX7421" fmla="*/ 2565077 w 5521505"/>
              <a:gd name="connsiteY7421" fmla="*/ 280727 h 2146918"/>
              <a:gd name="connsiteX7422" fmla="*/ 2563652 w 5521505"/>
              <a:gd name="connsiteY7422" fmla="*/ 277013 h 2146918"/>
              <a:gd name="connsiteX7423" fmla="*/ 2557893 w 5521505"/>
              <a:gd name="connsiteY7423" fmla="*/ 276709 h 2146918"/>
              <a:gd name="connsiteX7424" fmla="*/ 2555884 w 5521505"/>
              <a:gd name="connsiteY7424" fmla="*/ 276623 h 2146918"/>
              <a:gd name="connsiteX7425" fmla="*/ 2553972 w 5521505"/>
              <a:gd name="connsiteY7425" fmla="*/ 275868 h 2146918"/>
              <a:gd name="connsiteX7426" fmla="*/ 2552998 w 5521505"/>
              <a:gd name="connsiteY7426" fmla="*/ 275235 h 2146918"/>
              <a:gd name="connsiteX7427" fmla="*/ 2557771 w 5521505"/>
              <a:gd name="connsiteY7427" fmla="*/ 272447 h 2146918"/>
              <a:gd name="connsiteX7428" fmla="*/ 2563324 w 5521505"/>
              <a:gd name="connsiteY7428" fmla="*/ 269378 h 2146918"/>
              <a:gd name="connsiteX7429" fmla="*/ 2568730 w 5521505"/>
              <a:gd name="connsiteY7429" fmla="*/ 263180 h 2146918"/>
              <a:gd name="connsiteX7430" fmla="*/ 2562763 w 5521505"/>
              <a:gd name="connsiteY7430" fmla="*/ 260416 h 2146918"/>
              <a:gd name="connsiteX7431" fmla="*/ 2561375 w 5521505"/>
              <a:gd name="connsiteY7431" fmla="*/ 260319 h 2146918"/>
              <a:gd name="connsiteX7432" fmla="*/ 2559244 w 5521505"/>
              <a:gd name="connsiteY7432" fmla="*/ 260319 h 2146918"/>
              <a:gd name="connsiteX7433" fmla="*/ 2542038 w 5521505"/>
              <a:gd name="connsiteY7433" fmla="*/ 255947 h 2146918"/>
              <a:gd name="connsiteX7434" fmla="*/ 2539920 w 5521505"/>
              <a:gd name="connsiteY7434" fmla="*/ 254206 h 2146918"/>
              <a:gd name="connsiteX7435" fmla="*/ 2537180 w 5521505"/>
              <a:gd name="connsiteY7435" fmla="*/ 251442 h 2146918"/>
              <a:gd name="connsiteX7436" fmla="*/ 2534647 w 5521505"/>
              <a:gd name="connsiteY7436" fmla="*/ 249006 h 2146918"/>
              <a:gd name="connsiteX7437" fmla="*/ 2532127 w 5521505"/>
              <a:gd name="connsiteY7437" fmla="*/ 247338 h 2146918"/>
              <a:gd name="connsiteX7438" fmla="*/ 2530702 w 5521505"/>
              <a:gd name="connsiteY7438" fmla="*/ 246717 h 2146918"/>
              <a:gd name="connsiteX7439" fmla="*/ 2529569 w 5521505"/>
              <a:gd name="connsiteY7439" fmla="*/ 246352 h 2146918"/>
              <a:gd name="connsiteX7440" fmla="*/ 2527585 w 5521505"/>
              <a:gd name="connsiteY7440" fmla="*/ 245938 h 2146918"/>
              <a:gd name="connsiteX7441" fmla="*/ 2519243 w 5521505"/>
              <a:gd name="connsiteY7441" fmla="*/ 243356 h 2146918"/>
              <a:gd name="connsiteX7442" fmla="*/ 2515481 w 5521505"/>
              <a:gd name="connsiteY7442" fmla="*/ 239582 h 2146918"/>
              <a:gd name="connsiteX7443" fmla="*/ 2514799 w 5521505"/>
              <a:gd name="connsiteY7443" fmla="*/ 238741 h 2146918"/>
              <a:gd name="connsiteX7444" fmla="*/ 2509746 w 5521505"/>
              <a:gd name="connsiteY7444" fmla="*/ 235904 h 2146918"/>
              <a:gd name="connsiteX7445" fmla="*/ 2502440 w 5521505"/>
              <a:gd name="connsiteY7445" fmla="*/ 232799 h 2146918"/>
              <a:gd name="connsiteX7446" fmla="*/ 2500625 w 5521505"/>
              <a:gd name="connsiteY7446" fmla="*/ 231922 h 2146918"/>
              <a:gd name="connsiteX7447" fmla="*/ 2498287 w 5521505"/>
              <a:gd name="connsiteY7447" fmla="*/ 228768 h 2146918"/>
              <a:gd name="connsiteX7448" fmla="*/ 2501210 w 5521505"/>
              <a:gd name="connsiteY7448" fmla="*/ 226333 h 2146918"/>
              <a:gd name="connsiteX7449" fmla="*/ 2504777 w 5521505"/>
              <a:gd name="connsiteY7449" fmla="*/ 224312 h 2146918"/>
              <a:gd name="connsiteX7450" fmla="*/ 2507809 w 5521505"/>
              <a:gd name="connsiteY7450" fmla="*/ 222704 h 2146918"/>
              <a:gd name="connsiteX7451" fmla="*/ 2508443 w 5521505"/>
              <a:gd name="connsiteY7451" fmla="*/ 222363 h 2146918"/>
              <a:gd name="connsiteX7452" fmla="*/ 2508796 w 5521505"/>
              <a:gd name="connsiteY7452" fmla="*/ 222083 h 2146918"/>
              <a:gd name="connsiteX7453" fmla="*/ 2509295 w 5521505"/>
              <a:gd name="connsiteY7453" fmla="*/ 221487 h 2146918"/>
              <a:gd name="connsiteX7454" fmla="*/ 2509685 w 5521505"/>
              <a:gd name="connsiteY7454" fmla="*/ 220988 h 2146918"/>
              <a:gd name="connsiteX7455" fmla="*/ 2510074 w 5521505"/>
              <a:gd name="connsiteY7455" fmla="*/ 220525 h 2146918"/>
              <a:gd name="connsiteX7456" fmla="*/ 2509332 w 5521505"/>
              <a:gd name="connsiteY7456" fmla="*/ 219794 h 2146918"/>
              <a:gd name="connsiteX7457" fmla="*/ 2508576 w 5521505"/>
              <a:gd name="connsiteY7457" fmla="*/ 219076 h 2146918"/>
              <a:gd name="connsiteX7458" fmla="*/ 2507627 w 5521505"/>
              <a:gd name="connsiteY7458" fmla="*/ 218150 h 2146918"/>
              <a:gd name="connsiteX7459" fmla="*/ 2507627 w 5521505"/>
              <a:gd name="connsiteY7459" fmla="*/ 218150 h 2146918"/>
              <a:gd name="connsiteX7460" fmla="*/ 2506482 w 5521505"/>
              <a:gd name="connsiteY7460" fmla="*/ 217042 h 2146918"/>
              <a:gd name="connsiteX7461" fmla="*/ 2504717 w 5521505"/>
              <a:gd name="connsiteY7461" fmla="*/ 215337 h 2146918"/>
              <a:gd name="connsiteX7462" fmla="*/ 2503341 w 5521505"/>
              <a:gd name="connsiteY7462" fmla="*/ 214010 h 2146918"/>
              <a:gd name="connsiteX7463" fmla="*/ 2502561 w 5521505"/>
              <a:gd name="connsiteY7463" fmla="*/ 213267 h 2146918"/>
              <a:gd name="connsiteX7464" fmla="*/ 2495060 w 5521505"/>
              <a:gd name="connsiteY7464" fmla="*/ 214205 h 2146918"/>
              <a:gd name="connsiteX7465" fmla="*/ 2487255 w 5521505"/>
              <a:gd name="connsiteY7465" fmla="*/ 215191 h 2146918"/>
              <a:gd name="connsiteX7466" fmla="*/ 2476941 w 5521505"/>
              <a:gd name="connsiteY7466" fmla="*/ 216531 h 2146918"/>
              <a:gd name="connsiteX7467" fmla="*/ 2474384 w 5521505"/>
              <a:gd name="connsiteY7467" fmla="*/ 216872 h 2146918"/>
              <a:gd name="connsiteX7468" fmla="*/ 2478037 w 5521505"/>
              <a:gd name="connsiteY7468" fmla="*/ 214826 h 2146918"/>
              <a:gd name="connsiteX7469" fmla="*/ 2484491 w 5521505"/>
              <a:gd name="connsiteY7469" fmla="*/ 211258 h 2146918"/>
              <a:gd name="connsiteX7470" fmla="*/ 2488083 w 5521505"/>
              <a:gd name="connsiteY7470" fmla="*/ 209285 h 2146918"/>
              <a:gd name="connsiteX7471" fmla="*/ 2489508 w 5521505"/>
              <a:gd name="connsiteY7471" fmla="*/ 208506 h 2146918"/>
              <a:gd name="connsiteX7472" fmla="*/ 2473678 w 5521505"/>
              <a:gd name="connsiteY7472" fmla="*/ 208177 h 2146918"/>
              <a:gd name="connsiteX7473" fmla="*/ 2462487 w 5521505"/>
              <a:gd name="connsiteY7473" fmla="*/ 210016 h 2146918"/>
              <a:gd name="connsiteX7474" fmla="*/ 2456119 w 5521505"/>
              <a:gd name="connsiteY7474" fmla="*/ 211331 h 2146918"/>
              <a:gd name="connsiteX7475" fmla="*/ 2454658 w 5521505"/>
              <a:gd name="connsiteY7475" fmla="*/ 211611 h 2146918"/>
              <a:gd name="connsiteX7476" fmla="*/ 2453720 w 5521505"/>
              <a:gd name="connsiteY7476" fmla="*/ 211782 h 2146918"/>
              <a:gd name="connsiteX7477" fmla="*/ 2452977 w 5521505"/>
              <a:gd name="connsiteY7477" fmla="*/ 212330 h 2146918"/>
              <a:gd name="connsiteX7478" fmla="*/ 2452271 w 5521505"/>
              <a:gd name="connsiteY7478" fmla="*/ 212817 h 2146918"/>
              <a:gd name="connsiteX7479" fmla="*/ 2451455 w 5521505"/>
              <a:gd name="connsiteY7479" fmla="*/ 213328 h 2146918"/>
              <a:gd name="connsiteX7480" fmla="*/ 2450237 w 5521505"/>
              <a:gd name="connsiteY7480" fmla="*/ 214095 h 2146918"/>
              <a:gd name="connsiteX7481" fmla="*/ 2449081 w 5521505"/>
              <a:gd name="connsiteY7481" fmla="*/ 214753 h 2146918"/>
              <a:gd name="connsiteX7482" fmla="*/ 2448070 w 5521505"/>
              <a:gd name="connsiteY7482" fmla="*/ 215301 h 2146918"/>
              <a:gd name="connsiteX7483" fmla="*/ 2446572 w 5521505"/>
              <a:gd name="connsiteY7483" fmla="*/ 216092 h 2146918"/>
              <a:gd name="connsiteX7484" fmla="*/ 2444685 w 5521505"/>
              <a:gd name="connsiteY7484" fmla="*/ 217091 h 2146918"/>
              <a:gd name="connsiteX7485" fmla="*/ 2441908 w 5521505"/>
              <a:gd name="connsiteY7485" fmla="*/ 218588 h 2146918"/>
              <a:gd name="connsiteX7486" fmla="*/ 2440277 w 5521505"/>
              <a:gd name="connsiteY7486" fmla="*/ 219538 h 2146918"/>
              <a:gd name="connsiteX7487" fmla="*/ 2438621 w 5521505"/>
              <a:gd name="connsiteY7487" fmla="*/ 220598 h 2146918"/>
              <a:gd name="connsiteX7488" fmla="*/ 2436879 w 5521505"/>
              <a:gd name="connsiteY7488" fmla="*/ 221815 h 2146918"/>
              <a:gd name="connsiteX7489" fmla="*/ 2435455 w 5521505"/>
              <a:gd name="connsiteY7489" fmla="*/ 222936 h 2146918"/>
              <a:gd name="connsiteX7490" fmla="*/ 2433993 w 5521505"/>
              <a:gd name="connsiteY7490" fmla="*/ 224153 h 2146918"/>
              <a:gd name="connsiteX7491" fmla="*/ 2432715 w 5521505"/>
              <a:gd name="connsiteY7491" fmla="*/ 225286 h 2146918"/>
              <a:gd name="connsiteX7492" fmla="*/ 2431254 w 5521505"/>
              <a:gd name="connsiteY7492" fmla="*/ 226601 h 2146918"/>
              <a:gd name="connsiteX7493" fmla="*/ 2429220 w 5521505"/>
              <a:gd name="connsiteY7493" fmla="*/ 228427 h 2146918"/>
              <a:gd name="connsiteX7494" fmla="*/ 3454535 w 5521505"/>
              <a:gd name="connsiteY7494" fmla="*/ 1040976 h 2146918"/>
              <a:gd name="connsiteX7495" fmla="*/ 3448861 w 5521505"/>
              <a:gd name="connsiteY7495" fmla="*/ 1022845 h 2146918"/>
              <a:gd name="connsiteX7496" fmla="*/ 3447387 w 5521505"/>
              <a:gd name="connsiteY7496" fmla="*/ 1020032 h 2146918"/>
              <a:gd name="connsiteX7497" fmla="*/ 3444452 w 5521505"/>
              <a:gd name="connsiteY7497" fmla="*/ 1014589 h 2146918"/>
              <a:gd name="connsiteX7498" fmla="*/ 3443125 w 5521505"/>
              <a:gd name="connsiteY7498" fmla="*/ 1012056 h 2146918"/>
              <a:gd name="connsiteX7499" fmla="*/ 3441713 w 5521505"/>
              <a:gd name="connsiteY7499" fmla="*/ 1012203 h 2146918"/>
              <a:gd name="connsiteX7500" fmla="*/ 3440422 w 5521505"/>
              <a:gd name="connsiteY7500" fmla="*/ 1012409 h 2146918"/>
              <a:gd name="connsiteX7501" fmla="*/ 3439022 w 5521505"/>
              <a:gd name="connsiteY7501" fmla="*/ 1012726 h 2146918"/>
              <a:gd name="connsiteX7502" fmla="*/ 3437901 w 5521505"/>
              <a:gd name="connsiteY7502" fmla="*/ 1013067 h 2146918"/>
              <a:gd name="connsiteX7503" fmla="*/ 3433213 w 5521505"/>
              <a:gd name="connsiteY7503" fmla="*/ 1016136 h 2146918"/>
              <a:gd name="connsiteX7504" fmla="*/ 3431789 w 5521505"/>
              <a:gd name="connsiteY7504" fmla="*/ 1017877 h 2146918"/>
              <a:gd name="connsiteX7505" fmla="*/ 3430705 w 5521505"/>
              <a:gd name="connsiteY7505" fmla="*/ 1019192 h 2146918"/>
              <a:gd name="connsiteX7506" fmla="*/ 3428269 w 5521505"/>
              <a:gd name="connsiteY7506" fmla="*/ 1021944 h 2146918"/>
              <a:gd name="connsiteX7507" fmla="*/ 3424227 w 5521505"/>
              <a:gd name="connsiteY7507" fmla="*/ 1024051 h 2146918"/>
              <a:gd name="connsiteX7508" fmla="*/ 3416239 w 5521505"/>
              <a:gd name="connsiteY7508" fmla="*/ 1028106 h 2146918"/>
              <a:gd name="connsiteX7509" fmla="*/ 3413706 w 5521505"/>
              <a:gd name="connsiteY7509" fmla="*/ 1030407 h 2146918"/>
              <a:gd name="connsiteX7510" fmla="*/ 3389827 w 5521505"/>
              <a:gd name="connsiteY7510" fmla="*/ 1044374 h 2146918"/>
              <a:gd name="connsiteX7511" fmla="*/ 3374350 w 5521505"/>
              <a:gd name="connsiteY7511" fmla="*/ 1046809 h 2146918"/>
              <a:gd name="connsiteX7512" fmla="*/ 3370783 w 5521505"/>
              <a:gd name="connsiteY7512" fmla="*/ 1046894 h 2146918"/>
              <a:gd name="connsiteX7513" fmla="*/ 3368798 w 5521505"/>
              <a:gd name="connsiteY7513" fmla="*/ 1046894 h 2146918"/>
              <a:gd name="connsiteX7514" fmla="*/ 3366362 w 5521505"/>
              <a:gd name="connsiteY7514" fmla="*/ 1047040 h 2146918"/>
              <a:gd name="connsiteX7515" fmla="*/ 3365279 w 5521505"/>
              <a:gd name="connsiteY7515" fmla="*/ 1047235 h 2146918"/>
              <a:gd name="connsiteX7516" fmla="*/ 3364183 w 5521505"/>
              <a:gd name="connsiteY7516" fmla="*/ 1047418 h 2146918"/>
              <a:gd name="connsiteX7517" fmla="*/ 3360931 w 5521505"/>
              <a:gd name="connsiteY7517" fmla="*/ 1047880 h 2146918"/>
              <a:gd name="connsiteX7518" fmla="*/ 3354587 w 5521505"/>
              <a:gd name="connsiteY7518" fmla="*/ 1048903 h 2146918"/>
              <a:gd name="connsiteX7519" fmla="*/ 3346770 w 5521505"/>
              <a:gd name="connsiteY7519" fmla="*/ 1053653 h 2146918"/>
              <a:gd name="connsiteX7520" fmla="*/ 3343275 w 5521505"/>
              <a:gd name="connsiteY7520" fmla="*/ 1057549 h 2146918"/>
              <a:gd name="connsiteX7521" fmla="*/ 3340487 w 5521505"/>
              <a:gd name="connsiteY7521" fmla="*/ 1061641 h 2146918"/>
              <a:gd name="connsiteX7522" fmla="*/ 3338526 w 5521505"/>
              <a:gd name="connsiteY7522" fmla="*/ 1078554 h 2146918"/>
              <a:gd name="connsiteX7523" fmla="*/ 3338526 w 5521505"/>
              <a:gd name="connsiteY7523" fmla="*/ 1089513 h 2146918"/>
              <a:gd name="connsiteX7524" fmla="*/ 3327774 w 5521505"/>
              <a:gd name="connsiteY7524" fmla="*/ 1101325 h 2146918"/>
              <a:gd name="connsiteX7525" fmla="*/ 3321223 w 5521505"/>
              <a:gd name="connsiteY7525" fmla="*/ 1106196 h 2146918"/>
              <a:gd name="connsiteX7526" fmla="*/ 3315621 w 5521505"/>
              <a:gd name="connsiteY7526" fmla="*/ 1117155 h 2146918"/>
              <a:gd name="connsiteX7527" fmla="*/ 3316060 w 5521505"/>
              <a:gd name="connsiteY7527" fmla="*/ 1119201 h 2146918"/>
              <a:gd name="connsiteX7528" fmla="*/ 3316583 w 5521505"/>
              <a:gd name="connsiteY7528" fmla="*/ 1120783 h 2146918"/>
              <a:gd name="connsiteX7529" fmla="*/ 3316924 w 5521505"/>
              <a:gd name="connsiteY7529" fmla="*/ 1122135 h 2146918"/>
              <a:gd name="connsiteX7530" fmla="*/ 3317143 w 5521505"/>
              <a:gd name="connsiteY7530" fmla="*/ 1123353 h 2146918"/>
              <a:gd name="connsiteX7531" fmla="*/ 3317375 w 5521505"/>
              <a:gd name="connsiteY7531" fmla="*/ 1128101 h 2146918"/>
              <a:gd name="connsiteX7532" fmla="*/ 3317302 w 5521505"/>
              <a:gd name="connsiteY7532" fmla="*/ 1130208 h 2146918"/>
              <a:gd name="connsiteX7533" fmla="*/ 3318946 w 5521505"/>
              <a:gd name="connsiteY7533" fmla="*/ 1140631 h 2146918"/>
              <a:gd name="connsiteX7534" fmla="*/ 3324596 w 5521505"/>
              <a:gd name="connsiteY7534" fmla="*/ 1148096 h 2146918"/>
              <a:gd name="connsiteX7535" fmla="*/ 3334971 w 5521505"/>
              <a:gd name="connsiteY7535" fmla="*/ 1154343 h 2146918"/>
              <a:gd name="connsiteX7536" fmla="*/ 3341826 w 5521505"/>
              <a:gd name="connsiteY7536" fmla="*/ 1156510 h 2146918"/>
              <a:gd name="connsiteX7537" fmla="*/ 3349984 w 5521505"/>
              <a:gd name="connsiteY7537" fmla="*/ 1156668 h 2146918"/>
              <a:gd name="connsiteX7538" fmla="*/ 3351373 w 5521505"/>
              <a:gd name="connsiteY7538" fmla="*/ 1156510 h 2146918"/>
              <a:gd name="connsiteX7539" fmla="*/ 3353370 w 5521505"/>
              <a:gd name="connsiteY7539" fmla="*/ 1156254 h 2146918"/>
              <a:gd name="connsiteX7540" fmla="*/ 3354807 w 5521505"/>
              <a:gd name="connsiteY7540" fmla="*/ 1156072 h 2146918"/>
              <a:gd name="connsiteX7541" fmla="*/ 3356828 w 5521505"/>
              <a:gd name="connsiteY7541" fmla="*/ 1155841 h 2146918"/>
              <a:gd name="connsiteX7542" fmla="*/ 3358800 w 5521505"/>
              <a:gd name="connsiteY7542" fmla="*/ 1155682 h 2146918"/>
              <a:gd name="connsiteX7543" fmla="*/ 3362393 w 5521505"/>
              <a:gd name="connsiteY7543" fmla="*/ 1155682 h 2146918"/>
              <a:gd name="connsiteX7544" fmla="*/ 3364901 w 5521505"/>
              <a:gd name="connsiteY7544" fmla="*/ 1155536 h 2146918"/>
              <a:gd name="connsiteX7545" fmla="*/ 3365620 w 5521505"/>
              <a:gd name="connsiteY7545" fmla="*/ 1155427 h 2146918"/>
              <a:gd name="connsiteX7546" fmla="*/ 3366837 w 5521505"/>
              <a:gd name="connsiteY7546" fmla="*/ 1155171 h 2146918"/>
              <a:gd name="connsiteX7547" fmla="*/ 3368140 w 5521505"/>
              <a:gd name="connsiteY7547" fmla="*/ 1154842 h 2146918"/>
              <a:gd name="connsiteX7548" fmla="*/ 3369358 w 5521505"/>
              <a:gd name="connsiteY7548" fmla="*/ 1154477 h 2146918"/>
              <a:gd name="connsiteX7549" fmla="*/ 3371501 w 5521505"/>
              <a:gd name="connsiteY7549" fmla="*/ 1153795 h 2146918"/>
              <a:gd name="connsiteX7550" fmla="*/ 3373571 w 5521505"/>
              <a:gd name="connsiteY7550" fmla="*/ 1153161 h 2146918"/>
              <a:gd name="connsiteX7551" fmla="*/ 3374582 w 5521505"/>
              <a:gd name="connsiteY7551" fmla="*/ 1152894 h 2146918"/>
              <a:gd name="connsiteX7552" fmla="*/ 3375410 w 5521505"/>
              <a:gd name="connsiteY7552" fmla="*/ 1152383 h 2146918"/>
              <a:gd name="connsiteX7553" fmla="*/ 3376067 w 5521505"/>
              <a:gd name="connsiteY7553" fmla="*/ 1151591 h 2146918"/>
              <a:gd name="connsiteX7554" fmla="*/ 3381096 w 5521505"/>
              <a:gd name="connsiteY7554" fmla="*/ 1145344 h 2146918"/>
              <a:gd name="connsiteX7555" fmla="*/ 3389011 w 5521505"/>
              <a:gd name="connsiteY7555" fmla="*/ 1135456 h 2146918"/>
              <a:gd name="connsiteX7556" fmla="*/ 3396050 w 5521505"/>
              <a:gd name="connsiteY7556" fmla="*/ 1126714 h 2146918"/>
              <a:gd name="connsiteX7557" fmla="*/ 3404391 w 5521505"/>
              <a:gd name="connsiteY7557" fmla="*/ 1116388 h 2146918"/>
              <a:gd name="connsiteX7558" fmla="*/ 3409262 w 5521505"/>
              <a:gd name="connsiteY7558" fmla="*/ 1110116 h 2146918"/>
              <a:gd name="connsiteX7559" fmla="*/ 3414765 w 5521505"/>
              <a:gd name="connsiteY7559" fmla="*/ 1102810 h 2146918"/>
              <a:gd name="connsiteX7560" fmla="*/ 3420671 w 5521505"/>
              <a:gd name="connsiteY7560" fmla="*/ 1095906 h 2146918"/>
              <a:gd name="connsiteX7561" fmla="*/ 3433968 w 5521505"/>
              <a:gd name="connsiteY7561" fmla="*/ 1077129 h 2146918"/>
              <a:gd name="connsiteX7562" fmla="*/ 3434541 w 5521505"/>
              <a:gd name="connsiteY7562" fmla="*/ 1075266 h 2146918"/>
              <a:gd name="connsiteX7563" fmla="*/ 3434882 w 5521505"/>
              <a:gd name="connsiteY7563" fmla="*/ 1073793 h 2146918"/>
              <a:gd name="connsiteX7564" fmla="*/ 3437609 w 5521505"/>
              <a:gd name="connsiteY7564" fmla="*/ 1069604 h 2146918"/>
              <a:gd name="connsiteX7565" fmla="*/ 3438425 w 5521505"/>
              <a:gd name="connsiteY7565" fmla="*/ 1069068 h 2146918"/>
              <a:gd name="connsiteX7566" fmla="*/ 3439570 w 5521505"/>
              <a:gd name="connsiteY7566" fmla="*/ 1068179 h 2146918"/>
              <a:gd name="connsiteX7567" fmla="*/ 3443223 w 5521505"/>
              <a:gd name="connsiteY7567" fmla="*/ 1061823 h 2146918"/>
              <a:gd name="connsiteX7568" fmla="*/ 3443527 w 5521505"/>
              <a:gd name="connsiteY7568" fmla="*/ 1060228 h 2146918"/>
              <a:gd name="connsiteX7569" fmla="*/ 3443661 w 5521505"/>
              <a:gd name="connsiteY7569" fmla="*/ 1059546 h 2146918"/>
              <a:gd name="connsiteX7570" fmla="*/ 3447107 w 5521505"/>
              <a:gd name="connsiteY7570" fmla="*/ 1056197 h 2146918"/>
              <a:gd name="connsiteX7571" fmla="*/ 3452367 w 5521505"/>
              <a:gd name="connsiteY7571" fmla="*/ 1054870 h 2146918"/>
              <a:gd name="connsiteX7572" fmla="*/ 3454973 w 5521505"/>
              <a:gd name="connsiteY7572" fmla="*/ 1047564 h 2146918"/>
              <a:gd name="connsiteX7573" fmla="*/ 4996477 w 5521505"/>
              <a:gd name="connsiteY7573" fmla="*/ 1014321 h 2146918"/>
              <a:gd name="connsiteX7574" fmla="*/ 4987661 w 5521505"/>
              <a:gd name="connsiteY7574" fmla="*/ 1008537 h 2146918"/>
              <a:gd name="connsiteX7575" fmla="*/ 4969797 w 5521505"/>
              <a:gd name="connsiteY7575" fmla="*/ 1003167 h 2146918"/>
              <a:gd name="connsiteX7576" fmla="*/ 4960653 w 5521505"/>
              <a:gd name="connsiteY7576" fmla="*/ 1002510 h 2146918"/>
              <a:gd name="connsiteX7577" fmla="*/ 4952129 w 5521505"/>
              <a:gd name="connsiteY7577" fmla="*/ 1001840 h 2146918"/>
              <a:gd name="connsiteX7578" fmla="*/ 4949523 w 5521505"/>
              <a:gd name="connsiteY7578" fmla="*/ 1001621 h 2146918"/>
              <a:gd name="connsiteX7579" fmla="*/ 4948305 w 5521505"/>
              <a:gd name="connsiteY7579" fmla="*/ 1001742 h 2146918"/>
              <a:gd name="connsiteX7580" fmla="*/ 4948050 w 5521505"/>
              <a:gd name="connsiteY7580" fmla="*/ 1001840 h 2146918"/>
              <a:gd name="connsiteX7581" fmla="*/ 4947721 w 5521505"/>
              <a:gd name="connsiteY7581" fmla="*/ 1002132 h 2146918"/>
              <a:gd name="connsiteX7582" fmla="*/ 4947331 w 5521505"/>
              <a:gd name="connsiteY7582" fmla="*/ 1002753 h 2146918"/>
              <a:gd name="connsiteX7583" fmla="*/ 4946686 w 5521505"/>
              <a:gd name="connsiteY7583" fmla="*/ 1003447 h 2146918"/>
              <a:gd name="connsiteX7584" fmla="*/ 4937711 w 5521505"/>
              <a:gd name="connsiteY7584" fmla="*/ 1005188 h 2146918"/>
              <a:gd name="connsiteX7585" fmla="*/ 4927678 w 5521505"/>
              <a:gd name="connsiteY7585" fmla="*/ 1007174 h 2146918"/>
              <a:gd name="connsiteX7586" fmla="*/ 4933876 w 5521505"/>
              <a:gd name="connsiteY7586" fmla="*/ 1016915 h 2146918"/>
              <a:gd name="connsiteX7587" fmla="*/ 4935617 w 5521505"/>
              <a:gd name="connsiteY7587" fmla="*/ 1018863 h 2146918"/>
              <a:gd name="connsiteX7588" fmla="*/ 4936640 w 5521505"/>
              <a:gd name="connsiteY7588" fmla="*/ 1020081 h 2146918"/>
              <a:gd name="connsiteX7589" fmla="*/ 4937858 w 5521505"/>
              <a:gd name="connsiteY7589" fmla="*/ 1021834 h 2146918"/>
              <a:gd name="connsiteX7590" fmla="*/ 4939075 w 5521505"/>
              <a:gd name="connsiteY7590" fmla="*/ 1023709 h 2146918"/>
              <a:gd name="connsiteX7591" fmla="*/ 4939940 w 5521505"/>
              <a:gd name="connsiteY7591" fmla="*/ 1025195 h 2146918"/>
              <a:gd name="connsiteX7592" fmla="*/ 4940269 w 5521505"/>
              <a:gd name="connsiteY7592" fmla="*/ 1027217 h 2146918"/>
              <a:gd name="connsiteX7593" fmla="*/ 4939233 w 5521505"/>
              <a:gd name="connsiteY7593" fmla="*/ 1034121 h 2146918"/>
              <a:gd name="connsiteX7594" fmla="*/ 4940524 w 5521505"/>
              <a:gd name="connsiteY7594" fmla="*/ 1036556 h 2146918"/>
              <a:gd name="connsiteX7595" fmla="*/ 4941912 w 5521505"/>
              <a:gd name="connsiteY7595" fmla="*/ 1038699 h 2146918"/>
              <a:gd name="connsiteX7596" fmla="*/ 4944165 w 5521505"/>
              <a:gd name="connsiteY7596" fmla="*/ 1041938 h 2146918"/>
              <a:gd name="connsiteX7597" fmla="*/ 4945602 w 5521505"/>
              <a:gd name="connsiteY7597" fmla="*/ 1044130 h 2146918"/>
              <a:gd name="connsiteX7598" fmla="*/ 4946601 w 5521505"/>
              <a:gd name="connsiteY7598" fmla="*/ 1045847 h 2146918"/>
              <a:gd name="connsiteX7599" fmla="*/ 4962369 w 5521505"/>
              <a:gd name="connsiteY7599" fmla="*/ 1047954 h 2146918"/>
              <a:gd name="connsiteX7600" fmla="*/ 4968251 w 5521505"/>
              <a:gd name="connsiteY7600" fmla="*/ 1040136 h 2146918"/>
              <a:gd name="connsiteX7601" fmla="*/ 4970747 w 5521505"/>
              <a:gd name="connsiteY7601" fmla="*/ 1035630 h 2146918"/>
              <a:gd name="connsiteX7602" fmla="*/ 4971880 w 5521505"/>
              <a:gd name="connsiteY7602" fmla="*/ 1033719 h 2146918"/>
              <a:gd name="connsiteX7603" fmla="*/ 4983034 w 5521505"/>
              <a:gd name="connsiteY7603" fmla="*/ 1043740 h 2146918"/>
              <a:gd name="connsiteX7604" fmla="*/ 4993202 w 5521505"/>
              <a:gd name="connsiteY7604" fmla="*/ 1046249 h 2146918"/>
              <a:gd name="connsiteX7605" fmla="*/ 4993786 w 5521505"/>
              <a:gd name="connsiteY7605" fmla="*/ 1046249 h 2146918"/>
              <a:gd name="connsiteX7606" fmla="*/ 4994042 w 5521505"/>
              <a:gd name="connsiteY7606" fmla="*/ 1046249 h 2146918"/>
              <a:gd name="connsiteX7607" fmla="*/ 4994955 w 5521505"/>
              <a:gd name="connsiteY7607" fmla="*/ 1046431 h 2146918"/>
              <a:gd name="connsiteX7608" fmla="*/ 4997195 w 5521505"/>
              <a:gd name="connsiteY7608" fmla="*/ 1047564 h 2146918"/>
              <a:gd name="connsiteX7609" fmla="*/ 4998315 w 5521505"/>
              <a:gd name="connsiteY7609" fmla="*/ 1048185 h 2146918"/>
              <a:gd name="connsiteX7610" fmla="*/ 4998852 w 5521505"/>
              <a:gd name="connsiteY7610" fmla="*/ 1048465 h 2146918"/>
              <a:gd name="connsiteX7611" fmla="*/ 5000751 w 5521505"/>
              <a:gd name="connsiteY7611" fmla="*/ 1049244 h 2146918"/>
              <a:gd name="connsiteX7612" fmla="*/ 5001567 w 5521505"/>
              <a:gd name="connsiteY7612" fmla="*/ 1049500 h 2146918"/>
              <a:gd name="connsiteX7613" fmla="*/ 5002870 w 5521505"/>
              <a:gd name="connsiteY7613" fmla="*/ 1049865 h 2146918"/>
              <a:gd name="connsiteX7614" fmla="*/ 5008861 w 5521505"/>
              <a:gd name="connsiteY7614" fmla="*/ 1050048 h 2146918"/>
              <a:gd name="connsiteX7615" fmla="*/ 5011004 w 5521505"/>
              <a:gd name="connsiteY7615" fmla="*/ 1047053 h 2146918"/>
              <a:gd name="connsiteX7616" fmla="*/ 5006425 w 5521505"/>
              <a:gd name="connsiteY7616" fmla="*/ 1040489 h 2146918"/>
              <a:gd name="connsiteX7617" fmla="*/ 4995040 w 5521505"/>
              <a:gd name="connsiteY7617" fmla="*/ 1032733 h 2146918"/>
              <a:gd name="connsiteX7618" fmla="*/ 4984921 w 5521505"/>
              <a:gd name="connsiteY7618" fmla="*/ 1028726 h 2146918"/>
              <a:gd name="connsiteX7619" fmla="*/ 4977712 w 5521505"/>
              <a:gd name="connsiteY7619" fmla="*/ 1025999 h 2146918"/>
              <a:gd name="connsiteX7620" fmla="*/ 4969907 w 5521505"/>
              <a:gd name="connsiteY7620" fmla="*/ 1029895 h 2146918"/>
              <a:gd name="connsiteX7621" fmla="*/ 4952860 w 5521505"/>
              <a:gd name="connsiteY7621" fmla="*/ 1013663 h 2146918"/>
              <a:gd name="connsiteX7622" fmla="*/ 4954162 w 5521505"/>
              <a:gd name="connsiteY7622" fmla="*/ 1013213 h 2146918"/>
              <a:gd name="connsiteX7623" fmla="*/ 4977298 w 5521505"/>
              <a:gd name="connsiteY7623" fmla="*/ 1025633 h 2146918"/>
              <a:gd name="connsiteX7624" fmla="*/ 4977590 w 5521505"/>
              <a:gd name="connsiteY7624" fmla="*/ 1025791 h 2146918"/>
              <a:gd name="connsiteX7625" fmla="*/ 4978272 w 5521505"/>
              <a:gd name="connsiteY7625" fmla="*/ 1025791 h 2146918"/>
              <a:gd name="connsiteX7626" fmla="*/ 4979247 w 5521505"/>
              <a:gd name="connsiteY7626" fmla="*/ 1025791 h 2146918"/>
              <a:gd name="connsiteX7627" fmla="*/ 4985944 w 5521505"/>
              <a:gd name="connsiteY7627" fmla="*/ 1026900 h 2146918"/>
              <a:gd name="connsiteX7628" fmla="*/ 5001421 w 5521505"/>
              <a:gd name="connsiteY7628" fmla="*/ 1032988 h 2146918"/>
              <a:gd name="connsiteX7629" fmla="*/ 5011966 w 5521505"/>
              <a:gd name="connsiteY7629" fmla="*/ 1040087 h 2146918"/>
              <a:gd name="connsiteX7630" fmla="*/ 5015242 w 5521505"/>
              <a:gd name="connsiteY7630" fmla="*/ 1044654 h 2146918"/>
              <a:gd name="connsiteX7631" fmla="*/ 5015887 w 5521505"/>
              <a:gd name="connsiteY7631" fmla="*/ 1046420 h 2146918"/>
              <a:gd name="connsiteX7632" fmla="*/ 5016471 w 5521505"/>
              <a:gd name="connsiteY7632" fmla="*/ 1047893 h 2146918"/>
              <a:gd name="connsiteX7633" fmla="*/ 5016788 w 5521505"/>
              <a:gd name="connsiteY7633" fmla="*/ 1048599 h 2146918"/>
              <a:gd name="connsiteX7634" fmla="*/ 5017397 w 5521505"/>
              <a:gd name="connsiteY7634" fmla="*/ 1049951 h 2146918"/>
              <a:gd name="connsiteX7635" fmla="*/ 5018493 w 5521505"/>
              <a:gd name="connsiteY7635" fmla="*/ 1052471 h 2146918"/>
              <a:gd name="connsiteX7636" fmla="*/ 5019528 w 5521505"/>
              <a:gd name="connsiteY7636" fmla="*/ 1054809 h 2146918"/>
              <a:gd name="connsiteX7637" fmla="*/ 5020271 w 5521505"/>
              <a:gd name="connsiteY7637" fmla="*/ 1056331 h 2146918"/>
              <a:gd name="connsiteX7638" fmla="*/ 5021488 w 5521505"/>
              <a:gd name="connsiteY7638" fmla="*/ 1058596 h 2146918"/>
              <a:gd name="connsiteX7639" fmla="*/ 5028064 w 5521505"/>
              <a:gd name="connsiteY7639" fmla="*/ 1065695 h 2146918"/>
              <a:gd name="connsiteX7640" fmla="*/ 5029550 w 5521505"/>
              <a:gd name="connsiteY7640" fmla="*/ 1066426 h 2146918"/>
              <a:gd name="connsiteX7641" fmla="*/ 5032618 w 5521505"/>
              <a:gd name="connsiteY7641" fmla="*/ 1067205 h 2146918"/>
              <a:gd name="connsiteX7642" fmla="*/ 5039680 w 5521505"/>
              <a:gd name="connsiteY7642" fmla="*/ 1066913 h 2146918"/>
              <a:gd name="connsiteX7643" fmla="*/ 5045245 w 5521505"/>
              <a:gd name="connsiteY7643" fmla="*/ 1066146 h 2146918"/>
              <a:gd name="connsiteX7644" fmla="*/ 5047364 w 5521505"/>
              <a:gd name="connsiteY7644" fmla="*/ 1065829 h 2146918"/>
              <a:gd name="connsiteX7645" fmla="*/ 5050275 w 5521505"/>
              <a:gd name="connsiteY7645" fmla="*/ 1065428 h 2146918"/>
              <a:gd name="connsiteX7646" fmla="*/ 5051772 w 5521505"/>
              <a:gd name="connsiteY7646" fmla="*/ 1066706 h 2146918"/>
              <a:gd name="connsiteX7647" fmla="*/ 5053854 w 5521505"/>
              <a:gd name="connsiteY7647" fmla="*/ 1068508 h 2146918"/>
              <a:gd name="connsiteX7648" fmla="*/ 5055827 w 5521505"/>
              <a:gd name="connsiteY7648" fmla="*/ 1070176 h 2146918"/>
              <a:gd name="connsiteX7649" fmla="*/ 5065154 w 5521505"/>
              <a:gd name="connsiteY7649" fmla="*/ 1075632 h 2146918"/>
              <a:gd name="connsiteX7650" fmla="*/ 5069161 w 5521505"/>
              <a:gd name="connsiteY7650" fmla="*/ 1075985 h 2146918"/>
              <a:gd name="connsiteX7651" fmla="*/ 5070378 w 5521505"/>
              <a:gd name="connsiteY7651" fmla="*/ 1075790 h 2146918"/>
              <a:gd name="connsiteX7652" fmla="*/ 5070536 w 5521505"/>
              <a:gd name="connsiteY7652" fmla="*/ 1075790 h 2146918"/>
              <a:gd name="connsiteX7653" fmla="*/ 5071547 w 5521505"/>
              <a:gd name="connsiteY7653" fmla="*/ 1075924 h 2146918"/>
              <a:gd name="connsiteX7654" fmla="*/ 5071973 w 5521505"/>
              <a:gd name="connsiteY7654" fmla="*/ 1076094 h 2146918"/>
              <a:gd name="connsiteX7655" fmla="*/ 5072387 w 5521505"/>
              <a:gd name="connsiteY7655" fmla="*/ 1076277 h 2146918"/>
              <a:gd name="connsiteX7656" fmla="*/ 5072655 w 5521505"/>
              <a:gd name="connsiteY7656" fmla="*/ 1076423 h 2146918"/>
              <a:gd name="connsiteX7657" fmla="*/ 5072838 w 5521505"/>
              <a:gd name="connsiteY7657" fmla="*/ 1076545 h 2146918"/>
              <a:gd name="connsiteX7658" fmla="*/ 5073057 w 5521505"/>
              <a:gd name="connsiteY7658" fmla="*/ 1076715 h 2146918"/>
              <a:gd name="connsiteX7659" fmla="*/ 5073167 w 5521505"/>
              <a:gd name="connsiteY7659" fmla="*/ 1076813 h 2146918"/>
              <a:gd name="connsiteX7660" fmla="*/ 5073313 w 5521505"/>
              <a:gd name="connsiteY7660" fmla="*/ 1076959 h 2146918"/>
              <a:gd name="connsiteX7661" fmla="*/ 5073532 w 5521505"/>
              <a:gd name="connsiteY7661" fmla="*/ 1077178 h 2146918"/>
              <a:gd name="connsiteX7662" fmla="*/ 5073836 w 5521505"/>
              <a:gd name="connsiteY7662" fmla="*/ 1077458 h 2146918"/>
              <a:gd name="connsiteX7663" fmla="*/ 5078841 w 5521505"/>
              <a:gd name="connsiteY7663" fmla="*/ 1080977 h 2146918"/>
              <a:gd name="connsiteX7664" fmla="*/ 5083128 w 5521505"/>
              <a:gd name="connsiteY7664" fmla="*/ 1081781 h 2146918"/>
              <a:gd name="connsiteX7665" fmla="*/ 5085563 w 5521505"/>
              <a:gd name="connsiteY7665" fmla="*/ 1081440 h 2146918"/>
              <a:gd name="connsiteX7666" fmla="*/ 5087390 w 5521505"/>
              <a:gd name="connsiteY7666" fmla="*/ 1081111 h 2146918"/>
              <a:gd name="connsiteX7667" fmla="*/ 5088546 w 5521505"/>
              <a:gd name="connsiteY7667" fmla="*/ 1082329 h 2146918"/>
              <a:gd name="connsiteX7668" fmla="*/ 5089532 w 5521505"/>
              <a:gd name="connsiteY7668" fmla="*/ 1083388 h 2146918"/>
              <a:gd name="connsiteX7669" fmla="*/ 5093612 w 5521505"/>
              <a:gd name="connsiteY7669" fmla="*/ 1087723 h 2146918"/>
              <a:gd name="connsiteX7670" fmla="*/ 5094111 w 5521505"/>
              <a:gd name="connsiteY7670" fmla="*/ 1088198 h 2146918"/>
              <a:gd name="connsiteX7671" fmla="*/ 5094623 w 5521505"/>
              <a:gd name="connsiteY7671" fmla="*/ 1088637 h 2146918"/>
              <a:gd name="connsiteX7672" fmla="*/ 5096643 w 5521505"/>
              <a:gd name="connsiteY7672" fmla="*/ 1089769 h 2146918"/>
              <a:gd name="connsiteX7673" fmla="*/ 5099968 w 5521505"/>
              <a:gd name="connsiteY7673" fmla="*/ 1089891 h 2146918"/>
              <a:gd name="connsiteX7674" fmla="*/ 5102720 w 5521505"/>
              <a:gd name="connsiteY7674" fmla="*/ 1088673 h 2146918"/>
              <a:gd name="connsiteX7675" fmla="*/ 5103938 w 5521505"/>
              <a:gd name="connsiteY7675" fmla="*/ 1087066 h 2146918"/>
              <a:gd name="connsiteX7676" fmla="*/ 5106081 w 5521505"/>
              <a:gd name="connsiteY7676" fmla="*/ 1081671 h 2146918"/>
              <a:gd name="connsiteX7677" fmla="*/ 5106751 w 5521505"/>
              <a:gd name="connsiteY7677" fmla="*/ 1076862 h 2146918"/>
              <a:gd name="connsiteX7678" fmla="*/ 5106751 w 5521505"/>
              <a:gd name="connsiteY7678" fmla="*/ 1075644 h 2146918"/>
              <a:gd name="connsiteX7679" fmla="*/ 5106751 w 5521505"/>
              <a:gd name="connsiteY7679" fmla="*/ 1075060 h 2146918"/>
              <a:gd name="connsiteX7680" fmla="*/ 5106811 w 5521505"/>
              <a:gd name="connsiteY7680" fmla="*/ 1074390 h 2146918"/>
              <a:gd name="connsiteX7681" fmla="*/ 5106982 w 5521505"/>
              <a:gd name="connsiteY7681" fmla="*/ 1073172 h 2146918"/>
              <a:gd name="connsiteX7682" fmla="*/ 5107286 w 5521505"/>
              <a:gd name="connsiteY7682" fmla="*/ 1071820 h 2146918"/>
              <a:gd name="connsiteX7683" fmla="*/ 5107603 w 5521505"/>
              <a:gd name="connsiteY7683" fmla="*/ 1070603 h 2146918"/>
              <a:gd name="connsiteX7684" fmla="*/ 5108102 w 5521505"/>
              <a:gd name="connsiteY7684" fmla="*/ 1068947 h 2146918"/>
              <a:gd name="connsiteX7685" fmla="*/ 5108626 w 5521505"/>
              <a:gd name="connsiteY7685" fmla="*/ 1067193 h 2146918"/>
              <a:gd name="connsiteX7686" fmla="*/ 5109149 w 5521505"/>
              <a:gd name="connsiteY7686" fmla="*/ 1064831 h 2146918"/>
              <a:gd name="connsiteX7687" fmla="*/ 5108967 w 5521505"/>
              <a:gd name="connsiteY7687" fmla="*/ 1059485 h 2146918"/>
              <a:gd name="connsiteX7688" fmla="*/ 5107469 w 5521505"/>
              <a:gd name="connsiteY7688" fmla="*/ 1055479 h 2146918"/>
              <a:gd name="connsiteX7689" fmla="*/ 5111511 w 5521505"/>
              <a:gd name="connsiteY7689" fmla="*/ 1052702 h 2146918"/>
              <a:gd name="connsiteX7690" fmla="*/ 5111609 w 5521505"/>
              <a:gd name="connsiteY7690" fmla="*/ 1047564 h 2146918"/>
              <a:gd name="connsiteX7691" fmla="*/ 5111609 w 5521505"/>
              <a:gd name="connsiteY7691" fmla="*/ 1046517 h 2146918"/>
              <a:gd name="connsiteX7692" fmla="*/ 5111609 w 5521505"/>
              <a:gd name="connsiteY7692" fmla="*/ 1045847 h 2146918"/>
              <a:gd name="connsiteX7693" fmla="*/ 5111670 w 5521505"/>
              <a:gd name="connsiteY7693" fmla="*/ 1045299 h 2146918"/>
              <a:gd name="connsiteX7694" fmla="*/ 5111853 w 5521505"/>
              <a:gd name="connsiteY7694" fmla="*/ 1044471 h 2146918"/>
              <a:gd name="connsiteX7695" fmla="*/ 5112303 w 5521505"/>
              <a:gd name="connsiteY7695" fmla="*/ 1042852 h 2146918"/>
              <a:gd name="connsiteX7696" fmla="*/ 5112620 w 5521505"/>
              <a:gd name="connsiteY7696" fmla="*/ 1041147 h 2146918"/>
              <a:gd name="connsiteX7697" fmla="*/ 5111061 w 5521505"/>
              <a:gd name="connsiteY7697" fmla="*/ 1028799 h 2146918"/>
              <a:gd name="connsiteX7698" fmla="*/ 5104693 w 5521505"/>
              <a:gd name="connsiteY7698" fmla="*/ 1015198 h 2146918"/>
              <a:gd name="connsiteX7699" fmla="*/ 5097654 w 5521505"/>
              <a:gd name="connsiteY7699" fmla="*/ 1003983 h 2146918"/>
              <a:gd name="connsiteX7700" fmla="*/ 5089764 w 5521505"/>
              <a:gd name="connsiteY7700" fmla="*/ 996993 h 2146918"/>
              <a:gd name="connsiteX7701" fmla="*/ 5079328 w 5521505"/>
              <a:gd name="connsiteY7701" fmla="*/ 995167 h 2146918"/>
              <a:gd name="connsiteX7702" fmla="*/ 5079182 w 5521505"/>
              <a:gd name="connsiteY7702" fmla="*/ 995167 h 2146918"/>
              <a:gd name="connsiteX7703" fmla="*/ 5077136 w 5521505"/>
              <a:gd name="connsiteY7703" fmla="*/ 1001487 h 2146918"/>
              <a:gd name="connsiteX7704" fmla="*/ 5077587 w 5521505"/>
              <a:gd name="connsiteY7704" fmla="*/ 1005066 h 2146918"/>
              <a:gd name="connsiteX7705" fmla="*/ 5078135 w 5521505"/>
              <a:gd name="connsiteY7705" fmla="*/ 1010145 h 2146918"/>
              <a:gd name="connsiteX7706" fmla="*/ 5077075 w 5521505"/>
              <a:gd name="connsiteY7706" fmla="*/ 1023746 h 2146918"/>
              <a:gd name="connsiteX7707" fmla="*/ 5068820 w 5521505"/>
              <a:gd name="connsiteY7707" fmla="*/ 1031832 h 2146918"/>
              <a:gd name="connsiteX7708" fmla="*/ 5054366 w 5521505"/>
              <a:gd name="connsiteY7708" fmla="*/ 1031539 h 2146918"/>
              <a:gd name="connsiteX7709" fmla="*/ 5049690 w 5521505"/>
              <a:gd name="connsiteY7709" fmla="*/ 1030407 h 2146918"/>
              <a:gd name="connsiteX7710" fmla="*/ 5041239 w 5521505"/>
              <a:gd name="connsiteY7710" fmla="*/ 1020824 h 2146918"/>
              <a:gd name="connsiteX7711" fmla="*/ 5037136 w 5521505"/>
              <a:gd name="connsiteY7711" fmla="*/ 1022711 h 2146918"/>
              <a:gd name="connsiteX7712" fmla="*/ 5033957 w 5521505"/>
              <a:gd name="connsiteY7712" fmla="*/ 1024184 h 2146918"/>
              <a:gd name="connsiteX7713" fmla="*/ 5030767 w 5521505"/>
              <a:gd name="connsiteY7713" fmla="*/ 1025670 h 2146918"/>
              <a:gd name="connsiteX7714" fmla="*/ 5025896 w 5521505"/>
              <a:gd name="connsiteY7714" fmla="*/ 1027911 h 2146918"/>
              <a:gd name="connsiteX7715" fmla="*/ 5023351 w 5521505"/>
              <a:gd name="connsiteY7715" fmla="*/ 1029128 h 2146918"/>
              <a:gd name="connsiteX7716" fmla="*/ 5007607 w 5521505"/>
              <a:gd name="connsiteY7716" fmla="*/ 1020483 h 2146918"/>
              <a:gd name="connsiteX7717" fmla="*/ 4996526 w 5521505"/>
              <a:gd name="connsiteY7717" fmla="*/ 1014333 h 2146918"/>
              <a:gd name="connsiteX7718" fmla="*/ 5091712 w 5521505"/>
              <a:gd name="connsiteY7718" fmla="*/ 984792 h 2146918"/>
              <a:gd name="connsiteX7719" fmla="*/ 5096108 w 5521505"/>
              <a:gd name="connsiteY7719" fmla="*/ 988908 h 2146918"/>
              <a:gd name="connsiteX7720" fmla="*/ 5101320 w 5521505"/>
              <a:gd name="connsiteY7720" fmla="*/ 993779 h 2146918"/>
              <a:gd name="connsiteX7721" fmla="*/ 5110246 w 5521505"/>
              <a:gd name="connsiteY7721" fmla="*/ 1002193 h 2146918"/>
              <a:gd name="connsiteX7722" fmla="*/ 5118172 w 5521505"/>
              <a:gd name="connsiteY7722" fmla="*/ 1009706 h 2146918"/>
              <a:gd name="connsiteX7723" fmla="*/ 5119683 w 5521505"/>
              <a:gd name="connsiteY7723" fmla="*/ 1011058 h 2146918"/>
              <a:gd name="connsiteX7724" fmla="*/ 5121485 w 5521505"/>
              <a:gd name="connsiteY7724" fmla="*/ 1011252 h 2146918"/>
              <a:gd name="connsiteX7725" fmla="*/ 5122422 w 5521505"/>
              <a:gd name="connsiteY7725" fmla="*/ 1011350 h 2146918"/>
              <a:gd name="connsiteX7726" fmla="*/ 5122861 w 5521505"/>
              <a:gd name="connsiteY7726" fmla="*/ 1011350 h 2146918"/>
              <a:gd name="connsiteX7727" fmla="*/ 5123165 w 5521505"/>
              <a:gd name="connsiteY7727" fmla="*/ 1011216 h 2146918"/>
              <a:gd name="connsiteX7728" fmla="*/ 5123494 w 5521505"/>
              <a:gd name="connsiteY7728" fmla="*/ 1010948 h 2146918"/>
              <a:gd name="connsiteX7729" fmla="*/ 5124090 w 5521505"/>
              <a:gd name="connsiteY7729" fmla="*/ 1010474 h 2146918"/>
              <a:gd name="connsiteX7730" fmla="*/ 5124967 w 5521505"/>
              <a:gd name="connsiteY7730" fmla="*/ 1009840 h 2146918"/>
              <a:gd name="connsiteX7731" fmla="*/ 5138130 w 5521505"/>
              <a:gd name="connsiteY7731" fmla="*/ 1010790 h 2146918"/>
              <a:gd name="connsiteX7732" fmla="*/ 5142648 w 5521505"/>
              <a:gd name="connsiteY7732" fmla="*/ 1013761 h 2146918"/>
              <a:gd name="connsiteX7733" fmla="*/ 5143768 w 5521505"/>
              <a:gd name="connsiteY7733" fmla="*/ 1014601 h 2146918"/>
              <a:gd name="connsiteX7734" fmla="*/ 5144901 w 5521505"/>
              <a:gd name="connsiteY7734" fmla="*/ 1015478 h 2146918"/>
              <a:gd name="connsiteX7735" fmla="*/ 5152012 w 5521505"/>
              <a:gd name="connsiteY7735" fmla="*/ 1016866 h 2146918"/>
              <a:gd name="connsiteX7736" fmla="*/ 5152949 w 5521505"/>
              <a:gd name="connsiteY7736" fmla="*/ 1014431 h 2146918"/>
              <a:gd name="connsiteX7737" fmla="*/ 5152316 w 5521505"/>
              <a:gd name="connsiteY7737" fmla="*/ 1012421 h 2146918"/>
              <a:gd name="connsiteX7738" fmla="*/ 5151354 w 5521505"/>
              <a:gd name="connsiteY7738" fmla="*/ 1010254 h 2146918"/>
              <a:gd name="connsiteX7739" fmla="*/ 5148761 w 5521505"/>
              <a:gd name="connsiteY7739" fmla="*/ 1004555 h 2146918"/>
              <a:gd name="connsiteX7740" fmla="*/ 5146082 w 5521505"/>
              <a:gd name="connsiteY7740" fmla="*/ 998796 h 2146918"/>
              <a:gd name="connsiteX7741" fmla="*/ 5143890 w 5521505"/>
              <a:gd name="connsiteY7741" fmla="*/ 994084 h 2146918"/>
              <a:gd name="connsiteX7742" fmla="*/ 5138179 w 5521505"/>
              <a:gd name="connsiteY7742" fmla="*/ 991380 h 2146918"/>
              <a:gd name="connsiteX7743" fmla="*/ 5130020 w 5521505"/>
              <a:gd name="connsiteY7743" fmla="*/ 985560 h 2146918"/>
              <a:gd name="connsiteX7744" fmla="*/ 5119208 w 5521505"/>
              <a:gd name="connsiteY7744" fmla="*/ 974807 h 2146918"/>
              <a:gd name="connsiteX7745" fmla="*/ 5112133 w 5521505"/>
              <a:gd name="connsiteY7745" fmla="*/ 967233 h 2146918"/>
              <a:gd name="connsiteX7746" fmla="*/ 5104534 w 5521505"/>
              <a:gd name="connsiteY7746" fmla="*/ 959245 h 2146918"/>
              <a:gd name="connsiteX7747" fmla="*/ 5099858 w 5521505"/>
              <a:gd name="connsiteY7747" fmla="*/ 954374 h 2146918"/>
              <a:gd name="connsiteX7748" fmla="*/ 5087888 w 5521505"/>
              <a:gd name="connsiteY7748" fmla="*/ 942514 h 2146918"/>
              <a:gd name="connsiteX7749" fmla="*/ 5076382 w 5521505"/>
              <a:gd name="connsiteY7749" fmla="*/ 933991 h 2146918"/>
              <a:gd name="connsiteX7750" fmla="*/ 5076905 w 5521505"/>
              <a:gd name="connsiteY7750" fmla="*/ 935622 h 2146918"/>
              <a:gd name="connsiteX7751" fmla="*/ 5078220 w 5521505"/>
              <a:gd name="connsiteY7751" fmla="*/ 939640 h 2146918"/>
              <a:gd name="connsiteX7752" fmla="*/ 5079267 w 5521505"/>
              <a:gd name="connsiteY7752" fmla="*/ 942904 h 2146918"/>
              <a:gd name="connsiteX7753" fmla="*/ 5080875 w 5521505"/>
              <a:gd name="connsiteY7753" fmla="*/ 948493 h 2146918"/>
              <a:gd name="connsiteX7754" fmla="*/ 5081666 w 5521505"/>
              <a:gd name="connsiteY7754" fmla="*/ 952353 h 2146918"/>
              <a:gd name="connsiteX7755" fmla="*/ 5082299 w 5521505"/>
              <a:gd name="connsiteY7755" fmla="*/ 956847 h 2146918"/>
              <a:gd name="connsiteX7756" fmla="*/ 5082786 w 5521505"/>
              <a:gd name="connsiteY7756" fmla="*/ 961315 h 2146918"/>
              <a:gd name="connsiteX7757" fmla="*/ 5082981 w 5521505"/>
              <a:gd name="connsiteY7757" fmla="*/ 963142 h 2146918"/>
              <a:gd name="connsiteX7758" fmla="*/ 5083213 w 5521505"/>
              <a:gd name="connsiteY7758" fmla="*/ 965066 h 2146918"/>
              <a:gd name="connsiteX7759" fmla="*/ 5070634 w 5521505"/>
              <a:gd name="connsiteY7759" fmla="*/ 957516 h 2146918"/>
              <a:gd name="connsiteX7760" fmla="*/ 5067310 w 5521505"/>
              <a:gd name="connsiteY7760" fmla="*/ 961230 h 2146918"/>
              <a:gd name="connsiteX7761" fmla="*/ 5065447 w 5521505"/>
              <a:gd name="connsiteY7761" fmla="*/ 967964 h 2146918"/>
              <a:gd name="connsiteX7762" fmla="*/ 5066665 w 5521505"/>
              <a:gd name="connsiteY7762" fmla="*/ 971228 h 2146918"/>
              <a:gd name="connsiteX7763" fmla="*/ 5070147 w 5521505"/>
              <a:gd name="connsiteY7763" fmla="*/ 979045 h 2146918"/>
              <a:gd name="connsiteX7764" fmla="*/ 5071742 w 5521505"/>
              <a:gd name="connsiteY7764" fmla="*/ 982491 h 2146918"/>
              <a:gd name="connsiteX7765" fmla="*/ 5073507 w 5521505"/>
              <a:gd name="connsiteY7765" fmla="*/ 986375 h 2146918"/>
              <a:gd name="connsiteX7766" fmla="*/ 5076308 w 5521505"/>
              <a:gd name="connsiteY7766" fmla="*/ 987751 h 2146918"/>
              <a:gd name="connsiteX7767" fmla="*/ 5079876 w 5521505"/>
              <a:gd name="connsiteY7767" fmla="*/ 989517 h 2146918"/>
              <a:gd name="connsiteX7768" fmla="*/ 5083651 w 5521505"/>
              <a:gd name="connsiteY7768" fmla="*/ 990406 h 2146918"/>
              <a:gd name="connsiteX7769" fmla="*/ 5087231 w 5521505"/>
              <a:gd name="connsiteY7769" fmla="*/ 986363 h 2146918"/>
              <a:gd name="connsiteX7770" fmla="*/ 5088181 w 5521505"/>
              <a:gd name="connsiteY7770" fmla="*/ 984549 h 2146918"/>
              <a:gd name="connsiteX7771" fmla="*/ 5089399 w 5521505"/>
              <a:gd name="connsiteY7771" fmla="*/ 982588 h 2146918"/>
              <a:gd name="connsiteX7772" fmla="*/ 4799395 w 5521505"/>
              <a:gd name="connsiteY7772" fmla="*/ 1041439 h 2146918"/>
              <a:gd name="connsiteX7773" fmla="*/ 4789933 w 5521505"/>
              <a:gd name="connsiteY7773" fmla="*/ 1029140 h 2146918"/>
              <a:gd name="connsiteX7774" fmla="*/ 4772094 w 5521505"/>
              <a:gd name="connsiteY7774" fmla="*/ 1027922 h 2146918"/>
              <a:gd name="connsiteX7775" fmla="*/ 4765190 w 5521505"/>
              <a:gd name="connsiteY7775" fmla="*/ 1033329 h 2146918"/>
              <a:gd name="connsiteX7776" fmla="*/ 4760660 w 5521505"/>
              <a:gd name="connsiteY7776" fmla="*/ 1042291 h 2146918"/>
              <a:gd name="connsiteX7777" fmla="*/ 4772423 w 5521505"/>
              <a:gd name="connsiteY7777" fmla="*/ 1062042 h 2146918"/>
              <a:gd name="connsiteX7778" fmla="*/ 4774055 w 5521505"/>
              <a:gd name="connsiteY7778" fmla="*/ 1061348 h 2146918"/>
              <a:gd name="connsiteX7779" fmla="*/ 4776490 w 5521505"/>
              <a:gd name="connsiteY7779" fmla="*/ 1060399 h 2146918"/>
              <a:gd name="connsiteX7780" fmla="*/ 4779193 w 5521505"/>
              <a:gd name="connsiteY7780" fmla="*/ 1059181 h 2146918"/>
              <a:gd name="connsiteX7781" fmla="*/ 4780411 w 5521505"/>
              <a:gd name="connsiteY7781" fmla="*/ 1058401 h 2146918"/>
              <a:gd name="connsiteX7782" fmla="*/ 4783553 w 5521505"/>
              <a:gd name="connsiteY7782" fmla="*/ 1055966 h 2146918"/>
              <a:gd name="connsiteX7783" fmla="*/ 4786293 w 5521505"/>
              <a:gd name="connsiteY7783" fmla="*/ 1053726 h 2146918"/>
              <a:gd name="connsiteX7784" fmla="*/ 4789702 w 5521505"/>
              <a:gd name="connsiteY7784" fmla="*/ 1050876 h 2146918"/>
              <a:gd name="connsiteX7785" fmla="*/ 4792527 w 5521505"/>
              <a:gd name="connsiteY7785" fmla="*/ 1048514 h 2146918"/>
              <a:gd name="connsiteX7786" fmla="*/ 4795388 w 5521505"/>
              <a:gd name="connsiteY7786" fmla="*/ 1046176 h 2146918"/>
              <a:gd name="connsiteX7787" fmla="*/ 4799443 w 5521505"/>
              <a:gd name="connsiteY7787" fmla="*/ 1041451 h 2146918"/>
              <a:gd name="connsiteX7788" fmla="*/ 4465177 w 5521505"/>
              <a:gd name="connsiteY7788" fmla="*/ 1289847 h 2146918"/>
              <a:gd name="connsiteX7789" fmla="*/ 4467612 w 5521505"/>
              <a:gd name="connsiteY7789" fmla="*/ 1292173 h 2146918"/>
              <a:gd name="connsiteX7790" fmla="*/ 4485366 w 5521505"/>
              <a:gd name="connsiteY7790" fmla="*/ 1305738 h 2146918"/>
              <a:gd name="connsiteX7791" fmla="*/ 4498103 w 5521505"/>
              <a:gd name="connsiteY7791" fmla="*/ 1313141 h 2146918"/>
              <a:gd name="connsiteX7792" fmla="*/ 4507844 w 5521505"/>
              <a:gd name="connsiteY7792" fmla="*/ 1317915 h 2146918"/>
              <a:gd name="connsiteX7793" fmla="*/ 4510048 w 5521505"/>
              <a:gd name="connsiteY7793" fmla="*/ 1318913 h 2146918"/>
              <a:gd name="connsiteX7794" fmla="*/ 4514785 w 5521505"/>
              <a:gd name="connsiteY7794" fmla="*/ 1321202 h 2146918"/>
              <a:gd name="connsiteX7795" fmla="*/ 4518438 w 5521505"/>
              <a:gd name="connsiteY7795" fmla="*/ 1323930 h 2146918"/>
              <a:gd name="connsiteX7796" fmla="*/ 4523857 w 5521505"/>
              <a:gd name="connsiteY7796" fmla="*/ 1328021 h 2146918"/>
              <a:gd name="connsiteX7797" fmla="*/ 4533197 w 5521505"/>
              <a:gd name="connsiteY7797" fmla="*/ 1333062 h 2146918"/>
              <a:gd name="connsiteX7798" fmla="*/ 4537751 w 5521505"/>
              <a:gd name="connsiteY7798" fmla="*/ 1335145 h 2146918"/>
              <a:gd name="connsiteX7799" fmla="*/ 4541026 w 5521505"/>
              <a:gd name="connsiteY7799" fmla="*/ 1336642 h 2146918"/>
              <a:gd name="connsiteX7800" fmla="*/ 4542561 w 5521505"/>
              <a:gd name="connsiteY7800" fmla="*/ 1337349 h 2146918"/>
              <a:gd name="connsiteX7801" fmla="*/ 4544533 w 5521505"/>
              <a:gd name="connsiteY7801" fmla="*/ 1338311 h 2146918"/>
              <a:gd name="connsiteX7802" fmla="*/ 4545337 w 5521505"/>
              <a:gd name="connsiteY7802" fmla="*/ 1338712 h 2146918"/>
              <a:gd name="connsiteX7803" fmla="*/ 4546713 w 5521505"/>
              <a:gd name="connsiteY7803" fmla="*/ 1339127 h 2146918"/>
              <a:gd name="connsiteX7804" fmla="*/ 4550622 w 5521505"/>
              <a:gd name="connsiteY7804" fmla="*/ 1338798 h 2146918"/>
              <a:gd name="connsiteX7805" fmla="*/ 4550378 w 5521505"/>
              <a:gd name="connsiteY7805" fmla="*/ 1334828 h 2146918"/>
              <a:gd name="connsiteX7806" fmla="*/ 4546908 w 5521505"/>
              <a:gd name="connsiteY7806" fmla="*/ 1331638 h 2146918"/>
              <a:gd name="connsiteX7807" fmla="*/ 4544789 w 5521505"/>
              <a:gd name="connsiteY7807" fmla="*/ 1330286 h 2146918"/>
              <a:gd name="connsiteX7808" fmla="*/ 4543900 w 5521505"/>
              <a:gd name="connsiteY7808" fmla="*/ 1329689 h 2146918"/>
              <a:gd name="connsiteX7809" fmla="*/ 4540612 w 5521505"/>
              <a:gd name="connsiteY7809" fmla="*/ 1327376 h 2146918"/>
              <a:gd name="connsiteX7810" fmla="*/ 4533404 w 5521505"/>
              <a:gd name="connsiteY7810" fmla="*/ 1321568 h 2146918"/>
              <a:gd name="connsiteX7811" fmla="*/ 4530968 w 5521505"/>
              <a:gd name="connsiteY7811" fmla="*/ 1319132 h 2146918"/>
              <a:gd name="connsiteX7812" fmla="*/ 4528277 w 5521505"/>
              <a:gd name="connsiteY7812" fmla="*/ 1316368 h 2146918"/>
              <a:gd name="connsiteX7813" fmla="*/ 4524198 w 5521505"/>
              <a:gd name="connsiteY7813" fmla="*/ 1312094 h 2146918"/>
              <a:gd name="connsiteX7814" fmla="*/ 4522578 w 5521505"/>
              <a:gd name="connsiteY7814" fmla="*/ 1310413 h 2146918"/>
              <a:gd name="connsiteX7815" fmla="*/ 4522091 w 5521505"/>
              <a:gd name="connsiteY7815" fmla="*/ 1309914 h 2146918"/>
              <a:gd name="connsiteX7816" fmla="*/ 4522761 w 5521505"/>
              <a:gd name="connsiteY7816" fmla="*/ 1309829 h 2146918"/>
              <a:gd name="connsiteX7817" fmla="*/ 4523333 w 5521505"/>
              <a:gd name="connsiteY7817" fmla="*/ 1309975 h 2146918"/>
              <a:gd name="connsiteX7818" fmla="*/ 4523882 w 5521505"/>
              <a:gd name="connsiteY7818" fmla="*/ 1310207 h 2146918"/>
              <a:gd name="connsiteX7819" fmla="*/ 4528338 w 5521505"/>
              <a:gd name="connsiteY7819" fmla="*/ 1311278 h 2146918"/>
              <a:gd name="connsiteX7820" fmla="*/ 4526646 w 5521505"/>
              <a:gd name="connsiteY7820" fmla="*/ 1304032 h 2146918"/>
              <a:gd name="connsiteX7821" fmla="*/ 4520630 w 5521505"/>
              <a:gd name="connsiteY7821" fmla="*/ 1300234 h 2146918"/>
              <a:gd name="connsiteX7822" fmla="*/ 4493926 w 5521505"/>
              <a:gd name="connsiteY7822" fmla="*/ 1284598 h 2146918"/>
              <a:gd name="connsiteX7823" fmla="*/ 4491418 w 5521505"/>
              <a:gd name="connsiteY7823" fmla="*/ 1282407 h 2146918"/>
              <a:gd name="connsiteX7824" fmla="*/ 4489043 w 5521505"/>
              <a:gd name="connsiteY7824" fmla="*/ 1280434 h 2146918"/>
              <a:gd name="connsiteX7825" fmla="*/ 4484172 w 5521505"/>
              <a:gd name="connsiteY7825" fmla="*/ 1276781 h 2146918"/>
              <a:gd name="connsiteX7826" fmla="*/ 4468891 w 5521505"/>
              <a:gd name="connsiteY7826" fmla="*/ 1273335 h 2146918"/>
              <a:gd name="connsiteX7827" fmla="*/ 4449517 w 5521505"/>
              <a:gd name="connsiteY7827" fmla="*/ 1259831 h 2146918"/>
              <a:gd name="connsiteX7828" fmla="*/ 4442467 w 5521505"/>
              <a:gd name="connsiteY7828" fmla="*/ 1253267 h 2146918"/>
              <a:gd name="connsiteX7829" fmla="*/ 4440300 w 5521505"/>
              <a:gd name="connsiteY7829" fmla="*/ 1251928 h 2146918"/>
              <a:gd name="connsiteX7830" fmla="*/ 4438095 w 5521505"/>
              <a:gd name="connsiteY7830" fmla="*/ 1250711 h 2146918"/>
              <a:gd name="connsiteX7831" fmla="*/ 4430862 w 5521505"/>
              <a:gd name="connsiteY7831" fmla="*/ 1246266 h 2146918"/>
              <a:gd name="connsiteX7832" fmla="*/ 4429133 w 5521505"/>
              <a:gd name="connsiteY7832" fmla="*/ 1245048 h 2146918"/>
              <a:gd name="connsiteX7833" fmla="*/ 4426211 w 5521505"/>
              <a:gd name="connsiteY7833" fmla="*/ 1242966 h 2146918"/>
              <a:gd name="connsiteX7834" fmla="*/ 4423021 w 5521505"/>
              <a:gd name="connsiteY7834" fmla="*/ 1240713 h 2146918"/>
              <a:gd name="connsiteX7835" fmla="*/ 4415958 w 5521505"/>
              <a:gd name="connsiteY7835" fmla="*/ 1236743 h 2146918"/>
              <a:gd name="connsiteX7836" fmla="*/ 4399860 w 5521505"/>
              <a:gd name="connsiteY7836" fmla="*/ 1241310 h 2146918"/>
              <a:gd name="connsiteX7837" fmla="*/ 4405486 w 5521505"/>
              <a:gd name="connsiteY7837" fmla="*/ 1245572 h 2146918"/>
              <a:gd name="connsiteX7838" fmla="*/ 4410722 w 5521505"/>
              <a:gd name="connsiteY7838" fmla="*/ 1249712 h 2146918"/>
              <a:gd name="connsiteX7839" fmla="*/ 4414314 w 5521505"/>
              <a:gd name="connsiteY7839" fmla="*/ 1253292 h 2146918"/>
              <a:gd name="connsiteX7840" fmla="*/ 4420403 w 5521505"/>
              <a:gd name="connsiteY7840" fmla="*/ 1259137 h 2146918"/>
              <a:gd name="connsiteX7841" fmla="*/ 4444269 w 5521505"/>
              <a:gd name="connsiteY7841" fmla="*/ 1275064 h 2146918"/>
              <a:gd name="connsiteX7842" fmla="*/ 4463545 w 5521505"/>
              <a:gd name="connsiteY7842" fmla="*/ 1288288 h 2146918"/>
              <a:gd name="connsiteX7843" fmla="*/ 4770414 w 5521505"/>
              <a:gd name="connsiteY7843" fmla="*/ 1146160 h 2146918"/>
              <a:gd name="connsiteX7844" fmla="*/ 4779887 w 5521505"/>
              <a:gd name="connsiteY7844" fmla="*/ 1144066 h 2146918"/>
              <a:gd name="connsiteX7845" fmla="*/ 4782871 w 5521505"/>
              <a:gd name="connsiteY7845" fmla="*/ 1143639 h 2146918"/>
              <a:gd name="connsiteX7846" fmla="*/ 4788326 w 5521505"/>
              <a:gd name="connsiteY7846" fmla="*/ 1135895 h 2146918"/>
              <a:gd name="connsiteX7847" fmla="*/ 4788326 w 5521505"/>
              <a:gd name="connsiteY7847" fmla="*/ 1132425 h 2146918"/>
              <a:gd name="connsiteX7848" fmla="*/ 4787997 w 5521505"/>
              <a:gd name="connsiteY7848" fmla="*/ 1128467 h 2146918"/>
              <a:gd name="connsiteX7849" fmla="*/ 4787462 w 5521505"/>
              <a:gd name="connsiteY7849" fmla="*/ 1124083 h 2146918"/>
              <a:gd name="connsiteX7850" fmla="*/ 4786926 w 5521505"/>
              <a:gd name="connsiteY7850" fmla="*/ 1119334 h 2146918"/>
              <a:gd name="connsiteX7851" fmla="*/ 4775394 w 5521505"/>
              <a:gd name="connsiteY7851" fmla="*/ 1110238 h 2146918"/>
              <a:gd name="connsiteX7852" fmla="*/ 4759771 w 5521505"/>
              <a:gd name="connsiteY7852" fmla="*/ 1101970 h 2146918"/>
              <a:gd name="connsiteX7853" fmla="*/ 4757251 w 5521505"/>
              <a:gd name="connsiteY7853" fmla="*/ 1103188 h 2146918"/>
              <a:gd name="connsiteX7854" fmla="*/ 4755753 w 5521505"/>
              <a:gd name="connsiteY7854" fmla="*/ 1106025 h 2146918"/>
              <a:gd name="connsiteX7855" fmla="*/ 4755497 w 5521505"/>
              <a:gd name="connsiteY7855" fmla="*/ 1107036 h 2146918"/>
              <a:gd name="connsiteX7856" fmla="*/ 4755339 w 5521505"/>
              <a:gd name="connsiteY7856" fmla="*/ 1108046 h 2146918"/>
              <a:gd name="connsiteX7857" fmla="*/ 4755180 w 5521505"/>
              <a:gd name="connsiteY7857" fmla="*/ 1108704 h 2146918"/>
              <a:gd name="connsiteX7858" fmla="*/ 4754742 w 5521505"/>
              <a:gd name="connsiteY7858" fmla="*/ 1109374 h 2146918"/>
              <a:gd name="connsiteX7859" fmla="*/ 4753805 w 5521505"/>
              <a:gd name="connsiteY7859" fmla="*/ 1111200 h 2146918"/>
              <a:gd name="connsiteX7860" fmla="*/ 4753111 w 5521505"/>
              <a:gd name="connsiteY7860" fmla="*/ 1112966 h 2146918"/>
              <a:gd name="connsiteX7861" fmla="*/ 4752380 w 5521505"/>
              <a:gd name="connsiteY7861" fmla="*/ 1114878 h 2146918"/>
              <a:gd name="connsiteX7862" fmla="*/ 4751430 w 5521505"/>
              <a:gd name="connsiteY7862" fmla="*/ 1116972 h 2146918"/>
              <a:gd name="connsiteX7863" fmla="*/ 4745792 w 5521505"/>
              <a:gd name="connsiteY7863" fmla="*/ 1121307 h 2146918"/>
              <a:gd name="connsiteX7864" fmla="*/ 4739339 w 5521505"/>
              <a:gd name="connsiteY7864" fmla="*/ 1123268 h 2146918"/>
              <a:gd name="connsiteX7865" fmla="*/ 4735686 w 5521505"/>
              <a:gd name="connsiteY7865" fmla="*/ 1136224 h 2146918"/>
              <a:gd name="connsiteX7866" fmla="*/ 4741080 w 5521505"/>
              <a:gd name="connsiteY7866" fmla="*/ 1144686 h 2146918"/>
              <a:gd name="connsiteX7867" fmla="*/ 4745305 w 5521505"/>
              <a:gd name="connsiteY7867" fmla="*/ 1148985 h 2146918"/>
              <a:gd name="connsiteX7868" fmla="*/ 4751954 w 5521505"/>
              <a:gd name="connsiteY7868" fmla="*/ 1158641 h 2146918"/>
              <a:gd name="connsiteX7869" fmla="*/ 4752551 w 5521505"/>
              <a:gd name="connsiteY7869" fmla="*/ 1159469 h 2146918"/>
              <a:gd name="connsiteX7870" fmla="*/ 4757311 w 5521505"/>
              <a:gd name="connsiteY7870" fmla="*/ 1162331 h 2146918"/>
              <a:gd name="connsiteX7871" fmla="*/ 4759491 w 5521505"/>
              <a:gd name="connsiteY7871" fmla="*/ 1163074 h 2146918"/>
              <a:gd name="connsiteX7872" fmla="*/ 4769026 w 5521505"/>
              <a:gd name="connsiteY7872" fmla="*/ 1170696 h 2146918"/>
              <a:gd name="connsiteX7873" fmla="*/ 4772484 w 5521505"/>
              <a:gd name="connsiteY7873" fmla="*/ 1175482 h 2146918"/>
              <a:gd name="connsiteX7874" fmla="*/ 4776672 w 5521505"/>
              <a:gd name="connsiteY7874" fmla="*/ 1180206 h 2146918"/>
              <a:gd name="connsiteX7875" fmla="*/ 4780167 w 5521505"/>
              <a:gd name="connsiteY7875" fmla="*/ 1183519 h 2146918"/>
              <a:gd name="connsiteX7876" fmla="*/ 4784831 w 5521505"/>
              <a:gd name="connsiteY7876" fmla="*/ 1187902 h 2146918"/>
              <a:gd name="connsiteX7877" fmla="*/ 4788837 w 5521505"/>
              <a:gd name="connsiteY7877" fmla="*/ 1191629 h 2146918"/>
              <a:gd name="connsiteX7878" fmla="*/ 4795486 w 5521505"/>
              <a:gd name="connsiteY7878" fmla="*/ 1197717 h 2146918"/>
              <a:gd name="connsiteX7879" fmla="*/ 4797519 w 5521505"/>
              <a:gd name="connsiteY7879" fmla="*/ 1199324 h 2146918"/>
              <a:gd name="connsiteX7880" fmla="*/ 4801757 w 5521505"/>
              <a:gd name="connsiteY7880" fmla="*/ 1202490 h 2146918"/>
              <a:gd name="connsiteX7881" fmla="*/ 4801757 w 5521505"/>
              <a:gd name="connsiteY7881" fmla="*/ 1200055 h 2146918"/>
              <a:gd name="connsiteX7882" fmla="*/ 4801757 w 5521505"/>
              <a:gd name="connsiteY7882" fmla="*/ 1193126 h 2146918"/>
              <a:gd name="connsiteX7883" fmla="*/ 4801623 w 5521505"/>
              <a:gd name="connsiteY7883" fmla="*/ 1188657 h 2146918"/>
              <a:gd name="connsiteX7884" fmla="*/ 4799736 w 5521505"/>
              <a:gd name="connsiteY7884" fmla="*/ 1185004 h 2146918"/>
              <a:gd name="connsiteX7885" fmla="*/ 4798676 w 5521505"/>
              <a:gd name="connsiteY7885" fmla="*/ 1183994 h 2146918"/>
              <a:gd name="connsiteX7886" fmla="*/ 4794159 w 5521505"/>
              <a:gd name="connsiteY7886" fmla="*/ 1179537 h 2146918"/>
              <a:gd name="connsiteX7887" fmla="*/ 4777111 w 5521505"/>
              <a:gd name="connsiteY7887" fmla="*/ 1166909 h 2146918"/>
              <a:gd name="connsiteX7888" fmla="*/ 4767991 w 5521505"/>
              <a:gd name="connsiteY7888" fmla="*/ 1158447 h 2146918"/>
              <a:gd name="connsiteX7889" fmla="*/ 4767991 w 5521505"/>
              <a:gd name="connsiteY7889" fmla="*/ 1156936 h 2146918"/>
              <a:gd name="connsiteX7890" fmla="*/ 4769488 w 5521505"/>
              <a:gd name="connsiteY7890" fmla="*/ 1147134 h 2146918"/>
              <a:gd name="connsiteX7891" fmla="*/ 4744599 w 5521505"/>
              <a:gd name="connsiteY7891" fmla="*/ 1157618 h 2146918"/>
              <a:gd name="connsiteX7892" fmla="*/ 4739557 w 5521505"/>
              <a:gd name="connsiteY7892" fmla="*/ 1154294 h 2146918"/>
              <a:gd name="connsiteX7893" fmla="*/ 4741408 w 5521505"/>
              <a:gd name="connsiteY7893" fmla="*/ 1169941 h 2146918"/>
              <a:gd name="connsiteX7894" fmla="*/ 4748045 w 5521505"/>
              <a:gd name="connsiteY7894" fmla="*/ 1177893 h 2146918"/>
              <a:gd name="connsiteX7895" fmla="*/ 4751211 w 5521505"/>
              <a:gd name="connsiteY7895" fmla="*/ 1179439 h 2146918"/>
              <a:gd name="connsiteX7896" fmla="*/ 4756873 w 5521505"/>
              <a:gd name="connsiteY7896" fmla="*/ 1177540 h 2146918"/>
              <a:gd name="connsiteX7897" fmla="*/ 4755741 w 5521505"/>
              <a:gd name="connsiteY7897" fmla="*/ 1168151 h 2146918"/>
              <a:gd name="connsiteX7898" fmla="*/ 4744648 w 5521505"/>
              <a:gd name="connsiteY7898" fmla="*/ 1157667 h 2146918"/>
              <a:gd name="connsiteX7899" fmla="*/ 4761306 w 5521505"/>
              <a:gd name="connsiteY7899" fmla="*/ 1195939 h 2146918"/>
              <a:gd name="connsiteX7900" fmla="*/ 4758870 w 5521505"/>
              <a:gd name="connsiteY7900" fmla="*/ 1199762 h 2146918"/>
              <a:gd name="connsiteX7901" fmla="*/ 4757080 w 5521505"/>
              <a:gd name="connsiteY7901" fmla="*/ 1203501 h 2146918"/>
              <a:gd name="connsiteX7902" fmla="*/ 4757080 w 5521505"/>
              <a:gd name="connsiteY7902" fmla="*/ 1205096 h 2146918"/>
              <a:gd name="connsiteX7903" fmla="*/ 4757957 w 5521505"/>
              <a:gd name="connsiteY7903" fmla="*/ 1207081 h 2146918"/>
              <a:gd name="connsiteX7904" fmla="*/ 4760015 w 5521505"/>
              <a:gd name="connsiteY7904" fmla="*/ 1209723 h 2146918"/>
              <a:gd name="connsiteX7905" fmla="*/ 4763375 w 5521505"/>
              <a:gd name="connsiteY7905" fmla="*/ 1210941 h 2146918"/>
              <a:gd name="connsiteX7906" fmla="*/ 4764508 w 5521505"/>
              <a:gd name="connsiteY7906" fmla="*/ 1211148 h 2146918"/>
              <a:gd name="connsiteX7907" fmla="*/ 4765726 w 5521505"/>
              <a:gd name="connsiteY7907" fmla="*/ 1211270 h 2146918"/>
              <a:gd name="connsiteX7908" fmla="*/ 4767540 w 5521505"/>
              <a:gd name="connsiteY7908" fmla="*/ 1211172 h 2146918"/>
              <a:gd name="connsiteX7909" fmla="*/ 4770280 w 5521505"/>
              <a:gd name="connsiteY7909" fmla="*/ 1210843 h 2146918"/>
              <a:gd name="connsiteX7910" fmla="*/ 4771741 w 5521505"/>
              <a:gd name="connsiteY7910" fmla="*/ 1210612 h 2146918"/>
              <a:gd name="connsiteX7911" fmla="*/ 4773336 w 5521505"/>
              <a:gd name="connsiteY7911" fmla="*/ 1210332 h 2146918"/>
              <a:gd name="connsiteX7912" fmla="*/ 4775418 w 5521505"/>
              <a:gd name="connsiteY7912" fmla="*/ 1209966 h 2146918"/>
              <a:gd name="connsiteX7913" fmla="*/ 4776916 w 5521505"/>
              <a:gd name="connsiteY7913" fmla="*/ 1209699 h 2146918"/>
              <a:gd name="connsiteX7914" fmla="*/ 4778012 w 5521505"/>
              <a:gd name="connsiteY7914" fmla="*/ 1209516 h 2146918"/>
              <a:gd name="connsiteX7915" fmla="*/ 4778792 w 5521505"/>
              <a:gd name="connsiteY7915" fmla="*/ 1209382 h 2146918"/>
              <a:gd name="connsiteX7916" fmla="*/ 4763144 w 5521505"/>
              <a:gd name="connsiteY7916" fmla="*/ 1192967 h 2146918"/>
              <a:gd name="connsiteX7917" fmla="*/ 4761354 w 5521505"/>
              <a:gd name="connsiteY7917" fmla="*/ 1195987 h 2146918"/>
              <a:gd name="connsiteX7918" fmla="*/ 4773166 w 5521505"/>
              <a:gd name="connsiteY7918" fmla="*/ 1213583 h 2146918"/>
              <a:gd name="connsiteX7919" fmla="*/ 4767893 w 5521505"/>
              <a:gd name="connsiteY7919" fmla="*/ 1214034 h 2146918"/>
              <a:gd name="connsiteX7920" fmla="*/ 4763668 w 5521505"/>
              <a:gd name="connsiteY7920" fmla="*/ 1216956 h 2146918"/>
              <a:gd name="connsiteX7921" fmla="*/ 4763668 w 5521505"/>
              <a:gd name="connsiteY7921" fmla="*/ 1221656 h 2146918"/>
              <a:gd name="connsiteX7922" fmla="*/ 4766907 w 5521505"/>
              <a:gd name="connsiteY7922" fmla="*/ 1227258 h 2146918"/>
              <a:gd name="connsiteX7923" fmla="*/ 4770134 w 5521505"/>
              <a:gd name="connsiteY7923" fmla="*/ 1230911 h 2146918"/>
              <a:gd name="connsiteX7924" fmla="*/ 4773787 w 5521505"/>
              <a:gd name="connsiteY7924" fmla="*/ 1230789 h 2146918"/>
              <a:gd name="connsiteX7925" fmla="*/ 4778987 w 5521505"/>
              <a:gd name="connsiteY7925" fmla="*/ 1230217 h 2146918"/>
              <a:gd name="connsiteX7926" fmla="*/ 4779047 w 5521505"/>
              <a:gd name="connsiteY7926" fmla="*/ 1230217 h 2146918"/>
              <a:gd name="connsiteX7927" fmla="*/ 4783175 w 5521505"/>
              <a:gd name="connsiteY7927" fmla="*/ 1229194 h 2146918"/>
              <a:gd name="connsiteX7928" fmla="*/ 4788265 w 5521505"/>
              <a:gd name="connsiteY7928" fmla="*/ 1226576 h 2146918"/>
              <a:gd name="connsiteX7929" fmla="*/ 4791188 w 5521505"/>
              <a:gd name="connsiteY7929" fmla="*/ 1223130 h 2146918"/>
              <a:gd name="connsiteX7930" fmla="*/ 4792600 w 5521505"/>
              <a:gd name="connsiteY7930" fmla="*/ 1218138 h 2146918"/>
              <a:gd name="connsiteX7931" fmla="*/ 4785891 w 5521505"/>
              <a:gd name="connsiteY7931" fmla="*/ 1214314 h 2146918"/>
              <a:gd name="connsiteX7932" fmla="*/ 4779644 w 5521505"/>
              <a:gd name="connsiteY7932" fmla="*/ 1213461 h 2146918"/>
              <a:gd name="connsiteX7933" fmla="*/ 4777513 w 5521505"/>
              <a:gd name="connsiteY7933" fmla="*/ 1213534 h 2146918"/>
              <a:gd name="connsiteX7934" fmla="*/ 4775954 w 5521505"/>
              <a:gd name="connsiteY7934" fmla="*/ 1213607 h 2146918"/>
              <a:gd name="connsiteX7935" fmla="*/ 4774907 w 5521505"/>
              <a:gd name="connsiteY7935" fmla="*/ 1213607 h 2146918"/>
              <a:gd name="connsiteX7936" fmla="*/ 4798396 w 5521505"/>
              <a:gd name="connsiteY7936" fmla="*/ 1208579 h 2146918"/>
              <a:gd name="connsiteX7937" fmla="*/ 4798214 w 5521505"/>
              <a:gd name="connsiteY7937" fmla="*/ 1211757 h 2146918"/>
              <a:gd name="connsiteX7938" fmla="*/ 4798214 w 5521505"/>
              <a:gd name="connsiteY7938" fmla="*/ 1212025 h 2146918"/>
              <a:gd name="connsiteX7939" fmla="*/ 4798214 w 5521505"/>
              <a:gd name="connsiteY7939" fmla="*/ 1212025 h 2146918"/>
              <a:gd name="connsiteX7940" fmla="*/ 4798116 w 5521505"/>
              <a:gd name="connsiteY7940" fmla="*/ 1211866 h 2146918"/>
              <a:gd name="connsiteX7941" fmla="*/ 4796777 w 5521505"/>
              <a:gd name="connsiteY7941" fmla="*/ 1209808 h 2146918"/>
              <a:gd name="connsiteX7942" fmla="*/ 4795766 w 5521505"/>
              <a:gd name="connsiteY7942" fmla="*/ 1208250 h 2146918"/>
              <a:gd name="connsiteX7943" fmla="*/ 4788630 w 5521505"/>
              <a:gd name="connsiteY7943" fmla="*/ 1197291 h 2146918"/>
              <a:gd name="connsiteX7944" fmla="*/ 4784247 w 5521505"/>
              <a:gd name="connsiteY7944" fmla="*/ 1190618 h 2146918"/>
              <a:gd name="connsiteX7945" fmla="*/ 4782920 w 5521505"/>
              <a:gd name="connsiteY7945" fmla="*/ 1188596 h 2146918"/>
              <a:gd name="connsiteX7946" fmla="*/ 4783309 w 5521505"/>
              <a:gd name="connsiteY7946" fmla="*/ 1191032 h 2146918"/>
              <a:gd name="connsiteX7947" fmla="*/ 4784429 w 5521505"/>
              <a:gd name="connsiteY7947" fmla="*/ 1198082 h 2146918"/>
              <a:gd name="connsiteX7948" fmla="*/ 4785124 w 5521505"/>
              <a:gd name="connsiteY7948" fmla="*/ 1202588 h 2146918"/>
              <a:gd name="connsiteX7949" fmla="*/ 4785282 w 5521505"/>
              <a:gd name="connsiteY7949" fmla="*/ 1203573 h 2146918"/>
              <a:gd name="connsiteX7950" fmla="*/ 4795279 w 5521505"/>
              <a:gd name="connsiteY7950" fmla="*/ 1210064 h 2146918"/>
              <a:gd name="connsiteX7951" fmla="*/ 4797994 w 5521505"/>
              <a:gd name="connsiteY7951" fmla="*/ 1211830 h 2146918"/>
              <a:gd name="connsiteX7952" fmla="*/ 4798226 w 5521505"/>
              <a:gd name="connsiteY7952" fmla="*/ 1211988 h 2146918"/>
              <a:gd name="connsiteX7953" fmla="*/ 4798226 w 5521505"/>
              <a:gd name="connsiteY7953" fmla="*/ 1211988 h 2146918"/>
              <a:gd name="connsiteX7954" fmla="*/ 4798384 w 5521505"/>
              <a:gd name="connsiteY7954" fmla="*/ 1212073 h 2146918"/>
              <a:gd name="connsiteX7955" fmla="*/ 4798968 w 5521505"/>
              <a:gd name="connsiteY7955" fmla="*/ 1212487 h 2146918"/>
              <a:gd name="connsiteX7956" fmla="*/ 4801769 w 5521505"/>
              <a:gd name="connsiteY7956" fmla="*/ 1214837 h 2146918"/>
              <a:gd name="connsiteX7957" fmla="*/ 4802037 w 5521505"/>
              <a:gd name="connsiteY7957" fmla="*/ 1217809 h 2146918"/>
              <a:gd name="connsiteX7958" fmla="*/ 4799882 w 5521505"/>
              <a:gd name="connsiteY7958" fmla="*/ 1219026 h 2146918"/>
              <a:gd name="connsiteX7959" fmla="*/ 4797775 w 5521505"/>
              <a:gd name="connsiteY7959" fmla="*/ 1220829 h 2146918"/>
              <a:gd name="connsiteX7960" fmla="*/ 4796253 w 5521505"/>
              <a:gd name="connsiteY7960" fmla="*/ 1223458 h 2146918"/>
              <a:gd name="connsiteX7961" fmla="*/ 4795851 w 5521505"/>
              <a:gd name="connsiteY7961" fmla="*/ 1227647 h 2146918"/>
              <a:gd name="connsiteX7962" fmla="*/ 4795997 w 5521505"/>
              <a:gd name="connsiteY7962" fmla="*/ 1228731 h 2146918"/>
              <a:gd name="connsiteX7963" fmla="*/ 4797848 w 5521505"/>
              <a:gd name="connsiteY7963" fmla="*/ 1234661 h 2146918"/>
              <a:gd name="connsiteX7964" fmla="*/ 4798299 w 5521505"/>
              <a:gd name="connsiteY7964" fmla="*/ 1235672 h 2146918"/>
              <a:gd name="connsiteX7965" fmla="*/ 4799517 w 5521505"/>
              <a:gd name="connsiteY7965" fmla="*/ 1238107 h 2146918"/>
              <a:gd name="connsiteX7966" fmla="*/ 4801075 w 5521505"/>
              <a:gd name="connsiteY7966" fmla="*/ 1241054 h 2146918"/>
              <a:gd name="connsiteX7967" fmla="*/ 4802536 w 5521505"/>
              <a:gd name="connsiteY7967" fmla="*/ 1243636 h 2146918"/>
              <a:gd name="connsiteX7968" fmla="*/ 4807931 w 5521505"/>
              <a:gd name="connsiteY7968" fmla="*/ 1242954 h 2146918"/>
              <a:gd name="connsiteX7969" fmla="*/ 4809392 w 5521505"/>
              <a:gd name="connsiteY7969" fmla="*/ 1238619 h 2146918"/>
              <a:gd name="connsiteX7970" fmla="*/ 4809173 w 5521505"/>
              <a:gd name="connsiteY7970" fmla="*/ 1236755 h 2146918"/>
              <a:gd name="connsiteX7971" fmla="*/ 4809039 w 5521505"/>
              <a:gd name="connsiteY7971" fmla="*/ 1235428 h 2146918"/>
              <a:gd name="connsiteX7972" fmla="*/ 4809039 w 5521505"/>
              <a:gd name="connsiteY7972" fmla="*/ 1234381 h 2146918"/>
              <a:gd name="connsiteX7973" fmla="*/ 4809246 w 5521505"/>
              <a:gd name="connsiteY7973" fmla="*/ 1233346 h 2146918"/>
              <a:gd name="connsiteX7974" fmla="*/ 4810159 w 5521505"/>
              <a:gd name="connsiteY7974" fmla="*/ 1233346 h 2146918"/>
              <a:gd name="connsiteX7975" fmla="*/ 4811243 w 5521505"/>
              <a:gd name="connsiteY7975" fmla="*/ 1233346 h 2146918"/>
              <a:gd name="connsiteX7976" fmla="*/ 4812716 w 5521505"/>
              <a:gd name="connsiteY7976" fmla="*/ 1233444 h 2146918"/>
              <a:gd name="connsiteX7977" fmla="*/ 4814469 w 5521505"/>
              <a:gd name="connsiteY7977" fmla="*/ 1233566 h 2146918"/>
              <a:gd name="connsiteX7978" fmla="*/ 4815553 w 5521505"/>
              <a:gd name="connsiteY7978" fmla="*/ 1233566 h 2146918"/>
              <a:gd name="connsiteX7979" fmla="*/ 4816247 w 5521505"/>
              <a:gd name="connsiteY7979" fmla="*/ 1233566 h 2146918"/>
              <a:gd name="connsiteX7980" fmla="*/ 4818683 w 5521505"/>
              <a:gd name="connsiteY7980" fmla="*/ 1232542 h 2146918"/>
              <a:gd name="connsiteX7981" fmla="*/ 4820278 w 5521505"/>
              <a:gd name="connsiteY7981" fmla="*/ 1229815 h 2146918"/>
              <a:gd name="connsiteX7982" fmla="*/ 4819158 w 5521505"/>
              <a:gd name="connsiteY7982" fmla="*/ 1221376 h 2146918"/>
              <a:gd name="connsiteX7983" fmla="*/ 4809221 w 5521505"/>
              <a:gd name="connsiteY7983" fmla="*/ 1211123 h 2146918"/>
              <a:gd name="connsiteX7984" fmla="*/ 4798725 w 5521505"/>
              <a:gd name="connsiteY7984" fmla="*/ 1205157 h 2146918"/>
              <a:gd name="connsiteX7985" fmla="*/ 4798445 w 5521505"/>
              <a:gd name="connsiteY7985" fmla="*/ 1208627 h 2146918"/>
              <a:gd name="connsiteX7986" fmla="*/ 4791395 w 5521505"/>
              <a:gd name="connsiteY7986" fmla="*/ 1295752 h 2146918"/>
              <a:gd name="connsiteX7987" fmla="*/ 4793172 w 5521505"/>
              <a:gd name="connsiteY7987" fmla="*/ 1293646 h 2146918"/>
              <a:gd name="connsiteX7988" fmla="*/ 4794390 w 5521505"/>
              <a:gd name="connsiteY7988" fmla="*/ 1292184 h 2146918"/>
              <a:gd name="connsiteX7989" fmla="*/ 4795803 w 5521505"/>
              <a:gd name="connsiteY7989" fmla="*/ 1290504 h 2146918"/>
              <a:gd name="connsiteX7990" fmla="*/ 4796935 w 5521505"/>
              <a:gd name="connsiteY7990" fmla="*/ 1289128 h 2146918"/>
              <a:gd name="connsiteX7991" fmla="*/ 4797617 w 5521505"/>
              <a:gd name="connsiteY7991" fmla="*/ 1288264 h 2146918"/>
              <a:gd name="connsiteX7992" fmla="*/ 4798494 w 5521505"/>
              <a:gd name="connsiteY7992" fmla="*/ 1287107 h 2146918"/>
              <a:gd name="connsiteX7993" fmla="*/ 4799419 w 5521505"/>
              <a:gd name="connsiteY7993" fmla="*/ 1285743 h 2146918"/>
              <a:gd name="connsiteX7994" fmla="*/ 4801562 w 5521505"/>
              <a:gd name="connsiteY7994" fmla="*/ 1283978 h 2146918"/>
              <a:gd name="connsiteX7995" fmla="*/ 4805216 w 5521505"/>
              <a:gd name="connsiteY7995" fmla="*/ 1285268 h 2146918"/>
              <a:gd name="connsiteX7996" fmla="*/ 4807030 w 5521505"/>
              <a:gd name="connsiteY7996" fmla="*/ 1286291 h 2146918"/>
              <a:gd name="connsiteX7997" fmla="*/ 4811571 w 5521505"/>
              <a:gd name="connsiteY7997" fmla="*/ 1287424 h 2146918"/>
              <a:gd name="connsiteX7998" fmla="*/ 4813410 w 5521505"/>
              <a:gd name="connsiteY7998" fmla="*/ 1286595 h 2146918"/>
              <a:gd name="connsiteX7999" fmla="*/ 4814007 w 5521505"/>
              <a:gd name="connsiteY7999" fmla="*/ 1286047 h 2146918"/>
              <a:gd name="connsiteX8000" fmla="*/ 4814823 w 5521505"/>
              <a:gd name="connsiteY8000" fmla="*/ 1285195 h 2146918"/>
              <a:gd name="connsiteX8001" fmla="*/ 4815590 w 5521505"/>
              <a:gd name="connsiteY8001" fmla="*/ 1284440 h 2146918"/>
              <a:gd name="connsiteX8002" fmla="*/ 4816187 w 5521505"/>
              <a:gd name="connsiteY8002" fmla="*/ 1283783 h 2146918"/>
              <a:gd name="connsiteX8003" fmla="*/ 4816552 w 5521505"/>
              <a:gd name="connsiteY8003" fmla="*/ 1282845 h 2146918"/>
              <a:gd name="connsiteX8004" fmla="*/ 4816552 w 5521505"/>
              <a:gd name="connsiteY8004" fmla="*/ 1282419 h 2146918"/>
              <a:gd name="connsiteX8005" fmla="*/ 4816662 w 5521505"/>
              <a:gd name="connsiteY8005" fmla="*/ 1279752 h 2146918"/>
              <a:gd name="connsiteX8006" fmla="*/ 4816832 w 5521505"/>
              <a:gd name="connsiteY8006" fmla="*/ 1276269 h 2146918"/>
              <a:gd name="connsiteX8007" fmla="*/ 4817039 w 5521505"/>
              <a:gd name="connsiteY8007" fmla="*/ 1271326 h 2146918"/>
              <a:gd name="connsiteX8008" fmla="*/ 4817124 w 5521505"/>
              <a:gd name="connsiteY8008" fmla="*/ 1268890 h 2146918"/>
              <a:gd name="connsiteX8009" fmla="*/ 4817185 w 5521505"/>
              <a:gd name="connsiteY8009" fmla="*/ 1264361 h 2146918"/>
              <a:gd name="connsiteX8010" fmla="*/ 4817185 w 5521505"/>
              <a:gd name="connsiteY8010" fmla="*/ 1261609 h 2146918"/>
              <a:gd name="connsiteX8011" fmla="*/ 4816905 w 5521505"/>
              <a:gd name="connsiteY8011" fmla="*/ 1256738 h 2146918"/>
              <a:gd name="connsiteX8012" fmla="*/ 4813325 w 5521505"/>
              <a:gd name="connsiteY8012" fmla="*/ 1251587 h 2146918"/>
              <a:gd name="connsiteX8013" fmla="*/ 4809100 w 5521505"/>
              <a:gd name="connsiteY8013" fmla="*/ 1250247 h 2146918"/>
              <a:gd name="connsiteX8014" fmla="*/ 4808393 w 5521505"/>
              <a:gd name="connsiteY8014" fmla="*/ 1250516 h 2146918"/>
              <a:gd name="connsiteX8015" fmla="*/ 4804132 w 5521505"/>
              <a:gd name="connsiteY8015" fmla="*/ 1250893 h 2146918"/>
              <a:gd name="connsiteX8016" fmla="*/ 4802573 w 5521505"/>
              <a:gd name="connsiteY8016" fmla="*/ 1250771 h 2146918"/>
              <a:gd name="connsiteX8017" fmla="*/ 4801477 w 5521505"/>
              <a:gd name="connsiteY8017" fmla="*/ 1250637 h 2146918"/>
              <a:gd name="connsiteX8018" fmla="*/ 4798859 w 5521505"/>
              <a:gd name="connsiteY8018" fmla="*/ 1250284 h 2146918"/>
              <a:gd name="connsiteX8019" fmla="*/ 4795924 w 5521505"/>
              <a:gd name="connsiteY8019" fmla="*/ 1249919 h 2146918"/>
              <a:gd name="connsiteX8020" fmla="*/ 4793928 w 5521505"/>
              <a:gd name="connsiteY8020" fmla="*/ 1249785 h 2146918"/>
              <a:gd name="connsiteX8021" fmla="*/ 4792575 w 5521505"/>
              <a:gd name="connsiteY8021" fmla="*/ 1249785 h 2146918"/>
              <a:gd name="connsiteX8022" fmla="*/ 4789653 w 5521505"/>
              <a:gd name="connsiteY8022" fmla="*/ 1250491 h 2146918"/>
              <a:gd name="connsiteX8023" fmla="*/ 4789106 w 5521505"/>
              <a:gd name="connsiteY8023" fmla="*/ 1250808 h 2146918"/>
              <a:gd name="connsiteX8024" fmla="*/ 4788777 w 5521505"/>
              <a:gd name="connsiteY8024" fmla="*/ 1251039 h 2146918"/>
              <a:gd name="connsiteX8025" fmla="*/ 4788435 w 5521505"/>
              <a:gd name="connsiteY8025" fmla="*/ 1251343 h 2146918"/>
              <a:gd name="connsiteX8026" fmla="*/ 4786877 w 5521505"/>
              <a:gd name="connsiteY8026" fmla="*/ 1251648 h 2146918"/>
              <a:gd name="connsiteX8027" fmla="*/ 4786073 w 5521505"/>
              <a:gd name="connsiteY8027" fmla="*/ 1251648 h 2146918"/>
              <a:gd name="connsiteX8028" fmla="*/ 4784977 w 5521505"/>
              <a:gd name="connsiteY8028" fmla="*/ 1251514 h 2146918"/>
              <a:gd name="connsiteX8029" fmla="*/ 4784259 w 5521505"/>
              <a:gd name="connsiteY8029" fmla="*/ 1251429 h 2146918"/>
              <a:gd name="connsiteX8030" fmla="*/ 4783869 w 5521505"/>
              <a:gd name="connsiteY8030" fmla="*/ 1251429 h 2146918"/>
              <a:gd name="connsiteX8031" fmla="*/ 4783528 w 5521505"/>
              <a:gd name="connsiteY8031" fmla="*/ 1251429 h 2146918"/>
              <a:gd name="connsiteX8032" fmla="*/ 4781872 w 5521505"/>
              <a:gd name="connsiteY8032" fmla="*/ 1250077 h 2146918"/>
              <a:gd name="connsiteX8033" fmla="*/ 4781616 w 5521505"/>
              <a:gd name="connsiteY8033" fmla="*/ 1249858 h 2146918"/>
              <a:gd name="connsiteX8034" fmla="*/ 4781300 w 5521505"/>
              <a:gd name="connsiteY8034" fmla="*/ 1249565 h 2146918"/>
              <a:gd name="connsiteX8035" fmla="*/ 4780971 w 5521505"/>
              <a:gd name="connsiteY8035" fmla="*/ 1249200 h 2146918"/>
              <a:gd name="connsiteX8036" fmla="*/ 4780387 w 5521505"/>
              <a:gd name="connsiteY8036" fmla="*/ 1248531 h 2146918"/>
              <a:gd name="connsiteX8037" fmla="*/ 4779717 w 5521505"/>
              <a:gd name="connsiteY8037" fmla="*/ 1247763 h 2146918"/>
              <a:gd name="connsiteX8038" fmla="*/ 4778694 w 5521505"/>
              <a:gd name="connsiteY8038" fmla="*/ 1246607 h 2146918"/>
              <a:gd name="connsiteX8039" fmla="*/ 4777574 w 5521505"/>
              <a:gd name="connsiteY8039" fmla="*/ 1245389 h 2146918"/>
              <a:gd name="connsiteX8040" fmla="*/ 4776612 w 5521505"/>
              <a:gd name="connsiteY8040" fmla="*/ 1244366 h 2146918"/>
              <a:gd name="connsiteX8041" fmla="*/ 4775516 w 5521505"/>
              <a:gd name="connsiteY8041" fmla="*/ 1243307 h 2146918"/>
              <a:gd name="connsiteX8042" fmla="*/ 4769623 w 5521505"/>
              <a:gd name="connsiteY8042" fmla="*/ 1239970 h 2146918"/>
              <a:gd name="connsiteX8043" fmla="*/ 4768526 w 5521505"/>
              <a:gd name="connsiteY8043" fmla="*/ 1239703 h 2146918"/>
              <a:gd name="connsiteX8044" fmla="*/ 4766724 w 5521505"/>
              <a:gd name="connsiteY8044" fmla="*/ 1239325 h 2146918"/>
              <a:gd name="connsiteX8045" fmla="*/ 4764106 w 5521505"/>
              <a:gd name="connsiteY8045" fmla="*/ 1238874 h 2146918"/>
              <a:gd name="connsiteX8046" fmla="*/ 4761671 w 5521505"/>
              <a:gd name="connsiteY8046" fmla="*/ 1238485 h 2146918"/>
              <a:gd name="connsiteX8047" fmla="*/ 4759333 w 5521505"/>
              <a:gd name="connsiteY8047" fmla="*/ 1237888 h 2146918"/>
              <a:gd name="connsiteX8048" fmla="*/ 4758359 w 5521505"/>
              <a:gd name="connsiteY8048" fmla="*/ 1237523 h 2146918"/>
              <a:gd name="connsiteX8049" fmla="*/ 4756301 w 5521505"/>
              <a:gd name="connsiteY8049" fmla="*/ 1236743 h 2146918"/>
              <a:gd name="connsiteX8050" fmla="*/ 4753865 w 5521505"/>
              <a:gd name="connsiteY8050" fmla="*/ 1236390 h 2146918"/>
              <a:gd name="connsiteX8051" fmla="*/ 4752648 w 5521505"/>
              <a:gd name="connsiteY8051" fmla="*/ 1236573 h 2146918"/>
              <a:gd name="connsiteX8052" fmla="*/ 4750882 w 5521505"/>
              <a:gd name="connsiteY8052" fmla="*/ 1236877 h 2146918"/>
              <a:gd name="connsiteX8053" fmla="*/ 4747083 w 5521505"/>
              <a:gd name="connsiteY8053" fmla="*/ 1237766 h 2146918"/>
              <a:gd name="connsiteX8054" fmla="*/ 4744806 w 5521505"/>
              <a:gd name="connsiteY8054" fmla="*/ 1238497 h 2146918"/>
              <a:gd name="connsiteX8055" fmla="*/ 4742285 w 5521505"/>
              <a:gd name="connsiteY8055" fmla="*/ 1239544 h 2146918"/>
              <a:gd name="connsiteX8056" fmla="*/ 4741847 w 5521505"/>
              <a:gd name="connsiteY8056" fmla="*/ 1239848 h 2146918"/>
              <a:gd name="connsiteX8057" fmla="*/ 4741055 w 5521505"/>
              <a:gd name="connsiteY8057" fmla="*/ 1242966 h 2146918"/>
              <a:gd name="connsiteX8058" fmla="*/ 4740654 w 5521505"/>
              <a:gd name="connsiteY8058" fmla="*/ 1246205 h 2146918"/>
              <a:gd name="connsiteX8059" fmla="*/ 4757774 w 5521505"/>
              <a:gd name="connsiteY8059" fmla="*/ 1248433 h 2146918"/>
              <a:gd name="connsiteX8060" fmla="*/ 4772606 w 5521505"/>
              <a:gd name="connsiteY8060" fmla="*/ 1259331 h 2146918"/>
              <a:gd name="connsiteX8061" fmla="*/ 4791443 w 5521505"/>
              <a:gd name="connsiteY8061" fmla="*/ 1295801 h 2146918"/>
              <a:gd name="connsiteX8062" fmla="*/ 4414144 w 5521505"/>
              <a:gd name="connsiteY8062" fmla="*/ 1227404 h 2146918"/>
              <a:gd name="connsiteX8063" fmla="*/ 4421194 w 5521505"/>
              <a:gd name="connsiteY8063" fmla="*/ 1218186 h 2146918"/>
              <a:gd name="connsiteX8064" fmla="*/ 4428245 w 5521505"/>
              <a:gd name="connsiteY8064" fmla="*/ 1207056 h 2146918"/>
              <a:gd name="connsiteX8065" fmla="*/ 4423703 w 5521505"/>
              <a:gd name="connsiteY8065" fmla="*/ 1193406 h 2146918"/>
              <a:gd name="connsiteX8066" fmla="*/ 4415690 w 5521505"/>
              <a:gd name="connsiteY8066" fmla="*/ 1185467 h 2146918"/>
              <a:gd name="connsiteX8067" fmla="*/ 4413876 w 5521505"/>
              <a:gd name="connsiteY8067" fmla="*/ 1178891 h 2146918"/>
              <a:gd name="connsiteX8068" fmla="*/ 4413766 w 5521505"/>
              <a:gd name="connsiteY8068" fmla="*/ 1173193 h 2146918"/>
              <a:gd name="connsiteX8069" fmla="*/ 4404780 w 5521505"/>
              <a:gd name="connsiteY8069" fmla="*/ 1164303 h 2146918"/>
              <a:gd name="connsiteX8070" fmla="*/ 4406923 w 5521505"/>
              <a:gd name="connsiteY8070" fmla="*/ 1161271 h 2146918"/>
              <a:gd name="connsiteX8071" fmla="*/ 4405632 w 5521505"/>
              <a:gd name="connsiteY8071" fmla="*/ 1149095 h 2146918"/>
              <a:gd name="connsiteX8072" fmla="*/ 4404256 w 5521505"/>
              <a:gd name="connsiteY8072" fmla="*/ 1147231 h 2146918"/>
              <a:gd name="connsiteX8073" fmla="*/ 4403233 w 5521505"/>
              <a:gd name="connsiteY8073" fmla="*/ 1146014 h 2146918"/>
              <a:gd name="connsiteX8074" fmla="*/ 4402016 w 5521505"/>
              <a:gd name="connsiteY8074" fmla="*/ 1144419 h 2146918"/>
              <a:gd name="connsiteX8075" fmla="*/ 4401090 w 5521505"/>
              <a:gd name="connsiteY8075" fmla="*/ 1143201 h 2146918"/>
              <a:gd name="connsiteX8076" fmla="*/ 4399665 w 5521505"/>
              <a:gd name="connsiteY8076" fmla="*/ 1141240 h 2146918"/>
              <a:gd name="connsiteX8077" fmla="*/ 4397461 w 5521505"/>
              <a:gd name="connsiteY8077" fmla="*/ 1138330 h 2146918"/>
              <a:gd name="connsiteX8078" fmla="*/ 4394831 w 5521505"/>
              <a:gd name="connsiteY8078" fmla="*/ 1135335 h 2146918"/>
              <a:gd name="connsiteX8079" fmla="*/ 4392323 w 5521505"/>
              <a:gd name="connsiteY8079" fmla="*/ 1132960 h 2146918"/>
              <a:gd name="connsiteX8080" fmla="*/ 4390435 w 5521505"/>
              <a:gd name="connsiteY8080" fmla="*/ 1131256 h 2146918"/>
              <a:gd name="connsiteX8081" fmla="*/ 4388877 w 5521505"/>
              <a:gd name="connsiteY8081" fmla="*/ 1129587 h 2146918"/>
              <a:gd name="connsiteX8082" fmla="*/ 4387598 w 5521505"/>
              <a:gd name="connsiteY8082" fmla="*/ 1128004 h 2146918"/>
              <a:gd name="connsiteX8083" fmla="*/ 4386575 w 5521505"/>
              <a:gd name="connsiteY8083" fmla="*/ 1126652 h 2146918"/>
              <a:gd name="connsiteX8084" fmla="*/ 4385090 w 5521505"/>
              <a:gd name="connsiteY8084" fmla="*/ 1124656 h 2146918"/>
              <a:gd name="connsiteX8085" fmla="*/ 4383507 w 5521505"/>
              <a:gd name="connsiteY8085" fmla="*/ 1122610 h 2146918"/>
              <a:gd name="connsiteX8086" fmla="*/ 4381558 w 5521505"/>
              <a:gd name="connsiteY8086" fmla="*/ 1120333 h 2146918"/>
              <a:gd name="connsiteX8087" fmla="*/ 4379964 w 5521505"/>
              <a:gd name="connsiteY8087" fmla="*/ 1118421 h 2146918"/>
              <a:gd name="connsiteX8088" fmla="*/ 4374715 w 5521505"/>
              <a:gd name="connsiteY8088" fmla="*/ 1113417 h 2146918"/>
              <a:gd name="connsiteX8089" fmla="*/ 4373205 w 5521505"/>
              <a:gd name="connsiteY8089" fmla="*/ 1112540 h 2146918"/>
              <a:gd name="connsiteX8090" fmla="*/ 4362635 w 5521505"/>
              <a:gd name="connsiteY8090" fmla="*/ 1102676 h 2146918"/>
              <a:gd name="connsiteX8091" fmla="*/ 4361625 w 5521505"/>
              <a:gd name="connsiteY8091" fmla="*/ 1100887 h 2146918"/>
              <a:gd name="connsiteX8092" fmla="*/ 4360407 w 5521505"/>
              <a:gd name="connsiteY8092" fmla="*/ 1098804 h 2146918"/>
              <a:gd name="connsiteX8093" fmla="*/ 4357399 w 5521505"/>
              <a:gd name="connsiteY8093" fmla="*/ 1094079 h 2146918"/>
              <a:gd name="connsiteX8094" fmla="*/ 4354258 w 5521505"/>
              <a:gd name="connsiteY8094" fmla="*/ 1089148 h 2146918"/>
              <a:gd name="connsiteX8095" fmla="*/ 4351348 w 5521505"/>
              <a:gd name="connsiteY8095" fmla="*/ 1085312 h 2146918"/>
              <a:gd name="connsiteX8096" fmla="*/ 4347962 w 5521505"/>
              <a:gd name="connsiteY8096" fmla="*/ 1081233 h 2146918"/>
              <a:gd name="connsiteX8097" fmla="*/ 4344858 w 5521505"/>
              <a:gd name="connsiteY8097" fmla="*/ 1077641 h 2146918"/>
              <a:gd name="connsiteX8098" fmla="*/ 4342507 w 5521505"/>
              <a:gd name="connsiteY8098" fmla="*/ 1074950 h 2146918"/>
              <a:gd name="connsiteX8099" fmla="*/ 4339756 w 5521505"/>
              <a:gd name="connsiteY8099" fmla="*/ 1071711 h 2146918"/>
              <a:gd name="connsiteX8100" fmla="*/ 4336784 w 5521505"/>
              <a:gd name="connsiteY8100" fmla="*/ 1068058 h 2146918"/>
              <a:gd name="connsiteX8101" fmla="*/ 4334288 w 5521505"/>
              <a:gd name="connsiteY8101" fmla="*/ 1064636 h 2146918"/>
              <a:gd name="connsiteX8102" fmla="*/ 4332388 w 5521505"/>
              <a:gd name="connsiteY8102" fmla="*/ 1061628 h 2146918"/>
              <a:gd name="connsiteX8103" fmla="*/ 4331304 w 5521505"/>
              <a:gd name="connsiteY8103" fmla="*/ 1059655 h 2146918"/>
              <a:gd name="connsiteX8104" fmla="*/ 4325106 w 5521505"/>
              <a:gd name="connsiteY8104" fmla="*/ 1052873 h 2146918"/>
              <a:gd name="connsiteX8105" fmla="*/ 4319907 w 5521505"/>
              <a:gd name="connsiteY8105" fmla="*/ 1049719 h 2146918"/>
              <a:gd name="connsiteX8106" fmla="*/ 4290682 w 5521505"/>
              <a:gd name="connsiteY8106" fmla="*/ 1033682 h 2146918"/>
              <a:gd name="connsiteX8107" fmla="*/ 4287444 w 5521505"/>
              <a:gd name="connsiteY8107" fmla="*/ 1036605 h 2146918"/>
              <a:gd name="connsiteX8108" fmla="*/ 4288990 w 5521505"/>
              <a:gd name="connsiteY8108" fmla="*/ 1045811 h 2146918"/>
              <a:gd name="connsiteX8109" fmla="*/ 4292095 w 5521505"/>
              <a:gd name="connsiteY8109" fmla="*/ 1049878 h 2146918"/>
              <a:gd name="connsiteX8110" fmla="*/ 4296966 w 5521505"/>
              <a:gd name="connsiteY8110" fmla="*/ 1056258 h 2146918"/>
              <a:gd name="connsiteX8111" fmla="*/ 4300473 w 5521505"/>
              <a:gd name="connsiteY8111" fmla="*/ 1060569 h 2146918"/>
              <a:gd name="connsiteX8112" fmla="*/ 4304601 w 5521505"/>
              <a:gd name="connsiteY8112" fmla="*/ 1065196 h 2146918"/>
              <a:gd name="connsiteX8113" fmla="*/ 4311809 w 5521505"/>
              <a:gd name="connsiteY8113" fmla="*/ 1074743 h 2146918"/>
              <a:gd name="connsiteX8114" fmla="*/ 4314099 w 5521505"/>
              <a:gd name="connsiteY8114" fmla="*/ 1079760 h 2146918"/>
              <a:gd name="connsiteX8115" fmla="*/ 4315048 w 5521505"/>
              <a:gd name="connsiteY8115" fmla="*/ 1083413 h 2146918"/>
              <a:gd name="connsiteX8116" fmla="*/ 4316692 w 5521505"/>
              <a:gd name="connsiteY8116" fmla="*/ 1087260 h 2146918"/>
              <a:gd name="connsiteX8117" fmla="*/ 4319311 w 5521505"/>
              <a:gd name="connsiteY8117" fmla="*/ 1089793 h 2146918"/>
              <a:gd name="connsiteX8118" fmla="*/ 4322269 w 5521505"/>
              <a:gd name="connsiteY8118" fmla="*/ 1091535 h 2146918"/>
              <a:gd name="connsiteX8119" fmla="*/ 4328589 w 5521505"/>
              <a:gd name="connsiteY8119" fmla="*/ 1099973 h 2146918"/>
              <a:gd name="connsiteX8120" fmla="*/ 4328942 w 5521505"/>
              <a:gd name="connsiteY8120" fmla="*/ 1101666 h 2146918"/>
              <a:gd name="connsiteX8121" fmla="*/ 4329356 w 5521505"/>
              <a:gd name="connsiteY8121" fmla="*/ 1104357 h 2146918"/>
              <a:gd name="connsiteX8122" fmla="*/ 4330221 w 5521505"/>
              <a:gd name="connsiteY8122" fmla="*/ 1109690 h 2146918"/>
              <a:gd name="connsiteX8123" fmla="*/ 4330793 w 5521505"/>
              <a:gd name="connsiteY8123" fmla="*/ 1114792 h 2146918"/>
              <a:gd name="connsiteX8124" fmla="*/ 4330793 w 5521505"/>
              <a:gd name="connsiteY8124" fmla="*/ 1117690 h 2146918"/>
              <a:gd name="connsiteX8125" fmla="*/ 4330793 w 5521505"/>
              <a:gd name="connsiteY8125" fmla="*/ 1117690 h 2146918"/>
              <a:gd name="connsiteX8126" fmla="*/ 4331524 w 5521505"/>
              <a:gd name="connsiteY8126" fmla="*/ 1121137 h 2146918"/>
              <a:gd name="connsiteX8127" fmla="*/ 4334665 w 5521505"/>
              <a:gd name="connsiteY8127" fmla="*/ 1124790 h 2146918"/>
              <a:gd name="connsiteX8128" fmla="*/ 4336894 w 5521505"/>
              <a:gd name="connsiteY8128" fmla="*/ 1127359 h 2146918"/>
              <a:gd name="connsiteX8129" fmla="*/ 4337454 w 5521505"/>
              <a:gd name="connsiteY8129" fmla="*/ 1128576 h 2146918"/>
              <a:gd name="connsiteX8130" fmla="*/ 4338221 w 5521505"/>
              <a:gd name="connsiteY8130" fmla="*/ 1130610 h 2146918"/>
              <a:gd name="connsiteX8131" fmla="*/ 4340218 w 5521505"/>
              <a:gd name="connsiteY8131" fmla="*/ 1136065 h 2146918"/>
              <a:gd name="connsiteX8132" fmla="*/ 4342105 w 5521505"/>
              <a:gd name="connsiteY8132" fmla="*/ 1141326 h 2146918"/>
              <a:gd name="connsiteX8133" fmla="*/ 4344285 w 5521505"/>
              <a:gd name="connsiteY8133" fmla="*/ 1147475 h 2146918"/>
              <a:gd name="connsiteX8134" fmla="*/ 4345978 w 5521505"/>
              <a:gd name="connsiteY8134" fmla="*/ 1152188 h 2146918"/>
              <a:gd name="connsiteX8135" fmla="*/ 4347829 w 5521505"/>
              <a:gd name="connsiteY8135" fmla="*/ 1157241 h 2146918"/>
              <a:gd name="connsiteX8136" fmla="*/ 4349594 w 5521505"/>
              <a:gd name="connsiteY8136" fmla="*/ 1161442 h 2146918"/>
              <a:gd name="connsiteX8137" fmla="*/ 4350812 w 5521505"/>
              <a:gd name="connsiteY8137" fmla="*/ 1163743 h 2146918"/>
              <a:gd name="connsiteX8138" fmla="*/ 4352382 w 5521505"/>
              <a:gd name="connsiteY8138" fmla="*/ 1166373 h 2146918"/>
              <a:gd name="connsiteX8139" fmla="*/ 4355658 w 5521505"/>
              <a:gd name="connsiteY8139" fmla="*/ 1171329 h 2146918"/>
              <a:gd name="connsiteX8140" fmla="*/ 4359567 w 5521505"/>
              <a:gd name="connsiteY8140" fmla="*/ 1177272 h 2146918"/>
              <a:gd name="connsiteX8141" fmla="*/ 4362697 w 5521505"/>
              <a:gd name="connsiteY8141" fmla="*/ 1182605 h 2146918"/>
              <a:gd name="connsiteX8142" fmla="*/ 4366021 w 5521505"/>
              <a:gd name="connsiteY8142" fmla="*/ 1188536 h 2146918"/>
              <a:gd name="connsiteX8143" fmla="*/ 4368249 w 5521505"/>
              <a:gd name="connsiteY8143" fmla="*/ 1192444 h 2146918"/>
              <a:gd name="connsiteX8144" fmla="*/ 4370952 w 5521505"/>
              <a:gd name="connsiteY8144" fmla="*/ 1196864 h 2146918"/>
              <a:gd name="connsiteX8145" fmla="*/ 4374776 w 5521505"/>
              <a:gd name="connsiteY8145" fmla="*/ 1202502 h 2146918"/>
              <a:gd name="connsiteX8146" fmla="*/ 4379282 w 5521505"/>
              <a:gd name="connsiteY8146" fmla="*/ 1208846 h 2146918"/>
              <a:gd name="connsiteX8147" fmla="*/ 4383166 w 5521505"/>
              <a:gd name="connsiteY8147" fmla="*/ 1214570 h 2146918"/>
              <a:gd name="connsiteX8148" fmla="*/ 4385601 w 5521505"/>
              <a:gd name="connsiteY8148" fmla="*/ 1218612 h 2146918"/>
              <a:gd name="connsiteX8149" fmla="*/ 4388317 w 5521505"/>
              <a:gd name="connsiteY8149" fmla="*/ 1222679 h 2146918"/>
              <a:gd name="connsiteX8150" fmla="*/ 4394710 w 5521505"/>
              <a:gd name="connsiteY8150" fmla="*/ 1225918 h 2146918"/>
              <a:gd name="connsiteX8151" fmla="*/ 4398131 w 5521505"/>
              <a:gd name="connsiteY8151" fmla="*/ 1226856 h 2146918"/>
              <a:gd name="connsiteX8152" fmla="*/ 4405327 w 5521505"/>
              <a:gd name="connsiteY8152" fmla="*/ 1229291 h 2146918"/>
              <a:gd name="connsiteX8153" fmla="*/ 4411026 w 5521505"/>
              <a:gd name="connsiteY8153" fmla="*/ 1231556 h 2146918"/>
              <a:gd name="connsiteX8154" fmla="*/ 4558402 w 5521505"/>
              <a:gd name="connsiteY8154" fmla="*/ 1350268 h 2146918"/>
              <a:gd name="connsiteX8155" fmla="*/ 4562056 w 5521505"/>
              <a:gd name="connsiteY8155" fmla="*/ 1351997 h 2146918"/>
              <a:gd name="connsiteX8156" fmla="*/ 4564625 w 5521505"/>
              <a:gd name="connsiteY8156" fmla="*/ 1355054 h 2146918"/>
              <a:gd name="connsiteX8157" fmla="*/ 4571554 w 5521505"/>
              <a:gd name="connsiteY8157" fmla="*/ 1361666 h 2146918"/>
              <a:gd name="connsiteX8158" fmla="*/ 4580285 w 5521505"/>
              <a:gd name="connsiteY8158" fmla="*/ 1365173 h 2146918"/>
              <a:gd name="connsiteX8159" fmla="*/ 4586580 w 5521505"/>
              <a:gd name="connsiteY8159" fmla="*/ 1365647 h 2146918"/>
              <a:gd name="connsiteX8160" fmla="*/ 4587639 w 5521505"/>
              <a:gd name="connsiteY8160" fmla="*/ 1365647 h 2146918"/>
              <a:gd name="connsiteX8161" fmla="*/ 4592510 w 5521505"/>
              <a:gd name="connsiteY8161" fmla="*/ 1368667 h 2146918"/>
              <a:gd name="connsiteX8162" fmla="*/ 4599475 w 5521505"/>
              <a:gd name="connsiteY8162" fmla="*/ 1372552 h 2146918"/>
              <a:gd name="connsiteX8163" fmla="*/ 4602824 w 5521505"/>
              <a:gd name="connsiteY8163" fmla="*/ 1373064 h 2146918"/>
              <a:gd name="connsiteX8164" fmla="*/ 4604845 w 5521505"/>
              <a:gd name="connsiteY8164" fmla="*/ 1370738 h 2146918"/>
              <a:gd name="connsiteX8165" fmla="*/ 4605844 w 5521505"/>
              <a:gd name="connsiteY8165" fmla="*/ 1368375 h 2146918"/>
              <a:gd name="connsiteX8166" fmla="*/ 4601594 w 5521505"/>
              <a:gd name="connsiteY8166" fmla="*/ 1365854 h 2146918"/>
              <a:gd name="connsiteX8167" fmla="*/ 4591560 w 5521505"/>
              <a:gd name="connsiteY8167" fmla="*/ 1359766 h 2146918"/>
              <a:gd name="connsiteX8168" fmla="*/ 4583109 w 5521505"/>
              <a:gd name="connsiteY8168" fmla="*/ 1356113 h 2146918"/>
              <a:gd name="connsiteX8169" fmla="*/ 4579311 w 5521505"/>
              <a:gd name="connsiteY8169" fmla="*/ 1354895 h 2146918"/>
              <a:gd name="connsiteX8170" fmla="*/ 4569752 w 5521505"/>
              <a:gd name="connsiteY8170" fmla="*/ 1349051 h 2146918"/>
              <a:gd name="connsiteX8171" fmla="*/ 4568351 w 5521505"/>
              <a:gd name="connsiteY8171" fmla="*/ 1346944 h 2146918"/>
              <a:gd name="connsiteX8172" fmla="*/ 4565794 w 5521505"/>
              <a:gd name="connsiteY8172" fmla="*/ 1344095 h 2146918"/>
              <a:gd name="connsiteX8173" fmla="*/ 4560253 w 5521505"/>
              <a:gd name="connsiteY8173" fmla="*/ 1340332 h 2146918"/>
              <a:gd name="connsiteX8174" fmla="*/ 4553532 w 5521505"/>
              <a:gd name="connsiteY8174" fmla="*/ 1342767 h 2146918"/>
              <a:gd name="connsiteX8175" fmla="*/ 4551669 w 5521505"/>
              <a:gd name="connsiteY8175" fmla="*/ 1346116 h 2146918"/>
              <a:gd name="connsiteX8176" fmla="*/ 4558402 w 5521505"/>
              <a:gd name="connsiteY8176" fmla="*/ 1350268 h 2146918"/>
              <a:gd name="connsiteX8177" fmla="*/ 4593435 w 5521505"/>
              <a:gd name="connsiteY8177" fmla="*/ 1378872 h 2146918"/>
              <a:gd name="connsiteX8178" fmla="*/ 4593862 w 5521505"/>
              <a:gd name="connsiteY8178" fmla="*/ 1380090 h 2146918"/>
              <a:gd name="connsiteX8179" fmla="*/ 4594750 w 5521505"/>
              <a:gd name="connsiteY8179" fmla="*/ 1381624 h 2146918"/>
              <a:gd name="connsiteX8180" fmla="*/ 4595408 w 5521505"/>
              <a:gd name="connsiteY8180" fmla="*/ 1382281 h 2146918"/>
              <a:gd name="connsiteX8181" fmla="*/ 4596833 w 5521505"/>
              <a:gd name="connsiteY8181" fmla="*/ 1383718 h 2146918"/>
              <a:gd name="connsiteX8182" fmla="*/ 4598684 w 5521505"/>
              <a:gd name="connsiteY8182" fmla="*/ 1385581 h 2146918"/>
              <a:gd name="connsiteX8183" fmla="*/ 4601923 w 5521505"/>
              <a:gd name="connsiteY8183" fmla="*/ 1388808 h 2146918"/>
              <a:gd name="connsiteX8184" fmla="*/ 4606051 w 5521505"/>
              <a:gd name="connsiteY8184" fmla="*/ 1392838 h 2146918"/>
              <a:gd name="connsiteX8185" fmla="*/ 4612212 w 5521505"/>
              <a:gd name="connsiteY8185" fmla="*/ 1398562 h 2146918"/>
              <a:gd name="connsiteX8186" fmla="*/ 4615561 w 5521505"/>
              <a:gd name="connsiteY8186" fmla="*/ 1399779 h 2146918"/>
              <a:gd name="connsiteX8187" fmla="*/ 4618557 w 5521505"/>
              <a:gd name="connsiteY8187" fmla="*/ 1399901 h 2146918"/>
              <a:gd name="connsiteX8188" fmla="*/ 4619129 w 5521505"/>
              <a:gd name="connsiteY8188" fmla="*/ 1397977 h 2146918"/>
              <a:gd name="connsiteX8189" fmla="*/ 4618897 w 5521505"/>
              <a:gd name="connsiteY8189" fmla="*/ 1394324 h 2146918"/>
              <a:gd name="connsiteX8190" fmla="*/ 4617680 w 5521505"/>
              <a:gd name="connsiteY8190" fmla="*/ 1392619 h 2146918"/>
              <a:gd name="connsiteX8191" fmla="*/ 4616791 w 5521505"/>
              <a:gd name="connsiteY8191" fmla="*/ 1391718 h 2146918"/>
              <a:gd name="connsiteX8192" fmla="*/ 4615390 w 5521505"/>
              <a:gd name="connsiteY8192" fmla="*/ 1390354 h 2146918"/>
              <a:gd name="connsiteX8193" fmla="*/ 4614282 w 5521505"/>
              <a:gd name="connsiteY8193" fmla="*/ 1389319 h 2146918"/>
              <a:gd name="connsiteX8194" fmla="*/ 4612979 w 5521505"/>
              <a:gd name="connsiteY8194" fmla="*/ 1388101 h 2146918"/>
              <a:gd name="connsiteX8195" fmla="*/ 4611896 w 5521505"/>
              <a:gd name="connsiteY8195" fmla="*/ 1387164 h 2146918"/>
              <a:gd name="connsiteX8196" fmla="*/ 4605649 w 5521505"/>
              <a:gd name="connsiteY8196" fmla="*/ 1382184 h 2146918"/>
              <a:gd name="connsiteX8197" fmla="*/ 4604578 w 5521505"/>
              <a:gd name="connsiteY8197" fmla="*/ 1381392 h 2146918"/>
              <a:gd name="connsiteX8198" fmla="*/ 4603360 w 5521505"/>
              <a:gd name="connsiteY8198" fmla="*/ 1380528 h 2146918"/>
              <a:gd name="connsiteX8199" fmla="*/ 4600218 w 5521505"/>
              <a:gd name="connsiteY8199" fmla="*/ 1378920 h 2146918"/>
              <a:gd name="connsiteX8200" fmla="*/ 4598708 w 5521505"/>
              <a:gd name="connsiteY8200" fmla="*/ 1378457 h 2146918"/>
              <a:gd name="connsiteX8201" fmla="*/ 4596407 w 5521505"/>
              <a:gd name="connsiteY8201" fmla="*/ 1377849 h 2146918"/>
              <a:gd name="connsiteX8202" fmla="*/ 4592656 w 5521505"/>
              <a:gd name="connsiteY8202" fmla="*/ 1376802 h 2146918"/>
              <a:gd name="connsiteX8203" fmla="*/ 4592863 w 5521505"/>
              <a:gd name="connsiteY8203" fmla="*/ 1377325 h 2146918"/>
              <a:gd name="connsiteX8204" fmla="*/ 4593435 w 5521505"/>
              <a:gd name="connsiteY8204" fmla="*/ 1378908 h 2146918"/>
              <a:gd name="connsiteX8205" fmla="*/ 4634386 w 5521505"/>
              <a:gd name="connsiteY8205" fmla="*/ 1394470 h 2146918"/>
              <a:gd name="connsiteX8206" fmla="*/ 4640682 w 5521505"/>
              <a:gd name="connsiteY8206" fmla="*/ 1397709 h 2146918"/>
              <a:gd name="connsiteX8207" fmla="*/ 4643385 w 5521505"/>
              <a:gd name="connsiteY8207" fmla="*/ 1399012 h 2146918"/>
              <a:gd name="connsiteX8208" fmla="*/ 4644834 w 5521505"/>
              <a:gd name="connsiteY8208" fmla="*/ 1399694 h 2146918"/>
              <a:gd name="connsiteX8209" fmla="*/ 4646173 w 5521505"/>
              <a:gd name="connsiteY8209" fmla="*/ 1400303 h 2146918"/>
              <a:gd name="connsiteX8210" fmla="*/ 4647172 w 5521505"/>
              <a:gd name="connsiteY8210" fmla="*/ 1400766 h 2146918"/>
              <a:gd name="connsiteX8211" fmla="*/ 4647683 w 5521505"/>
              <a:gd name="connsiteY8211" fmla="*/ 1400985 h 2146918"/>
              <a:gd name="connsiteX8212" fmla="*/ 4648134 w 5521505"/>
              <a:gd name="connsiteY8212" fmla="*/ 1401143 h 2146918"/>
              <a:gd name="connsiteX8213" fmla="*/ 4648999 w 5521505"/>
              <a:gd name="connsiteY8213" fmla="*/ 1400753 h 2146918"/>
              <a:gd name="connsiteX8214" fmla="*/ 4649120 w 5521505"/>
              <a:gd name="connsiteY8214" fmla="*/ 1400656 h 2146918"/>
              <a:gd name="connsiteX8215" fmla="*/ 4649266 w 5521505"/>
              <a:gd name="connsiteY8215" fmla="*/ 1400522 h 2146918"/>
              <a:gd name="connsiteX8216" fmla="*/ 4649461 w 5521505"/>
              <a:gd name="connsiteY8216" fmla="*/ 1400340 h 2146918"/>
              <a:gd name="connsiteX8217" fmla="*/ 4649778 w 5521505"/>
              <a:gd name="connsiteY8217" fmla="*/ 1400011 h 2146918"/>
              <a:gd name="connsiteX8218" fmla="*/ 4650448 w 5521505"/>
              <a:gd name="connsiteY8218" fmla="*/ 1399292 h 2146918"/>
              <a:gd name="connsiteX8219" fmla="*/ 4650703 w 5521505"/>
              <a:gd name="connsiteY8219" fmla="*/ 1399049 h 2146918"/>
              <a:gd name="connsiteX8220" fmla="*/ 4650971 w 5521505"/>
              <a:gd name="connsiteY8220" fmla="*/ 1398793 h 2146918"/>
              <a:gd name="connsiteX8221" fmla="*/ 4651044 w 5521505"/>
              <a:gd name="connsiteY8221" fmla="*/ 1398720 h 2146918"/>
              <a:gd name="connsiteX8222" fmla="*/ 4651044 w 5521505"/>
              <a:gd name="connsiteY8222" fmla="*/ 1398720 h 2146918"/>
              <a:gd name="connsiteX8223" fmla="*/ 4651142 w 5521505"/>
              <a:gd name="connsiteY8223" fmla="*/ 1398793 h 2146918"/>
              <a:gd name="connsiteX8224" fmla="*/ 4651142 w 5521505"/>
              <a:gd name="connsiteY8224" fmla="*/ 1398793 h 2146918"/>
              <a:gd name="connsiteX8225" fmla="*/ 4651142 w 5521505"/>
              <a:gd name="connsiteY8225" fmla="*/ 1398793 h 2146918"/>
              <a:gd name="connsiteX8226" fmla="*/ 4651142 w 5521505"/>
              <a:gd name="connsiteY8226" fmla="*/ 1398793 h 2146918"/>
              <a:gd name="connsiteX8227" fmla="*/ 4653077 w 5521505"/>
              <a:gd name="connsiteY8227" fmla="*/ 1400558 h 2146918"/>
              <a:gd name="connsiteX8228" fmla="*/ 4656560 w 5521505"/>
              <a:gd name="connsiteY8228" fmla="*/ 1403700 h 2146918"/>
              <a:gd name="connsiteX8229" fmla="*/ 4659337 w 5521505"/>
              <a:gd name="connsiteY8229" fmla="*/ 1406209 h 2146918"/>
              <a:gd name="connsiteX8230" fmla="*/ 4657267 w 5521505"/>
              <a:gd name="connsiteY8230" fmla="*/ 1402933 h 2146918"/>
              <a:gd name="connsiteX8231" fmla="*/ 4652992 w 5521505"/>
              <a:gd name="connsiteY8231" fmla="*/ 1399560 h 2146918"/>
              <a:gd name="connsiteX8232" fmla="*/ 4652043 w 5521505"/>
              <a:gd name="connsiteY8232" fmla="*/ 1399122 h 2146918"/>
              <a:gd name="connsiteX8233" fmla="*/ 4651397 w 5521505"/>
              <a:gd name="connsiteY8233" fmla="*/ 1398866 h 2146918"/>
              <a:gd name="connsiteX8234" fmla="*/ 4651093 w 5521505"/>
              <a:gd name="connsiteY8234" fmla="*/ 1398756 h 2146918"/>
              <a:gd name="connsiteX8235" fmla="*/ 4650983 w 5521505"/>
              <a:gd name="connsiteY8235" fmla="*/ 1398659 h 2146918"/>
              <a:gd name="connsiteX8236" fmla="*/ 4650983 w 5521505"/>
              <a:gd name="connsiteY8236" fmla="*/ 1398659 h 2146918"/>
              <a:gd name="connsiteX8237" fmla="*/ 4650983 w 5521505"/>
              <a:gd name="connsiteY8237" fmla="*/ 1398659 h 2146918"/>
              <a:gd name="connsiteX8238" fmla="*/ 4650679 w 5521505"/>
              <a:gd name="connsiteY8238" fmla="*/ 1398440 h 2146918"/>
              <a:gd name="connsiteX8239" fmla="*/ 4649072 w 5521505"/>
              <a:gd name="connsiteY8239" fmla="*/ 1397222 h 2146918"/>
              <a:gd name="connsiteX8240" fmla="*/ 4645906 w 5521505"/>
              <a:gd name="connsiteY8240" fmla="*/ 1394787 h 2146918"/>
              <a:gd name="connsiteX8241" fmla="*/ 4641473 w 5521505"/>
              <a:gd name="connsiteY8241" fmla="*/ 1391450 h 2146918"/>
              <a:gd name="connsiteX8242" fmla="*/ 4635738 w 5521505"/>
              <a:gd name="connsiteY8242" fmla="*/ 1387188 h 2146918"/>
              <a:gd name="connsiteX8243" fmla="*/ 4629893 w 5521505"/>
              <a:gd name="connsiteY8243" fmla="*/ 1382939 h 2146918"/>
              <a:gd name="connsiteX8244" fmla="*/ 4625570 w 5521505"/>
              <a:gd name="connsiteY8244" fmla="*/ 1379906 h 2146918"/>
              <a:gd name="connsiteX8245" fmla="*/ 4625485 w 5521505"/>
              <a:gd name="connsiteY8245" fmla="*/ 1379846 h 2146918"/>
              <a:gd name="connsiteX8246" fmla="*/ 4621455 w 5521505"/>
              <a:gd name="connsiteY8246" fmla="*/ 1377252 h 2146918"/>
              <a:gd name="connsiteX8247" fmla="*/ 4613527 w 5521505"/>
              <a:gd name="connsiteY8247" fmla="*/ 1375426 h 2146918"/>
              <a:gd name="connsiteX8248" fmla="*/ 4608279 w 5521505"/>
              <a:gd name="connsiteY8248" fmla="*/ 1377215 h 2146918"/>
              <a:gd name="connsiteX8249" fmla="*/ 4613442 w 5521505"/>
              <a:gd name="connsiteY8249" fmla="*/ 1381149 h 2146918"/>
              <a:gd name="connsiteX8250" fmla="*/ 4624974 w 5521505"/>
              <a:gd name="connsiteY8250" fmla="*/ 1388942 h 2146918"/>
              <a:gd name="connsiteX8251" fmla="*/ 4634386 w 5521505"/>
              <a:gd name="connsiteY8251" fmla="*/ 1394507 h 2146918"/>
              <a:gd name="connsiteX8252" fmla="*/ 4667471 w 5521505"/>
              <a:gd name="connsiteY8252" fmla="*/ 1407584 h 2146918"/>
              <a:gd name="connsiteX8253" fmla="*/ 4667033 w 5521505"/>
              <a:gd name="connsiteY8253" fmla="*/ 1409070 h 2146918"/>
              <a:gd name="connsiteX8254" fmla="*/ 4673304 w 5521505"/>
              <a:gd name="connsiteY8254" fmla="*/ 1412261 h 2146918"/>
              <a:gd name="connsiteX8255" fmla="*/ 4673742 w 5521505"/>
              <a:gd name="connsiteY8255" fmla="*/ 1410799 h 2146918"/>
              <a:gd name="connsiteX8256" fmla="*/ 4667471 w 5521505"/>
              <a:gd name="connsiteY8256" fmla="*/ 1407621 h 2146918"/>
              <a:gd name="connsiteX8257" fmla="*/ 4684981 w 5521505"/>
              <a:gd name="connsiteY8257" fmla="*/ 1417825 h 2146918"/>
              <a:gd name="connsiteX8258" fmla="*/ 4690400 w 5521505"/>
              <a:gd name="connsiteY8258" fmla="*/ 1420943 h 2146918"/>
              <a:gd name="connsiteX8259" fmla="*/ 4691301 w 5521505"/>
              <a:gd name="connsiteY8259" fmla="*/ 1419725 h 2146918"/>
              <a:gd name="connsiteX8260" fmla="*/ 4685346 w 5521505"/>
              <a:gd name="connsiteY8260" fmla="*/ 1416668 h 2146918"/>
              <a:gd name="connsiteX8261" fmla="*/ 4658070 w 5521505"/>
              <a:gd name="connsiteY8261" fmla="*/ 1426994 h 2146918"/>
              <a:gd name="connsiteX8262" fmla="*/ 4665583 w 5521505"/>
              <a:gd name="connsiteY8262" fmla="*/ 1431549 h 2146918"/>
              <a:gd name="connsiteX8263" fmla="*/ 4669236 w 5521505"/>
              <a:gd name="connsiteY8263" fmla="*/ 1432535 h 2146918"/>
              <a:gd name="connsiteX8264" fmla="*/ 4671282 w 5521505"/>
              <a:gd name="connsiteY8264" fmla="*/ 1432596 h 2146918"/>
              <a:gd name="connsiteX8265" fmla="*/ 4675933 w 5521505"/>
              <a:gd name="connsiteY8265" fmla="*/ 1432803 h 2146918"/>
              <a:gd name="connsiteX8266" fmla="*/ 4679586 w 5521505"/>
              <a:gd name="connsiteY8266" fmla="*/ 1433229 h 2146918"/>
              <a:gd name="connsiteX8267" fmla="*/ 4684616 w 5521505"/>
              <a:gd name="connsiteY8267" fmla="*/ 1434130 h 2146918"/>
              <a:gd name="connsiteX8268" fmla="*/ 4689925 w 5521505"/>
              <a:gd name="connsiteY8268" fmla="*/ 1435348 h 2146918"/>
              <a:gd name="connsiteX8269" fmla="*/ 4695685 w 5521505"/>
              <a:gd name="connsiteY8269" fmla="*/ 1437004 h 2146918"/>
              <a:gd name="connsiteX8270" fmla="*/ 4700373 w 5521505"/>
              <a:gd name="connsiteY8270" fmla="*/ 1438490 h 2146918"/>
              <a:gd name="connsiteX8271" fmla="*/ 4704902 w 5521505"/>
              <a:gd name="connsiteY8271" fmla="*/ 1440012 h 2146918"/>
              <a:gd name="connsiteX8272" fmla="*/ 4710357 w 5521505"/>
              <a:gd name="connsiteY8272" fmla="*/ 1441899 h 2146918"/>
              <a:gd name="connsiteX8273" fmla="*/ 4714449 w 5521505"/>
              <a:gd name="connsiteY8273" fmla="*/ 1443287 h 2146918"/>
              <a:gd name="connsiteX8274" fmla="*/ 4715971 w 5521505"/>
              <a:gd name="connsiteY8274" fmla="*/ 1443714 h 2146918"/>
              <a:gd name="connsiteX8275" fmla="*/ 4719551 w 5521505"/>
              <a:gd name="connsiteY8275" fmla="*/ 1444468 h 2146918"/>
              <a:gd name="connsiteX8276" fmla="*/ 4724678 w 5521505"/>
              <a:gd name="connsiteY8276" fmla="*/ 1445394 h 2146918"/>
              <a:gd name="connsiteX8277" fmla="*/ 4726882 w 5521505"/>
              <a:gd name="connsiteY8277" fmla="*/ 1445832 h 2146918"/>
              <a:gd name="connsiteX8278" fmla="*/ 4703599 w 5521505"/>
              <a:gd name="connsiteY8278" fmla="*/ 1427835 h 2146918"/>
              <a:gd name="connsiteX8279" fmla="*/ 4693444 w 5521505"/>
              <a:gd name="connsiteY8279" fmla="*/ 1426617 h 2146918"/>
              <a:gd name="connsiteX8280" fmla="*/ 4683191 w 5521505"/>
              <a:gd name="connsiteY8280" fmla="*/ 1425618 h 2146918"/>
              <a:gd name="connsiteX8281" fmla="*/ 4672840 w 5521505"/>
              <a:gd name="connsiteY8281" fmla="*/ 1421576 h 2146918"/>
              <a:gd name="connsiteX8282" fmla="*/ 4662576 w 5521505"/>
              <a:gd name="connsiteY8282" fmla="*/ 1419676 h 2146918"/>
              <a:gd name="connsiteX8283" fmla="*/ 4656938 w 5521505"/>
              <a:gd name="connsiteY8283" fmla="*/ 1423694 h 2146918"/>
              <a:gd name="connsiteX8284" fmla="*/ 4658070 w 5521505"/>
              <a:gd name="connsiteY8284" fmla="*/ 1426982 h 2146918"/>
              <a:gd name="connsiteX8285" fmla="*/ 4495789 w 5521505"/>
              <a:gd name="connsiteY8285" fmla="*/ 1196146 h 2146918"/>
              <a:gd name="connsiteX8286" fmla="*/ 4494487 w 5521505"/>
              <a:gd name="connsiteY8286" fmla="*/ 1201431 h 2146918"/>
              <a:gd name="connsiteX8287" fmla="*/ 4493074 w 5521505"/>
              <a:gd name="connsiteY8287" fmla="*/ 1204962 h 2146918"/>
              <a:gd name="connsiteX8288" fmla="*/ 4492197 w 5521505"/>
              <a:gd name="connsiteY8288" fmla="*/ 1212097 h 2146918"/>
              <a:gd name="connsiteX8289" fmla="*/ 4495607 w 5521505"/>
              <a:gd name="connsiteY8289" fmla="*/ 1217674 h 2146918"/>
              <a:gd name="connsiteX8290" fmla="*/ 4496617 w 5521505"/>
              <a:gd name="connsiteY8290" fmla="*/ 1218698 h 2146918"/>
              <a:gd name="connsiteX8291" fmla="*/ 4497653 w 5521505"/>
              <a:gd name="connsiteY8291" fmla="*/ 1223422 h 2146918"/>
              <a:gd name="connsiteX8292" fmla="*/ 4497811 w 5521505"/>
              <a:gd name="connsiteY8292" fmla="*/ 1228475 h 2146918"/>
              <a:gd name="connsiteX8293" fmla="*/ 4497811 w 5521505"/>
              <a:gd name="connsiteY8293" fmla="*/ 1232189 h 2146918"/>
              <a:gd name="connsiteX8294" fmla="*/ 4497811 w 5521505"/>
              <a:gd name="connsiteY8294" fmla="*/ 1235416 h 2146918"/>
              <a:gd name="connsiteX8295" fmla="*/ 4497884 w 5521505"/>
              <a:gd name="connsiteY8295" fmla="*/ 1238192 h 2146918"/>
              <a:gd name="connsiteX8296" fmla="*/ 4503022 w 5521505"/>
              <a:gd name="connsiteY8296" fmla="*/ 1245864 h 2146918"/>
              <a:gd name="connsiteX8297" fmla="*/ 4512204 w 5521505"/>
              <a:gd name="connsiteY8297" fmla="*/ 1250734 h 2146918"/>
              <a:gd name="connsiteX8298" fmla="*/ 4516174 w 5521505"/>
              <a:gd name="connsiteY8298" fmla="*/ 1252378 h 2146918"/>
              <a:gd name="connsiteX8299" fmla="*/ 4520654 w 5521505"/>
              <a:gd name="connsiteY8299" fmla="*/ 1260196 h 2146918"/>
              <a:gd name="connsiteX8300" fmla="*/ 4527583 w 5521505"/>
              <a:gd name="connsiteY8300" fmla="*/ 1263728 h 2146918"/>
              <a:gd name="connsiteX8301" fmla="*/ 4535693 w 5521505"/>
              <a:gd name="connsiteY8301" fmla="*/ 1265724 h 2146918"/>
              <a:gd name="connsiteX8302" fmla="*/ 4541854 w 5521505"/>
              <a:gd name="connsiteY8302" fmla="*/ 1266759 h 2146918"/>
              <a:gd name="connsiteX8303" fmla="*/ 4548759 w 5521505"/>
              <a:gd name="connsiteY8303" fmla="*/ 1272677 h 2146918"/>
              <a:gd name="connsiteX8304" fmla="*/ 4555078 w 5521505"/>
              <a:gd name="connsiteY8304" fmla="*/ 1278109 h 2146918"/>
              <a:gd name="connsiteX8305" fmla="*/ 4559377 w 5521505"/>
              <a:gd name="connsiteY8305" fmla="*/ 1281834 h 2146918"/>
              <a:gd name="connsiteX8306" fmla="*/ 4562031 w 5521505"/>
              <a:gd name="connsiteY8306" fmla="*/ 1290358 h 2146918"/>
              <a:gd name="connsiteX8307" fmla="*/ 4566841 w 5521505"/>
              <a:gd name="connsiteY8307" fmla="*/ 1291856 h 2146918"/>
              <a:gd name="connsiteX8308" fmla="*/ 4575828 w 5521505"/>
              <a:gd name="connsiteY8308" fmla="*/ 1294681 h 2146918"/>
              <a:gd name="connsiteX8309" fmla="*/ 4584351 w 5521505"/>
              <a:gd name="connsiteY8309" fmla="*/ 1297384 h 2146918"/>
              <a:gd name="connsiteX8310" fmla="*/ 4591512 w 5521505"/>
              <a:gd name="connsiteY8310" fmla="*/ 1299686 h 2146918"/>
              <a:gd name="connsiteX8311" fmla="*/ 4595944 w 5521505"/>
              <a:gd name="connsiteY8311" fmla="*/ 1290577 h 2146918"/>
              <a:gd name="connsiteX8312" fmla="*/ 4601156 w 5521505"/>
              <a:gd name="connsiteY8312" fmla="*/ 1289262 h 2146918"/>
              <a:gd name="connsiteX8313" fmla="*/ 4603396 w 5521505"/>
              <a:gd name="connsiteY8313" fmla="*/ 1287022 h 2146918"/>
              <a:gd name="connsiteX8314" fmla="*/ 4608340 w 5521505"/>
              <a:gd name="connsiteY8314" fmla="*/ 1279813 h 2146918"/>
              <a:gd name="connsiteX8315" fmla="*/ 4622843 w 5521505"/>
              <a:gd name="connsiteY8315" fmla="*/ 1281116 h 2146918"/>
              <a:gd name="connsiteX8316" fmla="*/ 4632085 w 5521505"/>
              <a:gd name="connsiteY8316" fmla="*/ 1278181 h 2146918"/>
              <a:gd name="connsiteX8317" fmla="*/ 4642471 w 5521505"/>
              <a:gd name="connsiteY8317" fmla="*/ 1271752 h 2146918"/>
              <a:gd name="connsiteX8318" fmla="*/ 4649778 w 5521505"/>
              <a:gd name="connsiteY8318" fmla="*/ 1274492 h 2146918"/>
              <a:gd name="connsiteX8319" fmla="*/ 4655672 w 5521505"/>
              <a:gd name="connsiteY8319" fmla="*/ 1276683 h 2146918"/>
              <a:gd name="connsiteX8320" fmla="*/ 4660055 w 5521505"/>
              <a:gd name="connsiteY8320" fmla="*/ 1278218 h 2146918"/>
              <a:gd name="connsiteX8321" fmla="*/ 4658168 w 5521505"/>
              <a:gd name="connsiteY8321" fmla="*/ 1272885 h 2146918"/>
              <a:gd name="connsiteX8322" fmla="*/ 4656585 w 5521505"/>
              <a:gd name="connsiteY8322" fmla="*/ 1268574 h 2146918"/>
              <a:gd name="connsiteX8323" fmla="*/ 4655197 w 5521505"/>
              <a:gd name="connsiteY8323" fmla="*/ 1265761 h 2146918"/>
              <a:gd name="connsiteX8324" fmla="*/ 4653686 w 5521505"/>
              <a:gd name="connsiteY8324" fmla="*/ 1260086 h 2146918"/>
              <a:gd name="connsiteX8325" fmla="*/ 4655001 w 5521505"/>
              <a:gd name="connsiteY8325" fmla="*/ 1257432 h 2146918"/>
              <a:gd name="connsiteX8326" fmla="*/ 4655477 w 5521505"/>
              <a:gd name="connsiteY8326" fmla="*/ 1256214 h 2146918"/>
              <a:gd name="connsiteX8327" fmla="*/ 4654612 w 5521505"/>
              <a:gd name="connsiteY8327" fmla="*/ 1252647 h 2146918"/>
              <a:gd name="connsiteX8328" fmla="*/ 4654454 w 5521505"/>
              <a:gd name="connsiteY8328" fmla="*/ 1244293 h 2146918"/>
              <a:gd name="connsiteX8329" fmla="*/ 4655903 w 5521505"/>
              <a:gd name="connsiteY8329" fmla="*/ 1241297 h 2146918"/>
              <a:gd name="connsiteX8330" fmla="*/ 4656597 w 5521505"/>
              <a:gd name="connsiteY8330" fmla="*/ 1238326 h 2146918"/>
              <a:gd name="connsiteX8331" fmla="*/ 4660640 w 5521505"/>
              <a:gd name="connsiteY8331" fmla="*/ 1235891 h 2146918"/>
              <a:gd name="connsiteX8332" fmla="*/ 4664549 w 5521505"/>
              <a:gd name="connsiteY8332" fmla="*/ 1237219 h 2146918"/>
              <a:gd name="connsiteX8333" fmla="*/ 4674290 w 5521505"/>
              <a:gd name="connsiteY8333" fmla="*/ 1238668 h 2146918"/>
              <a:gd name="connsiteX8334" fmla="*/ 4675142 w 5521505"/>
              <a:gd name="connsiteY8334" fmla="*/ 1235550 h 2146918"/>
              <a:gd name="connsiteX8335" fmla="*/ 4676737 w 5521505"/>
              <a:gd name="connsiteY8335" fmla="*/ 1235623 h 2146918"/>
              <a:gd name="connsiteX8336" fmla="*/ 4677602 w 5521505"/>
              <a:gd name="connsiteY8336" fmla="*/ 1235623 h 2146918"/>
              <a:gd name="connsiteX8337" fmla="*/ 4679623 w 5521505"/>
              <a:gd name="connsiteY8337" fmla="*/ 1236183 h 2146918"/>
              <a:gd name="connsiteX8338" fmla="*/ 4680427 w 5521505"/>
              <a:gd name="connsiteY8338" fmla="*/ 1236451 h 2146918"/>
              <a:gd name="connsiteX8339" fmla="*/ 4681425 w 5521505"/>
              <a:gd name="connsiteY8339" fmla="*/ 1236670 h 2146918"/>
              <a:gd name="connsiteX8340" fmla="*/ 4682753 w 5521505"/>
              <a:gd name="connsiteY8340" fmla="*/ 1236914 h 2146918"/>
              <a:gd name="connsiteX8341" fmla="*/ 4688841 w 5521505"/>
              <a:gd name="connsiteY8341" fmla="*/ 1236317 h 2146918"/>
              <a:gd name="connsiteX8342" fmla="*/ 4686406 w 5521505"/>
              <a:gd name="connsiteY8342" fmla="*/ 1230655 h 2146918"/>
              <a:gd name="connsiteX8343" fmla="*/ 4679210 w 5521505"/>
              <a:gd name="connsiteY8343" fmla="*/ 1222862 h 2146918"/>
              <a:gd name="connsiteX8344" fmla="*/ 4674533 w 5521505"/>
              <a:gd name="connsiteY8344" fmla="*/ 1218746 h 2146918"/>
              <a:gd name="connsiteX8345" fmla="*/ 4669553 w 5521505"/>
              <a:gd name="connsiteY8345" fmla="*/ 1213766 h 2146918"/>
              <a:gd name="connsiteX8346" fmla="*/ 4668725 w 5521505"/>
              <a:gd name="connsiteY8346" fmla="*/ 1212426 h 2146918"/>
              <a:gd name="connsiteX8347" fmla="*/ 4667897 w 5521505"/>
              <a:gd name="connsiteY8347" fmla="*/ 1210685 h 2146918"/>
              <a:gd name="connsiteX8348" fmla="*/ 4667069 w 5521505"/>
              <a:gd name="connsiteY8348" fmla="*/ 1208639 h 2146918"/>
              <a:gd name="connsiteX8349" fmla="*/ 4666022 w 5521505"/>
              <a:gd name="connsiteY8349" fmla="*/ 1206289 h 2146918"/>
              <a:gd name="connsiteX8350" fmla="*/ 4664634 w 5521505"/>
              <a:gd name="connsiteY8350" fmla="*/ 1203477 h 2146918"/>
              <a:gd name="connsiteX8351" fmla="*/ 4663160 w 5521505"/>
              <a:gd name="connsiteY8351" fmla="*/ 1200627 h 2146918"/>
              <a:gd name="connsiteX8352" fmla="*/ 4661943 w 5521505"/>
              <a:gd name="connsiteY8352" fmla="*/ 1198313 h 2146918"/>
              <a:gd name="connsiteX8353" fmla="*/ 4660798 w 5521505"/>
              <a:gd name="connsiteY8353" fmla="*/ 1196146 h 2146918"/>
              <a:gd name="connsiteX8354" fmla="*/ 4659483 w 5521505"/>
              <a:gd name="connsiteY8354" fmla="*/ 1193589 h 2146918"/>
              <a:gd name="connsiteX8355" fmla="*/ 4654941 w 5521505"/>
              <a:gd name="connsiteY8355" fmla="*/ 1194380 h 2146918"/>
              <a:gd name="connsiteX8356" fmla="*/ 4649254 w 5521505"/>
              <a:gd name="connsiteY8356" fmla="*/ 1195342 h 2146918"/>
              <a:gd name="connsiteX8357" fmla="*/ 4644712 w 5521505"/>
              <a:gd name="connsiteY8357" fmla="*/ 1196134 h 2146918"/>
              <a:gd name="connsiteX8358" fmla="*/ 4636882 w 5521505"/>
              <a:gd name="connsiteY8358" fmla="*/ 1197644 h 2146918"/>
              <a:gd name="connsiteX8359" fmla="*/ 4633583 w 5521505"/>
              <a:gd name="connsiteY8359" fmla="*/ 1198301 h 2146918"/>
              <a:gd name="connsiteX8360" fmla="*/ 4622075 w 5521505"/>
              <a:gd name="connsiteY8360" fmla="*/ 1198508 h 2146918"/>
              <a:gd name="connsiteX8361" fmla="*/ 4616352 w 5521505"/>
              <a:gd name="connsiteY8361" fmla="*/ 1197181 h 2146918"/>
              <a:gd name="connsiteX8362" fmla="*/ 4601959 w 5521505"/>
              <a:gd name="connsiteY8362" fmla="*/ 1194940 h 2146918"/>
              <a:gd name="connsiteX8363" fmla="*/ 4590367 w 5521505"/>
              <a:gd name="connsiteY8363" fmla="*/ 1195890 h 2146918"/>
              <a:gd name="connsiteX8364" fmla="*/ 4581453 w 5521505"/>
              <a:gd name="connsiteY8364" fmla="*/ 1198788 h 2146918"/>
              <a:gd name="connsiteX8365" fmla="*/ 4568059 w 5521505"/>
              <a:gd name="connsiteY8365" fmla="*/ 1196609 h 2146918"/>
              <a:gd name="connsiteX8366" fmla="*/ 4547845 w 5521505"/>
              <a:gd name="connsiteY8366" fmla="*/ 1191494 h 2146918"/>
              <a:gd name="connsiteX8367" fmla="*/ 4536338 w 5521505"/>
              <a:gd name="connsiteY8367" fmla="*/ 1195878 h 2146918"/>
              <a:gd name="connsiteX8368" fmla="*/ 4535875 w 5521505"/>
              <a:gd name="connsiteY8368" fmla="*/ 1196304 h 2146918"/>
              <a:gd name="connsiteX8369" fmla="*/ 4534804 w 5521505"/>
              <a:gd name="connsiteY8369" fmla="*/ 1196304 h 2146918"/>
              <a:gd name="connsiteX8370" fmla="*/ 4533087 w 5521505"/>
              <a:gd name="connsiteY8370" fmla="*/ 1196146 h 2146918"/>
              <a:gd name="connsiteX8371" fmla="*/ 4527583 w 5521505"/>
              <a:gd name="connsiteY8371" fmla="*/ 1192590 h 2146918"/>
              <a:gd name="connsiteX8372" fmla="*/ 4520277 w 5521505"/>
              <a:gd name="connsiteY8372" fmla="*/ 1187878 h 2146918"/>
              <a:gd name="connsiteX8373" fmla="*/ 4512886 w 5521505"/>
              <a:gd name="connsiteY8373" fmla="*/ 1183153 h 2146918"/>
              <a:gd name="connsiteX8374" fmla="*/ 4512252 w 5521505"/>
              <a:gd name="connsiteY8374" fmla="*/ 1182739 h 2146918"/>
              <a:gd name="connsiteX8375" fmla="*/ 4510207 w 5521505"/>
              <a:gd name="connsiteY8375" fmla="*/ 1183312 h 2146918"/>
              <a:gd name="connsiteX8376" fmla="*/ 4507686 w 5521505"/>
              <a:gd name="connsiteY8376" fmla="*/ 1184006 h 2146918"/>
              <a:gd name="connsiteX8377" fmla="*/ 4505373 w 5521505"/>
              <a:gd name="connsiteY8377" fmla="*/ 1184456 h 2146918"/>
              <a:gd name="connsiteX8378" fmla="*/ 4496666 w 5521505"/>
              <a:gd name="connsiteY8378" fmla="*/ 1188499 h 2146918"/>
              <a:gd name="connsiteX8379" fmla="*/ 4495449 w 5521505"/>
              <a:gd name="connsiteY8379" fmla="*/ 1194040 h 2146918"/>
              <a:gd name="connsiteX8380" fmla="*/ 4495789 w 5521505"/>
              <a:gd name="connsiteY8380" fmla="*/ 1196182 h 2146918"/>
              <a:gd name="connsiteX8381" fmla="*/ 4691703 w 5521505"/>
              <a:gd name="connsiteY8381" fmla="*/ 1366999 h 2146918"/>
              <a:gd name="connsiteX8382" fmla="*/ 4692360 w 5521505"/>
              <a:gd name="connsiteY8382" fmla="*/ 1366391 h 2146918"/>
              <a:gd name="connsiteX8383" fmla="*/ 4692116 w 5521505"/>
              <a:gd name="connsiteY8383" fmla="*/ 1363468 h 2146918"/>
              <a:gd name="connsiteX8384" fmla="*/ 4691508 w 5521505"/>
              <a:gd name="connsiteY8384" fmla="*/ 1359340 h 2146918"/>
              <a:gd name="connsiteX8385" fmla="*/ 4690850 w 5521505"/>
              <a:gd name="connsiteY8385" fmla="*/ 1354895 h 2146918"/>
              <a:gd name="connsiteX8386" fmla="*/ 4690022 w 5521505"/>
              <a:gd name="connsiteY8386" fmla="*/ 1349428 h 2146918"/>
              <a:gd name="connsiteX8387" fmla="*/ 4689121 w 5521505"/>
              <a:gd name="connsiteY8387" fmla="*/ 1343595 h 2146918"/>
              <a:gd name="connsiteX8388" fmla="*/ 4688476 w 5521505"/>
              <a:gd name="connsiteY8388" fmla="*/ 1339443 h 2146918"/>
              <a:gd name="connsiteX8389" fmla="*/ 4687976 w 5521505"/>
              <a:gd name="connsiteY8389" fmla="*/ 1336289 h 2146918"/>
              <a:gd name="connsiteX8390" fmla="*/ 4687526 w 5521505"/>
              <a:gd name="connsiteY8390" fmla="*/ 1333464 h 2146918"/>
              <a:gd name="connsiteX8391" fmla="*/ 4689036 w 5521505"/>
              <a:gd name="connsiteY8391" fmla="*/ 1333781 h 2146918"/>
              <a:gd name="connsiteX8392" fmla="*/ 4692336 w 5521505"/>
              <a:gd name="connsiteY8392" fmla="*/ 1334487 h 2146918"/>
              <a:gd name="connsiteX8393" fmla="*/ 4696464 w 5521505"/>
              <a:gd name="connsiteY8393" fmla="*/ 1335388 h 2146918"/>
              <a:gd name="connsiteX8394" fmla="*/ 4703271 w 5521505"/>
              <a:gd name="connsiteY8394" fmla="*/ 1336874 h 2146918"/>
              <a:gd name="connsiteX8395" fmla="*/ 4707654 w 5521505"/>
              <a:gd name="connsiteY8395" fmla="*/ 1337799 h 2146918"/>
              <a:gd name="connsiteX8396" fmla="*/ 4714205 w 5521505"/>
              <a:gd name="connsiteY8396" fmla="*/ 1339017 h 2146918"/>
              <a:gd name="connsiteX8397" fmla="*/ 4718041 w 5521505"/>
              <a:gd name="connsiteY8397" fmla="*/ 1338712 h 2146918"/>
              <a:gd name="connsiteX8398" fmla="*/ 4719953 w 5521505"/>
              <a:gd name="connsiteY8398" fmla="*/ 1337921 h 2146918"/>
              <a:gd name="connsiteX8399" fmla="*/ 4721171 w 5521505"/>
              <a:gd name="connsiteY8399" fmla="*/ 1337494 h 2146918"/>
              <a:gd name="connsiteX8400" fmla="*/ 4718102 w 5521505"/>
              <a:gd name="connsiteY8400" fmla="*/ 1334658 h 2146918"/>
              <a:gd name="connsiteX8401" fmla="*/ 4714644 w 5521505"/>
              <a:gd name="connsiteY8401" fmla="*/ 1331577 h 2146918"/>
              <a:gd name="connsiteX8402" fmla="*/ 4710577 w 5521505"/>
              <a:gd name="connsiteY8402" fmla="*/ 1329421 h 2146918"/>
              <a:gd name="connsiteX8403" fmla="*/ 4695672 w 5521505"/>
              <a:gd name="connsiteY8403" fmla="*/ 1321202 h 2146918"/>
              <a:gd name="connsiteX8404" fmla="*/ 4693237 w 5521505"/>
              <a:gd name="connsiteY8404" fmla="*/ 1319181 h 2146918"/>
              <a:gd name="connsiteX8405" fmla="*/ 4691751 w 5521505"/>
              <a:gd name="connsiteY8405" fmla="*/ 1318402 h 2146918"/>
              <a:gd name="connsiteX8406" fmla="*/ 4690083 w 5521505"/>
              <a:gd name="connsiteY8406" fmla="*/ 1317622 h 2146918"/>
              <a:gd name="connsiteX8407" fmla="*/ 4686272 w 5521505"/>
              <a:gd name="connsiteY8407" fmla="*/ 1318292 h 2146918"/>
              <a:gd name="connsiteX8408" fmla="*/ 4681328 w 5521505"/>
              <a:gd name="connsiteY8408" fmla="*/ 1319168 h 2146918"/>
              <a:gd name="connsiteX8409" fmla="*/ 4678040 w 5521505"/>
              <a:gd name="connsiteY8409" fmla="*/ 1314712 h 2146918"/>
              <a:gd name="connsiteX8410" fmla="*/ 4675605 w 5521505"/>
              <a:gd name="connsiteY8410" fmla="*/ 1310998 h 2146918"/>
              <a:gd name="connsiteX8411" fmla="*/ 4676068 w 5521505"/>
              <a:gd name="connsiteY8411" fmla="*/ 1304714 h 2146918"/>
              <a:gd name="connsiteX8412" fmla="*/ 4680658 w 5521505"/>
              <a:gd name="connsiteY8412" fmla="*/ 1299844 h 2146918"/>
              <a:gd name="connsiteX8413" fmla="*/ 4689912 w 5521505"/>
              <a:gd name="connsiteY8413" fmla="*/ 1303911 h 2146918"/>
              <a:gd name="connsiteX8414" fmla="*/ 4695124 w 5521505"/>
              <a:gd name="connsiteY8414" fmla="*/ 1307174 h 2146918"/>
              <a:gd name="connsiteX8415" fmla="*/ 4708153 w 5521505"/>
              <a:gd name="connsiteY8415" fmla="*/ 1315333 h 2146918"/>
              <a:gd name="connsiteX8416" fmla="*/ 4723009 w 5521505"/>
              <a:gd name="connsiteY8416" fmla="*/ 1325342 h 2146918"/>
              <a:gd name="connsiteX8417" fmla="*/ 4744148 w 5521505"/>
              <a:gd name="connsiteY8417" fmla="*/ 1334670 h 2146918"/>
              <a:gd name="connsiteX8418" fmla="*/ 4755546 w 5521505"/>
              <a:gd name="connsiteY8418" fmla="*/ 1334536 h 2146918"/>
              <a:gd name="connsiteX8419" fmla="*/ 4761293 w 5521505"/>
              <a:gd name="connsiteY8419" fmla="*/ 1332100 h 2146918"/>
              <a:gd name="connsiteX8420" fmla="*/ 4760611 w 5521505"/>
              <a:gd name="connsiteY8420" fmla="*/ 1326170 h 2146918"/>
              <a:gd name="connsiteX8421" fmla="*/ 4752514 w 5521505"/>
              <a:gd name="connsiteY8421" fmla="*/ 1323138 h 2146918"/>
              <a:gd name="connsiteX8422" fmla="*/ 4750919 w 5521505"/>
              <a:gd name="connsiteY8422" fmla="*/ 1323345 h 2146918"/>
              <a:gd name="connsiteX8423" fmla="*/ 4748142 w 5521505"/>
              <a:gd name="connsiteY8423" fmla="*/ 1323905 h 2146918"/>
              <a:gd name="connsiteX8424" fmla="*/ 4743539 w 5521505"/>
              <a:gd name="connsiteY8424" fmla="*/ 1323187 h 2146918"/>
              <a:gd name="connsiteX8425" fmla="*/ 4735479 w 5521505"/>
              <a:gd name="connsiteY8425" fmla="*/ 1320751 h 2146918"/>
              <a:gd name="connsiteX8426" fmla="*/ 4733749 w 5521505"/>
              <a:gd name="connsiteY8426" fmla="*/ 1319631 h 2146918"/>
              <a:gd name="connsiteX8427" fmla="*/ 4720696 w 5521505"/>
              <a:gd name="connsiteY8427" fmla="*/ 1310377 h 2146918"/>
              <a:gd name="connsiteX8428" fmla="*/ 4707423 w 5521505"/>
              <a:gd name="connsiteY8428" fmla="*/ 1300636 h 2146918"/>
              <a:gd name="connsiteX8429" fmla="*/ 4698339 w 5521505"/>
              <a:gd name="connsiteY8429" fmla="*/ 1293962 h 2146918"/>
              <a:gd name="connsiteX8430" fmla="*/ 4694808 w 5521505"/>
              <a:gd name="connsiteY8430" fmla="*/ 1292306 h 2146918"/>
              <a:gd name="connsiteX8431" fmla="*/ 4689414 w 5521505"/>
              <a:gd name="connsiteY8431" fmla="*/ 1291880 h 2146918"/>
              <a:gd name="connsiteX8432" fmla="*/ 4680585 w 5521505"/>
              <a:gd name="connsiteY8432" fmla="*/ 1290358 h 2146918"/>
              <a:gd name="connsiteX8433" fmla="*/ 4668055 w 5521505"/>
              <a:gd name="connsiteY8433" fmla="*/ 1290797 h 2146918"/>
              <a:gd name="connsiteX8434" fmla="*/ 4662771 w 5521505"/>
              <a:gd name="connsiteY8434" fmla="*/ 1293841 h 2146918"/>
              <a:gd name="connsiteX8435" fmla="*/ 4655014 w 5521505"/>
              <a:gd name="connsiteY8435" fmla="*/ 1301902 h 2146918"/>
              <a:gd name="connsiteX8436" fmla="*/ 4648706 w 5521505"/>
              <a:gd name="connsiteY8436" fmla="*/ 1306845 h 2146918"/>
              <a:gd name="connsiteX8437" fmla="*/ 4642849 w 5521505"/>
              <a:gd name="connsiteY8437" fmla="*/ 1310389 h 2146918"/>
              <a:gd name="connsiteX8438" fmla="*/ 4637552 w 5521505"/>
              <a:gd name="connsiteY8438" fmla="*/ 1311607 h 2146918"/>
              <a:gd name="connsiteX8439" fmla="*/ 4632584 w 5521505"/>
              <a:gd name="connsiteY8439" fmla="*/ 1314444 h 2146918"/>
              <a:gd name="connsiteX8440" fmla="*/ 4635896 w 5521505"/>
              <a:gd name="connsiteY8440" fmla="*/ 1324819 h 2146918"/>
              <a:gd name="connsiteX8441" fmla="*/ 4637223 w 5521505"/>
              <a:gd name="connsiteY8441" fmla="*/ 1326901 h 2146918"/>
              <a:gd name="connsiteX8442" fmla="*/ 4637467 w 5521505"/>
              <a:gd name="connsiteY8442" fmla="*/ 1333391 h 2146918"/>
              <a:gd name="connsiteX8443" fmla="*/ 4635884 w 5521505"/>
              <a:gd name="connsiteY8443" fmla="*/ 1335388 h 2146918"/>
              <a:gd name="connsiteX8444" fmla="*/ 4632694 w 5521505"/>
              <a:gd name="connsiteY8444" fmla="*/ 1338749 h 2146918"/>
              <a:gd name="connsiteX8445" fmla="*/ 4629041 w 5521505"/>
              <a:gd name="connsiteY8445" fmla="*/ 1342718 h 2146918"/>
              <a:gd name="connsiteX8446" fmla="*/ 4628956 w 5521505"/>
              <a:gd name="connsiteY8446" fmla="*/ 1347882 h 2146918"/>
              <a:gd name="connsiteX8447" fmla="*/ 4629150 w 5521505"/>
              <a:gd name="connsiteY8447" fmla="*/ 1348077 h 2146918"/>
              <a:gd name="connsiteX8448" fmla="*/ 4639635 w 5521505"/>
              <a:gd name="connsiteY8448" fmla="*/ 1352825 h 2146918"/>
              <a:gd name="connsiteX8449" fmla="*/ 4643811 w 5521505"/>
              <a:gd name="connsiteY8449" fmla="*/ 1352095 h 2146918"/>
              <a:gd name="connsiteX8450" fmla="*/ 4644931 w 5521505"/>
              <a:gd name="connsiteY8450" fmla="*/ 1351218 h 2146918"/>
              <a:gd name="connsiteX8451" fmla="*/ 4646320 w 5521505"/>
              <a:gd name="connsiteY8451" fmla="*/ 1350000 h 2146918"/>
              <a:gd name="connsiteX8452" fmla="*/ 4652030 w 5521505"/>
              <a:gd name="connsiteY8452" fmla="*/ 1345531 h 2146918"/>
              <a:gd name="connsiteX8453" fmla="*/ 4657242 w 5521505"/>
              <a:gd name="connsiteY8453" fmla="*/ 1339650 h 2146918"/>
              <a:gd name="connsiteX8454" fmla="*/ 4658521 w 5521505"/>
              <a:gd name="connsiteY8454" fmla="*/ 1332234 h 2146918"/>
              <a:gd name="connsiteX8455" fmla="*/ 4658630 w 5521505"/>
              <a:gd name="connsiteY8455" fmla="*/ 1330737 h 2146918"/>
              <a:gd name="connsiteX8456" fmla="*/ 4659434 w 5521505"/>
              <a:gd name="connsiteY8456" fmla="*/ 1329714 h 2146918"/>
              <a:gd name="connsiteX8457" fmla="*/ 4660018 w 5521505"/>
              <a:gd name="connsiteY8457" fmla="*/ 1329787 h 2146918"/>
              <a:gd name="connsiteX8458" fmla="*/ 4665766 w 5521505"/>
              <a:gd name="connsiteY8458" fmla="*/ 1332502 h 2146918"/>
              <a:gd name="connsiteX8459" fmla="*/ 4665936 w 5521505"/>
              <a:gd name="connsiteY8459" fmla="*/ 1336070 h 2146918"/>
              <a:gd name="connsiteX8460" fmla="*/ 4664573 w 5521505"/>
              <a:gd name="connsiteY8460" fmla="*/ 1340100 h 2146918"/>
              <a:gd name="connsiteX8461" fmla="*/ 4664414 w 5521505"/>
              <a:gd name="connsiteY8461" fmla="*/ 1342767 h 2146918"/>
              <a:gd name="connsiteX8462" fmla="*/ 4664354 w 5521505"/>
              <a:gd name="connsiteY8462" fmla="*/ 1344996 h 2146918"/>
              <a:gd name="connsiteX8463" fmla="*/ 4664159 w 5521505"/>
              <a:gd name="connsiteY8463" fmla="*/ 1347163 h 2146918"/>
              <a:gd name="connsiteX8464" fmla="*/ 4662843 w 5521505"/>
              <a:gd name="connsiteY8464" fmla="*/ 1350816 h 2146918"/>
              <a:gd name="connsiteX8465" fmla="*/ 4664816 w 5521505"/>
              <a:gd name="connsiteY8465" fmla="*/ 1358123 h 2146918"/>
              <a:gd name="connsiteX8466" fmla="*/ 4671489 w 5521505"/>
              <a:gd name="connsiteY8466" fmla="*/ 1361167 h 2146918"/>
              <a:gd name="connsiteX8467" fmla="*/ 4675568 w 5521505"/>
              <a:gd name="connsiteY8467" fmla="*/ 1362141 h 2146918"/>
              <a:gd name="connsiteX8468" fmla="*/ 4681292 w 5521505"/>
              <a:gd name="connsiteY8468" fmla="*/ 1363590 h 2146918"/>
              <a:gd name="connsiteX8469" fmla="*/ 4679684 w 5521505"/>
              <a:gd name="connsiteY8469" fmla="*/ 1364527 h 2146918"/>
              <a:gd name="connsiteX8470" fmla="*/ 4676895 w 5521505"/>
              <a:gd name="connsiteY8470" fmla="*/ 1368850 h 2146918"/>
              <a:gd name="connsiteX8471" fmla="*/ 4682326 w 5521505"/>
              <a:gd name="connsiteY8471" fmla="*/ 1376875 h 2146918"/>
              <a:gd name="connsiteX8472" fmla="*/ 4684312 w 5521505"/>
              <a:gd name="connsiteY8472" fmla="*/ 1374744 h 2146918"/>
              <a:gd name="connsiteX8473" fmla="*/ 4685212 w 5521505"/>
              <a:gd name="connsiteY8473" fmla="*/ 1373100 h 2146918"/>
              <a:gd name="connsiteX8474" fmla="*/ 4686247 w 5521505"/>
              <a:gd name="connsiteY8474" fmla="*/ 1370957 h 2146918"/>
              <a:gd name="connsiteX8475" fmla="*/ 4688610 w 5521505"/>
              <a:gd name="connsiteY8475" fmla="*/ 1368047 h 2146918"/>
              <a:gd name="connsiteX8476" fmla="*/ 4691703 w 5521505"/>
              <a:gd name="connsiteY8476" fmla="*/ 1366999 h 2146918"/>
              <a:gd name="connsiteX8477" fmla="*/ 4732033 w 5521505"/>
              <a:gd name="connsiteY8477" fmla="*/ 1358646 h 2146918"/>
              <a:gd name="connsiteX8478" fmla="*/ 4735381 w 5521505"/>
              <a:gd name="connsiteY8478" fmla="*/ 1362835 h 2146918"/>
              <a:gd name="connsiteX8479" fmla="*/ 4741944 w 5521505"/>
              <a:gd name="connsiteY8479" fmla="*/ 1368777 h 2146918"/>
              <a:gd name="connsiteX8480" fmla="*/ 4748032 w 5521505"/>
              <a:gd name="connsiteY8480" fmla="*/ 1374049 h 2146918"/>
              <a:gd name="connsiteX8481" fmla="*/ 4753536 w 5521505"/>
              <a:gd name="connsiteY8481" fmla="*/ 1381197 h 2146918"/>
              <a:gd name="connsiteX8482" fmla="*/ 4757189 w 5521505"/>
              <a:gd name="connsiteY8482" fmla="*/ 1377715 h 2146918"/>
              <a:gd name="connsiteX8483" fmla="*/ 4759929 w 5521505"/>
              <a:gd name="connsiteY8483" fmla="*/ 1375084 h 2146918"/>
              <a:gd name="connsiteX8484" fmla="*/ 4731009 w 5521505"/>
              <a:gd name="connsiteY8484" fmla="*/ 1356819 h 2146918"/>
              <a:gd name="connsiteX8485" fmla="*/ 4732033 w 5521505"/>
              <a:gd name="connsiteY8485" fmla="*/ 1358646 h 2146918"/>
              <a:gd name="connsiteX8486" fmla="*/ 4763315 w 5521505"/>
              <a:gd name="connsiteY8486" fmla="*/ 1406306 h 2146918"/>
              <a:gd name="connsiteX8487" fmla="*/ 4767966 w 5521505"/>
              <a:gd name="connsiteY8487" fmla="*/ 1406306 h 2146918"/>
              <a:gd name="connsiteX8488" fmla="*/ 4771754 w 5521505"/>
              <a:gd name="connsiteY8488" fmla="*/ 1403018 h 2146918"/>
              <a:gd name="connsiteX8489" fmla="*/ 4765738 w 5521505"/>
              <a:gd name="connsiteY8489" fmla="*/ 1398549 h 2146918"/>
              <a:gd name="connsiteX8490" fmla="*/ 4761111 w 5521505"/>
              <a:gd name="connsiteY8490" fmla="*/ 1394787 h 2146918"/>
              <a:gd name="connsiteX8491" fmla="*/ 4759430 w 5521505"/>
              <a:gd name="connsiteY8491" fmla="*/ 1393350 h 2146918"/>
              <a:gd name="connsiteX8492" fmla="*/ 4749957 w 5521505"/>
              <a:gd name="connsiteY8492" fmla="*/ 1388260 h 2146918"/>
              <a:gd name="connsiteX8493" fmla="*/ 4745183 w 5521505"/>
              <a:gd name="connsiteY8493" fmla="*/ 1391840 h 2146918"/>
              <a:gd name="connsiteX8494" fmla="*/ 4747400 w 5521505"/>
              <a:gd name="connsiteY8494" fmla="*/ 1394689 h 2146918"/>
              <a:gd name="connsiteX8495" fmla="*/ 4750127 w 5521505"/>
              <a:gd name="connsiteY8495" fmla="*/ 1396954 h 2146918"/>
              <a:gd name="connsiteX8496" fmla="*/ 4754876 w 5521505"/>
              <a:gd name="connsiteY8496" fmla="*/ 1400838 h 2146918"/>
              <a:gd name="connsiteX8497" fmla="*/ 4763315 w 5521505"/>
              <a:gd name="connsiteY8497" fmla="*/ 1406282 h 2146918"/>
              <a:gd name="connsiteX8498" fmla="*/ 4781081 w 5521505"/>
              <a:gd name="connsiteY8498" fmla="*/ 1411469 h 2146918"/>
              <a:gd name="connsiteX8499" fmla="*/ 4784734 w 5521505"/>
              <a:gd name="connsiteY8499" fmla="*/ 1413904 h 2146918"/>
              <a:gd name="connsiteX8500" fmla="*/ 4791735 w 5521505"/>
              <a:gd name="connsiteY8500" fmla="*/ 1418398 h 2146918"/>
              <a:gd name="connsiteX8501" fmla="*/ 4800917 w 5521505"/>
              <a:gd name="connsiteY8501" fmla="*/ 1425972 h 2146918"/>
              <a:gd name="connsiteX8502" fmla="*/ 4806360 w 5521505"/>
              <a:gd name="connsiteY8502" fmla="*/ 1431622 h 2146918"/>
              <a:gd name="connsiteX8503" fmla="*/ 4807723 w 5521505"/>
              <a:gd name="connsiteY8503" fmla="*/ 1433168 h 2146918"/>
              <a:gd name="connsiteX8504" fmla="*/ 4813459 w 5521505"/>
              <a:gd name="connsiteY8504" fmla="*/ 1436724 h 2146918"/>
              <a:gd name="connsiteX8505" fmla="*/ 4816966 w 5521505"/>
              <a:gd name="connsiteY8505" fmla="*/ 1434642 h 2146918"/>
              <a:gd name="connsiteX8506" fmla="*/ 4816089 w 5521505"/>
              <a:gd name="connsiteY8506" fmla="*/ 1432011 h 2146918"/>
              <a:gd name="connsiteX8507" fmla="*/ 4812692 w 5521505"/>
              <a:gd name="connsiteY8507" fmla="*/ 1427749 h 2146918"/>
              <a:gd name="connsiteX8508" fmla="*/ 4808089 w 5521505"/>
              <a:gd name="connsiteY8508" fmla="*/ 1423025 h 2146918"/>
              <a:gd name="connsiteX8509" fmla="*/ 4801282 w 5521505"/>
              <a:gd name="connsiteY8509" fmla="*/ 1417813 h 2146918"/>
              <a:gd name="connsiteX8510" fmla="*/ 4791906 w 5521505"/>
              <a:gd name="connsiteY8510" fmla="*/ 1410775 h 2146918"/>
              <a:gd name="connsiteX8511" fmla="*/ 4785124 w 5521505"/>
              <a:gd name="connsiteY8511" fmla="*/ 1405722 h 2146918"/>
              <a:gd name="connsiteX8512" fmla="*/ 4781909 w 5521505"/>
              <a:gd name="connsiteY8512" fmla="*/ 1403286 h 2146918"/>
              <a:gd name="connsiteX8513" fmla="*/ 4781811 w 5521505"/>
              <a:gd name="connsiteY8513" fmla="*/ 1403213 h 2146918"/>
              <a:gd name="connsiteX8514" fmla="*/ 4781811 w 5521505"/>
              <a:gd name="connsiteY8514" fmla="*/ 1403213 h 2146918"/>
              <a:gd name="connsiteX8515" fmla="*/ 4779376 w 5521505"/>
              <a:gd name="connsiteY8515" fmla="*/ 1408425 h 2146918"/>
              <a:gd name="connsiteX8516" fmla="*/ 4781081 w 5521505"/>
              <a:gd name="connsiteY8516" fmla="*/ 1411469 h 2146918"/>
              <a:gd name="connsiteX8517" fmla="*/ 4812546 w 5521505"/>
              <a:gd name="connsiteY8517" fmla="*/ 1411883 h 2146918"/>
              <a:gd name="connsiteX8518" fmla="*/ 4814031 w 5521505"/>
              <a:gd name="connsiteY8518" fmla="*/ 1414063 h 2146918"/>
              <a:gd name="connsiteX8519" fmla="*/ 4819560 w 5521505"/>
              <a:gd name="connsiteY8519" fmla="*/ 1414257 h 2146918"/>
              <a:gd name="connsiteX8520" fmla="*/ 4817977 w 5521505"/>
              <a:gd name="connsiteY8520" fmla="*/ 1411506 h 2146918"/>
              <a:gd name="connsiteX8521" fmla="*/ 4785124 w 5521505"/>
              <a:gd name="connsiteY8521" fmla="*/ 1390720 h 2146918"/>
              <a:gd name="connsiteX8522" fmla="*/ 4786220 w 5521505"/>
              <a:gd name="connsiteY8522" fmla="*/ 1391146 h 2146918"/>
              <a:gd name="connsiteX8523" fmla="*/ 4788655 w 5521505"/>
              <a:gd name="connsiteY8523" fmla="*/ 1390354 h 2146918"/>
              <a:gd name="connsiteX8524" fmla="*/ 4780411 w 5521505"/>
              <a:gd name="connsiteY8524" fmla="*/ 1381831 h 2146918"/>
              <a:gd name="connsiteX8525" fmla="*/ 4781629 w 5521505"/>
              <a:gd name="connsiteY8525" fmla="*/ 1387408 h 2146918"/>
              <a:gd name="connsiteX8526" fmla="*/ 4785124 w 5521505"/>
              <a:gd name="connsiteY8526" fmla="*/ 1390720 h 2146918"/>
              <a:gd name="connsiteX8527" fmla="*/ 4794475 w 5521505"/>
              <a:gd name="connsiteY8527" fmla="*/ 1380978 h 2146918"/>
              <a:gd name="connsiteX8528" fmla="*/ 4791797 w 5521505"/>
              <a:gd name="connsiteY8528" fmla="*/ 1375949 h 2146918"/>
              <a:gd name="connsiteX8529" fmla="*/ 4789836 w 5521505"/>
              <a:gd name="connsiteY8529" fmla="*/ 1373295 h 2146918"/>
              <a:gd name="connsiteX8530" fmla="*/ 4781227 w 5521505"/>
              <a:gd name="connsiteY8530" fmla="*/ 1373149 h 2146918"/>
              <a:gd name="connsiteX8531" fmla="*/ 4783662 w 5521505"/>
              <a:gd name="connsiteY8531" fmla="*/ 1378981 h 2146918"/>
              <a:gd name="connsiteX8532" fmla="*/ 4787949 w 5521505"/>
              <a:gd name="connsiteY8532" fmla="*/ 1382330 h 2146918"/>
              <a:gd name="connsiteX8533" fmla="*/ 4793197 w 5521505"/>
              <a:gd name="connsiteY8533" fmla="*/ 1383548 h 2146918"/>
              <a:gd name="connsiteX8534" fmla="*/ 4794475 w 5521505"/>
              <a:gd name="connsiteY8534" fmla="*/ 1380966 h 2146918"/>
              <a:gd name="connsiteX8535" fmla="*/ 4817721 w 5521505"/>
              <a:gd name="connsiteY8535" fmla="*/ 1373404 h 2146918"/>
              <a:gd name="connsiteX8536" fmla="*/ 4819462 w 5521505"/>
              <a:gd name="connsiteY8536" fmla="*/ 1372040 h 2146918"/>
              <a:gd name="connsiteX8537" fmla="*/ 4819085 w 5521505"/>
              <a:gd name="connsiteY8537" fmla="*/ 1369252 h 2146918"/>
              <a:gd name="connsiteX8538" fmla="*/ 4817757 w 5521505"/>
              <a:gd name="connsiteY8538" fmla="*/ 1365355 h 2146918"/>
              <a:gd name="connsiteX8539" fmla="*/ 4809160 w 5521505"/>
              <a:gd name="connsiteY8539" fmla="*/ 1362798 h 2146918"/>
              <a:gd name="connsiteX8540" fmla="*/ 4808272 w 5521505"/>
              <a:gd name="connsiteY8540" fmla="*/ 1355054 h 2146918"/>
              <a:gd name="connsiteX8541" fmla="*/ 4798628 w 5521505"/>
              <a:gd name="connsiteY8541" fmla="*/ 1355870 h 2146918"/>
              <a:gd name="connsiteX8542" fmla="*/ 4793562 w 5521505"/>
              <a:gd name="connsiteY8542" fmla="*/ 1363176 h 2146918"/>
              <a:gd name="connsiteX8543" fmla="*/ 4793391 w 5521505"/>
              <a:gd name="connsiteY8543" fmla="*/ 1368984 h 2146918"/>
              <a:gd name="connsiteX8544" fmla="*/ 4808003 w 5521505"/>
              <a:gd name="connsiteY8544" fmla="*/ 1372162 h 2146918"/>
              <a:gd name="connsiteX8545" fmla="*/ 4817721 w 5521505"/>
              <a:gd name="connsiteY8545" fmla="*/ 1373404 h 2146918"/>
              <a:gd name="connsiteX8546" fmla="*/ 4815553 w 5521505"/>
              <a:gd name="connsiteY8546" fmla="*/ 1356077 h 2146918"/>
              <a:gd name="connsiteX8547" fmla="*/ 4815188 w 5521505"/>
              <a:gd name="connsiteY8547" fmla="*/ 1360022 h 2146918"/>
              <a:gd name="connsiteX8548" fmla="*/ 4823115 w 5521505"/>
              <a:gd name="connsiteY8548" fmla="*/ 1356088 h 2146918"/>
              <a:gd name="connsiteX8549" fmla="*/ 4815553 w 5521505"/>
              <a:gd name="connsiteY8549" fmla="*/ 1356064 h 2146918"/>
              <a:gd name="connsiteX8550" fmla="*/ 4843109 w 5521505"/>
              <a:gd name="connsiteY8550" fmla="*/ 1498741 h 2146918"/>
              <a:gd name="connsiteX8551" fmla="*/ 4856650 w 5521505"/>
              <a:gd name="connsiteY8551" fmla="*/ 1492579 h 2146918"/>
              <a:gd name="connsiteX8552" fmla="*/ 4843109 w 5521505"/>
              <a:gd name="connsiteY8552" fmla="*/ 1498728 h 2146918"/>
              <a:gd name="connsiteX8553" fmla="*/ 4910496 w 5521505"/>
              <a:gd name="connsiteY8553" fmla="*/ 1478795 h 2146918"/>
              <a:gd name="connsiteX8554" fmla="*/ 4914636 w 5521505"/>
              <a:gd name="connsiteY8554" fmla="*/ 1480572 h 2146918"/>
              <a:gd name="connsiteX8555" fmla="*/ 4917230 w 5521505"/>
              <a:gd name="connsiteY8555" fmla="*/ 1481133 h 2146918"/>
              <a:gd name="connsiteX8556" fmla="*/ 4905784 w 5521505"/>
              <a:gd name="connsiteY8556" fmla="*/ 1471208 h 2146918"/>
              <a:gd name="connsiteX8557" fmla="*/ 4904566 w 5521505"/>
              <a:gd name="connsiteY8557" fmla="*/ 1472292 h 2146918"/>
              <a:gd name="connsiteX8558" fmla="*/ 4910496 w 5521505"/>
              <a:gd name="connsiteY8558" fmla="*/ 1478783 h 2146918"/>
              <a:gd name="connsiteX8559" fmla="*/ 5025263 w 5521505"/>
              <a:gd name="connsiteY8559" fmla="*/ 1601111 h 2146918"/>
              <a:gd name="connsiteX8560" fmla="*/ 5022937 w 5521505"/>
              <a:gd name="connsiteY8560" fmla="*/ 1596107 h 2146918"/>
              <a:gd name="connsiteX8561" fmla="*/ 5016739 w 5521505"/>
              <a:gd name="connsiteY8561" fmla="*/ 1585245 h 2146918"/>
              <a:gd name="connsiteX8562" fmla="*/ 5012843 w 5521505"/>
              <a:gd name="connsiteY8562" fmla="*/ 1578548 h 2146918"/>
              <a:gd name="connsiteX8563" fmla="*/ 5005050 w 5521505"/>
              <a:gd name="connsiteY8563" fmla="*/ 1568283 h 2146918"/>
              <a:gd name="connsiteX8564" fmla="*/ 4997232 w 5521505"/>
              <a:gd name="connsiteY8564" fmla="*/ 1559698 h 2146918"/>
              <a:gd name="connsiteX8565" fmla="*/ 4979490 w 5521505"/>
              <a:gd name="connsiteY8565" fmla="*/ 1539472 h 2146918"/>
              <a:gd name="connsiteX8566" fmla="*/ 4971246 w 5521505"/>
              <a:gd name="connsiteY8566" fmla="*/ 1530010 h 2146918"/>
              <a:gd name="connsiteX8567" fmla="*/ 4962345 w 5521505"/>
              <a:gd name="connsiteY8567" fmla="*/ 1519928 h 2146918"/>
              <a:gd name="connsiteX8568" fmla="*/ 4952458 w 5521505"/>
              <a:gd name="connsiteY8568" fmla="*/ 1508738 h 2146918"/>
              <a:gd name="connsiteX8569" fmla="*/ 4942643 w 5521505"/>
              <a:gd name="connsiteY8569" fmla="*/ 1497657 h 2146918"/>
              <a:gd name="connsiteX8570" fmla="*/ 4938199 w 5521505"/>
              <a:gd name="connsiteY8570" fmla="*/ 1492908 h 2146918"/>
              <a:gd name="connsiteX8571" fmla="*/ 4928457 w 5521505"/>
              <a:gd name="connsiteY8571" fmla="*/ 1487477 h 2146918"/>
              <a:gd name="connsiteX8572" fmla="*/ 4922271 w 5521505"/>
              <a:gd name="connsiteY8572" fmla="*/ 1486186 h 2146918"/>
              <a:gd name="connsiteX8573" fmla="*/ 4908572 w 5521505"/>
              <a:gd name="connsiteY8573" fmla="*/ 1481011 h 2146918"/>
              <a:gd name="connsiteX8574" fmla="*/ 4906368 w 5521505"/>
              <a:gd name="connsiteY8574" fmla="*/ 1480074 h 2146918"/>
              <a:gd name="connsiteX8575" fmla="*/ 4901144 w 5521505"/>
              <a:gd name="connsiteY8575" fmla="*/ 1480427 h 2146918"/>
              <a:gd name="connsiteX8576" fmla="*/ 4886995 w 5521505"/>
              <a:gd name="connsiteY8576" fmla="*/ 1481047 h 2146918"/>
              <a:gd name="connsiteX8577" fmla="*/ 4882550 w 5521505"/>
              <a:gd name="connsiteY8577" fmla="*/ 1467860 h 2146918"/>
              <a:gd name="connsiteX8578" fmla="*/ 4885607 w 5521505"/>
              <a:gd name="connsiteY8578" fmla="*/ 1451275 h 2146918"/>
              <a:gd name="connsiteX8579" fmla="*/ 4877375 w 5521505"/>
              <a:gd name="connsiteY8579" fmla="*/ 1436809 h 2146918"/>
              <a:gd name="connsiteX8580" fmla="*/ 4855883 w 5521505"/>
              <a:gd name="connsiteY8580" fmla="*/ 1420785 h 2146918"/>
              <a:gd name="connsiteX8581" fmla="*/ 4849393 w 5521505"/>
              <a:gd name="connsiteY8581" fmla="*/ 1418118 h 2146918"/>
              <a:gd name="connsiteX8582" fmla="*/ 4829971 w 5521505"/>
              <a:gd name="connsiteY8582" fmla="*/ 1410179 h 2146918"/>
              <a:gd name="connsiteX8583" fmla="*/ 4829435 w 5521505"/>
              <a:gd name="connsiteY8583" fmla="*/ 1413088 h 2146918"/>
              <a:gd name="connsiteX8584" fmla="*/ 4836083 w 5521505"/>
              <a:gd name="connsiteY8584" fmla="*/ 1421491 h 2146918"/>
              <a:gd name="connsiteX8585" fmla="*/ 4839907 w 5521505"/>
              <a:gd name="connsiteY8585" fmla="*/ 1424571 h 2146918"/>
              <a:gd name="connsiteX8586" fmla="*/ 4845789 w 5521505"/>
              <a:gd name="connsiteY8586" fmla="*/ 1434995 h 2146918"/>
              <a:gd name="connsiteX8587" fmla="*/ 4853497 w 5521505"/>
              <a:gd name="connsiteY8587" fmla="*/ 1444359 h 2146918"/>
              <a:gd name="connsiteX8588" fmla="*/ 4857977 w 5521505"/>
              <a:gd name="connsiteY8588" fmla="*/ 1447683 h 2146918"/>
              <a:gd name="connsiteX8589" fmla="*/ 4861874 w 5521505"/>
              <a:gd name="connsiteY8589" fmla="*/ 1450763 h 2146918"/>
              <a:gd name="connsiteX8590" fmla="*/ 4861338 w 5521505"/>
              <a:gd name="connsiteY8590" fmla="*/ 1451884 h 2146918"/>
              <a:gd name="connsiteX8591" fmla="*/ 4839054 w 5521505"/>
              <a:gd name="connsiteY8591" fmla="*/ 1442215 h 2146918"/>
              <a:gd name="connsiteX8592" fmla="*/ 4839201 w 5521505"/>
              <a:gd name="connsiteY8592" fmla="*/ 1443884 h 2146918"/>
              <a:gd name="connsiteX8593" fmla="*/ 4840504 w 5521505"/>
              <a:gd name="connsiteY8593" fmla="*/ 1456998 h 2146918"/>
              <a:gd name="connsiteX8594" fmla="*/ 4846507 w 5521505"/>
              <a:gd name="connsiteY8594" fmla="*/ 1468067 h 2146918"/>
              <a:gd name="connsiteX8595" fmla="*/ 4852924 w 5521505"/>
              <a:gd name="connsiteY8595" fmla="*/ 1468554 h 2146918"/>
              <a:gd name="connsiteX8596" fmla="*/ 4854933 w 5521505"/>
              <a:gd name="connsiteY8596" fmla="*/ 1467835 h 2146918"/>
              <a:gd name="connsiteX8597" fmla="*/ 4856151 w 5521505"/>
              <a:gd name="connsiteY8597" fmla="*/ 1467933 h 2146918"/>
              <a:gd name="connsiteX8598" fmla="*/ 4858952 w 5521505"/>
              <a:gd name="connsiteY8598" fmla="*/ 1468932 h 2146918"/>
              <a:gd name="connsiteX8599" fmla="*/ 4860535 w 5521505"/>
              <a:gd name="connsiteY8599" fmla="*/ 1470928 h 2146918"/>
              <a:gd name="connsiteX8600" fmla="*/ 4862556 w 5521505"/>
              <a:gd name="connsiteY8600" fmla="*/ 1473449 h 2146918"/>
              <a:gd name="connsiteX8601" fmla="*/ 4864468 w 5521505"/>
              <a:gd name="connsiteY8601" fmla="*/ 1476067 h 2146918"/>
              <a:gd name="connsiteX8602" fmla="*/ 4867926 w 5521505"/>
              <a:gd name="connsiteY8602" fmla="*/ 1481510 h 2146918"/>
              <a:gd name="connsiteX8603" fmla="*/ 4884486 w 5521505"/>
              <a:gd name="connsiteY8603" fmla="*/ 1500457 h 2146918"/>
              <a:gd name="connsiteX8604" fmla="*/ 4892194 w 5521505"/>
              <a:gd name="connsiteY8604" fmla="*/ 1508787 h 2146918"/>
              <a:gd name="connsiteX8605" fmla="*/ 4900195 w 5521505"/>
              <a:gd name="connsiteY8605" fmla="*/ 1518284 h 2146918"/>
              <a:gd name="connsiteX8606" fmla="*/ 4906588 w 5521505"/>
              <a:gd name="connsiteY8606" fmla="*/ 1531277 h 2146918"/>
              <a:gd name="connsiteX8607" fmla="*/ 4906466 w 5521505"/>
              <a:gd name="connsiteY8607" fmla="*/ 1538181 h 2146918"/>
              <a:gd name="connsiteX8608" fmla="*/ 4905613 w 5521505"/>
              <a:gd name="connsiteY8608" fmla="*/ 1549567 h 2146918"/>
              <a:gd name="connsiteX8609" fmla="*/ 4897820 w 5521505"/>
              <a:gd name="connsiteY8609" fmla="*/ 1547971 h 2146918"/>
              <a:gd name="connsiteX8610" fmla="*/ 4883500 w 5521505"/>
              <a:gd name="connsiteY8610" fmla="*/ 1553585 h 2146918"/>
              <a:gd name="connsiteX8611" fmla="*/ 4899805 w 5521505"/>
              <a:gd name="connsiteY8611" fmla="*/ 1564483 h 2146918"/>
              <a:gd name="connsiteX8612" fmla="*/ 4910338 w 5521505"/>
              <a:gd name="connsiteY8612" fmla="*/ 1568611 h 2146918"/>
              <a:gd name="connsiteX8613" fmla="*/ 4916512 w 5521505"/>
              <a:gd name="connsiteY8613" fmla="*/ 1575296 h 2146918"/>
              <a:gd name="connsiteX8614" fmla="*/ 4920165 w 5521505"/>
              <a:gd name="connsiteY8614" fmla="*/ 1583540 h 2146918"/>
              <a:gd name="connsiteX8615" fmla="*/ 4940755 w 5521505"/>
              <a:gd name="connsiteY8615" fmla="*/ 1609111 h 2146918"/>
              <a:gd name="connsiteX8616" fmla="*/ 4961310 w 5521505"/>
              <a:gd name="connsiteY8616" fmla="*/ 1617964 h 2146918"/>
              <a:gd name="connsiteX8617" fmla="*/ 4968275 w 5521505"/>
              <a:gd name="connsiteY8617" fmla="*/ 1617209 h 2146918"/>
              <a:gd name="connsiteX8618" fmla="*/ 4978614 w 5521505"/>
              <a:gd name="connsiteY8618" fmla="*/ 1617806 h 2146918"/>
              <a:gd name="connsiteX8619" fmla="*/ 4985993 w 5521505"/>
              <a:gd name="connsiteY8619" fmla="*/ 1620996 h 2146918"/>
              <a:gd name="connsiteX8620" fmla="*/ 4995089 w 5521505"/>
              <a:gd name="connsiteY8620" fmla="*/ 1631858 h 2146918"/>
              <a:gd name="connsiteX8621" fmla="*/ 5000081 w 5521505"/>
              <a:gd name="connsiteY8621" fmla="*/ 1637508 h 2146918"/>
              <a:gd name="connsiteX8622" fmla="*/ 5003734 w 5521505"/>
              <a:gd name="connsiteY8622" fmla="*/ 1644814 h 2146918"/>
              <a:gd name="connsiteX8623" fmla="*/ 5004599 w 5521505"/>
              <a:gd name="connsiteY8623" fmla="*/ 1657380 h 2146918"/>
              <a:gd name="connsiteX8624" fmla="*/ 5008447 w 5521505"/>
              <a:gd name="connsiteY8624" fmla="*/ 1671871 h 2146918"/>
              <a:gd name="connsiteX8625" fmla="*/ 5020624 w 5521505"/>
              <a:gd name="connsiteY8625" fmla="*/ 1686970 h 2146918"/>
              <a:gd name="connsiteX8626" fmla="*/ 5024082 w 5521505"/>
              <a:gd name="connsiteY8626" fmla="*/ 1689405 h 2146918"/>
              <a:gd name="connsiteX8627" fmla="*/ 5033677 w 5521505"/>
              <a:gd name="connsiteY8627" fmla="*/ 1698721 h 2146918"/>
              <a:gd name="connsiteX8628" fmla="*/ 5036941 w 5521505"/>
              <a:gd name="connsiteY8628" fmla="*/ 1703994 h 2146918"/>
              <a:gd name="connsiteX8629" fmla="*/ 5045842 w 5521505"/>
              <a:gd name="connsiteY8629" fmla="*/ 1713978 h 2146918"/>
              <a:gd name="connsiteX8630" fmla="*/ 5051797 w 5521505"/>
              <a:gd name="connsiteY8630" fmla="*/ 1715963 h 2146918"/>
              <a:gd name="connsiteX8631" fmla="*/ 5052442 w 5521505"/>
              <a:gd name="connsiteY8631" fmla="*/ 1711519 h 2146918"/>
              <a:gd name="connsiteX8632" fmla="*/ 5051370 w 5521505"/>
              <a:gd name="connsiteY8632" fmla="*/ 1708621 h 2146918"/>
              <a:gd name="connsiteX8633" fmla="*/ 5048667 w 5521505"/>
              <a:gd name="connsiteY8633" fmla="*/ 1702824 h 2146918"/>
              <a:gd name="connsiteX8634" fmla="*/ 5045464 w 5521505"/>
              <a:gd name="connsiteY8634" fmla="*/ 1695007 h 2146918"/>
              <a:gd name="connsiteX8635" fmla="*/ 5045464 w 5521505"/>
              <a:gd name="connsiteY8635" fmla="*/ 1685813 h 2146918"/>
              <a:gd name="connsiteX8636" fmla="*/ 5043589 w 5521505"/>
              <a:gd name="connsiteY8636" fmla="*/ 1684450 h 2146918"/>
              <a:gd name="connsiteX8637" fmla="*/ 5037951 w 5521505"/>
              <a:gd name="connsiteY8637" fmla="*/ 1680041 h 2146918"/>
              <a:gd name="connsiteX8638" fmla="*/ 5035419 w 5521505"/>
              <a:gd name="connsiteY8638" fmla="*/ 1674550 h 2146918"/>
              <a:gd name="connsiteX8639" fmla="*/ 5035674 w 5521505"/>
              <a:gd name="connsiteY8639" fmla="*/ 1672784 h 2146918"/>
              <a:gd name="connsiteX8640" fmla="*/ 5035674 w 5521505"/>
              <a:gd name="connsiteY8640" fmla="*/ 1670008 h 2146918"/>
              <a:gd name="connsiteX8641" fmla="*/ 5035236 w 5521505"/>
              <a:gd name="connsiteY8641" fmla="*/ 1667061 h 2146918"/>
              <a:gd name="connsiteX8642" fmla="*/ 5034250 w 5521505"/>
              <a:gd name="connsiteY8642" fmla="*/ 1663079 h 2146918"/>
              <a:gd name="connsiteX8643" fmla="*/ 5032886 w 5521505"/>
              <a:gd name="connsiteY8643" fmla="*/ 1658367 h 2146918"/>
              <a:gd name="connsiteX8644" fmla="*/ 5031997 w 5521505"/>
              <a:gd name="connsiteY8644" fmla="*/ 1654982 h 2146918"/>
              <a:gd name="connsiteX8645" fmla="*/ 5031352 w 5521505"/>
              <a:gd name="connsiteY8645" fmla="*/ 1651231 h 2146918"/>
              <a:gd name="connsiteX8646" fmla="*/ 5030877 w 5521505"/>
              <a:gd name="connsiteY8646" fmla="*/ 1646361 h 2146918"/>
              <a:gd name="connsiteX8647" fmla="*/ 5046573 w 5521505"/>
              <a:gd name="connsiteY8647" fmla="*/ 1652827 h 2146918"/>
              <a:gd name="connsiteX8648" fmla="*/ 5043053 w 5521505"/>
              <a:gd name="connsiteY8648" fmla="*/ 1639651 h 2146918"/>
              <a:gd name="connsiteX8649" fmla="*/ 5036965 w 5521505"/>
              <a:gd name="connsiteY8649" fmla="*/ 1631005 h 2146918"/>
              <a:gd name="connsiteX8650" fmla="*/ 5030877 w 5521505"/>
              <a:gd name="connsiteY8650" fmla="*/ 1623565 h 2146918"/>
              <a:gd name="connsiteX8651" fmla="*/ 5027224 w 5521505"/>
              <a:gd name="connsiteY8651" fmla="*/ 1618987 h 2146918"/>
              <a:gd name="connsiteX8652" fmla="*/ 5029086 w 5521505"/>
              <a:gd name="connsiteY8652" fmla="*/ 1617526 h 2146918"/>
              <a:gd name="connsiteX8653" fmla="*/ 5029086 w 5521505"/>
              <a:gd name="connsiteY8653" fmla="*/ 1609806 h 2146918"/>
              <a:gd name="connsiteX8654" fmla="*/ 5028246 w 5521505"/>
              <a:gd name="connsiteY8654" fmla="*/ 1607699 h 2146918"/>
              <a:gd name="connsiteX8655" fmla="*/ 5026371 w 5521505"/>
              <a:gd name="connsiteY8655" fmla="*/ 1603778 h 2146918"/>
              <a:gd name="connsiteX8656" fmla="*/ 5025263 w 5521505"/>
              <a:gd name="connsiteY8656" fmla="*/ 1601111 h 2146918"/>
              <a:gd name="connsiteX8657" fmla="*/ 5059736 w 5521505"/>
              <a:gd name="connsiteY8657" fmla="*/ 1655907 h 2146918"/>
              <a:gd name="connsiteX8658" fmla="*/ 5073057 w 5521505"/>
              <a:gd name="connsiteY8658" fmla="*/ 1671226 h 2146918"/>
              <a:gd name="connsiteX8659" fmla="*/ 5095974 w 5521505"/>
              <a:gd name="connsiteY8659" fmla="*/ 1686276 h 2146918"/>
              <a:gd name="connsiteX8660" fmla="*/ 5114020 w 5521505"/>
              <a:gd name="connsiteY8660" fmla="*/ 1689442 h 2146918"/>
              <a:gd name="connsiteX8661" fmla="*/ 5124578 w 5521505"/>
              <a:gd name="connsiteY8661" fmla="*/ 1687738 h 2146918"/>
              <a:gd name="connsiteX8662" fmla="*/ 5117101 w 5521505"/>
              <a:gd name="connsiteY8662" fmla="*/ 1676072 h 2146918"/>
              <a:gd name="connsiteX8663" fmla="*/ 5113874 w 5521505"/>
              <a:gd name="connsiteY8663" fmla="*/ 1678130 h 2146918"/>
              <a:gd name="connsiteX8664" fmla="*/ 5108540 w 5521505"/>
              <a:gd name="connsiteY8664" fmla="*/ 1677923 h 2146918"/>
              <a:gd name="connsiteX8665" fmla="*/ 5101746 w 5521505"/>
              <a:gd name="connsiteY8665" fmla="*/ 1676181 h 2146918"/>
              <a:gd name="connsiteX8666" fmla="*/ 5097801 w 5521505"/>
              <a:gd name="connsiteY8666" fmla="*/ 1675305 h 2146918"/>
              <a:gd name="connsiteX8667" fmla="*/ 5094927 w 5521505"/>
              <a:gd name="connsiteY8667" fmla="*/ 1675061 h 2146918"/>
              <a:gd name="connsiteX8668" fmla="*/ 5091590 w 5521505"/>
              <a:gd name="connsiteY8668" fmla="*/ 1673344 h 2146918"/>
              <a:gd name="connsiteX8669" fmla="*/ 5087840 w 5521505"/>
              <a:gd name="connsiteY8669" fmla="*/ 1670312 h 2146918"/>
              <a:gd name="connsiteX8670" fmla="*/ 5079560 w 5521505"/>
              <a:gd name="connsiteY8670" fmla="*/ 1663359 h 2146918"/>
              <a:gd name="connsiteX8671" fmla="*/ 5066835 w 5521505"/>
              <a:gd name="connsiteY8671" fmla="*/ 1652668 h 2146918"/>
              <a:gd name="connsiteX8672" fmla="*/ 5060941 w 5521505"/>
              <a:gd name="connsiteY8672" fmla="*/ 1647797 h 2146918"/>
              <a:gd name="connsiteX8673" fmla="*/ 5060186 w 5521505"/>
              <a:gd name="connsiteY8673" fmla="*/ 1649198 h 2146918"/>
              <a:gd name="connsiteX8674" fmla="*/ 5059736 w 5521505"/>
              <a:gd name="connsiteY8674" fmla="*/ 1655907 h 2146918"/>
              <a:gd name="connsiteX8675" fmla="*/ 5131104 w 5521505"/>
              <a:gd name="connsiteY8675" fmla="*/ 1695871 h 2146918"/>
              <a:gd name="connsiteX8676" fmla="*/ 5133734 w 5521505"/>
              <a:gd name="connsiteY8676" fmla="*/ 1697942 h 2146918"/>
              <a:gd name="connsiteX8677" fmla="*/ 5135829 w 5521505"/>
              <a:gd name="connsiteY8677" fmla="*/ 1694605 h 2146918"/>
              <a:gd name="connsiteX8678" fmla="*/ 5136961 w 5521505"/>
              <a:gd name="connsiteY8678" fmla="*/ 1689491 h 2146918"/>
              <a:gd name="connsiteX8679" fmla="*/ 5136571 w 5521505"/>
              <a:gd name="connsiteY8679" fmla="*/ 1688444 h 2146918"/>
              <a:gd name="connsiteX8680" fmla="*/ 5135744 w 5521505"/>
              <a:gd name="connsiteY8680" fmla="*/ 1686069 h 2146918"/>
              <a:gd name="connsiteX8681" fmla="*/ 5133113 w 5521505"/>
              <a:gd name="connsiteY8681" fmla="*/ 1678276 h 2146918"/>
              <a:gd name="connsiteX8682" fmla="*/ 5122787 w 5521505"/>
              <a:gd name="connsiteY8682" fmla="*/ 1661143 h 2146918"/>
              <a:gd name="connsiteX8683" fmla="*/ 5115481 w 5521505"/>
              <a:gd name="connsiteY8683" fmla="*/ 1655639 h 2146918"/>
              <a:gd name="connsiteX8684" fmla="*/ 5131104 w 5521505"/>
              <a:gd name="connsiteY8684" fmla="*/ 1695871 h 2146918"/>
              <a:gd name="connsiteX8685" fmla="*/ 5158648 w 5521505"/>
              <a:gd name="connsiteY8685" fmla="*/ 1743361 h 2146918"/>
              <a:gd name="connsiteX8686" fmla="*/ 5158758 w 5521505"/>
              <a:gd name="connsiteY8686" fmla="*/ 1743909 h 2146918"/>
              <a:gd name="connsiteX8687" fmla="*/ 5158648 w 5521505"/>
              <a:gd name="connsiteY8687" fmla="*/ 1743410 h 2146918"/>
              <a:gd name="connsiteX8688" fmla="*/ 5152803 w 5521505"/>
              <a:gd name="connsiteY8688" fmla="*/ 1746491 h 2146918"/>
              <a:gd name="connsiteX8689" fmla="*/ 5159330 w 5521505"/>
              <a:gd name="connsiteY8689" fmla="*/ 1747087 h 2146918"/>
              <a:gd name="connsiteX8690" fmla="*/ 5159257 w 5521505"/>
              <a:gd name="connsiteY8690" fmla="*/ 1746661 h 2146918"/>
              <a:gd name="connsiteX8691" fmla="*/ 5156456 w 5521505"/>
              <a:gd name="connsiteY8691" fmla="*/ 1736688 h 2146918"/>
              <a:gd name="connsiteX8692" fmla="*/ 5154107 w 5521505"/>
              <a:gd name="connsiteY8692" fmla="*/ 1728603 h 2146918"/>
              <a:gd name="connsiteX8693" fmla="*/ 5152158 w 5521505"/>
              <a:gd name="connsiteY8693" fmla="*/ 1721930 h 2146918"/>
              <a:gd name="connsiteX8694" fmla="*/ 5152803 w 5521505"/>
              <a:gd name="connsiteY8694" fmla="*/ 1746540 h 2146918"/>
              <a:gd name="connsiteX8695" fmla="*/ 5158807 w 5521505"/>
              <a:gd name="connsiteY8695" fmla="*/ 1744214 h 2146918"/>
              <a:gd name="connsiteX8696" fmla="*/ 5159014 w 5521505"/>
              <a:gd name="connsiteY8696" fmla="*/ 1745285 h 2146918"/>
              <a:gd name="connsiteX8697" fmla="*/ 5158807 w 5521505"/>
              <a:gd name="connsiteY8697" fmla="*/ 1744262 h 2146918"/>
              <a:gd name="connsiteX8698" fmla="*/ 5159220 w 5521505"/>
              <a:gd name="connsiteY8698" fmla="*/ 1746393 h 2146918"/>
              <a:gd name="connsiteX8699" fmla="*/ 5159038 w 5521505"/>
              <a:gd name="connsiteY8699" fmla="*/ 1745395 h 2146918"/>
              <a:gd name="connsiteX8700" fmla="*/ 5159220 w 5521505"/>
              <a:gd name="connsiteY8700" fmla="*/ 1746442 h 2146918"/>
              <a:gd name="connsiteX8701" fmla="*/ 5159220 w 5521505"/>
              <a:gd name="connsiteY8701" fmla="*/ 1746393 h 2146918"/>
              <a:gd name="connsiteX8702" fmla="*/ 5159220 w 5521505"/>
              <a:gd name="connsiteY8702" fmla="*/ 1746491 h 2146918"/>
              <a:gd name="connsiteX8703" fmla="*/ 5159220 w 5521505"/>
              <a:gd name="connsiteY8703" fmla="*/ 1746491 h 2146918"/>
              <a:gd name="connsiteX8704" fmla="*/ 5159220 w 5521505"/>
              <a:gd name="connsiteY8704" fmla="*/ 1746442 h 2146918"/>
              <a:gd name="connsiteX8705" fmla="*/ 5159220 w 5521505"/>
              <a:gd name="connsiteY8705" fmla="*/ 1746491 h 2146918"/>
              <a:gd name="connsiteX8706" fmla="*/ 5159220 w 5521505"/>
              <a:gd name="connsiteY8706" fmla="*/ 1746661 h 2146918"/>
              <a:gd name="connsiteX8707" fmla="*/ 5159220 w 5521505"/>
              <a:gd name="connsiteY8707" fmla="*/ 1746661 h 2146918"/>
              <a:gd name="connsiteX8708" fmla="*/ 5159294 w 5521505"/>
              <a:gd name="connsiteY8708" fmla="*/ 1746540 h 2146918"/>
              <a:gd name="connsiteX8709" fmla="*/ 5162874 w 5521505"/>
              <a:gd name="connsiteY8709" fmla="*/ 1756695 h 2146918"/>
              <a:gd name="connsiteX8710" fmla="*/ 5168572 w 5521505"/>
              <a:gd name="connsiteY8710" fmla="*/ 1767861 h 2146918"/>
              <a:gd name="connsiteX8711" fmla="*/ 5162947 w 5521505"/>
              <a:gd name="connsiteY8711" fmla="*/ 1756744 h 2146918"/>
              <a:gd name="connsiteX8712" fmla="*/ 5153339 w 5521505"/>
              <a:gd name="connsiteY8712" fmla="*/ 1768872 h 2146918"/>
              <a:gd name="connsiteX8713" fmla="*/ 5155884 w 5521505"/>
              <a:gd name="connsiteY8713" fmla="*/ 1770443 h 2146918"/>
              <a:gd name="connsiteX8714" fmla="*/ 5156103 w 5521505"/>
              <a:gd name="connsiteY8714" fmla="*/ 1767021 h 2146918"/>
              <a:gd name="connsiteX8715" fmla="*/ 5154496 w 5521505"/>
              <a:gd name="connsiteY8715" fmla="*/ 1765998 h 2146918"/>
              <a:gd name="connsiteX8716" fmla="*/ 5171994 w 5521505"/>
              <a:gd name="connsiteY8716" fmla="*/ 1791935 h 2146918"/>
              <a:gd name="connsiteX8717" fmla="*/ 5170777 w 5521505"/>
              <a:gd name="connsiteY8717" fmla="*/ 1787831 h 2146918"/>
              <a:gd name="connsiteX8718" fmla="*/ 5164286 w 5521505"/>
              <a:gd name="connsiteY8718" fmla="*/ 1779027 h 2146918"/>
              <a:gd name="connsiteX8719" fmla="*/ 5166831 w 5521505"/>
              <a:gd name="connsiteY8719" fmla="*/ 1785286 h 2146918"/>
              <a:gd name="connsiteX8720" fmla="*/ 5172006 w 5521505"/>
              <a:gd name="connsiteY8720" fmla="*/ 1792032 h 2146918"/>
              <a:gd name="connsiteX8721" fmla="*/ 5188579 w 5521505"/>
              <a:gd name="connsiteY8721" fmla="*/ 1794589 h 2146918"/>
              <a:gd name="connsiteX8722" fmla="*/ 5182150 w 5521505"/>
              <a:gd name="connsiteY8722" fmla="*/ 1788501 h 2146918"/>
              <a:gd name="connsiteX8723" fmla="*/ 5193036 w 5521505"/>
              <a:gd name="connsiteY8723" fmla="*/ 1809530 h 2146918"/>
              <a:gd name="connsiteX8724" fmla="*/ 5188591 w 5521505"/>
              <a:gd name="connsiteY8724" fmla="*/ 1794723 h 2146918"/>
              <a:gd name="connsiteX8725" fmla="*/ 5182174 w 5521505"/>
              <a:gd name="connsiteY8725" fmla="*/ 1820088 h 2146918"/>
              <a:gd name="connsiteX8726" fmla="*/ 5192671 w 5521505"/>
              <a:gd name="connsiteY8726" fmla="*/ 1833360 h 2146918"/>
              <a:gd name="connsiteX8727" fmla="*/ 5196140 w 5521505"/>
              <a:gd name="connsiteY8727" fmla="*/ 1824094 h 2146918"/>
              <a:gd name="connsiteX8728" fmla="*/ 5187167 w 5521505"/>
              <a:gd name="connsiteY8728" fmla="*/ 1816179 h 2146918"/>
              <a:gd name="connsiteX8729" fmla="*/ 5182186 w 5521505"/>
              <a:gd name="connsiteY8729" fmla="*/ 1820185 h 2146918"/>
              <a:gd name="connsiteX8730" fmla="*/ 5204896 w 5521505"/>
              <a:gd name="connsiteY8730" fmla="*/ 1833628 h 2146918"/>
              <a:gd name="connsiteX8731" fmla="*/ 5205310 w 5521505"/>
              <a:gd name="connsiteY8731" fmla="*/ 1830742 h 2146918"/>
              <a:gd name="connsiteX8732" fmla="*/ 5206528 w 5521505"/>
              <a:gd name="connsiteY8732" fmla="*/ 1822219 h 2146918"/>
              <a:gd name="connsiteX8733" fmla="*/ 5204092 w 5521505"/>
              <a:gd name="connsiteY8733" fmla="*/ 1820368 h 2146918"/>
              <a:gd name="connsiteX8734" fmla="*/ 5201304 w 5521505"/>
              <a:gd name="connsiteY8734" fmla="*/ 1826274 h 2146918"/>
              <a:gd name="connsiteX8735" fmla="*/ 5202071 w 5521505"/>
              <a:gd name="connsiteY8735" fmla="*/ 1836356 h 2146918"/>
              <a:gd name="connsiteX8736" fmla="*/ 5204348 w 5521505"/>
              <a:gd name="connsiteY8736" fmla="*/ 1837780 h 2146918"/>
              <a:gd name="connsiteX8737" fmla="*/ 5204908 w 5521505"/>
              <a:gd name="connsiteY8737" fmla="*/ 1833689 h 2146918"/>
              <a:gd name="connsiteX8738" fmla="*/ 5202326 w 5521505"/>
              <a:gd name="connsiteY8738" fmla="*/ 1855790 h 2146918"/>
              <a:gd name="connsiteX8739" fmla="*/ 5202326 w 5521505"/>
              <a:gd name="connsiteY8739" fmla="*/ 1851906 h 2146918"/>
              <a:gd name="connsiteX8740" fmla="*/ 5199708 w 5521505"/>
              <a:gd name="connsiteY8740" fmla="*/ 1847741 h 2146918"/>
              <a:gd name="connsiteX8741" fmla="*/ 5195349 w 5521505"/>
              <a:gd name="connsiteY8741" fmla="*/ 1844234 h 2146918"/>
              <a:gd name="connsiteX8742" fmla="*/ 5196944 w 5521505"/>
              <a:gd name="connsiteY8742" fmla="*/ 1850932 h 2146918"/>
              <a:gd name="connsiteX8743" fmla="*/ 5202339 w 5521505"/>
              <a:gd name="connsiteY8743" fmla="*/ 1855887 h 2146918"/>
              <a:gd name="connsiteX8744" fmla="*/ 5216598 w 5521505"/>
              <a:gd name="connsiteY8744" fmla="*/ 1961948 h 2146918"/>
              <a:gd name="connsiteX8745" fmla="*/ 5221298 w 5521505"/>
              <a:gd name="connsiteY8745" fmla="*/ 1938982 h 2146918"/>
              <a:gd name="connsiteX8746" fmla="*/ 5216610 w 5521505"/>
              <a:gd name="connsiteY8746" fmla="*/ 1962045 h 2146918"/>
              <a:gd name="connsiteX8747" fmla="*/ 5224756 w 5521505"/>
              <a:gd name="connsiteY8747" fmla="*/ 1965284 h 2146918"/>
              <a:gd name="connsiteX8748" fmla="*/ 5234388 w 5521505"/>
              <a:gd name="connsiteY8748" fmla="*/ 1960133 h 2146918"/>
              <a:gd name="connsiteX8749" fmla="*/ 5226388 w 5521505"/>
              <a:gd name="connsiteY8749" fmla="*/ 1960986 h 2146918"/>
              <a:gd name="connsiteX8750" fmla="*/ 5224769 w 5521505"/>
              <a:gd name="connsiteY8750" fmla="*/ 1965381 h 2146918"/>
              <a:gd name="connsiteX8751" fmla="*/ 5219885 w 5521505"/>
              <a:gd name="connsiteY8751" fmla="*/ 1973711 h 2146918"/>
              <a:gd name="connsiteX8752" fmla="*/ 5219995 w 5521505"/>
              <a:gd name="connsiteY8752" fmla="*/ 1968950 h 2146918"/>
              <a:gd name="connsiteX8753" fmla="*/ 5217986 w 5521505"/>
              <a:gd name="connsiteY8753" fmla="*/ 1967841 h 2146918"/>
              <a:gd name="connsiteX8754" fmla="*/ 5217901 w 5521505"/>
              <a:gd name="connsiteY8754" fmla="*/ 1972639 h 2146918"/>
              <a:gd name="connsiteX8755" fmla="*/ 5211520 w 5521505"/>
              <a:gd name="connsiteY8755" fmla="*/ 1977620 h 2146918"/>
              <a:gd name="connsiteX8756" fmla="*/ 5209913 w 5521505"/>
              <a:gd name="connsiteY8756" fmla="*/ 1975184 h 2146918"/>
              <a:gd name="connsiteX8757" fmla="*/ 5209706 w 5521505"/>
              <a:gd name="connsiteY8757" fmla="*/ 1974867 h 2146918"/>
              <a:gd name="connsiteX8758" fmla="*/ 5206637 w 5521505"/>
              <a:gd name="connsiteY8758" fmla="*/ 1976451 h 2146918"/>
              <a:gd name="connsiteX8759" fmla="*/ 5207685 w 5521505"/>
              <a:gd name="connsiteY8759" fmla="*/ 1978228 h 2146918"/>
              <a:gd name="connsiteX8760" fmla="*/ 5125138 w 5521505"/>
              <a:gd name="connsiteY8760" fmla="*/ 1942307 h 2146918"/>
              <a:gd name="connsiteX8761" fmla="*/ 5126830 w 5521505"/>
              <a:gd name="connsiteY8761" fmla="*/ 1956602 h 2146918"/>
              <a:gd name="connsiteX8762" fmla="*/ 5131104 w 5521505"/>
              <a:gd name="connsiteY8762" fmla="*/ 1968779 h 2146918"/>
              <a:gd name="connsiteX8763" fmla="*/ 5136060 w 5521505"/>
              <a:gd name="connsiteY8763" fmla="*/ 1978301 h 2146918"/>
              <a:gd name="connsiteX8764" fmla="*/ 5138678 w 5521505"/>
              <a:gd name="connsiteY8764" fmla="*/ 1976231 h 2146918"/>
              <a:gd name="connsiteX8765" fmla="*/ 5139835 w 5521505"/>
              <a:gd name="connsiteY8765" fmla="*/ 1974539 h 2146918"/>
              <a:gd name="connsiteX8766" fmla="*/ 5137838 w 5521505"/>
              <a:gd name="connsiteY8766" fmla="*/ 1966222 h 2146918"/>
              <a:gd name="connsiteX8767" fmla="*/ 5134185 w 5521505"/>
              <a:gd name="connsiteY8767" fmla="*/ 1953522 h 2146918"/>
              <a:gd name="connsiteX8768" fmla="*/ 5125807 w 5521505"/>
              <a:gd name="connsiteY8768" fmla="*/ 1933904 h 2146918"/>
              <a:gd name="connsiteX8769" fmla="*/ 5125101 w 5521505"/>
              <a:gd name="connsiteY8769" fmla="*/ 1942428 h 2146918"/>
              <a:gd name="connsiteX8770" fmla="*/ 5347426 w 5521505"/>
              <a:gd name="connsiteY8770" fmla="*/ 2104831 h 2146918"/>
              <a:gd name="connsiteX8771" fmla="*/ 5343322 w 5521505"/>
              <a:gd name="connsiteY8771" fmla="*/ 2108399 h 2146918"/>
              <a:gd name="connsiteX8772" fmla="*/ 5357764 w 5521505"/>
              <a:gd name="connsiteY8772" fmla="*/ 2121355 h 2146918"/>
              <a:gd name="connsiteX8773" fmla="*/ 5363670 w 5521505"/>
              <a:gd name="connsiteY8773" fmla="*/ 2120551 h 2146918"/>
              <a:gd name="connsiteX8774" fmla="*/ 5347390 w 5521505"/>
              <a:gd name="connsiteY8774" fmla="*/ 2104953 h 2146918"/>
              <a:gd name="connsiteX8775" fmla="*/ 5334409 w 5521505"/>
              <a:gd name="connsiteY8775" fmla="*/ 2103382 h 2146918"/>
              <a:gd name="connsiteX8776" fmla="*/ 5329076 w 5521505"/>
              <a:gd name="connsiteY8776" fmla="*/ 2097293 h 2146918"/>
              <a:gd name="connsiteX8777" fmla="*/ 5322841 w 5521505"/>
              <a:gd name="connsiteY8777" fmla="*/ 2091412 h 2146918"/>
              <a:gd name="connsiteX8778" fmla="*/ 5315693 w 5521505"/>
              <a:gd name="connsiteY8778" fmla="*/ 2090194 h 2146918"/>
              <a:gd name="connsiteX8779" fmla="*/ 5316217 w 5521505"/>
              <a:gd name="connsiteY8779" fmla="*/ 2103674 h 2146918"/>
              <a:gd name="connsiteX8780" fmla="*/ 5330403 w 5521505"/>
              <a:gd name="connsiteY8780" fmla="*/ 2114828 h 2146918"/>
              <a:gd name="connsiteX8781" fmla="*/ 5334372 w 5521505"/>
              <a:gd name="connsiteY8781" fmla="*/ 2103504 h 2146918"/>
              <a:gd name="connsiteX8782" fmla="*/ 5044405 w 5521505"/>
              <a:gd name="connsiteY8782" fmla="*/ 2135224 h 2146918"/>
              <a:gd name="connsiteX8783" fmla="*/ 5044405 w 5521505"/>
              <a:gd name="connsiteY8783" fmla="*/ 2135224 h 2146918"/>
              <a:gd name="connsiteX8784" fmla="*/ 5044369 w 5521505"/>
              <a:gd name="connsiteY8784" fmla="*/ 2135346 h 2146918"/>
              <a:gd name="connsiteX8785" fmla="*/ 5044405 w 5521505"/>
              <a:gd name="connsiteY8785" fmla="*/ 2135224 h 2146918"/>
              <a:gd name="connsiteX8786" fmla="*/ 5044405 w 5521505"/>
              <a:gd name="connsiteY8786" fmla="*/ 2135224 h 2146918"/>
              <a:gd name="connsiteX8787" fmla="*/ 5044307 w 5521505"/>
              <a:gd name="connsiteY8787" fmla="*/ 2135224 h 2146918"/>
              <a:gd name="connsiteX8788" fmla="*/ 5044417 w 5521505"/>
              <a:gd name="connsiteY8788" fmla="*/ 2135224 h 2146918"/>
              <a:gd name="connsiteX8789" fmla="*/ 5044247 w 5521505"/>
              <a:gd name="connsiteY8789" fmla="*/ 2135151 h 2146918"/>
              <a:gd name="connsiteX8790" fmla="*/ 5044113 w 5521505"/>
              <a:gd name="connsiteY8790" fmla="*/ 2135078 h 2146918"/>
              <a:gd name="connsiteX8791" fmla="*/ 5035589 w 5521505"/>
              <a:gd name="connsiteY8791" fmla="*/ 2127187 h 2146918"/>
              <a:gd name="connsiteX8792" fmla="*/ 5037428 w 5521505"/>
              <a:gd name="connsiteY8792" fmla="*/ 2118774 h 2146918"/>
              <a:gd name="connsiteX8793" fmla="*/ 5040569 w 5521505"/>
              <a:gd name="connsiteY8793" fmla="*/ 2116046 h 2146918"/>
              <a:gd name="connsiteX8794" fmla="*/ 5034310 w 5521505"/>
              <a:gd name="connsiteY8794" fmla="*/ 2107851 h 2146918"/>
              <a:gd name="connsiteX8795" fmla="*/ 5045404 w 5521505"/>
              <a:gd name="connsiteY8795" fmla="*/ 2104027 h 2146918"/>
              <a:gd name="connsiteX8796" fmla="*/ 5048107 w 5521505"/>
              <a:gd name="connsiteY8796" fmla="*/ 2096088 h 2146918"/>
              <a:gd name="connsiteX8797" fmla="*/ 5044709 w 5521505"/>
              <a:gd name="connsiteY8797" fmla="*/ 2081378 h 2146918"/>
              <a:gd name="connsiteX8798" fmla="*/ 5031217 w 5521505"/>
              <a:gd name="connsiteY8798" fmla="*/ 2084739 h 2146918"/>
              <a:gd name="connsiteX8799" fmla="*/ 5020185 w 5521505"/>
              <a:gd name="connsiteY8799" fmla="*/ 2097720 h 2146918"/>
              <a:gd name="connsiteX8800" fmla="*/ 4999886 w 5521505"/>
              <a:gd name="connsiteY8800" fmla="*/ 2103272 h 2146918"/>
              <a:gd name="connsiteX8801" fmla="*/ 4982839 w 5521505"/>
              <a:gd name="connsiteY8801" fmla="*/ 2096283 h 2146918"/>
              <a:gd name="connsiteX8802" fmla="*/ 4974072 w 5521505"/>
              <a:gd name="connsiteY8802" fmla="*/ 2093409 h 2146918"/>
              <a:gd name="connsiteX8803" fmla="*/ 4973304 w 5521505"/>
              <a:gd name="connsiteY8803" fmla="*/ 2099741 h 2146918"/>
              <a:gd name="connsiteX8804" fmla="*/ 4974741 w 5521505"/>
              <a:gd name="connsiteY8804" fmla="*/ 2105830 h 2146918"/>
              <a:gd name="connsiteX8805" fmla="*/ 4972306 w 5521505"/>
              <a:gd name="connsiteY8805" fmla="*/ 2106487 h 2146918"/>
              <a:gd name="connsiteX8806" fmla="*/ 4961675 w 5521505"/>
              <a:gd name="connsiteY8806" fmla="*/ 2105525 h 2146918"/>
              <a:gd name="connsiteX8807" fmla="*/ 4953943 w 5521505"/>
              <a:gd name="connsiteY8807" fmla="*/ 2107704 h 2146918"/>
              <a:gd name="connsiteX8808" fmla="*/ 4955161 w 5521505"/>
              <a:gd name="connsiteY8808" fmla="*/ 2108995 h 2146918"/>
              <a:gd name="connsiteX8809" fmla="*/ 4957207 w 5521505"/>
              <a:gd name="connsiteY8809" fmla="*/ 2111102 h 2146918"/>
              <a:gd name="connsiteX8810" fmla="*/ 4963940 w 5521505"/>
              <a:gd name="connsiteY8810" fmla="*/ 2115145 h 2146918"/>
              <a:gd name="connsiteX8811" fmla="*/ 4993165 w 5521505"/>
              <a:gd name="connsiteY8811" fmla="*/ 2128113 h 2146918"/>
              <a:gd name="connsiteX8812" fmla="*/ 5007631 w 5521505"/>
              <a:gd name="connsiteY8812" fmla="*/ 2128661 h 2146918"/>
              <a:gd name="connsiteX8813" fmla="*/ 5018517 w 5521505"/>
              <a:gd name="connsiteY8813" fmla="*/ 2134007 h 2146918"/>
              <a:gd name="connsiteX8814" fmla="*/ 5031570 w 5521505"/>
              <a:gd name="connsiteY8814" fmla="*/ 2141130 h 2146918"/>
              <a:gd name="connsiteX8815" fmla="*/ 5038779 w 5521505"/>
              <a:gd name="connsiteY8815" fmla="*/ 2143480 h 2146918"/>
              <a:gd name="connsiteX8816" fmla="*/ 5046682 w 5521505"/>
              <a:gd name="connsiteY8816" fmla="*/ 2145989 h 2146918"/>
              <a:gd name="connsiteX8817" fmla="*/ 5050201 w 5521505"/>
              <a:gd name="connsiteY8817" fmla="*/ 2146878 h 2146918"/>
              <a:gd name="connsiteX8818" fmla="*/ 5054098 w 5521505"/>
              <a:gd name="connsiteY8818" fmla="*/ 2146074 h 2146918"/>
              <a:gd name="connsiteX8819" fmla="*/ 5044405 w 5521505"/>
              <a:gd name="connsiteY8819" fmla="*/ 2135370 h 2146918"/>
              <a:gd name="connsiteX8820" fmla="*/ 4937541 w 5521505"/>
              <a:gd name="connsiteY8820" fmla="*/ 2077226 h 2146918"/>
              <a:gd name="connsiteX8821" fmla="*/ 4927556 w 5521505"/>
              <a:gd name="connsiteY8821" fmla="*/ 2073865 h 2146918"/>
              <a:gd name="connsiteX8822" fmla="*/ 4909924 w 5521505"/>
              <a:gd name="connsiteY8822" fmla="*/ 2067618 h 2146918"/>
              <a:gd name="connsiteX8823" fmla="*/ 4905211 w 5521505"/>
              <a:gd name="connsiteY8823" fmla="*/ 2065463 h 2146918"/>
              <a:gd name="connsiteX8824" fmla="*/ 4904627 w 5521505"/>
              <a:gd name="connsiteY8824" fmla="*/ 2065365 h 2146918"/>
              <a:gd name="connsiteX8825" fmla="*/ 4903300 w 5521505"/>
              <a:gd name="connsiteY8825" fmla="*/ 2065365 h 2146918"/>
              <a:gd name="connsiteX8826" fmla="*/ 4899647 w 5521505"/>
              <a:gd name="connsiteY8826" fmla="*/ 2064660 h 2146918"/>
              <a:gd name="connsiteX8827" fmla="*/ 4890892 w 5521505"/>
              <a:gd name="connsiteY8827" fmla="*/ 2062602 h 2146918"/>
              <a:gd name="connsiteX8828" fmla="*/ 4883926 w 5521505"/>
              <a:gd name="connsiteY8828" fmla="*/ 2060543 h 2146918"/>
              <a:gd name="connsiteX8829" fmla="*/ 4876170 w 5521505"/>
              <a:gd name="connsiteY8829" fmla="*/ 2057707 h 2146918"/>
              <a:gd name="connsiteX8830" fmla="*/ 4865211 w 5521505"/>
              <a:gd name="connsiteY8830" fmla="*/ 2052653 h 2146918"/>
              <a:gd name="connsiteX8831" fmla="*/ 4853935 w 5521505"/>
              <a:gd name="connsiteY8831" fmla="*/ 2045980 h 2146918"/>
              <a:gd name="connsiteX8832" fmla="*/ 4844498 w 5521505"/>
              <a:gd name="connsiteY8832" fmla="*/ 2040330 h 2146918"/>
              <a:gd name="connsiteX8833" fmla="*/ 4829995 w 5521505"/>
              <a:gd name="connsiteY8833" fmla="*/ 2034388 h 2146918"/>
              <a:gd name="connsiteX8834" fmla="*/ 4827158 w 5521505"/>
              <a:gd name="connsiteY8834" fmla="*/ 2033791 h 2146918"/>
              <a:gd name="connsiteX8835" fmla="*/ 4821289 w 5521505"/>
              <a:gd name="connsiteY8835" fmla="*/ 2032038 h 2146918"/>
              <a:gd name="connsiteX8836" fmla="*/ 4808454 w 5521505"/>
              <a:gd name="connsiteY8836" fmla="*/ 2026668 h 2146918"/>
              <a:gd name="connsiteX8837" fmla="*/ 4797958 w 5521505"/>
              <a:gd name="connsiteY8837" fmla="*/ 2022381 h 2146918"/>
              <a:gd name="connsiteX8838" fmla="*/ 4792502 w 5521505"/>
              <a:gd name="connsiteY8838" fmla="*/ 2020311 h 2146918"/>
              <a:gd name="connsiteX8839" fmla="*/ 4783053 w 5521505"/>
              <a:gd name="connsiteY8839" fmla="*/ 2017949 h 2146918"/>
              <a:gd name="connsiteX8840" fmla="*/ 4773288 w 5521505"/>
              <a:gd name="connsiteY8840" fmla="*/ 2017559 h 2146918"/>
              <a:gd name="connsiteX8841" fmla="*/ 4780594 w 5521505"/>
              <a:gd name="connsiteY8841" fmla="*/ 2026376 h 2146918"/>
              <a:gd name="connsiteX8842" fmla="*/ 4787547 w 5521505"/>
              <a:gd name="connsiteY8842" fmla="*/ 2033925 h 2146918"/>
              <a:gd name="connsiteX8843" fmla="*/ 4793501 w 5521505"/>
              <a:gd name="connsiteY8843" fmla="*/ 2039794 h 2146918"/>
              <a:gd name="connsiteX8844" fmla="*/ 4797799 w 5521505"/>
              <a:gd name="connsiteY8844" fmla="*/ 2043800 h 2146918"/>
              <a:gd name="connsiteX8845" fmla="*/ 4799614 w 5521505"/>
              <a:gd name="connsiteY8845" fmla="*/ 2045322 h 2146918"/>
              <a:gd name="connsiteX8846" fmla="*/ 4805094 w 5521505"/>
              <a:gd name="connsiteY8846" fmla="*/ 2048123 h 2146918"/>
              <a:gd name="connsiteX8847" fmla="*/ 4812302 w 5521505"/>
              <a:gd name="connsiteY8847" fmla="*/ 2051508 h 2146918"/>
              <a:gd name="connsiteX8848" fmla="*/ 4821739 w 5521505"/>
              <a:gd name="connsiteY8848" fmla="*/ 2055478 h 2146918"/>
              <a:gd name="connsiteX8849" fmla="*/ 4830409 w 5521505"/>
              <a:gd name="connsiteY8849" fmla="*/ 2058571 h 2146918"/>
              <a:gd name="connsiteX8850" fmla="*/ 4841368 w 5521505"/>
              <a:gd name="connsiteY8850" fmla="*/ 2061579 h 2146918"/>
              <a:gd name="connsiteX8851" fmla="*/ 4849892 w 5521505"/>
              <a:gd name="connsiteY8851" fmla="*/ 2063259 h 2146918"/>
              <a:gd name="connsiteX8852" fmla="*/ 4872651 w 5521505"/>
              <a:gd name="connsiteY8852" fmla="*/ 2073902 h 2146918"/>
              <a:gd name="connsiteX8853" fmla="*/ 4880675 w 5521505"/>
              <a:gd name="connsiteY8853" fmla="*/ 2079552 h 2146918"/>
              <a:gd name="connsiteX8854" fmla="*/ 4884730 w 5521505"/>
              <a:gd name="connsiteY8854" fmla="*/ 2082219 h 2146918"/>
              <a:gd name="connsiteX8855" fmla="*/ 4899805 w 5521505"/>
              <a:gd name="connsiteY8855" fmla="*/ 2087089 h 2146918"/>
              <a:gd name="connsiteX8856" fmla="*/ 4908329 w 5521505"/>
              <a:gd name="connsiteY8856" fmla="*/ 2089756 h 2146918"/>
              <a:gd name="connsiteX8857" fmla="*/ 4915635 w 5521505"/>
              <a:gd name="connsiteY8857" fmla="*/ 2092106 h 2146918"/>
              <a:gd name="connsiteX8858" fmla="*/ 4926472 w 5521505"/>
              <a:gd name="connsiteY8858" fmla="*/ 2095686 h 2146918"/>
              <a:gd name="connsiteX8859" fmla="*/ 4938016 w 5521505"/>
              <a:gd name="connsiteY8859" fmla="*/ 2098974 h 2146918"/>
              <a:gd name="connsiteX8860" fmla="*/ 4952701 w 5521505"/>
              <a:gd name="connsiteY8860" fmla="*/ 2095114 h 2146918"/>
              <a:gd name="connsiteX8861" fmla="*/ 4941742 w 5521505"/>
              <a:gd name="connsiteY8861" fmla="*/ 2086517 h 2146918"/>
              <a:gd name="connsiteX8862" fmla="*/ 4937541 w 5521505"/>
              <a:gd name="connsiteY8862" fmla="*/ 2077226 h 2146918"/>
              <a:gd name="connsiteX8863" fmla="*/ 4648840 w 5521505"/>
              <a:gd name="connsiteY8863" fmla="*/ 1840995 h 2146918"/>
              <a:gd name="connsiteX8864" fmla="*/ 4642618 w 5521505"/>
              <a:gd name="connsiteY8864" fmla="*/ 1837208 h 2146918"/>
              <a:gd name="connsiteX8865" fmla="*/ 4636067 w 5521505"/>
              <a:gd name="connsiteY8865" fmla="*/ 1832764 h 2146918"/>
              <a:gd name="connsiteX8866" fmla="*/ 4626593 w 5521505"/>
              <a:gd name="connsiteY8866" fmla="*/ 1824849 h 2146918"/>
              <a:gd name="connsiteX8867" fmla="*/ 4621101 w 5521505"/>
              <a:gd name="connsiteY8867" fmla="*/ 1819332 h 2146918"/>
              <a:gd name="connsiteX8868" fmla="*/ 4615999 w 5521505"/>
              <a:gd name="connsiteY8868" fmla="*/ 1817384 h 2146918"/>
              <a:gd name="connsiteX8869" fmla="*/ 4611494 w 5521505"/>
              <a:gd name="connsiteY8869" fmla="*/ 1817944 h 2146918"/>
              <a:gd name="connsiteX8870" fmla="*/ 4603469 w 5521505"/>
              <a:gd name="connsiteY8870" fmla="*/ 1821768 h 2146918"/>
              <a:gd name="connsiteX8871" fmla="*/ 4596029 w 5521505"/>
              <a:gd name="connsiteY8871" fmla="*/ 1826639 h 2146918"/>
              <a:gd name="connsiteX8872" fmla="*/ 4593168 w 5521505"/>
              <a:gd name="connsiteY8872" fmla="*/ 1827734 h 2146918"/>
              <a:gd name="connsiteX8873" fmla="*/ 4589515 w 5521505"/>
              <a:gd name="connsiteY8873" fmla="*/ 1837732 h 2146918"/>
              <a:gd name="connsiteX8874" fmla="*/ 4592863 w 5521505"/>
              <a:gd name="connsiteY8874" fmla="*/ 1843954 h 2146918"/>
              <a:gd name="connsiteX8875" fmla="*/ 4596516 w 5521505"/>
              <a:gd name="connsiteY8875" fmla="*/ 1846000 h 2146918"/>
              <a:gd name="connsiteX8876" fmla="*/ 4623634 w 5521505"/>
              <a:gd name="connsiteY8876" fmla="*/ 1853635 h 2146918"/>
              <a:gd name="connsiteX8877" fmla="*/ 4646490 w 5521505"/>
              <a:gd name="connsiteY8877" fmla="*/ 1852758 h 2146918"/>
              <a:gd name="connsiteX8878" fmla="*/ 4656560 w 5521505"/>
              <a:gd name="connsiteY8878" fmla="*/ 1850152 h 2146918"/>
              <a:gd name="connsiteX8879" fmla="*/ 4648840 w 5521505"/>
              <a:gd name="connsiteY8879" fmla="*/ 1840995 h 2146918"/>
              <a:gd name="connsiteX8880" fmla="*/ 4912652 w 5521505"/>
              <a:gd name="connsiteY8880" fmla="*/ 1843650 h 2146918"/>
              <a:gd name="connsiteX8881" fmla="*/ 4919142 w 5521505"/>
              <a:gd name="connsiteY8881" fmla="*/ 1840691 h 2146918"/>
              <a:gd name="connsiteX8882" fmla="*/ 4932135 w 5521505"/>
              <a:gd name="connsiteY8882" fmla="*/ 1834882 h 2146918"/>
              <a:gd name="connsiteX8883" fmla="*/ 4925559 w 5521505"/>
              <a:gd name="connsiteY8883" fmla="*/ 1830889 h 2146918"/>
              <a:gd name="connsiteX8884" fmla="*/ 4925389 w 5521505"/>
              <a:gd name="connsiteY8884" fmla="*/ 1821950 h 2146918"/>
              <a:gd name="connsiteX8885" fmla="*/ 4923014 w 5521505"/>
              <a:gd name="connsiteY8885" fmla="*/ 1803758 h 2146918"/>
              <a:gd name="connsiteX8886" fmla="*/ 4923964 w 5521505"/>
              <a:gd name="connsiteY8886" fmla="*/ 1799703 h 2146918"/>
              <a:gd name="connsiteX8887" fmla="*/ 4924244 w 5521505"/>
              <a:gd name="connsiteY8887" fmla="*/ 1785627 h 2146918"/>
              <a:gd name="connsiteX8888" fmla="*/ 4919227 w 5521505"/>
              <a:gd name="connsiteY8888" fmla="*/ 1778954 h 2146918"/>
              <a:gd name="connsiteX8889" fmla="*/ 4919398 w 5521505"/>
              <a:gd name="connsiteY8889" fmla="*/ 1777554 h 2146918"/>
              <a:gd name="connsiteX8890" fmla="*/ 4919665 w 5521505"/>
              <a:gd name="connsiteY8890" fmla="*/ 1776920 h 2146918"/>
              <a:gd name="connsiteX8891" fmla="*/ 4923416 w 5521505"/>
              <a:gd name="connsiteY8891" fmla="*/ 1771307 h 2146918"/>
              <a:gd name="connsiteX8892" fmla="*/ 4923793 w 5521505"/>
              <a:gd name="connsiteY8892" fmla="*/ 1767143 h 2146918"/>
              <a:gd name="connsiteX8893" fmla="*/ 4923964 w 5521505"/>
              <a:gd name="connsiteY8893" fmla="*/ 1759922 h 2146918"/>
              <a:gd name="connsiteX8894" fmla="*/ 4924974 w 5521505"/>
              <a:gd name="connsiteY8894" fmla="*/ 1755964 h 2146918"/>
              <a:gd name="connsiteX8895" fmla="*/ 4925718 w 5521505"/>
              <a:gd name="connsiteY8895" fmla="*/ 1753176 h 2146918"/>
              <a:gd name="connsiteX8896" fmla="*/ 4923123 w 5521505"/>
              <a:gd name="connsiteY8896" fmla="*/ 1747245 h 2146918"/>
              <a:gd name="connsiteX8897" fmla="*/ 4916792 w 5521505"/>
              <a:gd name="connsiteY8897" fmla="*/ 1734363 h 2146918"/>
              <a:gd name="connsiteX8898" fmla="*/ 4912737 w 5521505"/>
              <a:gd name="connsiteY8898" fmla="*/ 1727057 h 2146918"/>
              <a:gd name="connsiteX8899" fmla="*/ 4913686 w 5521505"/>
              <a:gd name="connsiteY8899" fmla="*/ 1718533 h 2146918"/>
              <a:gd name="connsiteX8900" fmla="*/ 4917936 w 5521505"/>
              <a:gd name="connsiteY8900" fmla="*/ 1713406 h 2146918"/>
              <a:gd name="connsiteX8901" fmla="*/ 4921943 w 5521505"/>
              <a:gd name="connsiteY8901" fmla="*/ 1707501 h 2146918"/>
              <a:gd name="connsiteX8902" fmla="*/ 4925827 w 5521505"/>
              <a:gd name="connsiteY8902" fmla="*/ 1700279 h 2146918"/>
              <a:gd name="connsiteX8903" fmla="*/ 4928567 w 5521505"/>
              <a:gd name="connsiteY8903" fmla="*/ 1694739 h 2146918"/>
              <a:gd name="connsiteX8904" fmla="*/ 4932549 w 5521505"/>
              <a:gd name="connsiteY8904" fmla="*/ 1686374 h 2146918"/>
              <a:gd name="connsiteX8905" fmla="*/ 4932427 w 5521505"/>
              <a:gd name="connsiteY8905" fmla="*/ 1681393 h 2146918"/>
              <a:gd name="connsiteX8906" fmla="*/ 4931440 w 5521505"/>
              <a:gd name="connsiteY8906" fmla="*/ 1678897 h 2146918"/>
              <a:gd name="connsiteX8907" fmla="*/ 4926314 w 5521505"/>
              <a:gd name="connsiteY8907" fmla="*/ 1668181 h 2146918"/>
              <a:gd name="connsiteX8908" fmla="*/ 4917194 w 5521505"/>
              <a:gd name="connsiteY8908" fmla="*/ 1661180 h 2146918"/>
              <a:gd name="connsiteX8909" fmla="*/ 4919945 w 5521505"/>
              <a:gd name="connsiteY8909" fmla="*/ 1660364 h 2146918"/>
              <a:gd name="connsiteX8910" fmla="*/ 4927410 w 5521505"/>
              <a:gd name="connsiteY8910" fmla="*/ 1651511 h 2146918"/>
              <a:gd name="connsiteX8911" fmla="*/ 4928445 w 5521505"/>
              <a:gd name="connsiteY8911" fmla="*/ 1647456 h 2146918"/>
              <a:gd name="connsiteX8912" fmla="*/ 4929419 w 5521505"/>
              <a:gd name="connsiteY8912" fmla="*/ 1643706 h 2146918"/>
              <a:gd name="connsiteX8913" fmla="*/ 4932560 w 5521505"/>
              <a:gd name="connsiteY8913" fmla="*/ 1632479 h 2146918"/>
              <a:gd name="connsiteX8914" fmla="*/ 4931416 w 5521505"/>
              <a:gd name="connsiteY8914" fmla="*/ 1618743 h 2146918"/>
              <a:gd name="connsiteX8915" fmla="*/ 4926545 w 5521505"/>
              <a:gd name="connsiteY8915" fmla="*/ 1619961 h 2146918"/>
              <a:gd name="connsiteX8916" fmla="*/ 4921090 w 5521505"/>
              <a:gd name="connsiteY8916" fmla="*/ 1621374 h 2146918"/>
              <a:gd name="connsiteX8917" fmla="*/ 4916280 w 5521505"/>
              <a:gd name="connsiteY8917" fmla="*/ 1622945 h 2146918"/>
              <a:gd name="connsiteX8918" fmla="*/ 4909559 w 5521505"/>
              <a:gd name="connsiteY8918" fmla="*/ 1625039 h 2146918"/>
              <a:gd name="connsiteX8919" fmla="*/ 4899002 w 5521505"/>
              <a:gd name="connsiteY8919" fmla="*/ 1628424 h 2146918"/>
              <a:gd name="connsiteX8920" fmla="*/ 4890392 w 5521505"/>
              <a:gd name="connsiteY8920" fmla="*/ 1632077 h 2146918"/>
              <a:gd name="connsiteX8921" fmla="*/ 4882368 w 5521505"/>
              <a:gd name="connsiteY8921" fmla="*/ 1636948 h 2146918"/>
              <a:gd name="connsiteX8922" fmla="*/ 4877728 w 5521505"/>
              <a:gd name="connsiteY8922" fmla="*/ 1639152 h 2146918"/>
              <a:gd name="connsiteX8923" fmla="*/ 4870337 w 5521505"/>
              <a:gd name="connsiteY8923" fmla="*/ 1642062 h 2146918"/>
              <a:gd name="connsiteX8924" fmla="*/ 4862167 w 5521505"/>
              <a:gd name="connsiteY8924" fmla="*/ 1645106 h 2146918"/>
              <a:gd name="connsiteX8925" fmla="*/ 4853910 w 5521505"/>
              <a:gd name="connsiteY8925" fmla="*/ 1648759 h 2146918"/>
              <a:gd name="connsiteX8926" fmla="*/ 4846020 w 5521505"/>
              <a:gd name="connsiteY8926" fmla="*/ 1650963 h 2146918"/>
              <a:gd name="connsiteX8927" fmla="*/ 4831323 w 5521505"/>
              <a:gd name="connsiteY8927" fmla="*/ 1639261 h 2146918"/>
              <a:gd name="connsiteX8928" fmla="*/ 4827109 w 5521505"/>
              <a:gd name="connsiteY8928" fmla="*/ 1632637 h 2146918"/>
              <a:gd name="connsiteX8929" fmla="*/ 4823529 w 5521505"/>
              <a:gd name="connsiteY8929" fmla="*/ 1626549 h 2146918"/>
              <a:gd name="connsiteX8930" fmla="*/ 4818524 w 5521505"/>
              <a:gd name="connsiteY8930" fmla="*/ 1617209 h 2146918"/>
              <a:gd name="connsiteX8931" fmla="*/ 4809587 w 5521505"/>
              <a:gd name="connsiteY8931" fmla="*/ 1600064 h 2146918"/>
              <a:gd name="connsiteX8932" fmla="*/ 4803498 w 5521505"/>
              <a:gd name="connsiteY8932" fmla="*/ 1588594 h 2146918"/>
              <a:gd name="connsiteX8933" fmla="*/ 4799845 w 5521505"/>
              <a:gd name="connsiteY8933" fmla="*/ 1581713 h 2146918"/>
              <a:gd name="connsiteX8934" fmla="*/ 4802865 w 5521505"/>
              <a:gd name="connsiteY8934" fmla="*/ 1580642 h 2146918"/>
              <a:gd name="connsiteX8935" fmla="*/ 4808576 w 5521505"/>
              <a:gd name="connsiteY8935" fmla="*/ 1578608 h 2146918"/>
              <a:gd name="connsiteX8936" fmla="*/ 4817295 w 5521505"/>
              <a:gd name="connsiteY8936" fmla="*/ 1577391 h 2146918"/>
              <a:gd name="connsiteX8937" fmla="*/ 4822519 w 5521505"/>
              <a:gd name="connsiteY8937" fmla="*/ 1577391 h 2146918"/>
              <a:gd name="connsiteX8938" fmla="*/ 4828765 w 5521505"/>
              <a:gd name="connsiteY8938" fmla="*/ 1577391 h 2146918"/>
              <a:gd name="connsiteX8939" fmla="*/ 4834111 w 5521505"/>
              <a:gd name="connsiteY8939" fmla="*/ 1577171 h 2146918"/>
              <a:gd name="connsiteX8940" fmla="*/ 4837350 w 5521505"/>
              <a:gd name="connsiteY8940" fmla="*/ 1573884 h 2146918"/>
              <a:gd name="connsiteX8941" fmla="*/ 4836741 w 5521505"/>
              <a:gd name="connsiteY8941" fmla="*/ 1569013 h 2146918"/>
              <a:gd name="connsiteX8942" fmla="*/ 4833465 w 5521505"/>
              <a:gd name="connsiteY8942" fmla="*/ 1565823 h 2146918"/>
              <a:gd name="connsiteX8943" fmla="*/ 4832966 w 5521505"/>
              <a:gd name="connsiteY8943" fmla="*/ 1565652 h 2146918"/>
              <a:gd name="connsiteX8944" fmla="*/ 4831748 w 5521505"/>
              <a:gd name="connsiteY8944" fmla="*/ 1565153 h 2146918"/>
              <a:gd name="connsiteX8945" fmla="*/ 4822117 w 5521505"/>
              <a:gd name="connsiteY8945" fmla="*/ 1557920 h 2146918"/>
              <a:gd name="connsiteX8946" fmla="*/ 4819243 w 5521505"/>
              <a:gd name="connsiteY8946" fmla="*/ 1555241 h 2146918"/>
              <a:gd name="connsiteX8947" fmla="*/ 4817648 w 5521505"/>
              <a:gd name="connsiteY8947" fmla="*/ 1553914 h 2146918"/>
              <a:gd name="connsiteX8948" fmla="*/ 4800832 w 5521505"/>
              <a:gd name="connsiteY8948" fmla="*/ 1538802 h 2146918"/>
              <a:gd name="connsiteX8949" fmla="*/ 4792564 w 5521505"/>
              <a:gd name="connsiteY8949" fmla="*/ 1530486 h 2146918"/>
              <a:gd name="connsiteX8950" fmla="*/ 4789544 w 5521505"/>
              <a:gd name="connsiteY8950" fmla="*/ 1527283 h 2146918"/>
              <a:gd name="connsiteX8951" fmla="*/ 4784247 w 5521505"/>
              <a:gd name="connsiteY8951" fmla="*/ 1521755 h 2146918"/>
              <a:gd name="connsiteX8952" fmla="*/ 4774895 w 5521505"/>
              <a:gd name="connsiteY8952" fmla="*/ 1515386 h 2146918"/>
              <a:gd name="connsiteX8953" fmla="*/ 4775528 w 5521505"/>
              <a:gd name="connsiteY8953" fmla="*/ 1517822 h 2146918"/>
              <a:gd name="connsiteX8954" fmla="*/ 4775918 w 5521505"/>
              <a:gd name="connsiteY8954" fmla="*/ 1520257 h 2146918"/>
              <a:gd name="connsiteX8955" fmla="*/ 4775236 w 5521505"/>
              <a:gd name="connsiteY8955" fmla="*/ 1523313 h 2146918"/>
              <a:gd name="connsiteX8956" fmla="*/ 4772326 w 5521505"/>
              <a:gd name="connsiteY8956" fmla="*/ 1525250 h 2146918"/>
              <a:gd name="connsiteX8957" fmla="*/ 4763497 w 5521505"/>
              <a:gd name="connsiteY8957" fmla="*/ 1520622 h 2146918"/>
              <a:gd name="connsiteX8958" fmla="*/ 4761720 w 5521505"/>
              <a:gd name="connsiteY8958" fmla="*/ 1519246 h 2146918"/>
              <a:gd name="connsiteX8959" fmla="*/ 4759820 w 5521505"/>
              <a:gd name="connsiteY8959" fmla="*/ 1517846 h 2146918"/>
              <a:gd name="connsiteX8960" fmla="*/ 4757189 w 5521505"/>
              <a:gd name="connsiteY8960" fmla="*/ 1516056 h 2146918"/>
              <a:gd name="connsiteX8961" fmla="*/ 4754231 w 5521505"/>
              <a:gd name="connsiteY8961" fmla="*/ 1514266 h 2146918"/>
              <a:gd name="connsiteX8962" fmla="*/ 4751710 w 5521505"/>
              <a:gd name="connsiteY8962" fmla="*/ 1512987 h 2146918"/>
              <a:gd name="connsiteX8963" fmla="*/ 4749104 w 5521505"/>
              <a:gd name="connsiteY8963" fmla="*/ 1511928 h 2146918"/>
              <a:gd name="connsiteX8964" fmla="*/ 4746596 w 5521505"/>
              <a:gd name="connsiteY8964" fmla="*/ 1511185 h 2146918"/>
              <a:gd name="connsiteX8965" fmla="*/ 4744234 w 5521505"/>
              <a:gd name="connsiteY8965" fmla="*/ 1510771 h 2146918"/>
              <a:gd name="connsiteX8966" fmla="*/ 4741007 w 5521505"/>
              <a:gd name="connsiteY8966" fmla="*/ 1510613 h 2146918"/>
              <a:gd name="connsiteX8967" fmla="*/ 4738572 w 5521505"/>
              <a:gd name="connsiteY8967" fmla="*/ 1510796 h 2146918"/>
              <a:gd name="connsiteX8968" fmla="*/ 4735101 w 5521505"/>
              <a:gd name="connsiteY8968" fmla="*/ 1511465 h 2146918"/>
              <a:gd name="connsiteX8969" fmla="*/ 4729792 w 5521505"/>
              <a:gd name="connsiteY8969" fmla="*/ 1512172 h 2146918"/>
              <a:gd name="connsiteX8970" fmla="*/ 4725067 w 5521505"/>
              <a:gd name="connsiteY8970" fmla="*/ 1512293 h 2146918"/>
              <a:gd name="connsiteX8971" fmla="*/ 4718005 w 5521505"/>
              <a:gd name="connsiteY8971" fmla="*/ 1512208 h 2146918"/>
              <a:gd name="connsiteX8972" fmla="*/ 4712318 w 5521505"/>
              <a:gd name="connsiteY8972" fmla="*/ 1512914 h 2146918"/>
              <a:gd name="connsiteX8973" fmla="*/ 4708081 w 5521505"/>
              <a:gd name="connsiteY8973" fmla="*/ 1520573 h 2146918"/>
              <a:gd name="connsiteX8974" fmla="*/ 4704951 w 5521505"/>
              <a:gd name="connsiteY8974" fmla="*/ 1518138 h 2146918"/>
              <a:gd name="connsiteX8975" fmla="*/ 4692300 w 5521505"/>
              <a:gd name="connsiteY8975" fmla="*/ 1508518 h 2146918"/>
              <a:gd name="connsiteX8976" fmla="*/ 4692007 w 5521505"/>
              <a:gd name="connsiteY8976" fmla="*/ 1502674 h 2146918"/>
              <a:gd name="connsiteX8977" fmla="*/ 4687514 w 5521505"/>
              <a:gd name="connsiteY8977" fmla="*/ 1494734 h 2146918"/>
              <a:gd name="connsiteX8978" fmla="*/ 4685079 w 5521505"/>
              <a:gd name="connsiteY8978" fmla="*/ 1491276 h 2146918"/>
              <a:gd name="connsiteX8979" fmla="*/ 4676884 w 5521505"/>
              <a:gd name="connsiteY8979" fmla="*/ 1485736 h 2146918"/>
              <a:gd name="connsiteX8980" fmla="*/ 4673876 w 5521505"/>
              <a:gd name="connsiteY8980" fmla="*/ 1484956 h 2146918"/>
              <a:gd name="connsiteX8981" fmla="*/ 4671782 w 5521505"/>
              <a:gd name="connsiteY8981" fmla="*/ 1484311 h 2146918"/>
              <a:gd name="connsiteX8982" fmla="*/ 4655367 w 5521505"/>
              <a:gd name="connsiteY8982" fmla="*/ 1478856 h 2146918"/>
              <a:gd name="connsiteX8983" fmla="*/ 4642788 w 5521505"/>
              <a:gd name="connsiteY8983" fmla="*/ 1480950 h 2146918"/>
              <a:gd name="connsiteX8984" fmla="*/ 4628907 w 5521505"/>
              <a:gd name="connsiteY8984" fmla="*/ 1475970 h 2146918"/>
              <a:gd name="connsiteX8985" fmla="*/ 4624657 w 5521505"/>
              <a:gd name="connsiteY8985" fmla="*/ 1480962 h 2146918"/>
              <a:gd name="connsiteX8986" fmla="*/ 4613271 w 5521505"/>
              <a:gd name="connsiteY8986" fmla="*/ 1478344 h 2146918"/>
              <a:gd name="connsiteX8987" fmla="*/ 4605965 w 5521505"/>
              <a:gd name="connsiteY8987" fmla="*/ 1483860 h 2146918"/>
              <a:gd name="connsiteX8988" fmla="*/ 4604041 w 5521505"/>
              <a:gd name="connsiteY8988" fmla="*/ 1486856 h 2146918"/>
              <a:gd name="connsiteX8989" fmla="*/ 4597953 w 5521505"/>
              <a:gd name="connsiteY8989" fmla="*/ 1472122 h 2146918"/>
              <a:gd name="connsiteX8990" fmla="*/ 4575207 w 5521505"/>
              <a:gd name="connsiteY8990" fmla="*/ 1480000 h 2146918"/>
              <a:gd name="connsiteX8991" fmla="*/ 4560680 w 5521505"/>
              <a:gd name="connsiteY8991" fmla="*/ 1480268 h 2146918"/>
              <a:gd name="connsiteX8992" fmla="*/ 4522347 w 5521505"/>
              <a:gd name="connsiteY8992" fmla="*/ 1473827 h 2146918"/>
              <a:gd name="connsiteX8993" fmla="*/ 4515905 w 5521505"/>
              <a:gd name="connsiteY8993" fmla="*/ 1470174 h 2146918"/>
              <a:gd name="connsiteX8994" fmla="*/ 4513202 w 5521505"/>
              <a:gd name="connsiteY8994" fmla="*/ 1469187 h 2146918"/>
              <a:gd name="connsiteX8995" fmla="*/ 4504045 w 5521505"/>
              <a:gd name="connsiteY8995" fmla="*/ 1466106 h 2146918"/>
              <a:gd name="connsiteX8996" fmla="*/ 4496812 w 5521505"/>
              <a:gd name="connsiteY8996" fmla="*/ 1463817 h 2146918"/>
              <a:gd name="connsiteX8997" fmla="*/ 4492551 w 5521505"/>
              <a:gd name="connsiteY8997" fmla="*/ 1462600 h 2146918"/>
              <a:gd name="connsiteX8998" fmla="*/ 4490395 w 5521505"/>
              <a:gd name="connsiteY8998" fmla="*/ 1462368 h 2146918"/>
              <a:gd name="connsiteX8999" fmla="*/ 4480081 w 5521505"/>
              <a:gd name="connsiteY8999" fmla="*/ 1460347 h 2146918"/>
              <a:gd name="connsiteX9000" fmla="*/ 4448117 w 5521505"/>
              <a:gd name="connsiteY9000" fmla="*/ 1451652 h 2146918"/>
              <a:gd name="connsiteX9001" fmla="*/ 4444464 w 5521505"/>
              <a:gd name="connsiteY9001" fmla="*/ 1451507 h 2146918"/>
              <a:gd name="connsiteX9002" fmla="*/ 4438302 w 5521505"/>
              <a:gd name="connsiteY9002" fmla="*/ 1450910 h 2146918"/>
              <a:gd name="connsiteX9003" fmla="*/ 4414107 w 5521505"/>
              <a:gd name="connsiteY9003" fmla="*/ 1447257 h 2146918"/>
              <a:gd name="connsiteX9004" fmla="*/ 4411562 w 5521505"/>
              <a:gd name="connsiteY9004" fmla="*/ 1452127 h 2146918"/>
              <a:gd name="connsiteX9005" fmla="*/ 4395623 w 5521505"/>
              <a:gd name="connsiteY9005" fmla="*/ 1459616 h 2146918"/>
              <a:gd name="connsiteX9006" fmla="*/ 4388049 w 5521505"/>
              <a:gd name="connsiteY9006" fmla="*/ 1468201 h 2146918"/>
              <a:gd name="connsiteX9007" fmla="*/ 4386039 w 5521505"/>
              <a:gd name="connsiteY9007" fmla="*/ 1479063 h 2146918"/>
              <a:gd name="connsiteX9008" fmla="*/ 4384481 w 5521505"/>
              <a:gd name="connsiteY9008" fmla="*/ 1476896 h 2146918"/>
              <a:gd name="connsiteX9009" fmla="*/ 4372657 w 5521505"/>
              <a:gd name="connsiteY9009" fmla="*/ 1473242 h 2146918"/>
              <a:gd name="connsiteX9010" fmla="*/ 4370063 w 5521505"/>
              <a:gd name="connsiteY9010" fmla="*/ 1482984 h 2146918"/>
              <a:gd name="connsiteX9011" fmla="*/ 4368846 w 5521505"/>
              <a:gd name="connsiteY9011" fmla="*/ 1501554 h 2146918"/>
              <a:gd name="connsiteX9012" fmla="*/ 4365193 w 5521505"/>
              <a:gd name="connsiteY9012" fmla="*/ 1511660 h 2146918"/>
              <a:gd name="connsiteX9013" fmla="*/ 4354879 w 5521505"/>
              <a:gd name="connsiteY9013" fmla="*/ 1535880 h 2146918"/>
              <a:gd name="connsiteX9014" fmla="*/ 4354720 w 5521505"/>
              <a:gd name="connsiteY9014" fmla="*/ 1537792 h 2146918"/>
              <a:gd name="connsiteX9015" fmla="*/ 4353759 w 5521505"/>
              <a:gd name="connsiteY9015" fmla="*/ 1539484 h 2146918"/>
              <a:gd name="connsiteX9016" fmla="*/ 4350020 w 5521505"/>
              <a:gd name="connsiteY9016" fmla="*/ 1541408 h 2146918"/>
              <a:gd name="connsiteX9017" fmla="*/ 4339219 w 5521505"/>
              <a:gd name="connsiteY9017" fmla="*/ 1547082 h 2146918"/>
              <a:gd name="connsiteX9018" fmla="*/ 4325995 w 5521505"/>
              <a:gd name="connsiteY9018" fmla="*/ 1548446 h 2146918"/>
              <a:gd name="connsiteX9019" fmla="*/ 4319006 w 5521505"/>
              <a:gd name="connsiteY9019" fmla="*/ 1553135 h 2146918"/>
              <a:gd name="connsiteX9020" fmla="*/ 4324242 w 5521505"/>
              <a:gd name="connsiteY9020" fmla="*/ 1561196 h 2146918"/>
              <a:gd name="connsiteX9021" fmla="*/ 4334605 w 5521505"/>
              <a:gd name="connsiteY9021" fmla="*/ 1574724 h 2146918"/>
              <a:gd name="connsiteX9022" fmla="*/ 4357741 w 5521505"/>
              <a:gd name="connsiteY9022" fmla="*/ 1582675 h 2146918"/>
              <a:gd name="connsiteX9023" fmla="*/ 4375044 w 5521505"/>
              <a:gd name="connsiteY9023" fmla="*/ 1583893 h 2146918"/>
              <a:gd name="connsiteX9024" fmla="*/ 4404378 w 5521505"/>
              <a:gd name="connsiteY9024" fmla="*/ 1595254 h 2146918"/>
              <a:gd name="connsiteX9025" fmla="*/ 4427843 w 5521505"/>
              <a:gd name="connsiteY9025" fmla="*/ 1608576 h 2146918"/>
              <a:gd name="connsiteX9026" fmla="*/ 4439703 w 5521505"/>
              <a:gd name="connsiteY9026" fmla="*/ 1612229 h 2146918"/>
              <a:gd name="connsiteX9027" fmla="*/ 4445584 w 5521505"/>
              <a:gd name="connsiteY9027" fmla="*/ 1611912 h 2146918"/>
              <a:gd name="connsiteX9028" fmla="*/ 4464385 w 5521505"/>
              <a:gd name="connsiteY9028" fmla="*/ 1616685 h 2146918"/>
              <a:gd name="connsiteX9029" fmla="*/ 4472166 w 5521505"/>
              <a:gd name="connsiteY9029" fmla="*/ 1619218 h 2146918"/>
              <a:gd name="connsiteX9030" fmla="*/ 4475612 w 5521505"/>
              <a:gd name="connsiteY9030" fmla="*/ 1620046 h 2146918"/>
              <a:gd name="connsiteX9031" fmla="*/ 4478182 w 5521505"/>
              <a:gd name="connsiteY9031" fmla="*/ 1620765 h 2146918"/>
              <a:gd name="connsiteX9032" fmla="*/ 4483052 w 5521505"/>
              <a:gd name="connsiteY9032" fmla="*/ 1622445 h 2146918"/>
              <a:gd name="connsiteX9033" fmla="*/ 4491309 w 5521505"/>
              <a:gd name="connsiteY9033" fmla="*/ 1625550 h 2146918"/>
              <a:gd name="connsiteX9034" fmla="*/ 4504544 w 5521505"/>
              <a:gd name="connsiteY9034" fmla="*/ 1630981 h 2146918"/>
              <a:gd name="connsiteX9035" fmla="*/ 4523918 w 5521505"/>
              <a:gd name="connsiteY9035" fmla="*/ 1639237 h 2146918"/>
              <a:gd name="connsiteX9036" fmla="*/ 4538786 w 5521505"/>
              <a:gd name="connsiteY9036" fmla="*/ 1645325 h 2146918"/>
              <a:gd name="connsiteX9037" fmla="*/ 4558963 w 5521505"/>
              <a:gd name="connsiteY9037" fmla="*/ 1655505 h 2146918"/>
              <a:gd name="connsiteX9038" fmla="*/ 4567974 w 5521505"/>
              <a:gd name="connsiteY9038" fmla="*/ 1661399 h 2146918"/>
              <a:gd name="connsiteX9039" fmla="*/ 4571188 w 5521505"/>
              <a:gd name="connsiteY9039" fmla="*/ 1664942 h 2146918"/>
              <a:gd name="connsiteX9040" fmla="*/ 4571566 w 5521505"/>
              <a:gd name="connsiteY9040" fmla="*/ 1665673 h 2146918"/>
              <a:gd name="connsiteX9041" fmla="*/ 4579554 w 5521505"/>
              <a:gd name="connsiteY9041" fmla="*/ 1675585 h 2146918"/>
              <a:gd name="connsiteX9042" fmla="*/ 4585021 w 5521505"/>
              <a:gd name="connsiteY9042" fmla="*/ 1681308 h 2146918"/>
              <a:gd name="connsiteX9043" fmla="*/ 4589782 w 5521505"/>
              <a:gd name="connsiteY9043" fmla="*/ 1689564 h 2146918"/>
              <a:gd name="connsiteX9044" fmla="*/ 4589612 w 5521505"/>
              <a:gd name="connsiteY9044" fmla="*/ 1697990 h 2146918"/>
              <a:gd name="connsiteX9045" fmla="*/ 4586251 w 5521505"/>
              <a:gd name="connsiteY9045" fmla="*/ 1705747 h 2146918"/>
              <a:gd name="connsiteX9046" fmla="*/ 4585399 w 5521505"/>
              <a:gd name="connsiteY9046" fmla="*/ 1714648 h 2146918"/>
              <a:gd name="connsiteX9047" fmla="*/ 4595213 w 5521505"/>
              <a:gd name="connsiteY9047" fmla="*/ 1719458 h 2146918"/>
              <a:gd name="connsiteX9048" fmla="*/ 4604298 w 5521505"/>
              <a:gd name="connsiteY9048" fmla="*/ 1720919 h 2146918"/>
              <a:gd name="connsiteX9049" fmla="*/ 4618471 w 5521505"/>
              <a:gd name="connsiteY9049" fmla="*/ 1723586 h 2146918"/>
              <a:gd name="connsiteX9050" fmla="*/ 4627530 w 5521505"/>
              <a:gd name="connsiteY9050" fmla="*/ 1725364 h 2146918"/>
              <a:gd name="connsiteX9051" fmla="*/ 4618142 w 5521505"/>
              <a:gd name="connsiteY9051" fmla="*/ 1727470 h 2146918"/>
              <a:gd name="connsiteX9052" fmla="*/ 4610507 w 5521505"/>
              <a:gd name="connsiteY9052" fmla="*/ 1727470 h 2146918"/>
              <a:gd name="connsiteX9053" fmla="*/ 4597113 w 5521505"/>
              <a:gd name="connsiteY9053" fmla="*/ 1730064 h 2146918"/>
              <a:gd name="connsiteX9054" fmla="*/ 4613540 w 5521505"/>
              <a:gd name="connsiteY9054" fmla="*/ 1739307 h 2146918"/>
              <a:gd name="connsiteX9055" fmla="*/ 4610678 w 5521505"/>
              <a:gd name="connsiteY9055" fmla="*/ 1743544 h 2146918"/>
              <a:gd name="connsiteX9056" fmla="*/ 4615000 w 5521505"/>
              <a:gd name="connsiteY9056" fmla="*/ 1750034 h 2146918"/>
              <a:gd name="connsiteX9057" fmla="*/ 4613491 w 5521505"/>
              <a:gd name="connsiteY9057" fmla="*/ 1756573 h 2146918"/>
              <a:gd name="connsiteX9058" fmla="*/ 4604687 w 5521505"/>
              <a:gd name="connsiteY9058" fmla="*/ 1765389 h 2146918"/>
              <a:gd name="connsiteX9059" fmla="*/ 4606063 w 5521505"/>
              <a:gd name="connsiteY9059" fmla="*/ 1776020 h 2146918"/>
              <a:gd name="connsiteX9060" fmla="*/ 4608498 w 5521505"/>
              <a:gd name="connsiteY9060" fmla="*/ 1778686 h 2146918"/>
              <a:gd name="connsiteX9061" fmla="*/ 4611713 w 5521505"/>
              <a:gd name="connsiteY9061" fmla="*/ 1781926 h 2146918"/>
              <a:gd name="connsiteX9062" fmla="*/ 4616267 w 5521505"/>
              <a:gd name="connsiteY9062" fmla="*/ 1786601 h 2146918"/>
              <a:gd name="connsiteX9063" fmla="*/ 4620784 w 5521505"/>
              <a:gd name="connsiteY9063" fmla="*/ 1791326 h 2146918"/>
              <a:gd name="connsiteX9064" fmla="*/ 4626240 w 5521505"/>
              <a:gd name="connsiteY9064" fmla="*/ 1797183 h 2146918"/>
              <a:gd name="connsiteX9065" fmla="*/ 4629308 w 5521505"/>
              <a:gd name="connsiteY9065" fmla="*/ 1800142 h 2146918"/>
              <a:gd name="connsiteX9066" fmla="*/ 4642326 w 5521505"/>
              <a:gd name="connsiteY9066" fmla="*/ 1806401 h 2146918"/>
              <a:gd name="connsiteX9067" fmla="*/ 4646746 w 5521505"/>
              <a:gd name="connsiteY9067" fmla="*/ 1807618 h 2146918"/>
              <a:gd name="connsiteX9068" fmla="*/ 4656645 w 5521505"/>
              <a:gd name="connsiteY9068" fmla="*/ 1810894 h 2146918"/>
              <a:gd name="connsiteX9069" fmla="*/ 4661516 w 5521505"/>
              <a:gd name="connsiteY9069" fmla="*/ 1824106 h 2146918"/>
              <a:gd name="connsiteX9070" fmla="*/ 4670040 w 5521505"/>
              <a:gd name="connsiteY9070" fmla="*/ 1831412 h 2146918"/>
              <a:gd name="connsiteX9071" fmla="*/ 4686917 w 5521505"/>
              <a:gd name="connsiteY9071" fmla="*/ 1836149 h 2146918"/>
              <a:gd name="connsiteX9072" fmla="*/ 4721317 w 5521505"/>
              <a:gd name="connsiteY9072" fmla="*/ 1852307 h 2146918"/>
              <a:gd name="connsiteX9073" fmla="*/ 4746888 w 5521505"/>
              <a:gd name="connsiteY9073" fmla="*/ 1853683 h 2146918"/>
              <a:gd name="connsiteX9074" fmla="*/ 4768332 w 5521505"/>
              <a:gd name="connsiteY9074" fmla="*/ 1853683 h 2146918"/>
              <a:gd name="connsiteX9075" fmla="*/ 4774018 w 5521505"/>
              <a:gd name="connsiteY9075" fmla="*/ 1854816 h 2146918"/>
              <a:gd name="connsiteX9076" fmla="*/ 4778122 w 5521505"/>
              <a:gd name="connsiteY9076" fmla="*/ 1854036 h 2146918"/>
              <a:gd name="connsiteX9077" fmla="*/ 4793014 w 5521505"/>
              <a:gd name="connsiteY9077" fmla="*/ 1853696 h 2146918"/>
              <a:gd name="connsiteX9078" fmla="*/ 4826050 w 5521505"/>
              <a:gd name="connsiteY9078" fmla="*/ 1859881 h 2146918"/>
              <a:gd name="connsiteX9079" fmla="*/ 4835329 w 5521505"/>
              <a:gd name="connsiteY9079" fmla="*/ 1861379 h 2146918"/>
              <a:gd name="connsiteX9080" fmla="*/ 4851816 w 5521505"/>
              <a:gd name="connsiteY9080" fmla="*/ 1863632 h 2146918"/>
              <a:gd name="connsiteX9081" fmla="*/ 4856054 w 5521505"/>
              <a:gd name="connsiteY9081" fmla="*/ 1863802 h 2146918"/>
              <a:gd name="connsiteX9082" fmla="*/ 4861083 w 5521505"/>
              <a:gd name="connsiteY9082" fmla="*/ 1862767 h 2146918"/>
              <a:gd name="connsiteX9083" fmla="*/ 4875695 w 5521505"/>
              <a:gd name="connsiteY9083" fmla="*/ 1859699 h 2146918"/>
              <a:gd name="connsiteX9084" fmla="*/ 4893960 w 5521505"/>
              <a:gd name="connsiteY9084" fmla="*/ 1855961 h 2146918"/>
              <a:gd name="connsiteX9085" fmla="*/ 4902326 w 5521505"/>
              <a:gd name="connsiteY9085" fmla="*/ 1854158 h 2146918"/>
              <a:gd name="connsiteX9086" fmla="*/ 4907440 w 5521505"/>
              <a:gd name="connsiteY9086" fmla="*/ 1847632 h 2146918"/>
              <a:gd name="connsiteX9087" fmla="*/ 4909181 w 5521505"/>
              <a:gd name="connsiteY9087" fmla="*/ 1845062 h 2146918"/>
              <a:gd name="connsiteX9088" fmla="*/ 2599720 w 5521505"/>
              <a:gd name="connsiteY9088" fmla="*/ 409582 h 2146918"/>
              <a:gd name="connsiteX9089" fmla="*/ 2606198 w 5521505"/>
              <a:gd name="connsiteY9089" fmla="*/ 404773 h 2146918"/>
              <a:gd name="connsiteX9090" fmla="*/ 2599416 w 5521505"/>
              <a:gd name="connsiteY9090" fmla="*/ 401741 h 2146918"/>
              <a:gd name="connsiteX9091" fmla="*/ 2591391 w 5521505"/>
              <a:gd name="connsiteY9091" fmla="*/ 407123 h 2146918"/>
              <a:gd name="connsiteX9092" fmla="*/ 2599720 w 5521505"/>
              <a:gd name="connsiteY9092" fmla="*/ 409582 h 2146918"/>
              <a:gd name="connsiteX9093" fmla="*/ 2698267 w 5521505"/>
              <a:gd name="connsiteY9093" fmla="*/ 385716 h 2146918"/>
              <a:gd name="connsiteX9094" fmla="*/ 2700581 w 5521505"/>
              <a:gd name="connsiteY9094" fmla="*/ 398416 h 2146918"/>
              <a:gd name="connsiteX9095" fmla="*/ 2704807 w 5521505"/>
              <a:gd name="connsiteY9095" fmla="*/ 403932 h 2146918"/>
              <a:gd name="connsiteX9096" fmla="*/ 2719114 w 5521505"/>
              <a:gd name="connsiteY9096" fmla="*/ 402337 h 2146918"/>
              <a:gd name="connsiteX9097" fmla="*/ 2726834 w 5521505"/>
              <a:gd name="connsiteY9097" fmla="*/ 394860 h 2146918"/>
              <a:gd name="connsiteX9098" fmla="*/ 2720916 w 5521505"/>
              <a:gd name="connsiteY9098" fmla="*/ 379031 h 2146918"/>
              <a:gd name="connsiteX9099" fmla="*/ 2717763 w 5521505"/>
              <a:gd name="connsiteY9099" fmla="*/ 372541 h 2146918"/>
              <a:gd name="connsiteX9100" fmla="*/ 2720198 w 5521505"/>
              <a:gd name="connsiteY9100" fmla="*/ 361520 h 2146918"/>
              <a:gd name="connsiteX9101" fmla="*/ 2717860 w 5521505"/>
              <a:gd name="connsiteY9101" fmla="*/ 359438 h 2146918"/>
              <a:gd name="connsiteX9102" fmla="*/ 2702737 w 5521505"/>
              <a:gd name="connsiteY9102" fmla="*/ 364041 h 2146918"/>
              <a:gd name="connsiteX9103" fmla="*/ 2704928 w 5521505"/>
              <a:gd name="connsiteY9103" fmla="*/ 371213 h 2146918"/>
              <a:gd name="connsiteX9104" fmla="*/ 2713306 w 5521505"/>
              <a:gd name="connsiteY9104" fmla="*/ 376693 h 2146918"/>
              <a:gd name="connsiteX9105" fmla="*/ 2698267 w 5521505"/>
              <a:gd name="connsiteY9105" fmla="*/ 385716 h 2146918"/>
              <a:gd name="connsiteX9106" fmla="*/ 3038842 w 5521505"/>
              <a:gd name="connsiteY9106" fmla="*/ 437540 h 2146918"/>
              <a:gd name="connsiteX9107" fmla="*/ 3017544 w 5521505"/>
              <a:gd name="connsiteY9107" fmla="*/ 434910 h 2146918"/>
              <a:gd name="connsiteX9108" fmla="*/ 2994116 w 5521505"/>
              <a:gd name="connsiteY9108" fmla="*/ 434788 h 2146918"/>
              <a:gd name="connsiteX9109" fmla="*/ 3019687 w 5521505"/>
              <a:gd name="connsiteY9109" fmla="*/ 438441 h 2146918"/>
              <a:gd name="connsiteX9110" fmla="*/ 3038842 w 5521505"/>
              <a:gd name="connsiteY9110" fmla="*/ 437540 h 2146918"/>
              <a:gd name="connsiteX9111" fmla="*/ 3175868 w 5521505"/>
              <a:gd name="connsiteY9111" fmla="*/ 448317 h 2146918"/>
              <a:gd name="connsiteX9112" fmla="*/ 3189530 w 5521505"/>
              <a:gd name="connsiteY9112" fmla="*/ 443556 h 2146918"/>
              <a:gd name="connsiteX9113" fmla="*/ 3198651 w 5521505"/>
              <a:gd name="connsiteY9113" fmla="*/ 437175 h 2146918"/>
              <a:gd name="connsiteX9114" fmla="*/ 3184745 w 5521505"/>
              <a:gd name="connsiteY9114" fmla="*/ 438466 h 2146918"/>
              <a:gd name="connsiteX9115" fmla="*/ 3161925 w 5521505"/>
              <a:gd name="connsiteY9115" fmla="*/ 441401 h 2146918"/>
              <a:gd name="connsiteX9116" fmla="*/ 3157688 w 5521505"/>
              <a:gd name="connsiteY9116" fmla="*/ 446052 h 2146918"/>
              <a:gd name="connsiteX9117" fmla="*/ 3163155 w 5521505"/>
              <a:gd name="connsiteY9117" fmla="*/ 447818 h 2146918"/>
              <a:gd name="connsiteX9118" fmla="*/ 3175868 w 5521505"/>
              <a:gd name="connsiteY9118" fmla="*/ 448317 h 2146918"/>
              <a:gd name="connsiteX9119" fmla="*/ 3701652 w 5521505"/>
              <a:gd name="connsiteY9119" fmla="*/ 107438 h 2146918"/>
              <a:gd name="connsiteX9120" fmla="*/ 3701652 w 5521505"/>
              <a:gd name="connsiteY9120" fmla="*/ 107438 h 2146918"/>
              <a:gd name="connsiteX9121" fmla="*/ 3700848 w 5521505"/>
              <a:gd name="connsiteY9121" fmla="*/ 107304 h 2146918"/>
              <a:gd name="connsiteX9122" fmla="*/ 3701299 w 5521505"/>
              <a:gd name="connsiteY9122" fmla="*/ 107791 h 2146918"/>
              <a:gd name="connsiteX9123" fmla="*/ 3702383 w 5521505"/>
              <a:gd name="connsiteY9123" fmla="*/ 108193 h 2146918"/>
              <a:gd name="connsiteX9124" fmla="*/ 3701652 w 5521505"/>
              <a:gd name="connsiteY9124" fmla="*/ 107438 h 2146918"/>
              <a:gd name="connsiteX9125" fmla="*/ 428588 w 5521505"/>
              <a:gd name="connsiteY9125" fmla="*/ 1230789 h 2146918"/>
              <a:gd name="connsiteX9126" fmla="*/ 427517 w 5521505"/>
              <a:gd name="connsiteY9126" fmla="*/ 1230947 h 2146918"/>
              <a:gd name="connsiteX9127" fmla="*/ 425861 w 5521505"/>
              <a:gd name="connsiteY9127" fmla="*/ 1233577 h 2146918"/>
              <a:gd name="connsiteX9128" fmla="*/ 427176 w 5521505"/>
              <a:gd name="connsiteY9128" fmla="*/ 1233285 h 2146918"/>
              <a:gd name="connsiteX9129" fmla="*/ 428467 w 5521505"/>
              <a:gd name="connsiteY9129" fmla="*/ 1232226 h 2146918"/>
              <a:gd name="connsiteX9130" fmla="*/ 428588 w 5521505"/>
              <a:gd name="connsiteY9130" fmla="*/ 1230789 h 21469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  <a:cxn ang="0">
                <a:pos x="connsiteX474" y="connsiteY474"/>
              </a:cxn>
              <a:cxn ang="0">
                <a:pos x="connsiteX475" y="connsiteY475"/>
              </a:cxn>
              <a:cxn ang="0">
                <a:pos x="connsiteX476" y="connsiteY476"/>
              </a:cxn>
              <a:cxn ang="0">
                <a:pos x="connsiteX477" y="connsiteY477"/>
              </a:cxn>
              <a:cxn ang="0">
                <a:pos x="connsiteX478" y="connsiteY478"/>
              </a:cxn>
              <a:cxn ang="0">
                <a:pos x="connsiteX479" y="connsiteY479"/>
              </a:cxn>
              <a:cxn ang="0">
                <a:pos x="connsiteX480" y="connsiteY480"/>
              </a:cxn>
              <a:cxn ang="0">
                <a:pos x="connsiteX481" y="connsiteY481"/>
              </a:cxn>
              <a:cxn ang="0">
                <a:pos x="connsiteX482" y="connsiteY482"/>
              </a:cxn>
              <a:cxn ang="0">
                <a:pos x="connsiteX483" y="connsiteY483"/>
              </a:cxn>
              <a:cxn ang="0">
                <a:pos x="connsiteX484" y="connsiteY484"/>
              </a:cxn>
              <a:cxn ang="0">
                <a:pos x="connsiteX485" y="connsiteY485"/>
              </a:cxn>
              <a:cxn ang="0">
                <a:pos x="connsiteX486" y="connsiteY486"/>
              </a:cxn>
              <a:cxn ang="0">
                <a:pos x="connsiteX487" y="connsiteY487"/>
              </a:cxn>
              <a:cxn ang="0">
                <a:pos x="connsiteX488" y="connsiteY488"/>
              </a:cxn>
              <a:cxn ang="0">
                <a:pos x="connsiteX489" y="connsiteY489"/>
              </a:cxn>
              <a:cxn ang="0">
                <a:pos x="connsiteX490" y="connsiteY490"/>
              </a:cxn>
              <a:cxn ang="0">
                <a:pos x="connsiteX491" y="connsiteY491"/>
              </a:cxn>
              <a:cxn ang="0">
                <a:pos x="connsiteX492" y="connsiteY492"/>
              </a:cxn>
              <a:cxn ang="0">
                <a:pos x="connsiteX493" y="connsiteY493"/>
              </a:cxn>
              <a:cxn ang="0">
                <a:pos x="connsiteX494" y="connsiteY494"/>
              </a:cxn>
              <a:cxn ang="0">
                <a:pos x="connsiteX495" y="connsiteY495"/>
              </a:cxn>
              <a:cxn ang="0">
                <a:pos x="connsiteX496" y="connsiteY496"/>
              </a:cxn>
              <a:cxn ang="0">
                <a:pos x="connsiteX497" y="connsiteY497"/>
              </a:cxn>
              <a:cxn ang="0">
                <a:pos x="connsiteX498" y="connsiteY498"/>
              </a:cxn>
              <a:cxn ang="0">
                <a:pos x="connsiteX499" y="connsiteY499"/>
              </a:cxn>
              <a:cxn ang="0">
                <a:pos x="connsiteX500" y="connsiteY500"/>
              </a:cxn>
              <a:cxn ang="0">
                <a:pos x="connsiteX501" y="connsiteY501"/>
              </a:cxn>
              <a:cxn ang="0">
                <a:pos x="connsiteX502" y="connsiteY502"/>
              </a:cxn>
              <a:cxn ang="0">
                <a:pos x="connsiteX503" y="connsiteY503"/>
              </a:cxn>
              <a:cxn ang="0">
                <a:pos x="connsiteX504" y="connsiteY504"/>
              </a:cxn>
              <a:cxn ang="0">
                <a:pos x="connsiteX505" y="connsiteY505"/>
              </a:cxn>
              <a:cxn ang="0">
                <a:pos x="connsiteX506" y="connsiteY506"/>
              </a:cxn>
              <a:cxn ang="0">
                <a:pos x="connsiteX507" y="connsiteY507"/>
              </a:cxn>
              <a:cxn ang="0">
                <a:pos x="connsiteX508" y="connsiteY508"/>
              </a:cxn>
              <a:cxn ang="0">
                <a:pos x="connsiteX509" y="connsiteY509"/>
              </a:cxn>
              <a:cxn ang="0">
                <a:pos x="connsiteX510" y="connsiteY510"/>
              </a:cxn>
              <a:cxn ang="0">
                <a:pos x="connsiteX511" y="connsiteY511"/>
              </a:cxn>
              <a:cxn ang="0">
                <a:pos x="connsiteX512" y="connsiteY512"/>
              </a:cxn>
              <a:cxn ang="0">
                <a:pos x="connsiteX513" y="connsiteY513"/>
              </a:cxn>
              <a:cxn ang="0">
                <a:pos x="connsiteX514" y="connsiteY514"/>
              </a:cxn>
              <a:cxn ang="0">
                <a:pos x="connsiteX515" y="connsiteY515"/>
              </a:cxn>
              <a:cxn ang="0">
                <a:pos x="connsiteX516" y="connsiteY516"/>
              </a:cxn>
              <a:cxn ang="0">
                <a:pos x="connsiteX517" y="connsiteY517"/>
              </a:cxn>
              <a:cxn ang="0">
                <a:pos x="connsiteX518" y="connsiteY518"/>
              </a:cxn>
              <a:cxn ang="0">
                <a:pos x="connsiteX519" y="connsiteY519"/>
              </a:cxn>
              <a:cxn ang="0">
                <a:pos x="connsiteX520" y="connsiteY520"/>
              </a:cxn>
              <a:cxn ang="0">
                <a:pos x="connsiteX521" y="connsiteY521"/>
              </a:cxn>
              <a:cxn ang="0">
                <a:pos x="connsiteX522" y="connsiteY522"/>
              </a:cxn>
              <a:cxn ang="0">
                <a:pos x="connsiteX523" y="connsiteY523"/>
              </a:cxn>
              <a:cxn ang="0">
                <a:pos x="connsiteX524" y="connsiteY524"/>
              </a:cxn>
              <a:cxn ang="0">
                <a:pos x="connsiteX525" y="connsiteY525"/>
              </a:cxn>
              <a:cxn ang="0">
                <a:pos x="connsiteX526" y="connsiteY526"/>
              </a:cxn>
              <a:cxn ang="0">
                <a:pos x="connsiteX527" y="connsiteY527"/>
              </a:cxn>
              <a:cxn ang="0">
                <a:pos x="connsiteX528" y="connsiteY528"/>
              </a:cxn>
              <a:cxn ang="0">
                <a:pos x="connsiteX529" y="connsiteY529"/>
              </a:cxn>
              <a:cxn ang="0">
                <a:pos x="connsiteX530" y="connsiteY530"/>
              </a:cxn>
              <a:cxn ang="0">
                <a:pos x="connsiteX531" y="connsiteY531"/>
              </a:cxn>
              <a:cxn ang="0">
                <a:pos x="connsiteX532" y="connsiteY532"/>
              </a:cxn>
              <a:cxn ang="0">
                <a:pos x="connsiteX533" y="connsiteY533"/>
              </a:cxn>
              <a:cxn ang="0">
                <a:pos x="connsiteX534" y="connsiteY534"/>
              </a:cxn>
              <a:cxn ang="0">
                <a:pos x="connsiteX535" y="connsiteY535"/>
              </a:cxn>
              <a:cxn ang="0">
                <a:pos x="connsiteX536" y="connsiteY536"/>
              </a:cxn>
              <a:cxn ang="0">
                <a:pos x="connsiteX537" y="connsiteY537"/>
              </a:cxn>
              <a:cxn ang="0">
                <a:pos x="connsiteX538" y="connsiteY538"/>
              </a:cxn>
              <a:cxn ang="0">
                <a:pos x="connsiteX539" y="connsiteY539"/>
              </a:cxn>
              <a:cxn ang="0">
                <a:pos x="connsiteX540" y="connsiteY540"/>
              </a:cxn>
              <a:cxn ang="0">
                <a:pos x="connsiteX541" y="connsiteY541"/>
              </a:cxn>
              <a:cxn ang="0">
                <a:pos x="connsiteX542" y="connsiteY542"/>
              </a:cxn>
              <a:cxn ang="0">
                <a:pos x="connsiteX543" y="connsiteY543"/>
              </a:cxn>
              <a:cxn ang="0">
                <a:pos x="connsiteX544" y="connsiteY544"/>
              </a:cxn>
              <a:cxn ang="0">
                <a:pos x="connsiteX545" y="connsiteY545"/>
              </a:cxn>
              <a:cxn ang="0">
                <a:pos x="connsiteX546" y="connsiteY546"/>
              </a:cxn>
              <a:cxn ang="0">
                <a:pos x="connsiteX547" y="connsiteY547"/>
              </a:cxn>
              <a:cxn ang="0">
                <a:pos x="connsiteX548" y="connsiteY548"/>
              </a:cxn>
              <a:cxn ang="0">
                <a:pos x="connsiteX549" y="connsiteY549"/>
              </a:cxn>
              <a:cxn ang="0">
                <a:pos x="connsiteX550" y="connsiteY550"/>
              </a:cxn>
              <a:cxn ang="0">
                <a:pos x="connsiteX551" y="connsiteY551"/>
              </a:cxn>
              <a:cxn ang="0">
                <a:pos x="connsiteX552" y="connsiteY552"/>
              </a:cxn>
              <a:cxn ang="0">
                <a:pos x="connsiteX553" y="connsiteY553"/>
              </a:cxn>
              <a:cxn ang="0">
                <a:pos x="connsiteX554" y="connsiteY554"/>
              </a:cxn>
              <a:cxn ang="0">
                <a:pos x="connsiteX555" y="connsiteY555"/>
              </a:cxn>
              <a:cxn ang="0">
                <a:pos x="connsiteX556" y="connsiteY556"/>
              </a:cxn>
              <a:cxn ang="0">
                <a:pos x="connsiteX557" y="connsiteY557"/>
              </a:cxn>
              <a:cxn ang="0">
                <a:pos x="connsiteX558" y="connsiteY558"/>
              </a:cxn>
              <a:cxn ang="0">
                <a:pos x="connsiteX559" y="connsiteY559"/>
              </a:cxn>
              <a:cxn ang="0">
                <a:pos x="connsiteX560" y="connsiteY560"/>
              </a:cxn>
              <a:cxn ang="0">
                <a:pos x="connsiteX561" y="connsiteY561"/>
              </a:cxn>
              <a:cxn ang="0">
                <a:pos x="connsiteX562" y="connsiteY562"/>
              </a:cxn>
              <a:cxn ang="0">
                <a:pos x="connsiteX563" y="connsiteY563"/>
              </a:cxn>
              <a:cxn ang="0">
                <a:pos x="connsiteX564" y="connsiteY564"/>
              </a:cxn>
              <a:cxn ang="0">
                <a:pos x="connsiteX565" y="connsiteY565"/>
              </a:cxn>
              <a:cxn ang="0">
                <a:pos x="connsiteX566" y="connsiteY566"/>
              </a:cxn>
              <a:cxn ang="0">
                <a:pos x="connsiteX567" y="connsiteY567"/>
              </a:cxn>
              <a:cxn ang="0">
                <a:pos x="connsiteX568" y="connsiteY568"/>
              </a:cxn>
              <a:cxn ang="0">
                <a:pos x="connsiteX569" y="connsiteY569"/>
              </a:cxn>
              <a:cxn ang="0">
                <a:pos x="connsiteX570" y="connsiteY570"/>
              </a:cxn>
              <a:cxn ang="0">
                <a:pos x="connsiteX571" y="connsiteY571"/>
              </a:cxn>
              <a:cxn ang="0">
                <a:pos x="connsiteX572" y="connsiteY572"/>
              </a:cxn>
              <a:cxn ang="0">
                <a:pos x="connsiteX573" y="connsiteY573"/>
              </a:cxn>
              <a:cxn ang="0">
                <a:pos x="connsiteX574" y="connsiteY574"/>
              </a:cxn>
              <a:cxn ang="0">
                <a:pos x="connsiteX575" y="connsiteY575"/>
              </a:cxn>
              <a:cxn ang="0">
                <a:pos x="connsiteX576" y="connsiteY576"/>
              </a:cxn>
              <a:cxn ang="0">
                <a:pos x="connsiteX577" y="connsiteY577"/>
              </a:cxn>
              <a:cxn ang="0">
                <a:pos x="connsiteX578" y="connsiteY578"/>
              </a:cxn>
              <a:cxn ang="0">
                <a:pos x="connsiteX579" y="connsiteY579"/>
              </a:cxn>
              <a:cxn ang="0">
                <a:pos x="connsiteX580" y="connsiteY580"/>
              </a:cxn>
              <a:cxn ang="0">
                <a:pos x="connsiteX581" y="connsiteY581"/>
              </a:cxn>
              <a:cxn ang="0">
                <a:pos x="connsiteX582" y="connsiteY582"/>
              </a:cxn>
              <a:cxn ang="0">
                <a:pos x="connsiteX583" y="connsiteY583"/>
              </a:cxn>
              <a:cxn ang="0">
                <a:pos x="connsiteX584" y="connsiteY584"/>
              </a:cxn>
              <a:cxn ang="0">
                <a:pos x="connsiteX585" y="connsiteY585"/>
              </a:cxn>
              <a:cxn ang="0">
                <a:pos x="connsiteX586" y="connsiteY586"/>
              </a:cxn>
              <a:cxn ang="0">
                <a:pos x="connsiteX587" y="connsiteY587"/>
              </a:cxn>
              <a:cxn ang="0">
                <a:pos x="connsiteX588" y="connsiteY588"/>
              </a:cxn>
              <a:cxn ang="0">
                <a:pos x="connsiteX589" y="connsiteY589"/>
              </a:cxn>
              <a:cxn ang="0">
                <a:pos x="connsiteX590" y="connsiteY590"/>
              </a:cxn>
              <a:cxn ang="0">
                <a:pos x="connsiteX591" y="connsiteY591"/>
              </a:cxn>
              <a:cxn ang="0">
                <a:pos x="connsiteX592" y="connsiteY592"/>
              </a:cxn>
              <a:cxn ang="0">
                <a:pos x="connsiteX593" y="connsiteY593"/>
              </a:cxn>
              <a:cxn ang="0">
                <a:pos x="connsiteX594" y="connsiteY594"/>
              </a:cxn>
              <a:cxn ang="0">
                <a:pos x="connsiteX595" y="connsiteY595"/>
              </a:cxn>
              <a:cxn ang="0">
                <a:pos x="connsiteX596" y="connsiteY596"/>
              </a:cxn>
              <a:cxn ang="0">
                <a:pos x="connsiteX597" y="connsiteY597"/>
              </a:cxn>
              <a:cxn ang="0">
                <a:pos x="connsiteX598" y="connsiteY598"/>
              </a:cxn>
              <a:cxn ang="0">
                <a:pos x="connsiteX599" y="connsiteY599"/>
              </a:cxn>
              <a:cxn ang="0">
                <a:pos x="connsiteX600" y="connsiteY600"/>
              </a:cxn>
              <a:cxn ang="0">
                <a:pos x="connsiteX601" y="connsiteY601"/>
              </a:cxn>
              <a:cxn ang="0">
                <a:pos x="connsiteX602" y="connsiteY602"/>
              </a:cxn>
              <a:cxn ang="0">
                <a:pos x="connsiteX603" y="connsiteY603"/>
              </a:cxn>
              <a:cxn ang="0">
                <a:pos x="connsiteX604" y="connsiteY604"/>
              </a:cxn>
              <a:cxn ang="0">
                <a:pos x="connsiteX605" y="connsiteY605"/>
              </a:cxn>
              <a:cxn ang="0">
                <a:pos x="connsiteX606" y="connsiteY606"/>
              </a:cxn>
              <a:cxn ang="0">
                <a:pos x="connsiteX607" y="connsiteY607"/>
              </a:cxn>
              <a:cxn ang="0">
                <a:pos x="connsiteX608" y="connsiteY608"/>
              </a:cxn>
              <a:cxn ang="0">
                <a:pos x="connsiteX609" y="connsiteY609"/>
              </a:cxn>
              <a:cxn ang="0">
                <a:pos x="connsiteX610" y="connsiteY610"/>
              </a:cxn>
              <a:cxn ang="0">
                <a:pos x="connsiteX611" y="connsiteY611"/>
              </a:cxn>
              <a:cxn ang="0">
                <a:pos x="connsiteX612" y="connsiteY612"/>
              </a:cxn>
              <a:cxn ang="0">
                <a:pos x="connsiteX613" y="connsiteY613"/>
              </a:cxn>
              <a:cxn ang="0">
                <a:pos x="connsiteX614" y="connsiteY614"/>
              </a:cxn>
              <a:cxn ang="0">
                <a:pos x="connsiteX615" y="connsiteY615"/>
              </a:cxn>
              <a:cxn ang="0">
                <a:pos x="connsiteX616" y="connsiteY616"/>
              </a:cxn>
              <a:cxn ang="0">
                <a:pos x="connsiteX617" y="connsiteY617"/>
              </a:cxn>
              <a:cxn ang="0">
                <a:pos x="connsiteX618" y="connsiteY618"/>
              </a:cxn>
              <a:cxn ang="0">
                <a:pos x="connsiteX619" y="connsiteY619"/>
              </a:cxn>
              <a:cxn ang="0">
                <a:pos x="connsiteX620" y="connsiteY620"/>
              </a:cxn>
              <a:cxn ang="0">
                <a:pos x="connsiteX621" y="connsiteY621"/>
              </a:cxn>
              <a:cxn ang="0">
                <a:pos x="connsiteX622" y="connsiteY622"/>
              </a:cxn>
              <a:cxn ang="0">
                <a:pos x="connsiteX623" y="connsiteY623"/>
              </a:cxn>
              <a:cxn ang="0">
                <a:pos x="connsiteX624" y="connsiteY624"/>
              </a:cxn>
              <a:cxn ang="0">
                <a:pos x="connsiteX625" y="connsiteY625"/>
              </a:cxn>
              <a:cxn ang="0">
                <a:pos x="connsiteX626" y="connsiteY626"/>
              </a:cxn>
              <a:cxn ang="0">
                <a:pos x="connsiteX627" y="connsiteY627"/>
              </a:cxn>
              <a:cxn ang="0">
                <a:pos x="connsiteX628" y="connsiteY628"/>
              </a:cxn>
              <a:cxn ang="0">
                <a:pos x="connsiteX629" y="connsiteY629"/>
              </a:cxn>
              <a:cxn ang="0">
                <a:pos x="connsiteX630" y="connsiteY630"/>
              </a:cxn>
              <a:cxn ang="0">
                <a:pos x="connsiteX631" y="connsiteY631"/>
              </a:cxn>
              <a:cxn ang="0">
                <a:pos x="connsiteX632" y="connsiteY632"/>
              </a:cxn>
              <a:cxn ang="0">
                <a:pos x="connsiteX633" y="connsiteY633"/>
              </a:cxn>
              <a:cxn ang="0">
                <a:pos x="connsiteX634" y="connsiteY634"/>
              </a:cxn>
              <a:cxn ang="0">
                <a:pos x="connsiteX635" y="connsiteY635"/>
              </a:cxn>
              <a:cxn ang="0">
                <a:pos x="connsiteX636" y="connsiteY636"/>
              </a:cxn>
              <a:cxn ang="0">
                <a:pos x="connsiteX637" y="connsiteY637"/>
              </a:cxn>
              <a:cxn ang="0">
                <a:pos x="connsiteX638" y="connsiteY638"/>
              </a:cxn>
              <a:cxn ang="0">
                <a:pos x="connsiteX639" y="connsiteY639"/>
              </a:cxn>
              <a:cxn ang="0">
                <a:pos x="connsiteX640" y="connsiteY640"/>
              </a:cxn>
              <a:cxn ang="0">
                <a:pos x="connsiteX641" y="connsiteY641"/>
              </a:cxn>
              <a:cxn ang="0">
                <a:pos x="connsiteX642" y="connsiteY642"/>
              </a:cxn>
              <a:cxn ang="0">
                <a:pos x="connsiteX643" y="connsiteY643"/>
              </a:cxn>
              <a:cxn ang="0">
                <a:pos x="connsiteX644" y="connsiteY644"/>
              </a:cxn>
              <a:cxn ang="0">
                <a:pos x="connsiteX645" y="connsiteY645"/>
              </a:cxn>
              <a:cxn ang="0">
                <a:pos x="connsiteX646" y="connsiteY646"/>
              </a:cxn>
              <a:cxn ang="0">
                <a:pos x="connsiteX647" y="connsiteY647"/>
              </a:cxn>
              <a:cxn ang="0">
                <a:pos x="connsiteX648" y="connsiteY648"/>
              </a:cxn>
              <a:cxn ang="0">
                <a:pos x="connsiteX649" y="connsiteY649"/>
              </a:cxn>
              <a:cxn ang="0">
                <a:pos x="connsiteX650" y="connsiteY650"/>
              </a:cxn>
              <a:cxn ang="0">
                <a:pos x="connsiteX651" y="connsiteY651"/>
              </a:cxn>
              <a:cxn ang="0">
                <a:pos x="connsiteX652" y="connsiteY652"/>
              </a:cxn>
              <a:cxn ang="0">
                <a:pos x="connsiteX653" y="connsiteY653"/>
              </a:cxn>
              <a:cxn ang="0">
                <a:pos x="connsiteX654" y="connsiteY654"/>
              </a:cxn>
              <a:cxn ang="0">
                <a:pos x="connsiteX655" y="connsiteY655"/>
              </a:cxn>
              <a:cxn ang="0">
                <a:pos x="connsiteX656" y="connsiteY656"/>
              </a:cxn>
              <a:cxn ang="0">
                <a:pos x="connsiteX657" y="connsiteY657"/>
              </a:cxn>
              <a:cxn ang="0">
                <a:pos x="connsiteX658" y="connsiteY658"/>
              </a:cxn>
              <a:cxn ang="0">
                <a:pos x="connsiteX659" y="connsiteY659"/>
              </a:cxn>
              <a:cxn ang="0">
                <a:pos x="connsiteX660" y="connsiteY660"/>
              </a:cxn>
              <a:cxn ang="0">
                <a:pos x="connsiteX661" y="connsiteY661"/>
              </a:cxn>
              <a:cxn ang="0">
                <a:pos x="connsiteX662" y="connsiteY662"/>
              </a:cxn>
              <a:cxn ang="0">
                <a:pos x="connsiteX663" y="connsiteY663"/>
              </a:cxn>
              <a:cxn ang="0">
                <a:pos x="connsiteX664" y="connsiteY664"/>
              </a:cxn>
              <a:cxn ang="0">
                <a:pos x="connsiteX665" y="connsiteY665"/>
              </a:cxn>
              <a:cxn ang="0">
                <a:pos x="connsiteX666" y="connsiteY666"/>
              </a:cxn>
              <a:cxn ang="0">
                <a:pos x="connsiteX667" y="connsiteY667"/>
              </a:cxn>
              <a:cxn ang="0">
                <a:pos x="connsiteX668" y="connsiteY668"/>
              </a:cxn>
              <a:cxn ang="0">
                <a:pos x="connsiteX669" y="connsiteY669"/>
              </a:cxn>
              <a:cxn ang="0">
                <a:pos x="connsiteX670" y="connsiteY670"/>
              </a:cxn>
              <a:cxn ang="0">
                <a:pos x="connsiteX671" y="connsiteY671"/>
              </a:cxn>
              <a:cxn ang="0">
                <a:pos x="connsiteX672" y="connsiteY672"/>
              </a:cxn>
              <a:cxn ang="0">
                <a:pos x="connsiteX673" y="connsiteY673"/>
              </a:cxn>
              <a:cxn ang="0">
                <a:pos x="connsiteX674" y="connsiteY674"/>
              </a:cxn>
              <a:cxn ang="0">
                <a:pos x="connsiteX675" y="connsiteY675"/>
              </a:cxn>
              <a:cxn ang="0">
                <a:pos x="connsiteX676" y="connsiteY676"/>
              </a:cxn>
              <a:cxn ang="0">
                <a:pos x="connsiteX677" y="connsiteY677"/>
              </a:cxn>
              <a:cxn ang="0">
                <a:pos x="connsiteX678" y="connsiteY678"/>
              </a:cxn>
              <a:cxn ang="0">
                <a:pos x="connsiteX679" y="connsiteY679"/>
              </a:cxn>
              <a:cxn ang="0">
                <a:pos x="connsiteX680" y="connsiteY680"/>
              </a:cxn>
              <a:cxn ang="0">
                <a:pos x="connsiteX681" y="connsiteY681"/>
              </a:cxn>
              <a:cxn ang="0">
                <a:pos x="connsiteX682" y="connsiteY682"/>
              </a:cxn>
              <a:cxn ang="0">
                <a:pos x="connsiteX683" y="connsiteY683"/>
              </a:cxn>
              <a:cxn ang="0">
                <a:pos x="connsiteX684" y="connsiteY684"/>
              </a:cxn>
              <a:cxn ang="0">
                <a:pos x="connsiteX685" y="connsiteY685"/>
              </a:cxn>
              <a:cxn ang="0">
                <a:pos x="connsiteX686" y="connsiteY686"/>
              </a:cxn>
              <a:cxn ang="0">
                <a:pos x="connsiteX687" y="connsiteY687"/>
              </a:cxn>
              <a:cxn ang="0">
                <a:pos x="connsiteX688" y="connsiteY688"/>
              </a:cxn>
              <a:cxn ang="0">
                <a:pos x="connsiteX689" y="connsiteY689"/>
              </a:cxn>
              <a:cxn ang="0">
                <a:pos x="connsiteX690" y="connsiteY690"/>
              </a:cxn>
              <a:cxn ang="0">
                <a:pos x="connsiteX691" y="connsiteY691"/>
              </a:cxn>
              <a:cxn ang="0">
                <a:pos x="connsiteX692" y="connsiteY692"/>
              </a:cxn>
              <a:cxn ang="0">
                <a:pos x="connsiteX693" y="connsiteY693"/>
              </a:cxn>
              <a:cxn ang="0">
                <a:pos x="connsiteX694" y="connsiteY694"/>
              </a:cxn>
              <a:cxn ang="0">
                <a:pos x="connsiteX695" y="connsiteY695"/>
              </a:cxn>
              <a:cxn ang="0">
                <a:pos x="connsiteX696" y="connsiteY696"/>
              </a:cxn>
              <a:cxn ang="0">
                <a:pos x="connsiteX697" y="connsiteY697"/>
              </a:cxn>
              <a:cxn ang="0">
                <a:pos x="connsiteX698" y="connsiteY698"/>
              </a:cxn>
              <a:cxn ang="0">
                <a:pos x="connsiteX699" y="connsiteY699"/>
              </a:cxn>
              <a:cxn ang="0">
                <a:pos x="connsiteX700" y="connsiteY700"/>
              </a:cxn>
              <a:cxn ang="0">
                <a:pos x="connsiteX701" y="connsiteY701"/>
              </a:cxn>
              <a:cxn ang="0">
                <a:pos x="connsiteX702" y="connsiteY702"/>
              </a:cxn>
              <a:cxn ang="0">
                <a:pos x="connsiteX703" y="connsiteY703"/>
              </a:cxn>
              <a:cxn ang="0">
                <a:pos x="connsiteX704" y="connsiteY704"/>
              </a:cxn>
              <a:cxn ang="0">
                <a:pos x="connsiteX705" y="connsiteY705"/>
              </a:cxn>
              <a:cxn ang="0">
                <a:pos x="connsiteX706" y="connsiteY706"/>
              </a:cxn>
              <a:cxn ang="0">
                <a:pos x="connsiteX707" y="connsiteY707"/>
              </a:cxn>
              <a:cxn ang="0">
                <a:pos x="connsiteX708" y="connsiteY708"/>
              </a:cxn>
              <a:cxn ang="0">
                <a:pos x="connsiteX709" y="connsiteY709"/>
              </a:cxn>
              <a:cxn ang="0">
                <a:pos x="connsiteX710" y="connsiteY710"/>
              </a:cxn>
              <a:cxn ang="0">
                <a:pos x="connsiteX711" y="connsiteY711"/>
              </a:cxn>
              <a:cxn ang="0">
                <a:pos x="connsiteX712" y="connsiteY712"/>
              </a:cxn>
              <a:cxn ang="0">
                <a:pos x="connsiteX713" y="connsiteY713"/>
              </a:cxn>
              <a:cxn ang="0">
                <a:pos x="connsiteX714" y="connsiteY714"/>
              </a:cxn>
              <a:cxn ang="0">
                <a:pos x="connsiteX715" y="connsiteY715"/>
              </a:cxn>
              <a:cxn ang="0">
                <a:pos x="connsiteX716" y="connsiteY716"/>
              </a:cxn>
              <a:cxn ang="0">
                <a:pos x="connsiteX717" y="connsiteY717"/>
              </a:cxn>
              <a:cxn ang="0">
                <a:pos x="connsiteX718" y="connsiteY718"/>
              </a:cxn>
              <a:cxn ang="0">
                <a:pos x="connsiteX719" y="connsiteY719"/>
              </a:cxn>
              <a:cxn ang="0">
                <a:pos x="connsiteX720" y="connsiteY720"/>
              </a:cxn>
              <a:cxn ang="0">
                <a:pos x="connsiteX721" y="connsiteY721"/>
              </a:cxn>
              <a:cxn ang="0">
                <a:pos x="connsiteX722" y="connsiteY722"/>
              </a:cxn>
              <a:cxn ang="0">
                <a:pos x="connsiteX723" y="connsiteY723"/>
              </a:cxn>
              <a:cxn ang="0">
                <a:pos x="connsiteX724" y="connsiteY724"/>
              </a:cxn>
              <a:cxn ang="0">
                <a:pos x="connsiteX725" y="connsiteY725"/>
              </a:cxn>
              <a:cxn ang="0">
                <a:pos x="connsiteX726" y="connsiteY726"/>
              </a:cxn>
              <a:cxn ang="0">
                <a:pos x="connsiteX727" y="connsiteY727"/>
              </a:cxn>
              <a:cxn ang="0">
                <a:pos x="connsiteX728" y="connsiteY728"/>
              </a:cxn>
              <a:cxn ang="0">
                <a:pos x="connsiteX729" y="connsiteY729"/>
              </a:cxn>
              <a:cxn ang="0">
                <a:pos x="connsiteX730" y="connsiteY730"/>
              </a:cxn>
              <a:cxn ang="0">
                <a:pos x="connsiteX731" y="connsiteY731"/>
              </a:cxn>
              <a:cxn ang="0">
                <a:pos x="connsiteX732" y="connsiteY732"/>
              </a:cxn>
              <a:cxn ang="0">
                <a:pos x="connsiteX733" y="connsiteY733"/>
              </a:cxn>
              <a:cxn ang="0">
                <a:pos x="connsiteX734" y="connsiteY734"/>
              </a:cxn>
              <a:cxn ang="0">
                <a:pos x="connsiteX735" y="connsiteY735"/>
              </a:cxn>
              <a:cxn ang="0">
                <a:pos x="connsiteX736" y="connsiteY736"/>
              </a:cxn>
              <a:cxn ang="0">
                <a:pos x="connsiteX737" y="connsiteY737"/>
              </a:cxn>
              <a:cxn ang="0">
                <a:pos x="connsiteX738" y="connsiteY738"/>
              </a:cxn>
              <a:cxn ang="0">
                <a:pos x="connsiteX739" y="connsiteY739"/>
              </a:cxn>
              <a:cxn ang="0">
                <a:pos x="connsiteX740" y="connsiteY740"/>
              </a:cxn>
              <a:cxn ang="0">
                <a:pos x="connsiteX741" y="connsiteY741"/>
              </a:cxn>
              <a:cxn ang="0">
                <a:pos x="connsiteX742" y="connsiteY742"/>
              </a:cxn>
              <a:cxn ang="0">
                <a:pos x="connsiteX743" y="connsiteY743"/>
              </a:cxn>
              <a:cxn ang="0">
                <a:pos x="connsiteX744" y="connsiteY744"/>
              </a:cxn>
              <a:cxn ang="0">
                <a:pos x="connsiteX745" y="connsiteY745"/>
              </a:cxn>
              <a:cxn ang="0">
                <a:pos x="connsiteX746" y="connsiteY746"/>
              </a:cxn>
              <a:cxn ang="0">
                <a:pos x="connsiteX747" y="connsiteY747"/>
              </a:cxn>
              <a:cxn ang="0">
                <a:pos x="connsiteX748" y="connsiteY748"/>
              </a:cxn>
              <a:cxn ang="0">
                <a:pos x="connsiteX749" y="connsiteY749"/>
              </a:cxn>
              <a:cxn ang="0">
                <a:pos x="connsiteX750" y="connsiteY750"/>
              </a:cxn>
              <a:cxn ang="0">
                <a:pos x="connsiteX751" y="connsiteY751"/>
              </a:cxn>
              <a:cxn ang="0">
                <a:pos x="connsiteX752" y="connsiteY752"/>
              </a:cxn>
              <a:cxn ang="0">
                <a:pos x="connsiteX753" y="connsiteY753"/>
              </a:cxn>
              <a:cxn ang="0">
                <a:pos x="connsiteX754" y="connsiteY754"/>
              </a:cxn>
              <a:cxn ang="0">
                <a:pos x="connsiteX755" y="connsiteY755"/>
              </a:cxn>
              <a:cxn ang="0">
                <a:pos x="connsiteX756" y="connsiteY756"/>
              </a:cxn>
              <a:cxn ang="0">
                <a:pos x="connsiteX757" y="connsiteY757"/>
              </a:cxn>
              <a:cxn ang="0">
                <a:pos x="connsiteX758" y="connsiteY758"/>
              </a:cxn>
              <a:cxn ang="0">
                <a:pos x="connsiteX759" y="connsiteY759"/>
              </a:cxn>
              <a:cxn ang="0">
                <a:pos x="connsiteX760" y="connsiteY760"/>
              </a:cxn>
              <a:cxn ang="0">
                <a:pos x="connsiteX761" y="connsiteY761"/>
              </a:cxn>
              <a:cxn ang="0">
                <a:pos x="connsiteX762" y="connsiteY762"/>
              </a:cxn>
              <a:cxn ang="0">
                <a:pos x="connsiteX763" y="connsiteY763"/>
              </a:cxn>
              <a:cxn ang="0">
                <a:pos x="connsiteX764" y="connsiteY764"/>
              </a:cxn>
              <a:cxn ang="0">
                <a:pos x="connsiteX765" y="connsiteY765"/>
              </a:cxn>
              <a:cxn ang="0">
                <a:pos x="connsiteX766" y="connsiteY766"/>
              </a:cxn>
              <a:cxn ang="0">
                <a:pos x="connsiteX767" y="connsiteY767"/>
              </a:cxn>
              <a:cxn ang="0">
                <a:pos x="connsiteX768" y="connsiteY768"/>
              </a:cxn>
              <a:cxn ang="0">
                <a:pos x="connsiteX769" y="connsiteY769"/>
              </a:cxn>
              <a:cxn ang="0">
                <a:pos x="connsiteX770" y="connsiteY770"/>
              </a:cxn>
              <a:cxn ang="0">
                <a:pos x="connsiteX771" y="connsiteY771"/>
              </a:cxn>
              <a:cxn ang="0">
                <a:pos x="connsiteX772" y="connsiteY772"/>
              </a:cxn>
              <a:cxn ang="0">
                <a:pos x="connsiteX773" y="connsiteY773"/>
              </a:cxn>
              <a:cxn ang="0">
                <a:pos x="connsiteX774" y="connsiteY774"/>
              </a:cxn>
              <a:cxn ang="0">
                <a:pos x="connsiteX775" y="connsiteY775"/>
              </a:cxn>
              <a:cxn ang="0">
                <a:pos x="connsiteX776" y="connsiteY776"/>
              </a:cxn>
              <a:cxn ang="0">
                <a:pos x="connsiteX777" y="connsiteY777"/>
              </a:cxn>
              <a:cxn ang="0">
                <a:pos x="connsiteX778" y="connsiteY778"/>
              </a:cxn>
              <a:cxn ang="0">
                <a:pos x="connsiteX779" y="connsiteY779"/>
              </a:cxn>
              <a:cxn ang="0">
                <a:pos x="connsiteX780" y="connsiteY780"/>
              </a:cxn>
              <a:cxn ang="0">
                <a:pos x="connsiteX781" y="connsiteY781"/>
              </a:cxn>
              <a:cxn ang="0">
                <a:pos x="connsiteX782" y="connsiteY782"/>
              </a:cxn>
              <a:cxn ang="0">
                <a:pos x="connsiteX783" y="connsiteY783"/>
              </a:cxn>
              <a:cxn ang="0">
                <a:pos x="connsiteX784" y="connsiteY784"/>
              </a:cxn>
              <a:cxn ang="0">
                <a:pos x="connsiteX785" y="connsiteY785"/>
              </a:cxn>
              <a:cxn ang="0">
                <a:pos x="connsiteX786" y="connsiteY786"/>
              </a:cxn>
              <a:cxn ang="0">
                <a:pos x="connsiteX787" y="connsiteY787"/>
              </a:cxn>
              <a:cxn ang="0">
                <a:pos x="connsiteX788" y="connsiteY788"/>
              </a:cxn>
              <a:cxn ang="0">
                <a:pos x="connsiteX789" y="connsiteY789"/>
              </a:cxn>
              <a:cxn ang="0">
                <a:pos x="connsiteX790" y="connsiteY790"/>
              </a:cxn>
              <a:cxn ang="0">
                <a:pos x="connsiteX791" y="connsiteY791"/>
              </a:cxn>
              <a:cxn ang="0">
                <a:pos x="connsiteX792" y="connsiteY792"/>
              </a:cxn>
              <a:cxn ang="0">
                <a:pos x="connsiteX793" y="connsiteY793"/>
              </a:cxn>
              <a:cxn ang="0">
                <a:pos x="connsiteX794" y="connsiteY794"/>
              </a:cxn>
              <a:cxn ang="0">
                <a:pos x="connsiteX795" y="connsiteY795"/>
              </a:cxn>
              <a:cxn ang="0">
                <a:pos x="connsiteX796" y="connsiteY796"/>
              </a:cxn>
              <a:cxn ang="0">
                <a:pos x="connsiteX797" y="connsiteY797"/>
              </a:cxn>
              <a:cxn ang="0">
                <a:pos x="connsiteX798" y="connsiteY798"/>
              </a:cxn>
              <a:cxn ang="0">
                <a:pos x="connsiteX799" y="connsiteY799"/>
              </a:cxn>
              <a:cxn ang="0">
                <a:pos x="connsiteX800" y="connsiteY800"/>
              </a:cxn>
              <a:cxn ang="0">
                <a:pos x="connsiteX801" y="connsiteY801"/>
              </a:cxn>
              <a:cxn ang="0">
                <a:pos x="connsiteX802" y="connsiteY802"/>
              </a:cxn>
              <a:cxn ang="0">
                <a:pos x="connsiteX803" y="connsiteY803"/>
              </a:cxn>
              <a:cxn ang="0">
                <a:pos x="connsiteX804" y="connsiteY804"/>
              </a:cxn>
              <a:cxn ang="0">
                <a:pos x="connsiteX805" y="connsiteY805"/>
              </a:cxn>
              <a:cxn ang="0">
                <a:pos x="connsiteX806" y="connsiteY806"/>
              </a:cxn>
              <a:cxn ang="0">
                <a:pos x="connsiteX807" y="connsiteY807"/>
              </a:cxn>
              <a:cxn ang="0">
                <a:pos x="connsiteX808" y="connsiteY808"/>
              </a:cxn>
              <a:cxn ang="0">
                <a:pos x="connsiteX809" y="connsiteY809"/>
              </a:cxn>
              <a:cxn ang="0">
                <a:pos x="connsiteX810" y="connsiteY810"/>
              </a:cxn>
              <a:cxn ang="0">
                <a:pos x="connsiteX811" y="connsiteY811"/>
              </a:cxn>
              <a:cxn ang="0">
                <a:pos x="connsiteX812" y="connsiteY812"/>
              </a:cxn>
              <a:cxn ang="0">
                <a:pos x="connsiteX813" y="connsiteY813"/>
              </a:cxn>
              <a:cxn ang="0">
                <a:pos x="connsiteX814" y="connsiteY814"/>
              </a:cxn>
              <a:cxn ang="0">
                <a:pos x="connsiteX815" y="connsiteY815"/>
              </a:cxn>
              <a:cxn ang="0">
                <a:pos x="connsiteX816" y="connsiteY816"/>
              </a:cxn>
              <a:cxn ang="0">
                <a:pos x="connsiteX817" y="connsiteY817"/>
              </a:cxn>
              <a:cxn ang="0">
                <a:pos x="connsiteX818" y="connsiteY818"/>
              </a:cxn>
              <a:cxn ang="0">
                <a:pos x="connsiteX819" y="connsiteY819"/>
              </a:cxn>
              <a:cxn ang="0">
                <a:pos x="connsiteX820" y="connsiteY820"/>
              </a:cxn>
              <a:cxn ang="0">
                <a:pos x="connsiteX821" y="connsiteY821"/>
              </a:cxn>
              <a:cxn ang="0">
                <a:pos x="connsiteX822" y="connsiteY822"/>
              </a:cxn>
              <a:cxn ang="0">
                <a:pos x="connsiteX823" y="connsiteY823"/>
              </a:cxn>
              <a:cxn ang="0">
                <a:pos x="connsiteX824" y="connsiteY824"/>
              </a:cxn>
              <a:cxn ang="0">
                <a:pos x="connsiteX825" y="connsiteY825"/>
              </a:cxn>
              <a:cxn ang="0">
                <a:pos x="connsiteX826" y="connsiteY826"/>
              </a:cxn>
              <a:cxn ang="0">
                <a:pos x="connsiteX827" y="connsiteY827"/>
              </a:cxn>
              <a:cxn ang="0">
                <a:pos x="connsiteX828" y="connsiteY828"/>
              </a:cxn>
              <a:cxn ang="0">
                <a:pos x="connsiteX829" y="connsiteY829"/>
              </a:cxn>
              <a:cxn ang="0">
                <a:pos x="connsiteX830" y="connsiteY830"/>
              </a:cxn>
              <a:cxn ang="0">
                <a:pos x="connsiteX831" y="connsiteY831"/>
              </a:cxn>
              <a:cxn ang="0">
                <a:pos x="connsiteX832" y="connsiteY832"/>
              </a:cxn>
              <a:cxn ang="0">
                <a:pos x="connsiteX833" y="connsiteY833"/>
              </a:cxn>
              <a:cxn ang="0">
                <a:pos x="connsiteX834" y="connsiteY834"/>
              </a:cxn>
              <a:cxn ang="0">
                <a:pos x="connsiteX835" y="connsiteY835"/>
              </a:cxn>
              <a:cxn ang="0">
                <a:pos x="connsiteX836" y="connsiteY836"/>
              </a:cxn>
              <a:cxn ang="0">
                <a:pos x="connsiteX837" y="connsiteY837"/>
              </a:cxn>
              <a:cxn ang="0">
                <a:pos x="connsiteX838" y="connsiteY838"/>
              </a:cxn>
              <a:cxn ang="0">
                <a:pos x="connsiteX839" y="connsiteY839"/>
              </a:cxn>
              <a:cxn ang="0">
                <a:pos x="connsiteX840" y="connsiteY840"/>
              </a:cxn>
              <a:cxn ang="0">
                <a:pos x="connsiteX841" y="connsiteY841"/>
              </a:cxn>
              <a:cxn ang="0">
                <a:pos x="connsiteX842" y="connsiteY842"/>
              </a:cxn>
              <a:cxn ang="0">
                <a:pos x="connsiteX843" y="connsiteY843"/>
              </a:cxn>
              <a:cxn ang="0">
                <a:pos x="connsiteX844" y="connsiteY844"/>
              </a:cxn>
              <a:cxn ang="0">
                <a:pos x="connsiteX845" y="connsiteY845"/>
              </a:cxn>
              <a:cxn ang="0">
                <a:pos x="connsiteX846" y="connsiteY846"/>
              </a:cxn>
              <a:cxn ang="0">
                <a:pos x="connsiteX847" y="connsiteY847"/>
              </a:cxn>
              <a:cxn ang="0">
                <a:pos x="connsiteX848" y="connsiteY848"/>
              </a:cxn>
              <a:cxn ang="0">
                <a:pos x="connsiteX849" y="connsiteY849"/>
              </a:cxn>
              <a:cxn ang="0">
                <a:pos x="connsiteX850" y="connsiteY850"/>
              </a:cxn>
              <a:cxn ang="0">
                <a:pos x="connsiteX851" y="connsiteY851"/>
              </a:cxn>
              <a:cxn ang="0">
                <a:pos x="connsiteX852" y="connsiteY852"/>
              </a:cxn>
              <a:cxn ang="0">
                <a:pos x="connsiteX853" y="connsiteY853"/>
              </a:cxn>
              <a:cxn ang="0">
                <a:pos x="connsiteX854" y="connsiteY854"/>
              </a:cxn>
              <a:cxn ang="0">
                <a:pos x="connsiteX855" y="connsiteY855"/>
              </a:cxn>
              <a:cxn ang="0">
                <a:pos x="connsiteX856" y="connsiteY856"/>
              </a:cxn>
              <a:cxn ang="0">
                <a:pos x="connsiteX857" y="connsiteY857"/>
              </a:cxn>
              <a:cxn ang="0">
                <a:pos x="connsiteX858" y="connsiteY858"/>
              </a:cxn>
              <a:cxn ang="0">
                <a:pos x="connsiteX859" y="connsiteY859"/>
              </a:cxn>
              <a:cxn ang="0">
                <a:pos x="connsiteX860" y="connsiteY860"/>
              </a:cxn>
              <a:cxn ang="0">
                <a:pos x="connsiteX861" y="connsiteY861"/>
              </a:cxn>
              <a:cxn ang="0">
                <a:pos x="connsiteX862" y="connsiteY862"/>
              </a:cxn>
              <a:cxn ang="0">
                <a:pos x="connsiteX863" y="connsiteY863"/>
              </a:cxn>
              <a:cxn ang="0">
                <a:pos x="connsiteX864" y="connsiteY864"/>
              </a:cxn>
              <a:cxn ang="0">
                <a:pos x="connsiteX865" y="connsiteY865"/>
              </a:cxn>
              <a:cxn ang="0">
                <a:pos x="connsiteX866" y="connsiteY866"/>
              </a:cxn>
              <a:cxn ang="0">
                <a:pos x="connsiteX867" y="connsiteY867"/>
              </a:cxn>
              <a:cxn ang="0">
                <a:pos x="connsiteX868" y="connsiteY868"/>
              </a:cxn>
              <a:cxn ang="0">
                <a:pos x="connsiteX869" y="connsiteY869"/>
              </a:cxn>
              <a:cxn ang="0">
                <a:pos x="connsiteX870" y="connsiteY870"/>
              </a:cxn>
              <a:cxn ang="0">
                <a:pos x="connsiteX871" y="connsiteY871"/>
              </a:cxn>
              <a:cxn ang="0">
                <a:pos x="connsiteX872" y="connsiteY872"/>
              </a:cxn>
              <a:cxn ang="0">
                <a:pos x="connsiteX873" y="connsiteY873"/>
              </a:cxn>
              <a:cxn ang="0">
                <a:pos x="connsiteX874" y="connsiteY874"/>
              </a:cxn>
              <a:cxn ang="0">
                <a:pos x="connsiteX875" y="connsiteY875"/>
              </a:cxn>
              <a:cxn ang="0">
                <a:pos x="connsiteX876" y="connsiteY876"/>
              </a:cxn>
              <a:cxn ang="0">
                <a:pos x="connsiteX877" y="connsiteY877"/>
              </a:cxn>
              <a:cxn ang="0">
                <a:pos x="connsiteX878" y="connsiteY878"/>
              </a:cxn>
              <a:cxn ang="0">
                <a:pos x="connsiteX879" y="connsiteY879"/>
              </a:cxn>
              <a:cxn ang="0">
                <a:pos x="connsiteX880" y="connsiteY880"/>
              </a:cxn>
              <a:cxn ang="0">
                <a:pos x="connsiteX881" y="connsiteY881"/>
              </a:cxn>
              <a:cxn ang="0">
                <a:pos x="connsiteX882" y="connsiteY882"/>
              </a:cxn>
              <a:cxn ang="0">
                <a:pos x="connsiteX883" y="connsiteY883"/>
              </a:cxn>
              <a:cxn ang="0">
                <a:pos x="connsiteX884" y="connsiteY884"/>
              </a:cxn>
              <a:cxn ang="0">
                <a:pos x="connsiteX885" y="connsiteY885"/>
              </a:cxn>
              <a:cxn ang="0">
                <a:pos x="connsiteX886" y="connsiteY886"/>
              </a:cxn>
              <a:cxn ang="0">
                <a:pos x="connsiteX887" y="connsiteY887"/>
              </a:cxn>
              <a:cxn ang="0">
                <a:pos x="connsiteX888" y="connsiteY888"/>
              </a:cxn>
              <a:cxn ang="0">
                <a:pos x="connsiteX889" y="connsiteY889"/>
              </a:cxn>
              <a:cxn ang="0">
                <a:pos x="connsiteX890" y="connsiteY890"/>
              </a:cxn>
              <a:cxn ang="0">
                <a:pos x="connsiteX891" y="connsiteY891"/>
              </a:cxn>
              <a:cxn ang="0">
                <a:pos x="connsiteX892" y="connsiteY892"/>
              </a:cxn>
              <a:cxn ang="0">
                <a:pos x="connsiteX893" y="connsiteY893"/>
              </a:cxn>
              <a:cxn ang="0">
                <a:pos x="connsiteX894" y="connsiteY894"/>
              </a:cxn>
              <a:cxn ang="0">
                <a:pos x="connsiteX895" y="connsiteY895"/>
              </a:cxn>
              <a:cxn ang="0">
                <a:pos x="connsiteX896" y="connsiteY896"/>
              </a:cxn>
              <a:cxn ang="0">
                <a:pos x="connsiteX897" y="connsiteY897"/>
              </a:cxn>
              <a:cxn ang="0">
                <a:pos x="connsiteX898" y="connsiteY898"/>
              </a:cxn>
              <a:cxn ang="0">
                <a:pos x="connsiteX899" y="connsiteY899"/>
              </a:cxn>
              <a:cxn ang="0">
                <a:pos x="connsiteX900" y="connsiteY900"/>
              </a:cxn>
              <a:cxn ang="0">
                <a:pos x="connsiteX901" y="connsiteY901"/>
              </a:cxn>
              <a:cxn ang="0">
                <a:pos x="connsiteX902" y="connsiteY902"/>
              </a:cxn>
              <a:cxn ang="0">
                <a:pos x="connsiteX903" y="connsiteY903"/>
              </a:cxn>
              <a:cxn ang="0">
                <a:pos x="connsiteX904" y="connsiteY904"/>
              </a:cxn>
              <a:cxn ang="0">
                <a:pos x="connsiteX905" y="connsiteY905"/>
              </a:cxn>
              <a:cxn ang="0">
                <a:pos x="connsiteX906" y="connsiteY906"/>
              </a:cxn>
              <a:cxn ang="0">
                <a:pos x="connsiteX907" y="connsiteY907"/>
              </a:cxn>
              <a:cxn ang="0">
                <a:pos x="connsiteX908" y="connsiteY908"/>
              </a:cxn>
              <a:cxn ang="0">
                <a:pos x="connsiteX909" y="connsiteY909"/>
              </a:cxn>
              <a:cxn ang="0">
                <a:pos x="connsiteX910" y="connsiteY910"/>
              </a:cxn>
              <a:cxn ang="0">
                <a:pos x="connsiteX911" y="connsiteY911"/>
              </a:cxn>
              <a:cxn ang="0">
                <a:pos x="connsiteX912" y="connsiteY912"/>
              </a:cxn>
              <a:cxn ang="0">
                <a:pos x="connsiteX913" y="connsiteY913"/>
              </a:cxn>
              <a:cxn ang="0">
                <a:pos x="connsiteX914" y="connsiteY914"/>
              </a:cxn>
              <a:cxn ang="0">
                <a:pos x="connsiteX915" y="connsiteY915"/>
              </a:cxn>
              <a:cxn ang="0">
                <a:pos x="connsiteX916" y="connsiteY916"/>
              </a:cxn>
              <a:cxn ang="0">
                <a:pos x="connsiteX917" y="connsiteY917"/>
              </a:cxn>
              <a:cxn ang="0">
                <a:pos x="connsiteX918" y="connsiteY918"/>
              </a:cxn>
              <a:cxn ang="0">
                <a:pos x="connsiteX919" y="connsiteY919"/>
              </a:cxn>
              <a:cxn ang="0">
                <a:pos x="connsiteX920" y="connsiteY920"/>
              </a:cxn>
              <a:cxn ang="0">
                <a:pos x="connsiteX921" y="connsiteY921"/>
              </a:cxn>
              <a:cxn ang="0">
                <a:pos x="connsiteX922" y="connsiteY922"/>
              </a:cxn>
              <a:cxn ang="0">
                <a:pos x="connsiteX923" y="connsiteY923"/>
              </a:cxn>
              <a:cxn ang="0">
                <a:pos x="connsiteX924" y="connsiteY924"/>
              </a:cxn>
              <a:cxn ang="0">
                <a:pos x="connsiteX925" y="connsiteY925"/>
              </a:cxn>
              <a:cxn ang="0">
                <a:pos x="connsiteX926" y="connsiteY926"/>
              </a:cxn>
              <a:cxn ang="0">
                <a:pos x="connsiteX927" y="connsiteY927"/>
              </a:cxn>
              <a:cxn ang="0">
                <a:pos x="connsiteX928" y="connsiteY928"/>
              </a:cxn>
              <a:cxn ang="0">
                <a:pos x="connsiteX929" y="connsiteY929"/>
              </a:cxn>
              <a:cxn ang="0">
                <a:pos x="connsiteX930" y="connsiteY930"/>
              </a:cxn>
              <a:cxn ang="0">
                <a:pos x="connsiteX931" y="connsiteY931"/>
              </a:cxn>
              <a:cxn ang="0">
                <a:pos x="connsiteX932" y="connsiteY932"/>
              </a:cxn>
              <a:cxn ang="0">
                <a:pos x="connsiteX933" y="connsiteY933"/>
              </a:cxn>
              <a:cxn ang="0">
                <a:pos x="connsiteX934" y="connsiteY934"/>
              </a:cxn>
              <a:cxn ang="0">
                <a:pos x="connsiteX935" y="connsiteY935"/>
              </a:cxn>
              <a:cxn ang="0">
                <a:pos x="connsiteX936" y="connsiteY936"/>
              </a:cxn>
              <a:cxn ang="0">
                <a:pos x="connsiteX937" y="connsiteY937"/>
              </a:cxn>
              <a:cxn ang="0">
                <a:pos x="connsiteX938" y="connsiteY938"/>
              </a:cxn>
              <a:cxn ang="0">
                <a:pos x="connsiteX939" y="connsiteY939"/>
              </a:cxn>
              <a:cxn ang="0">
                <a:pos x="connsiteX940" y="connsiteY940"/>
              </a:cxn>
              <a:cxn ang="0">
                <a:pos x="connsiteX941" y="connsiteY941"/>
              </a:cxn>
              <a:cxn ang="0">
                <a:pos x="connsiteX942" y="connsiteY942"/>
              </a:cxn>
              <a:cxn ang="0">
                <a:pos x="connsiteX943" y="connsiteY943"/>
              </a:cxn>
              <a:cxn ang="0">
                <a:pos x="connsiteX944" y="connsiteY944"/>
              </a:cxn>
              <a:cxn ang="0">
                <a:pos x="connsiteX945" y="connsiteY945"/>
              </a:cxn>
              <a:cxn ang="0">
                <a:pos x="connsiteX946" y="connsiteY946"/>
              </a:cxn>
              <a:cxn ang="0">
                <a:pos x="connsiteX947" y="connsiteY947"/>
              </a:cxn>
              <a:cxn ang="0">
                <a:pos x="connsiteX948" y="connsiteY948"/>
              </a:cxn>
              <a:cxn ang="0">
                <a:pos x="connsiteX949" y="connsiteY949"/>
              </a:cxn>
              <a:cxn ang="0">
                <a:pos x="connsiteX950" y="connsiteY950"/>
              </a:cxn>
              <a:cxn ang="0">
                <a:pos x="connsiteX951" y="connsiteY951"/>
              </a:cxn>
              <a:cxn ang="0">
                <a:pos x="connsiteX952" y="connsiteY952"/>
              </a:cxn>
              <a:cxn ang="0">
                <a:pos x="connsiteX953" y="connsiteY953"/>
              </a:cxn>
              <a:cxn ang="0">
                <a:pos x="connsiteX954" y="connsiteY954"/>
              </a:cxn>
              <a:cxn ang="0">
                <a:pos x="connsiteX955" y="connsiteY955"/>
              </a:cxn>
              <a:cxn ang="0">
                <a:pos x="connsiteX956" y="connsiteY956"/>
              </a:cxn>
              <a:cxn ang="0">
                <a:pos x="connsiteX957" y="connsiteY957"/>
              </a:cxn>
              <a:cxn ang="0">
                <a:pos x="connsiteX958" y="connsiteY958"/>
              </a:cxn>
              <a:cxn ang="0">
                <a:pos x="connsiteX959" y="connsiteY959"/>
              </a:cxn>
              <a:cxn ang="0">
                <a:pos x="connsiteX960" y="connsiteY960"/>
              </a:cxn>
              <a:cxn ang="0">
                <a:pos x="connsiteX961" y="connsiteY961"/>
              </a:cxn>
              <a:cxn ang="0">
                <a:pos x="connsiteX962" y="connsiteY962"/>
              </a:cxn>
              <a:cxn ang="0">
                <a:pos x="connsiteX963" y="connsiteY963"/>
              </a:cxn>
              <a:cxn ang="0">
                <a:pos x="connsiteX964" y="connsiteY964"/>
              </a:cxn>
              <a:cxn ang="0">
                <a:pos x="connsiteX965" y="connsiteY965"/>
              </a:cxn>
              <a:cxn ang="0">
                <a:pos x="connsiteX966" y="connsiteY966"/>
              </a:cxn>
              <a:cxn ang="0">
                <a:pos x="connsiteX967" y="connsiteY967"/>
              </a:cxn>
              <a:cxn ang="0">
                <a:pos x="connsiteX968" y="connsiteY968"/>
              </a:cxn>
              <a:cxn ang="0">
                <a:pos x="connsiteX969" y="connsiteY969"/>
              </a:cxn>
              <a:cxn ang="0">
                <a:pos x="connsiteX970" y="connsiteY970"/>
              </a:cxn>
              <a:cxn ang="0">
                <a:pos x="connsiteX971" y="connsiteY971"/>
              </a:cxn>
              <a:cxn ang="0">
                <a:pos x="connsiteX972" y="connsiteY972"/>
              </a:cxn>
              <a:cxn ang="0">
                <a:pos x="connsiteX973" y="connsiteY973"/>
              </a:cxn>
              <a:cxn ang="0">
                <a:pos x="connsiteX974" y="connsiteY974"/>
              </a:cxn>
              <a:cxn ang="0">
                <a:pos x="connsiteX975" y="connsiteY975"/>
              </a:cxn>
              <a:cxn ang="0">
                <a:pos x="connsiteX976" y="connsiteY976"/>
              </a:cxn>
              <a:cxn ang="0">
                <a:pos x="connsiteX977" y="connsiteY977"/>
              </a:cxn>
              <a:cxn ang="0">
                <a:pos x="connsiteX978" y="connsiteY978"/>
              </a:cxn>
              <a:cxn ang="0">
                <a:pos x="connsiteX979" y="connsiteY979"/>
              </a:cxn>
              <a:cxn ang="0">
                <a:pos x="connsiteX980" y="connsiteY980"/>
              </a:cxn>
              <a:cxn ang="0">
                <a:pos x="connsiteX981" y="connsiteY981"/>
              </a:cxn>
              <a:cxn ang="0">
                <a:pos x="connsiteX982" y="connsiteY982"/>
              </a:cxn>
              <a:cxn ang="0">
                <a:pos x="connsiteX983" y="connsiteY983"/>
              </a:cxn>
              <a:cxn ang="0">
                <a:pos x="connsiteX984" y="connsiteY984"/>
              </a:cxn>
              <a:cxn ang="0">
                <a:pos x="connsiteX985" y="connsiteY985"/>
              </a:cxn>
              <a:cxn ang="0">
                <a:pos x="connsiteX986" y="connsiteY986"/>
              </a:cxn>
              <a:cxn ang="0">
                <a:pos x="connsiteX987" y="connsiteY987"/>
              </a:cxn>
              <a:cxn ang="0">
                <a:pos x="connsiteX988" y="connsiteY988"/>
              </a:cxn>
              <a:cxn ang="0">
                <a:pos x="connsiteX989" y="connsiteY989"/>
              </a:cxn>
              <a:cxn ang="0">
                <a:pos x="connsiteX990" y="connsiteY990"/>
              </a:cxn>
              <a:cxn ang="0">
                <a:pos x="connsiteX991" y="connsiteY991"/>
              </a:cxn>
              <a:cxn ang="0">
                <a:pos x="connsiteX992" y="connsiteY992"/>
              </a:cxn>
              <a:cxn ang="0">
                <a:pos x="connsiteX993" y="connsiteY993"/>
              </a:cxn>
              <a:cxn ang="0">
                <a:pos x="connsiteX994" y="connsiteY994"/>
              </a:cxn>
              <a:cxn ang="0">
                <a:pos x="connsiteX995" y="connsiteY995"/>
              </a:cxn>
              <a:cxn ang="0">
                <a:pos x="connsiteX996" y="connsiteY996"/>
              </a:cxn>
              <a:cxn ang="0">
                <a:pos x="connsiteX997" y="connsiteY997"/>
              </a:cxn>
              <a:cxn ang="0">
                <a:pos x="connsiteX998" y="connsiteY998"/>
              </a:cxn>
              <a:cxn ang="0">
                <a:pos x="connsiteX999" y="connsiteY999"/>
              </a:cxn>
              <a:cxn ang="0">
                <a:pos x="connsiteX1000" y="connsiteY1000"/>
              </a:cxn>
              <a:cxn ang="0">
                <a:pos x="connsiteX1001" y="connsiteY1001"/>
              </a:cxn>
              <a:cxn ang="0">
                <a:pos x="connsiteX1002" y="connsiteY1002"/>
              </a:cxn>
              <a:cxn ang="0">
                <a:pos x="connsiteX1003" y="connsiteY1003"/>
              </a:cxn>
              <a:cxn ang="0">
                <a:pos x="connsiteX1004" y="connsiteY1004"/>
              </a:cxn>
              <a:cxn ang="0">
                <a:pos x="connsiteX1005" y="connsiteY1005"/>
              </a:cxn>
              <a:cxn ang="0">
                <a:pos x="connsiteX1006" y="connsiteY1006"/>
              </a:cxn>
              <a:cxn ang="0">
                <a:pos x="connsiteX1007" y="connsiteY1007"/>
              </a:cxn>
              <a:cxn ang="0">
                <a:pos x="connsiteX1008" y="connsiteY1008"/>
              </a:cxn>
              <a:cxn ang="0">
                <a:pos x="connsiteX1009" y="connsiteY1009"/>
              </a:cxn>
              <a:cxn ang="0">
                <a:pos x="connsiteX1010" y="connsiteY1010"/>
              </a:cxn>
              <a:cxn ang="0">
                <a:pos x="connsiteX1011" y="connsiteY1011"/>
              </a:cxn>
              <a:cxn ang="0">
                <a:pos x="connsiteX1012" y="connsiteY1012"/>
              </a:cxn>
              <a:cxn ang="0">
                <a:pos x="connsiteX1013" y="connsiteY1013"/>
              </a:cxn>
              <a:cxn ang="0">
                <a:pos x="connsiteX1014" y="connsiteY1014"/>
              </a:cxn>
              <a:cxn ang="0">
                <a:pos x="connsiteX1015" y="connsiteY1015"/>
              </a:cxn>
              <a:cxn ang="0">
                <a:pos x="connsiteX1016" y="connsiteY1016"/>
              </a:cxn>
              <a:cxn ang="0">
                <a:pos x="connsiteX1017" y="connsiteY1017"/>
              </a:cxn>
              <a:cxn ang="0">
                <a:pos x="connsiteX1018" y="connsiteY1018"/>
              </a:cxn>
              <a:cxn ang="0">
                <a:pos x="connsiteX1019" y="connsiteY1019"/>
              </a:cxn>
              <a:cxn ang="0">
                <a:pos x="connsiteX1020" y="connsiteY1020"/>
              </a:cxn>
              <a:cxn ang="0">
                <a:pos x="connsiteX1021" y="connsiteY1021"/>
              </a:cxn>
              <a:cxn ang="0">
                <a:pos x="connsiteX1022" y="connsiteY1022"/>
              </a:cxn>
              <a:cxn ang="0">
                <a:pos x="connsiteX1023" y="connsiteY1023"/>
              </a:cxn>
              <a:cxn ang="0">
                <a:pos x="connsiteX1024" y="connsiteY1024"/>
              </a:cxn>
              <a:cxn ang="0">
                <a:pos x="connsiteX1025" y="connsiteY1025"/>
              </a:cxn>
              <a:cxn ang="0">
                <a:pos x="connsiteX1026" y="connsiteY1026"/>
              </a:cxn>
              <a:cxn ang="0">
                <a:pos x="connsiteX1027" y="connsiteY1027"/>
              </a:cxn>
              <a:cxn ang="0">
                <a:pos x="connsiteX1028" y="connsiteY1028"/>
              </a:cxn>
              <a:cxn ang="0">
                <a:pos x="connsiteX1029" y="connsiteY1029"/>
              </a:cxn>
              <a:cxn ang="0">
                <a:pos x="connsiteX1030" y="connsiteY1030"/>
              </a:cxn>
              <a:cxn ang="0">
                <a:pos x="connsiteX1031" y="connsiteY1031"/>
              </a:cxn>
              <a:cxn ang="0">
                <a:pos x="connsiteX1032" y="connsiteY1032"/>
              </a:cxn>
              <a:cxn ang="0">
                <a:pos x="connsiteX1033" y="connsiteY1033"/>
              </a:cxn>
              <a:cxn ang="0">
                <a:pos x="connsiteX1034" y="connsiteY1034"/>
              </a:cxn>
              <a:cxn ang="0">
                <a:pos x="connsiteX1035" y="connsiteY1035"/>
              </a:cxn>
              <a:cxn ang="0">
                <a:pos x="connsiteX1036" y="connsiteY1036"/>
              </a:cxn>
              <a:cxn ang="0">
                <a:pos x="connsiteX1037" y="connsiteY1037"/>
              </a:cxn>
              <a:cxn ang="0">
                <a:pos x="connsiteX1038" y="connsiteY1038"/>
              </a:cxn>
              <a:cxn ang="0">
                <a:pos x="connsiteX1039" y="connsiteY1039"/>
              </a:cxn>
              <a:cxn ang="0">
                <a:pos x="connsiteX1040" y="connsiteY1040"/>
              </a:cxn>
              <a:cxn ang="0">
                <a:pos x="connsiteX1041" y="connsiteY1041"/>
              </a:cxn>
              <a:cxn ang="0">
                <a:pos x="connsiteX1042" y="connsiteY1042"/>
              </a:cxn>
              <a:cxn ang="0">
                <a:pos x="connsiteX1043" y="connsiteY1043"/>
              </a:cxn>
              <a:cxn ang="0">
                <a:pos x="connsiteX1044" y="connsiteY1044"/>
              </a:cxn>
              <a:cxn ang="0">
                <a:pos x="connsiteX1045" y="connsiteY1045"/>
              </a:cxn>
              <a:cxn ang="0">
                <a:pos x="connsiteX1046" y="connsiteY1046"/>
              </a:cxn>
              <a:cxn ang="0">
                <a:pos x="connsiteX1047" y="connsiteY1047"/>
              </a:cxn>
              <a:cxn ang="0">
                <a:pos x="connsiteX1048" y="connsiteY1048"/>
              </a:cxn>
              <a:cxn ang="0">
                <a:pos x="connsiteX1049" y="connsiteY1049"/>
              </a:cxn>
              <a:cxn ang="0">
                <a:pos x="connsiteX1050" y="connsiteY1050"/>
              </a:cxn>
              <a:cxn ang="0">
                <a:pos x="connsiteX1051" y="connsiteY1051"/>
              </a:cxn>
              <a:cxn ang="0">
                <a:pos x="connsiteX1052" y="connsiteY1052"/>
              </a:cxn>
              <a:cxn ang="0">
                <a:pos x="connsiteX1053" y="connsiteY1053"/>
              </a:cxn>
              <a:cxn ang="0">
                <a:pos x="connsiteX1054" y="connsiteY1054"/>
              </a:cxn>
              <a:cxn ang="0">
                <a:pos x="connsiteX1055" y="connsiteY1055"/>
              </a:cxn>
              <a:cxn ang="0">
                <a:pos x="connsiteX1056" y="connsiteY1056"/>
              </a:cxn>
              <a:cxn ang="0">
                <a:pos x="connsiteX1057" y="connsiteY1057"/>
              </a:cxn>
              <a:cxn ang="0">
                <a:pos x="connsiteX1058" y="connsiteY1058"/>
              </a:cxn>
              <a:cxn ang="0">
                <a:pos x="connsiteX1059" y="connsiteY1059"/>
              </a:cxn>
              <a:cxn ang="0">
                <a:pos x="connsiteX1060" y="connsiteY1060"/>
              </a:cxn>
              <a:cxn ang="0">
                <a:pos x="connsiteX1061" y="connsiteY1061"/>
              </a:cxn>
              <a:cxn ang="0">
                <a:pos x="connsiteX1062" y="connsiteY1062"/>
              </a:cxn>
              <a:cxn ang="0">
                <a:pos x="connsiteX1063" y="connsiteY1063"/>
              </a:cxn>
              <a:cxn ang="0">
                <a:pos x="connsiteX1064" y="connsiteY1064"/>
              </a:cxn>
              <a:cxn ang="0">
                <a:pos x="connsiteX1065" y="connsiteY1065"/>
              </a:cxn>
              <a:cxn ang="0">
                <a:pos x="connsiteX1066" y="connsiteY1066"/>
              </a:cxn>
              <a:cxn ang="0">
                <a:pos x="connsiteX1067" y="connsiteY1067"/>
              </a:cxn>
              <a:cxn ang="0">
                <a:pos x="connsiteX1068" y="connsiteY1068"/>
              </a:cxn>
              <a:cxn ang="0">
                <a:pos x="connsiteX1069" y="connsiteY1069"/>
              </a:cxn>
              <a:cxn ang="0">
                <a:pos x="connsiteX1070" y="connsiteY1070"/>
              </a:cxn>
              <a:cxn ang="0">
                <a:pos x="connsiteX1071" y="connsiteY1071"/>
              </a:cxn>
              <a:cxn ang="0">
                <a:pos x="connsiteX1072" y="connsiteY1072"/>
              </a:cxn>
              <a:cxn ang="0">
                <a:pos x="connsiteX1073" y="connsiteY1073"/>
              </a:cxn>
              <a:cxn ang="0">
                <a:pos x="connsiteX1074" y="connsiteY1074"/>
              </a:cxn>
              <a:cxn ang="0">
                <a:pos x="connsiteX1075" y="connsiteY1075"/>
              </a:cxn>
              <a:cxn ang="0">
                <a:pos x="connsiteX1076" y="connsiteY1076"/>
              </a:cxn>
              <a:cxn ang="0">
                <a:pos x="connsiteX1077" y="connsiteY1077"/>
              </a:cxn>
              <a:cxn ang="0">
                <a:pos x="connsiteX1078" y="connsiteY1078"/>
              </a:cxn>
              <a:cxn ang="0">
                <a:pos x="connsiteX1079" y="connsiteY1079"/>
              </a:cxn>
              <a:cxn ang="0">
                <a:pos x="connsiteX1080" y="connsiteY1080"/>
              </a:cxn>
              <a:cxn ang="0">
                <a:pos x="connsiteX1081" y="connsiteY1081"/>
              </a:cxn>
              <a:cxn ang="0">
                <a:pos x="connsiteX1082" y="connsiteY1082"/>
              </a:cxn>
              <a:cxn ang="0">
                <a:pos x="connsiteX1083" y="connsiteY1083"/>
              </a:cxn>
              <a:cxn ang="0">
                <a:pos x="connsiteX1084" y="connsiteY1084"/>
              </a:cxn>
              <a:cxn ang="0">
                <a:pos x="connsiteX1085" y="connsiteY1085"/>
              </a:cxn>
              <a:cxn ang="0">
                <a:pos x="connsiteX1086" y="connsiteY1086"/>
              </a:cxn>
              <a:cxn ang="0">
                <a:pos x="connsiteX1087" y="connsiteY1087"/>
              </a:cxn>
              <a:cxn ang="0">
                <a:pos x="connsiteX1088" y="connsiteY1088"/>
              </a:cxn>
              <a:cxn ang="0">
                <a:pos x="connsiteX1089" y="connsiteY1089"/>
              </a:cxn>
              <a:cxn ang="0">
                <a:pos x="connsiteX1090" y="connsiteY1090"/>
              </a:cxn>
              <a:cxn ang="0">
                <a:pos x="connsiteX1091" y="connsiteY1091"/>
              </a:cxn>
              <a:cxn ang="0">
                <a:pos x="connsiteX1092" y="connsiteY1092"/>
              </a:cxn>
              <a:cxn ang="0">
                <a:pos x="connsiteX1093" y="connsiteY1093"/>
              </a:cxn>
              <a:cxn ang="0">
                <a:pos x="connsiteX1094" y="connsiteY1094"/>
              </a:cxn>
              <a:cxn ang="0">
                <a:pos x="connsiteX1095" y="connsiteY1095"/>
              </a:cxn>
              <a:cxn ang="0">
                <a:pos x="connsiteX1096" y="connsiteY1096"/>
              </a:cxn>
              <a:cxn ang="0">
                <a:pos x="connsiteX1097" y="connsiteY1097"/>
              </a:cxn>
              <a:cxn ang="0">
                <a:pos x="connsiteX1098" y="connsiteY1098"/>
              </a:cxn>
              <a:cxn ang="0">
                <a:pos x="connsiteX1099" y="connsiteY1099"/>
              </a:cxn>
              <a:cxn ang="0">
                <a:pos x="connsiteX1100" y="connsiteY1100"/>
              </a:cxn>
              <a:cxn ang="0">
                <a:pos x="connsiteX1101" y="connsiteY1101"/>
              </a:cxn>
              <a:cxn ang="0">
                <a:pos x="connsiteX1102" y="connsiteY1102"/>
              </a:cxn>
              <a:cxn ang="0">
                <a:pos x="connsiteX1103" y="connsiteY1103"/>
              </a:cxn>
              <a:cxn ang="0">
                <a:pos x="connsiteX1104" y="connsiteY1104"/>
              </a:cxn>
              <a:cxn ang="0">
                <a:pos x="connsiteX1105" y="connsiteY1105"/>
              </a:cxn>
              <a:cxn ang="0">
                <a:pos x="connsiteX1106" y="connsiteY1106"/>
              </a:cxn>
              <a:cxn ang="0">
                <a:pos x="connsiteX1107" y="connsiteY1107"/>
              </a:cxn>
              <a:cxn ang="0">
                <a:pos x="connsiteX1108" y="connsiteY1108"/>
              </a:cxn>
              <a:cxn ang="0">
                <a:pos x="connsiteX1109" y="connsiteY1109"/>
              </a:cxn>
              <a:cxn ang="0">
                <a:pos x="connsiteX1110" y="connsiteY1110"/>
              </a:cxn>
              <a:cxn ang="0">
                <a:pos x="connsiteX1111" y="connsiteY1111"/>
              </a:cxn>
              <a:cxn ang="0">
                <a:pos x="connsiteX1112" y="connsiteY1112"/>
              </a:cxn>
              <a:cxn ang="0">
                <a:pos x="connsiteX1113" y="connsiteY1113"/>
              </a:cxn>
              <a:cxn ang="0">
                <a:pos x="connsiteX1114" y="connsiteY1114"/>
              </a:cxn>
              <a:cxn ang="0">
                <a:pos x="connsiteX1115" y="connsiteY1115"/>
              </a:cxn>
              <a:cxn ang="0">
                <a:pos x="connsiteX1116" y="connsiteY1116"/>
              </a:cxn>
              <a:cxn ang="0">
                <a:pos x="connsiteX1117" y="connsiteY1117"/>
              </a:cxn>
              <a:cxn ang="0">
                <a:pos x="connsiteX1118" y="connsiteY1118"/>
              </a:cxn>
              <a:cxn ang="0">
                <a:pos x="connsiteX1119" y="connsiteY1119"/>
              </a:cxn>
              <a:cxn ang="0">
                <a:pos x="connsiteX1120" y="connsiteY1120"/>
              </a:cxn>
              <a:cxn ang="0">
                <a:pos x="connsiteX1121" y="connsiteY1121"/>
              </a:cxn>
              <a:cxn ang="0">
                <a:pos x="connsiteX1122" y="connsiteY1122"/>
              </a:cxn>
              <a:cxn ang="0">
                <a:pos x="connsiteX1123" y="connsiteY1123"/>
              </a:cxn>
              <a:cxn ang="0">
                <a:pos x="connsiteX1124" y="connsiteY1124"/>
              </a:cxn>
              <a:cxn ang="0">
                <a:pos x="connsiteX1125" y="connsiteY1125"/>
              </a:cxn>
              <a:cxn ang="0">
                <a:pos x="connsiteX1126" y="connsiteY1126"/>
              </a:cxn>
              <a:cxn ang="0">
                <a:pos x="connsiteX1127" y="connsiteY1127"/>
              </a:cxn>
              <a:cxn ang="0">
                <a:pos x="connsiteX1128" y="connsiteY1128"/>
              </a:cxn>
              <a:cxn ang="0">
                <a:pos x="connsiteX1129" y="connsiteY1129"/>
              </a:cxn>
              <a:cxn ang="0">
                <a:pos x="connsiteX1130" y="connsiteY1130"/>
              </a:cxn>
              <a:cxn ang="0">
                <a:pos x="connsiteX1131" y="connsiteY1131"/>
              </a:cxn>
              <a:cxn ang="0">
                <a:pos x="connsiteX1132" y="connsiteY1132"/>
              </a:cxn>
              <a:cxn ang="0">
                <a:pos x="connsiteX1133" y="connsiteY1133"/>
              </a:cxn>
              <a:cxn ang="0">
                <a:pos x="connsiteX1134" y="connsiteY1134"/>
              </a:cxn>
              <a:cxn ang="0">
                <a:pos x="connsiteX1135" y="connsiteY1135"/>
              </a:cxn>
              <a:cxn ang="0">
                <a:pos x="connsiteX1136" y="connsiteY1136"/>
              </a:cxn>
              <a:cxn ang="0">
                <a:pos x="connsiteX1137" y="connsiteY1137"/>
              </a:cxn>
              <a:cxn ang="0">
                <a:pos x="connsiteX1138" y="connsiteY1138"/>
              </a:cxn>
              <a:cxn ang="0">
                <a:pos x="connsiteX1139" y="connsiteY1139"/>
              </a:cxn>
              <a:cxn ang="0">
                <a:pos x="connsiteX1140" y="connsiteY1140"/>
              </a:cxn>
              <a:cxn ang="0">
                <a:pos x="connsiteX1141" y="connsiteY1141"/>
              </a:cxn>
              <a:cxn ang="0">
                <a:pos x="connsiteX1142" y="connsiteY1142"/>
              </a:cxn>
              <a:cxn ang="0">
                <a:pos x="connsiteX1143" y="connsiteY1143"/>
              </a:cxn>
              <a:cxn ang="0">
                <a:pos x="connsiteX1144" y="connsiteY1144"/>
              </a:cxn>
              <a:cxn ang="0">
                <a:pos x="connsiteX1145" y="connsiteY1145"/>
              </a:cxn>
              <a:cxn ang="0">
                <a:pos x="connsiteX1146" y="connsiteY1146"/>
              </a:cxn>
              <a:cxn ang="0">
                <a:pos x="connsiteX1147" y="connsiteY1147"/>
              </a:cxn>
              <a:cxn ang="0">
                <a:pos x="connsiteX1148" y="connsiteY1148"/>
              </a:cxn>
              <a:cxn ang="0">
                <a:pos x="connsiteX1149" y="connsiteY1149"/>
              </a:cxn>
              <a:cxn ang="0">
                <a:pos x="connsiteX1150" y="connsiteY1150"/>
              </a:cxn>
              <a:cxn ang="0">
                <a:pos x="connsiteX1151" y="connsiteY1151"/>
              </a:cxn>
              <a:cxn ang="0">
                <a:pos x="connsiteX1152" y="connsiteY1152"/>
              </a:cxn>
              <a:cxn ang="0">
                <a:pos x="connsiteX1153" y="connsiteY1153"/>
              </a:cxn>
              <a:cxn ang="0">
                <a:pos x="connsiteX1154" y="connsiteY1154"/>
              </a:cxn>
              <a:cxn ang="0">
                <a:pos x="connsiteX1155" y="connsiteY1155"/>
              </a:cxn>
              <a:cxn ang="0">
                <a:pos x="connsiteX1156" y="connsiteY1156"/>
              </a:cxn>
              <a:cxn ang="0">
                <a:pos x="connsiteX1157" y="connsiteY1157"/>
              </a:cxn>
              <a:cxn ang="0">
                <a:pos x="connsiteX1158" y="connsiteY1158"/>
              </a:cxn>
              <a:cxn ang="0">
                <a:pos x="connsiteX1159" y="connsiteY1159"/>
              </a:cxn>
              <a:cxn ang="0">
                <a:pos x="connsiteX1160" y="connsiteY1160"/>
              </a:cxn>
              <a:cxn ang="0">
                <a:pos x="connsiteX1161" y="connsiteY1161"/>
              </a:cxn>
              <a:cxn ang="0">
                <a:pos x="connsiteX1162" y="connsiteY1162"/>
              </a:cxn>
              <a:cxn ang="0">
                <a:pos x="connsiteX1163" y="connsiteY1163"/>
              </a:cxn>
              <a:cxn ang="0">
                <a:pos x="connsiteX1164" y="connsiteY1164"/>
              </a:cxn>
              <a:cxn ang="0">
                <a:pos x="connsiteX1165" y="connsiteY1165"/>
              </a:cxn>
              <a:cxn ang="0">
                <a:pos x="connsiteX1166" y="connsiteY1166"/>
              </a:cxn>
              <a:cxn ang="0">
                <a:pos x="connsiteX1167" y="connsiteY1167"/>
              </a:cxn>
              <a:cxn ang="0">
                <a:pos x="connsiteX1168" y="connsiteY1168"/>
              </a:cxn>
              <a:cxn ang="0">
                <a:pos x="connsiteX1169" y="connsiteY1169"/>
              </a:cxn>
              <a:cxn ang="0">
                <a:pos x="connsiteX1170" y="connsiteY1170"/>
              </a:cxn>
              <a:cxn ang="0">
                <a:pos x="connsiteX1171" y="connsiteY1171"/>
              </a:cxn>
              <a:cxn ang="0">
                <a:pos x="connsiteX1172" y="connsiteY1172"/>
              </a:cxn>
              <a:cxn ang="0">
                <a:pos x="connsiteX1173" y="connsiteY1173"/>
              </a:cxn>
              <a:cxn ang="0">
                <a:pos x="connsiteX1174" y="connsiteY1174"/>
              </a:cxn>
              <a:cxn ang="0">
                <a:pos x="connsiteX1175" y="connsiteY1175"/>
              </a:cxn>
              <a:cxn ang="0">
                <a:pos x="connsiteX1176" y="connsiteY1176"/>
              </a:cxn>
              <a:cxn ang="0">
                <a:pos x="connsiteX1177" y="connsiteY1177"/>
              </a:cxn>
              <a:cxn ang="0">
                <a:pos x="connsiteX1178" y="connsiteY1178"/>
              </a:cxn>
              <a:cxn ang="0">
                <a:pos x="connsiteX1179" y="connsiteY1179"/>
              </a:cxn>
              <a:cxn ang="0">
                <a:pos x="connsiteX1180" y="connsiteY1180"/>
              </a:cxn>
              <a:cxn ang="0">
                <a:pos x="connsiteX1181" y="connsiteY1181"/>
              </a:cxn>
              <a:cxn ang="0">
                <a:pos x="connsiteX1182" y="connsiteY1182"/>
              </a:cxn>
              <a:cxn ang="0">
                <a:pos x="connsiteX1183" y="connsiteY1183"/>
              </a:cxn>
              <a:cxn ang="0">
                <a:pos x="connsiteX1184" y="connsiteY1184"/>
              </a:cxn>
              <a:cxn ang="0">
                <a:pos x="connsiteX1185" y="connsiteY1185"/>
              </a:cxn>
              <a:cxn ang="0">
                <a:pos x="connsiteX1186" y="connsiteY1186"/>
              </a:cxn>
              <a:cxn ang="0">
                <a:pos x="connsiteX1187" y="connsiteY1187"/>
              </a:cxn>
              <a:cxn ang="0">
                <a:pos x="connsiteX1188" y="connsiteY1188"/>
              </a:cxn>
              <a:cxn ang="0">
                <a:pos x="connsiteX1189" y="connsiteY1189"/>
              </a:cxn>
              <a:cxn ang="0">
                <a:pos x="connsiteX1190" y="connsiteY1190"/>
              </a:cxn>
              <a:cxn ang="0">
                <a:pos x="connsiteX1191" y="connsiteY1191"/>
              </a:cxn>
              <a:cxn ang="0">
                <a:pos x="connsiteX1192" y="connsiteY1192"/>
              </a:cxn>
              <a:cxn ang="0">
                <a:pos x="connsiteX1193" y="connsiteY1193"/>
              </a:cxn>
              <a:cxn ang="0">
                <a:pos x="connsiteX1194" y="connsiteY1194"/>
              </a:cxn>
              <a:cxn ang="0">
                <a:pos x="connsiteX1195" y="connsiteY1195"/>
              </a:cxn>
              <a:cxn ang="0">
                <a:pos x="connsiteX1196" y="connsiteY1196"/>
              </a:cxn>
              <a:cxn ang="0">
                <a:pos x="connsiteX1197" y="connsiteY1197"/>
              </a:cxn>
              <a:cxn ang="0">
                <a:pos x="connsiteX1198" y="connsiteY1198"/>
              </a:cxn>
              <a:cxn ang="0">
                <a:pos x="connsiteX1199" y="connsiteY1199"/>
              </a:cxn>
              <a:cxn ang="0">
                <a:pos x="connsiteX1200" y="connsiteY1200"/>
              </a:cxn>
              <a:cxn ang="0">
                <a:pos x="connsiteX1201" y="connsiteY1201"/>
              </a:cxn>
              <a:cxn ang="0">
                <a:pos x="connsiteX1202" y="connsiteY1202"/>
              </a:cxn>
              <a:cxn ang="0">
                <a:pos x="connsiteX1203" y="connsiteY1203"/>
              </a:cxn>
              <a:cxn ang="0">
                <a:pos x="connsiteX1204" y="connsiteY1204"/>
              </a:cxn>
              <a:cxn ang="0">
                <a:pos x="connsiteX1205" y="connsiteY1205"/>
              </a:cxn>
              <a:cxn ang="0">
                <a:pos x="connsiteX1206" y="connsiteY1206"/>
              </a:cxn>
              <a:cxn ang="0">
                <a:pos x="connsiteX1207" y="connsiteY1207"/>
              </a:cxn>
              <a:cxn ang="0">
                <a:pos x="connsiteX1208" y="connsiteY1208"/>
              </a:cxn>
              <a:cxn ang="0">
                <a:pos x="connsiteX1209" y="connsiteY1209"/>
              </a:cxn>
              <a:cxn ang="0">
                <a:pos x="connsiteX1210" y="connsiteY1210"/>
              </a:cxn>
              <a:cxn ang="0">
                <a:pos x="connsiteX1211" y="connsiteY1211"/>
              </a:cxn>
              <a:cxn ang="0">
                <a:pos x="connsiteX1212" y="connsiteY1212"/>
              </a:cxn>
              <a:cxn ang="0">
                <a:pos x="connsiteX1213" y="connsiteY1213"/>
              </a:cxn>
              <a:cxn ang="0">
                <a:pos x="connsiteX1214" y="connsiteY1214"/>
              </a:cxn>
              <a:cxn ang="0">
                <a:pos x="connsiteX1215" y="connsiteY1215"/>
              </a:cxn>
              <a:cxn ang="0">
                <a:pos x="connsiteX1216" y="connsiteY1216"/>
              </a:cxn>
              <a:cxn ang="0">
                <a:pos x="connsiteX1217" y="connsiteY1217"/>
              </a:cxn>
              <a:cxn ang="0">
                <a:pos x="connsiteX1218" y="connsiteY1218"/>
              </a:cxn>
              <a:cxn ang="0">
                <a:pos x="connsiteX1219" y="connsiteY1219"/>
              </a:cxn>
              <a:cxn ang="0">
                <a:pos x="connsiteX1220" y="connsiteY1220"/>
              </a:cxn>
              <a:cxn ang="0">
                <a:pos x="connsiteX1221" y="connsiteY1221"/>
              </a:cxn>
              <a:cxn ang="0">
                <a:pos x="connsiteX1222" y="connsiteY1222"/>
              </a:cxn>
              <a:cxn ang="0">
                <a:pos x="connsiteX1223" y="connsiteY1223"/>
              </a:cxn>
              <a:cxn ang="0">
                <a:pos x="connsiteX1224" y="connsiteY1224"/>
              </a:cxn>
              <a:cxn ang="0">
                <a:pos x="connsiteX1225" y="connsiteY1225"/>
              </a:cxn>
              <a:cxn ang="0">
                <a:pos x="connsiteX1226" y="connsiteY1226"/>
              </a:cxn>
              <a:cxn ang="0">
                <a:pos x="connsiteX1227" y="connsiteY1227"/>
              </a:cxn>
              <a:cxn ang="0">
                <a:pos x="connsiteX1228" y="connsiteY1228"/>
              </a:cxn>
              <a:cxn ang="0">
                <a:pos x="connsiteX1229" y="connsiteY1229"/>
              </a:cxn>
              <a:cxn ang="0">
                <a:pos x="connsiteX1230" y="connsiteY1230"/>
              </a:cxn>
              <a:cxn ang="0">
                <a:pos x="connsiteX1231" y="connsiteY1231"/>
              </a:cxn>
              <a:cxn ang="0">
                <a:pos x="connsiteX1232" y="connsiteY1232"/>
              </a:cxn>
              <a:cxn ang="0">
                <a:pos x="connsiteX1233" y="connsiteY1233"/>
              </a:cxn>
              <a:cxn ang="0">
                <a:pos x="connsiteX1234" y="connsiteY1234"/>
              </a:cxn>
              <a:cxn ang="0">
                <a:pos x="connsiteX1235" y="connsiteY1235"/>
              </a:cxn>
              <a:cxn ang="0">
                <a:pos x="connsiteX1236" y="connsiteY1236"/>
              </a:cxn>
              <a:cxn ang="0">
                <a:pos x="connsiteX1237" y="connsiteY1237"/>
              </a:cxn>
              <a:cxn ang="0">
                <a:pos x="connsiteX1238" y="connsiteY1238"/>
              </a:cxn>
              <a:cxn ang="0">
                <a:pos x="connsiteX1239" y="connsiteY1239"/>
              </a:cxn>
              <a:cxn ang="0">
                <a:pos x="connsiteX1240" y="connsiteY1240"/>
              </a:cxn>
              <a:cxn ang="0">
                <a:pos x="connsiteX1241" y="connsiteY1241"/>
              </a:cxn>
              <a:cxn ang="0">
                <a:pos x="connsiteX1242" y="connsiteY1242"/>
              </a:cxn>
              <a:cxn ang="0">
                <a:pos x="connsiteX1243" y="connsiteY1243"/>
              </a:cxn>
              <a:cxn ang="0">
                <a:pos x="connsiteX1244" y="connsiteY1244"/>
              </a:cxn>
              <a:cxn ang="0">
                <a:pos x="connsiteX1245" y="connsiteY1245"/>
              </a:cxn>
              <a:cxn ang="0">
                <a:pos x="connsiteX1246" y="connsiteY1246"/>
              </a:cxn>
              <a:cxn ang="0">
                <a:pos x="connsiteX1247" y="connsiteY1247"/>
              </a:cxn>
              <a:cxn ang="0">
                <a:pos x="connsiteX1248" y="connsiteY1248"/>
              </a:cxn>
              <a:cxn ang="0">
                <a:pos x="connsiteX1249" y="connsiteY1249"/>
              </a:cxn>
              <a:cxn ang="0">
                <a:pos x="connsiteX1250" y="connsiteY1250"/>
              </a:cxn>
              <a:cxn ang="0">
                <a:pos x="connsiteX1251" y="connsiteY1251"/>
              </a:cxn>
              <a:cxn ang="0">
                <a:pos x="connsiteX1252" y="connsiteY1252"/>
              </a:cxn>
              <a:cxn ang="0">
                <a:pos x="connsiteX1253" y="connsiteY1253"/>
              </a:cxn>
              <a:cxn ang="0">
                <a:pos x="connsiteX1254" y="connsiteY1254"/>
              </a:cxn>
              <a:cxn ang="0">
                <a:pos x="connsiteX1255" y="connsiteY1255"/>
              </a:cxn>
              <a:cxn ang="0">
                <a:pos x="connsiteX1256" y="connsiteY1256"/>
              </a:cxn>
              <a:cxn ang="0">
                <a:pos x="connsiteX1257" y="connsiteY1257"/>
              </a:cxn>
              <a:cxn ang="0">
                <a:pos x="connsiteX1258" y="connsiteY1258"/>
              </a:cxn>
              <a:cxn ang="0">
                <a:pos x="connsiteX1259" y="connsiteY1259"/>
              </a:cxn>
              <a:cxn ang="0">
                <a:pos x="connsiteX1260" y="connsiteY1260"/>
              </a:cxn>
              <a:cxn ang="0">
                <a:pos x="connsiteX1261" y="connsiteY1261"/>
              </a:cxn>
              <a:cxn ang="0">
                <a:pos x="connsiteX1262" y="connsiteY1262"/>
              </a:cxn>
              <a:cxn ang="0">
                <a:pos x="connsiteX1263" y="connsiteY1263"/>
              </a:cxn>
              <a:cxn ang="0">
                <a:pos x="connsiteX1264" y="connsiteY1264"/>
              </a:cxn>
              <a:cxn ang="0">
                <a:pos x="connsiteX1265" y="connsiteY1265"/>
              </a:cxn>
              <a:cxn ang="0">
                <a:pos x="connsiteX1266" y="connsiteY1266"/>
              </a:cxn>
              <a:cxn ang="0">
                <a:pos x="connsiteX1267" y="connsiteY1267"/>
              </a:cxn>
              <a:cxn ang="0">
                <a:pos x="connsiteX1268" y="connsiteY1268"/>
              </a:cxn>
              <a:cxn ang="0">
                <a:pos x="connsiteX1269" y="connsiteY1269"/>
              </a:cxn>
              <a:cxn ang="0">
                <a:pos x="connsiteX1270" y="connsiteY1270"/>
              </a:cxn>
              <a:cxn ang="0">
                <a:pos x="connsiteX1271" y="connsiteY1271"/>
              </a:cxn>
              <a:cxn ang="0">
                <a:pos x="connsiteX1272" y="connsiteY1272"/>
              </a:cxn>
              <a:cxn ang="0">
                <a:pos x="connsiteX1273" y="connsiteY1273"/>
              </a:cxn>
              <a:cxn ang="0">
                <a:pos x="connsiteX1274" y="connsiteY1274"/>
              </a:cxn>
              <a:cxn ang="0">
                <a:pos x="connsiteX1275" y="connsiteY1275"/>
              </a:cxn>
              <a:cxn ang="0">
                <a:pos x="connsiteX1276" y="connsiteY1276"/>
              </a:cxn>
              <a:cxn ang="0">
                <a:pos x="connsiteX1277" y="connsiteY1277"/>
              </a:cxn>
              <a:cxn ang="0">
                <a:pos x="connsiteX1278" y="connsiteY1278"/>
              </a:cxn>
              <a:cxn ang="0">
                <a:pos x="connsiteX1279" y="connsiteY1279"/>
              </a:cxn>
              <a:cxn ang="0">
                <a:pos x="connsiteX1280" y="connsiteY1280"/>
              </a:cxn>
              <a:cxn ang="0">
                <a:pos x="connsiteX1281" y="connsiteY1281"/>
              </a:cxn>
              <a:cxn ang="0">
                <a:pos x="connsiteX1282" y="connsiteY1282"/>
              </a:cxn>
              <a:cxn ang="0">
                <a:pos x="connsiteX1283" y="connsiteY1283"/>
              </a:cxn>
              <a:cxn ang="0">
                <a:pos x="connsiteX1284" y="connsiteY1284"/>
              </a:cxn>
              <a:cxn ang="0">
                <a:pos x="connsiteX1285" y="connsiteY1285"/>
              </a:cxn>
              <a:cxn ang="0">
                <a:pos x="connsiteX1286" y="connsiteY1286"/>
              </a:cxn>
              <a:cxn ang="0">
                <a:pos x="connsiteX1287" y="connsiteY1287"/>
              </a:cxn>
              <a:cxn ang="0">
                <a:pos x="connsiteX1288" y="connsiteY1288"/>
              </a:cxn>
              <a:cxn ang="0">
                <a:pos x="connsiteX1289" y="connsiteY1289"/>
              </a:cxn>
              <a:cxn ang="0">
                <a:pos x="connsiteX1290" y="connsiteY1290"/>
              </a:cxn>
              <a:cxn ang="0">
                <a:pos x="connsiteX1291" y="connsiteY1291"/>
              </a:cxn>
              <a:cxn ang="0">
                <a:pos x="connsiteX1292" y="connsiteY1292"/>
              </a:cxn>
              <a:cxn ang="0">
                <a:pos x="connsiteX1293" y="connsiteY1293"/>
              </a:cxn>
              <a:cxn ang="0">
                <a:pos x="connsiteX1294" y="connsiteY1294"/>
              </a:cxn>
              <a:cxn ang="0">
                <a:pos x="connsiteX1295" y="connsiteY1295"/>
              </a:cxn>
              <a:cxn ang="0">
                <a:pos x="connsiteX1296" y="connsiteY1296"/>
              </a:cxn>
              <a:cxn ang="0">
                <a:pos x="connsiteX1297" y="connsiteY1297"/>
              </a:cxn>
              <a:cxn ang="0">
                <a:pos x="connsiteX1298" y="connsiteY1298"/>
              </a:cxn>
              <a:cxn ang="0">
                <a:pos x="connsiteX1299" y="connsiteY1299"/>
              </a:cxn>
              <a:cxn ang="0">
                <a:pos x="connsiteX1300" y="connsiteY1300"/>
              </a:cxn>
              <a:cxn ang="0">
                <a:pos x="connsiteX1301" y="connsiteY1301"/>
              </a:cxn>
              <a:cxn ang="0">
                <a:pos x="connsiteX1302" y="connsiteY1302"/>
              </a:cxn>
              <a:cxn ang="0">
                <a:pos x="connsiteX1303" y="connsiteY1303"/>
              </a:cxn>
              <a:cxn ang="0">
                <a:pos x="connsiteX1304" y="connsiteY1304"/>
              </a:cxn>
              <a:cxn ang="0">
                <a:pos x="connsiteX1305" y="connsiteY1305"/>
              </a:cxn>
              <a:cxn ang="0">
                <a:pos x="connsiteX1306" y="connsiteY1306"/>
              </a:cxn>
              <a:cxn ang="0">
                <a:pos x="connsiteX1307" y="connsiteY1307"/>
              </a:cxn>
              <a:cxn ang="0">
                <a:pos x="connsiteX1308" y="connsiteY1308"/>
              </a:cxn>
              <a:cxn ang="0">
                <a:pos x="connsiteX1309" y="connsiteY1309"/>
              </a:cxn>
              <a:cxn ang="0">
                <a:pos x="connsiteX1310" y="connsiteY1310"/>
              </a:cxn>
              <a:cxn ang="0">
                <a:pos x="connsiteX1311" y="connsiteY1311"/>
              </a:cxn>
              <a:cxn ang="0">
                <a:pos x="connsiteX1312" y="connsiteY1312"/>
              </a:cxn>
              <a:cxn ang="0">
                <a:pos x="connsiteX1313" y="connsiteY1313"/>
              </a:cxn>
              <a:cxn ang="0">
                <a:pos x="connsiteX1314" y="connsiteY1314"/>
              </a:cxn>
              <a:cxn ang="0">
                <a:pos x="connsiteX1315" y="connsiteY1315"/>
              </a:cxn>
              <a:cxn ang="0">
                <a:pos x="connsiteX1316" y="connsiteY1316"/>
              </a:cxn>
              <a:cxn ang="0">
                <a:pos x="connsiteX1317" y="connsiteY1317"/>
              </a:cxn>
              <a:cxn ang="0">
                <a:pos x="connsiteX1318" y="connsiteY1318"/>
              </a:cxn>
              <a:cxn ang="0">
                <a:pos x="connsiteX1319" y="connsiteY1319"/>
              </a:cxn>
              <a:cxn ang="0">
                <a:pos x="connsiteX1320" y="connsiteY1320"/>
              </a:cxn>
              <a:cxn ang="0">
                <a:pos x="connsiteX1321" y="connsiteY1321"/>
              </a:cxn>
              <a:cxn ang="0">
                <a:pos x="connsiteX1322" y="connsiteY1322"/>
              </a:cxn>
              <a:cxn ang="0">
                <a:pos x="connsiteX1323" y="connsiteY1323"/>
              </a:cxn>
              <a:cxn ang="0">
                <a:pos x="connsiteX1324" y="connsiteY1324"/>
              </a:cxn>
              <a:cxn ang="0">
                <a:pos x="connsiteX1325" y="connsiteY1325"/>
              </a:cxn>
              <a:cxn ang="0">
                <a:pos x="connsiteX1326" y="connsiteY1326"/>
              </a:cxn>
              <a:cxn ang="0">
                <a:pos x="connsiteX1327" y="connsiteY1327"/>
              </a:cxn>
              <a:cxn ang="0">
                <a:pos x="connsiteX1328" y="connsiteY1328"/>
              </a:cxn>
              <a:cxn ang="0">
                <a:pos x="connsiteX1329" y="connsiteY1329"/>
              </a:cxn>
              <a:cxn ang="0">
                <a:pos x="connsiteX1330" y="connsiteY1330"/>
              </a:cxn>
              <a:cxn ang="0">
                <a:pos x="connsiteX1331" y="connsiteY1331"/>
              </a:cxn>
              <a:cxn ang="0">
                <a:pos x="connsiteX1332" y="connsiteY1332"/>
              </a:cxn>
              <a:cxn ang="0">
                <a:pos x="connsiteX1333" y="connsiteY1333"/>
              </a:cxn>
              <a:cxn ang="0">
                <a:pos x="connsiteX1334" y="connsiteY1334"/>
              </a:cxn>
              <a:cxn ang="0">
                <a:pos x="connsiteX1335" y="connsiteY1335"/>
              </a:cxn>
              <a:cxn ang="0">
                <a:pos x="connsiteX1336" y="connsiteY1336"/>
              </a:cxn>
              <a:cxn ang="0">
                <a:pos x="connsiteX1337" y="connsiteY1337"/>
              </a:cxn>
              <a:cxn ang="0">
                <a:pos x="connsiteX1338" y="connsiteY1338"/>
              </a:cxn>
              <a:cxn ang="0">
                <a:pos x="connsiteX1339" y="connsiteY1339"/>
              </a:cxn>
              <a:cxn ang="0">
                <a:pos x="connsiteX1340" y="connsiteY1340"/>
              </a:cxn>
              <a:cxn ang="0">
                <a:pos x="connsiteX1341" y="connsiteY1341"/>
              </a:cxn>
              <a:cxn ang="0">
                <a:pos x="connsiteX1342" y="connsiteY1342"/>
              </a:cxn>
              <a:cxn ang="0">
                <a:pos x="connsiteX1343" y="connsiteY1343"/>
              </a:cxn>
              <a:cxn ang="0">
                <a:pos x="connsiteX1344" y="connsiteY1344"/>
              </a:cxn>
              <a:cxn ang="0">
                <a:pos x="connsiteX1345" y="connsiteY1345"/>
              </a:cxn>
              <a:cxn ang="0">
                <a:pos x="connsiteX1346" y="connsiteY1346"/>
              </a:cxn>
              <a:cxn ang="0">
                <a:pos x="connsiteX1347" y="connsiteY1347"/>
              </a:cxn>
              <a:cxn ang="0">
                <a:pos x="connsiteX1348" y="connsiteY1348"/>
              </a:cxn>
              <a:cxn ang="0">
                <a:pos x="connsiteX1349" y="connsiteY1349"/>
              </a:cxn>
              <a:cxn ang="0">
                <a:pos x="connsiteX1350" y="connsiteY1350"/>
              </a:cxn>
              <a:cxn ang="0">
                <a:pos x="connsiteX1351" y="connsiteY1351"/>
              </a:cxn>
              <a:cxn ang="0">
                <a:pos x="connsiteX1352" y="connsiteY1352"/>
              </a:cxn>
              <a:cxn ang="0">
                <a:pos x="connsiteX1353" y="connsiteY1353"/>
              </a:cxn>
              <a:cxn ang="0">
                <a:pos x="connsiteX1354" y="connsiteY1354"/>
              </a:cxn>
              <a:cxn ang="0">
                <a:pos x="connsiteX1355" y="connsiteY1355"/>
              </a:cxn>
              <a:cxn ang="0">
                <a:pos x="connsiteX1356" y="connsiteY1356"/>
              </a:cxn>
              <a:cxn ang="0">
                <a:pos x="connsiteX1357" y="connsiteY1357"/>
              </a:cxn>
              <a:cxn ang="0">
                <a:pos x="connsiteX1358" y="connsiteY1358"/>
              </a:cxn>
              <a:cxn ang="0">
                <a:pos x="connsiteX1359" y="connsiteY1359"/>
              </a:cxn>
              <a:cxn ang="0">
                <a:pos x="connsiteX1360" y="connsiteY1360"/>
              </a:cxn>
              <a:cxn ang="0">
                <a:pos x="connsiteX1361" y="connsiteY1361"/>
              </a:cxn>
              <a:cxn ang="0">
                <a:pos x="connsiteX1362" y="connsiteY1362"/>
              </a:cxn>
              <a:cxn ang="0">
                <a:pos x="connsiteX1363" y="connsiteY1363"/>
              </a:cxn>
              <a:cxn ang="0">
                <a:pos x="connsiteX1364" y="connsiteY1364"/>
              </a:cxn>
              <a:cxn ang="0">
                <a:pos x="connsiteX1365" y="connsiteY1365"/>
              </a:cxn>
              <a:cxn ang="0">
                <a:pos x="connsiteX1366" y="connsiteY1366"/>
              </a:cxn>
              <a:cxn ang="0">
                <a:pos x="connsiteX1367" y="connsiteY1367"/>
              </a:cxn>
              <a:cxn ang="0">
                <a:pos x="connsiteX1368" y="connsiteY1368"/>
              </a:cxn>
              <a:cxn ang="0">
                <a:pos x="connsiteX1369" y="connsiteY1369"/>
              </a:cxn>
              <a:cxn ang="0">
                <a:pos x="connsiteX1370" y="connsiteY1370"/>
              </a:cxn>
              <a:cxn ang="0">
                <a:pos x="connsiteX1371" y="connsiteY1371"/>
              </a:cxn>
              <a:cxn ang="0">
                <a:pos x="connsiteX1372" y="connsiteY1372"/>
              </a:cxn>
              <a:cxn ang="0">
                <a:pos x="connsiteX1373" y="connsiteY1373"/>
              </a:cxn>
              <a:cxn ang="0">
                <a:pos x="connsiteX1374" y="connsiteY1374"/>
              </a:cxn>
              <a:cxn ang="0">
                <a:pos x="connsiteX1375" y="connsiteY1375"/>
              </a:cxn>
              <a:cxn ang="0">
                <a:pos x="connsiteX1376" y="connsiteY1376"/>
              </a:cxn>
              <a:cxn ang="0">
                <a:pos x="connsiteX1377" y="connsiteY1377"/>
              </a:cxn>
              <a:cxn ang="0">
                <a:pos x="connsiteX1378" y="connsiteY1378"/>
              </a:cxn>
              <a:cxn ang="0">
                <a:pos x="connsiteX1379" y="connsiteY1379"/>
              </a:cxn>
              <a:cxn ang="0">
                <a:pos x="connsiteX1380" y="connsiteY1380"/>
              </a:cxn>
              <a:cxn ang="0">
                <a:pos x="connsiteX1381" y="connsiteY1381"/>
              </a:cxn>
              <a:cxn ang="0">
                <a:pos x="connsiteX1382" y="connsiteY1382"/>
              </a:cxn>
              <a:cxn ang="0">
                <a:pos x="connsiteX1383" y="connsiteY1383"/>
              </a:cxn>
              <a:cxn ang="0">
                <a:pos x="connsiteX1384" y="connsiteY1384"/>
              </a:cxn>
              <a:cxn ang="0">
                <a:pos x="connsiteX1385" y="connsiteY1385"/>
              </a:cxn>
              <a:cxn ang="0">
                <a:pos x="connsiteX1386" y="connsiteY1386"/>
              </a:cxn>
              <a:cxn ang="0">
                <a:pos x="connsiteX1387" y="connsiteY1387"/>
              </a:cxn>
              <a:cxn ang="0">
                <a:pos x="connsiteX1388" y="connsiteY1388"/>
              </a:cxn>
              <a:cxn ang="0">
                <a:pos x="connsiteX1389" y="connsiteY1389"/>
              </a:cxn>
              <a:cxn ang="0">
                <a:pos x="connsiteX1390" y="connsiteY1390"/>
              </a:cxn>
              <a:cxn ang="0">
                <a:pos x="connsiteX1391" y="connsiteY1391"/>
              </a:cxn>
              <a:cxn ang="0">
                <a:pos x="connsiteX1392" y="connsiteY1392"/>
              </a:cxn>
              <a:cxn ang="0">
                <a:pos x="connsiteX1393" y="connsiteY1393"/>
              </a:cxn>
              <a:cxn ang="0">
                <a:pos x="connsiteX1394" y="connsiteY1394"/>
              </a:cxn>
              <a:cxn ang="0">
                <a:pos x="connsiteX1395" y="connsiteY1395"/>
              </a:cxn>
              <a:cxn ang="0">
                <a:pos x="connsiteX1396" y="connsiteY1396"/>
              </a:cxn>
              <a:cxn ang="0">
                <a:pos x="connsiteX1397" y="connsiteY1397"/>
              </a:cxn>
              <a:cxn ang="0">
                <a:pos x="connsiteX1398" y="connsiteY1398"/>
              </a:cxn>
              <a:cxn ang="0">
                <a:pos x="connsiteX1399" y="connsiteY1399"/>
              </a:cxn>
              <a:cxn ang="0">
                <a:pos x="connsiteX1400" y="connsiteY1400"/>
              </a:cxn>
              <a:cxn ang="0">
                <a:pos x="connsiteX1401" y="connsiteY1401"/>
              </a:cxn>
              <a:cxn ang="0">
                <a:pos x="connsiteX1402" y="connsiteY1402"/>
              </a:cxn>
              <a:cxn ang="0">
                <a:pos x="connsiteX1403" y="connsiteY1403"/>
              </a:cxn>
              <a:cxn ang="0">
                <a:pos x="connsiteX1404" y="connsiteY1404"/>
              </a:cxn>
              <a:cxn ang="0">
                <a:pos x="connsiteX1405" y="connsiteY1405"/>
              </a:cxn>
              <a:cxn ang="0">
                <a:pos x="connsiteX1406" y="connsiteY1406"/>
              </a:cxn>
              <a:cxn ang="0">
                <a:pos x="connsiteX1407" y="connsiteY1407"/>
              </a:cxn>
              <a:cxn ang="0">
                <a:pos x="connsiteX1408" y="connsiteY1408"/>
              </a:cxn>
              <a:cxn ang="0">
                <a:pos x="connsiteX1409" y="connsiteY1409"/>
              </a:cxn>
              <a:cxn ang="0">
                <a:pos x="connsiteX1410" y="connsiteY1410"/>
              </a:cxn>
              <a:cxn ang="0">
                <a:pos x="connsiteX1411" y="connsiteY1411"/>
              </a:cxn>
              <a:cxn ang="0">
                <a:pos x="connsiteX1412" y="connsiteY1412"/>
              </a:cxn>
              <a:cxn ang="0">
                <a:pos x="connsiteX1413" y="connsiteY1413"/>
              </a:cxn>
              <a:cxn ang="0">
                <a:pos x="connsiteX1414" y="connsiteY1414"/>
              </a:cxn>
              <a:cxn ang="0">
                <a:pos x="connsiteX1415" y="connsiteY1415"/>
              </a:cxn>
              <a:cxn ang="0">
                <a:pos x="connsiteX1416" y="connsiteY1416"/>
              </a:cxn>
              <a:cxn ang="0">
                <a:pos x="connsiteX1417" y="connsiteY1417"/>
              </a:cxn>
              <a:cxn ang="0">
                <a:pos x="connsiteX1418" y="connsiteY1418"/>
              </a:cxn>
              <a:cxn ang="0">
                <a:pos x="connsiteX1419" y="connsiteY1419"/>
              </a:cxn>
              <a:cxn ang="0">
                <a:pos x="connsiteX1420" y="connsiteY1420"/>
              </a:cxn>
              <a:cxn ang="0">
                <a:pos x="connsiteX1421" y="connsiteY1421"/>
              </a:cxn>
              <a:cxn ang="0">
                <a:pos x="connsiteX1422" y="connsiteY1422"/>
              </a:cxn>
              <a:cxn ang="0">
                <a:pos x="connsiteX1423" y="connsiteY1423"/>
              </a:cxn>
              <a:cxn ang="0">
                <a:pos x="connsiteX1424" y="connsiteY1424"/>
              </a:cxn>
              <a:cxn ang="0">
                <a:pos x="connsiteX1425" y="connsiteY1425"/>
              </a:cxn>
              <a:cxn ang="0">
                <a:pos x="connsiteX1426" y="connsiteY1426"/>
              </a:cxn>
              <a:cxn ang="0">
                <a:pos x="connsiteX1427" y="connsiteY1427"/>
              </a:cxn>
              <a:cxn ang="0">
                <a:pos x="connsiteX1428" y="connsiteY1428"/>
              </a:cxn>
              <a:cxn ang="0">
                <a:pos x="connsiteX1429" y="connsiteY1429"/>
              </a:cxn>
              <a:cxn ang="0">
                <a:pos x="connsiteX1430" y="connsiteY1430"/>
              </a:cxn>
              <a:cxn ang="0">
                <a:pos x="connsiteX1431" y="connsiteY1431"/>
              </a:cxn>
              <a:cxn ang="0">
                <a:pos x="connsiteX1432" y="connsiteY1432"/>
              </a:cxn>
              <a:cxn ang="0">
                <a:pos x="connsiteX1433" y="connsiteY1433"/>
              </a:cxn>
              <a:cxn ang="0">
                <a:pos x="connsiteX1434" y="connsiteY1434"/>
              </a:cxn>
              <a:cxn ang="0">
                <a:pos x="connsiteX1435" y="connsiteY1435"/>
              </a:cxn>
              <a:cxn ang="0">
                <a:pos x="connsiteX1436" y="connsiteY1436"/>
              </a:cxn>
              <a:cxn ang="0">
                <a:pos x="connsiteX1437" y="connsiteY1437"/>
              </a:cxn>
              <a:cxn ang="0">
                <a:pos x="connsiteX1438" y="connsiteY1438"/>
              </a:cxn>
              <a:cxn ang="0">
                <a:pos x="connsiteX1439" y="connsiteY1439"/>
              </a:cxn>
              <a:cxn ang="0">
                <a:pos x="connsiteX1440" y="connsiteY1440"/>
              </a:cxn>
              <a:cxn ang="0">
                <a:pos x="connsiteX1441" y="connsiteY1441"/>
              </a:cxn>
              <a:cxn ang="0">
                <a:pos x="connsiteX1442" y="connsiteY1442"/>
              </a:cxn>
              <a:cxn ang="0">
                <a:pos x="connsiteX1443" y="connsiteY1443"/>
              </a:cxn>
              <a:cxn ang="0">
                <a:pos x="connsiteX1444" y="connsiteY1444"/>
              </a:cxn>
              <a:cxn ang="0">
                <a:pos x="connsiteX1445" y="connsiteY1445"/>
              </a:cxn>
              <a:cxn ang="0">
                <a:pos x="connsiteX1446" y="connsiteY1446"/>
              </a:cxn>
              <a:cxn ang="0">
                <a:pos x="connsiteX1447" y="connsiteY1447"/>
              </a:cxn>
              <a:cxn ang="0">
                <a:pos x="connsiteX1448" y="connsiteY1448"/>
              </a:cxn>
              <a:cxn ang="0">
                <a:pos x="connsiteX1449" y="connsiteY1449"/>
              </a:cxn>
              <a:cxn ang="0">
                <a:pos x="connsiteX1450" y="connsiteY1450"/>
              </a:cxn>
              <a:cxn ang="0">
                <a:pos x="connsiteX1451" y="connsiteY1451"/>
              </a:cxn>
              <a:cxn ang="0">
                <a:pos x="connsiteX1452" y="connsiteY1452"/>
              </a:cxn>
              <a:cxn ang="0">
                <a:pos x="connsiteX1453" y="connsiteY1453"/>
              </a:cxn>
              <a:cxn ang="0">
                <a:pos x="connsiteX1454" y="connsiteY1454"/>
              </a:cxn>
              <a:cxn ang="0">
                <a:pos x="connsiteX1455" y="connsiteY1455"/>
              </a:cxn>
              <a:cxn ang="0">
                <a:pos x="connsiteX1456" y="connsiteY1456"/>
              </a:cxn>
              <a:cxn ang="0">
                <a:pos x="connsiteX1457" y="connsiteY1457"/>
              </a:cxn>
              <a:cxn ang="0">
                <a:pos x="connsiteX1458" y="connsiteY1458"/>
              </a:cxn>
              <a:cxn ang="0">
                <a:pos x="connsiteX1459" y="connsiteY1459"/>
              </a:cxn>
              <a:cxn ang="0">
                <a:pos x="connsiteX1460" y="connsiteY1460"/>
              </a:cxn>
              <a:cxn ang="0">
                <a:pos x="connsiteX1461" y="connsiteY1461"/>
              </a:cxn>
              <a:cxn ang="0">
                <a:pos x="connsiteX1462" y="connsiteY1462"/>
              </a:cxn>
              <a:cxn ang="0">
                <a:pos x="connsiteX1463" y="connsiteY1463"/>
              </a:cxn>
              <a:cxn ang="0">
                <a:pos x="connsiteX1464" y="connsiteY1464"/>
              </a:cxn>
              <a:cxn ang="0">
                <a:pos x="connsiteX1465" y="connsiteY1465"/>
              </a:cxn>
              <a:cxn ang="0">
                <a:pos x="connsiteX1466" y="connsiteY1466"/>
              </a:cxn>
              <a:cxn ang="0">
                <a:pos x="connsiteX1467" y="connsiteY1467"/>
              </a:cxn>
              <a:cxn ang="0">
                <a:pos x="connsiteX1468" y="connsiteY1468"/>
              </a:cxn>
              <a:cxn ang="0">
                <a:pos x="connsiteX1469" y="connsiteY1469"/>
              </a:cxn>
              <a:cxn ang="0">
                <a:pos x="connsiteX1470" y="connsiteY1470"/>
              </a:cxn>
              <a:cxn ang="0">
                <a:pos x="connsiteX1471" y="connsiteY1471"/>
              </a:cxn>
              <a:cxn ang="0">
                <a:pos x="connsiteX1472" y="connsiteY1472"/>
              </a:cxn>
              <a:cxn ang="0">
                <a:pos x="connsiteX1473" y="connsiteY1473"/>
              </a:cxn>
              <a:cxn ang="0">
                <a:pos x="connsiteX1474" y="connsiteY1474"/>
              </a:cxn>
              <a:cxn ang="0">
                <a:pos x="connsiteX1475" y="connsiteY1475"/>
              </a:cxn>
              <a:cxn ang="0">
                <a:pos x="connsiteX1476" y="connsiteY1476"/>
              </a:cxn>
              <a:cxn ang="0">
                <a:pos x="connsiteX1477" y="connsiteY1477"/>
              </a:cxn>
              <a:cxn ang="0">
                <a:pos x="connsiteX1478" y="connsiteY1478"/>
              </a:cxn>
              <a:cxn ang="0">
                <a:pos x="connsiteX1479" y="connsiteY1479"/>
              </a:cxn>
              <a:cxn ang="0">
                <a:pos x="connsiteX1480" y="connsiteY1480"/>
              </a:cxn>
              <a:cxn ang="0">
                <a:pos x="connsiteX1481" y="connsiteY1481"/>
              </a:cxn>
              <a:cxn ang="0">
                <a:pos x="connsiteX1482" y="connsiteY1482"/>
              </a:cxn>
              <a:cxn ang="0">
                <a:pos x="connsiteX1483" y="connsiteY1483"/>
              </a:cxn>
              <a:cxn ang="0">
                <a:pos x="connsiteX1484" y="connsiteY1484"/>
              </a:cxn>
              <a:cxn ang="0">
                <a:pos x="connsiteX1485" y="connsiteY1485"/>
              </a:cxn>
              <a:cxn ang="0">
                <a:pos x="connsiteX1486" y="connsiteY1486"/>
              </a:cxn>
              <a:cxn ang="0">
                <a:pos x="connsiteX1487" y="connsiteY1487"/>
              </a:cxn>
              <a:cxn ang="0">
                <a:pos x="connsiteX1488" y="connsiteY1488"/>
              </a:cxn>
              <a:cxn ang="0">
                <a:pos x="connsiteX1489" y="connsiteY1489"/>
              </a:cxn>
              <a:cxn ang="0">
                <a:pos x="connsiteX1490" y="connsiteY1490"/>
              </a:cxn>
              <a:cxn ang="0">
                <a:pos x="connsiteX1491" y="connsiteY1491"/>
              </a:cxn>
              <a:cxn ang="0">
                <a:pos x="connsiteX1492" y="connsiteY1492"/>
              </a:cxn>
              <a:cxn ang="0">
                <a:pos x="connsiteX1493" y="connsiteY1493"/>
              </a:cxn>
              <a:cxn ang="0">
                <a:pos x="connsiteX1494" y="connsiteY1494"/>
              </a:cxn>
              <a:cxn ang="0">
                <a:pos x="connsiteX1495" y="connsiteY1495"/>
              </a:cxn>
              <a:cxn ang="0">
                <a:pos x="connsiteX1496" y="connsiteY1496"/>
              </a:cxn>
              <a:cxn ang="0">
                <a:pos x="connsiteX1497" y="connsiteY1497"/>
              </a:cxn>
              <a:cxn ang="0">
                <a:pos x="connsiteX1498" y="connsiteY1498"/>
              </a:cxn>
              <a:cxn ang="0">
                <a:pos x="connsiteX1499" y="connsiteY1499"/>
              </a:cxn>
              <a:cxn ang="0">
                <a:pos x="connsiteX1500" y="connsiteY1500"/>
              </a:cxn>
              <a:cxn ang="0">
                <a:pos x="connsiteX1501" y="connsiteY1501"/>
              </a:cxn>
              <a:cxn ang="0">
                <a:pos x="connsiteX1502" y="connsiteY1502"/>
              </a:cxn>
              <a:cxn ang="0">
                <a:pos x="connsiteX1503" y="connsiteY1503"/>
              </a:cxn>
              <a:cxn ang="0">
                <a:pos x="connsiteX1504" y="connsiteY1504"/>
              </a:cxn>
              <a:cxn ang="0">
                <a:pos x="connsiteX1505" y="connsiteY1505"/>
              </a:cxn>
              <a:cxn ang="0">
                <a:pos x="connsiteX1506" y="connsiteY1506"/>
              </a:cxn>
              <a:cxn ang="0">
                <a:pos x="connsiteX1507" y="connsiteY1507"/>
              </a:cxn>
              <a:cxn ang="0">
                <a:pos x="connsiteX1508" y="connsiteY1508"/>
              </a:cxn>
              <a:cxn ang="0">
                <a:pos x="connsiteX1509" y="connsiteY1509"/>
              </a:cxn>
              <a:cxn ang="0">
                <a:pos x="connsiteX1510" y="connsiteY1510"/>
              </a:cxn>
              <a:cxn ang="0">
                <a:pos x="connsiteX1511" y="connsiteY1511"/>
              </a:cxn>
              <a:cxn ang="0">
                <a:pos x="connsiteX1512" y="connsiteY1512"/>
              </a:cxn>
              <a:cxn ang="0">
                <a:pos x="connsiteX1513" y="connsiteY1513"/>
              </a:cxn>
              <a:cxn ang="0">
                <a:pos x="connsiteX1514" y="connsiteY1514"/>
              </a:cxn>
              <a:cxn ang="0">
                <a:pos x="connsiteX1515" y="connsiteY1515"/>
              </a:cxn>
              <a:cxn ang="0">
                <a:pos x="connsiteX1516" y="connsiteY1516"/>
              </a:cxn>
              <a:cxn ang="0">
                <a:pos x="connsiteX1517" y="connsiteY1517"/>
              </a:cxn>
              <a:cxn ang="0">
                <a:pos x="connsiteX1518" y="connsiteY1518"/>
              </a:cxn>
              <a:cxn ang="0">
                <a:pos x="connsiteX1519" y="connsiteY1519"/>
              </a:cxn>
              <a:cxn ang="0">
                <a:pos x="connsiteX1520" y="connsiteY1520"/>
              </a:cxn>
              <a:cxn ang="0">
                <a:pos x="connsiteX1521" y="connsiteY1521"/>
              </a:cxn>
              <a:cxn ang="0">
                <a:pos x="connsiteX1522" y="connsiteY1522"/>
              </a:cxn>
              <a:cxn ang="0">
                <a:pos x="connsiteX1523" y="connsiteY1523"/>
              </a:cxn>
              <a:cxn ang="0">
                <a:pos x="connsiteX1524" y="connsiteY1524"/>
              </a:cxn>
              <a:cxn ang="0">
                <a:pos x="connsiteX1525" y="connsiteY1525"/>
              </a:cxn>
              <a:cxn ang="0">
                <a:pos x="connsiteX1526" y="connsiteY1526"/>
              </a:cxn>
              <a:cxn ang="0">
                <a:pos x="connsiteX1527" y="connsiteY1527"/>
              </a:cxn>
              <a:cxn ang="0">
                <a:pos x="connsiteX1528" y="connsiteY1528"/>
              </a:cxn>
              <a:cxn ang="0">
                <a:pos x="connsiteX1529" y="connsiteY1529"/>
              </a:cxn>
              <a:cxn ang="0">
                <a:pos x="connsiteX1530" y="connsiteY1530"/>
              </a:cxn>
              <a:cxn ang="0">
                <a:pos x="connsiteX1531" y="connsiteY1531"/>
              </a:cxn>
              <a:cxn ang="0">
                <a:pos x="connsiteX1532" y="connsiteY1532"/>
              </a:cxn>
              <a:cxn ang="0">
                <a:pos x="connsiteX1533" y="connsiteY1533"/>
              </a:cxn>
              <a:cxn ang="0">
                <a:pos x="connsiteX1534" y="connsiteY1534"/>
              </a:cxn>
              <a:cxn ang="0">
                <a:pos x="connsiteX1535" y="connsiteY1535"/>
              </a:cxn>
              <a:cxn ang="0">
                <a:pos x="connsiteX1536" y="connsiteY1536"/>
              </a:cxn>
              <a:cxn ang="0">
                <a:pos x="connsiteX1537" y="connsiteY1537"/>
              </a:cxn>
              <a:cxn ang="0">
                <a:pos x="connsiteX1538" y="connsiteY1538"/>
              </a:cxn>
              <a:cxn ang="0">
                <a:pos x="connsiteX1539" y="connsiteY1539"/>
              </a:cxn>
              <a:cxn ang="0">
                <a:pos x="connsiteX1540" y="connsiteY1540"/>
              </a:cxn>
              <a:cxn ang="0">
                <a:pos x="connsiteX1541" y="connsiteY1541"/>
              </a:cxn>
              <a:cxn ang="0">
                <a:pos x="connsiteX1542" y="connsiteY1542"/>
              </a:cxn>
              <a:cxn ang="0">
                <a:pos x="connsiteX1543" y="connsiteY1543"/>
              </a:cxn>
              <a:cxn ang="0">
                <a:pos x="connsiteX1544" y="connsiteY1544"/>
              </a:cxn>
              <a:cxn ang="0">
                <a:pos x="connsiteX1545" y="connsiteY1545"/>
              </a:cxn>
              <a:cxn ang="0">
                <a:pos x="connsiteX1546" y="connsiteY1546"/>
              </a:cxn>
              <a:cxn ang="0">
                <a:pos x="connsiteX1547" y="connsiteY1547"/>
              </a:cxn>
              <a:cxn ang="0">
                <a:pos x="connsiteX1548" y="connsiteY1548"/>
              </a:cxn>
              <a:cxn ang="0">
                <a:pos x="connsiteX1549" y="connsiteY1549"/>
              </a:cxn>
              <a:cxn ang="0">
                <a:pos x="connsiteX1550" y="connsiteY1550"/>
              </a:cxn>
              <a:cxn ang="0">
                <a:pos x="connsiteX1551" y="connsiteY1551"/>
              </a:cxn>
              <a:cxn ang="0">
                <a:pos x="connsiteX1552" y="connsiteY1552"/>
              </a:cxn>
              <a:cxn ang="0">
                <a:pos x="connsiteX1553" y="connsiteY1553"/>
              </a:cxn>
              <a:cxn ang="0">
                <a:pos x="connsiteX1554" y="connsiteY1554"/>
              </a:cxn>
              <a:cxn ang="0">
                <a:pos x="connsiteX1555" y="connsiteY1555"/>
              </a:cxn>
              <a:cxn ang="0">
                <a:pos x="connsiteX1556" y="connsiteY1556"/>
              </a:cxn>
              <a:cxn ang="0">
                <a:pos x="connsiteX1557" y="connsiteY1557"/>
              </a:cxn>
              <a:cxn ang="0">
                <a:pos x="connsiteX1558" y="connsiteY1558"/>
              </a:cxn>
              <a:cxn ang="0">
                <a:pos x="connsiteX1559" y="connsiteY1559"/>
              </a:cxn>
              <a:cxn ang="0">
                <a:pos x="connsiteX1560" y="connsiteY1560"/>
              </a:cxn>
              <a:cxn ang="0">
                <a:pos x="connsiteX1561" y="connsiteY1561"/>
              </a:cxn>
              <a:cxn ang="0">
                <a:pos x="connsiteX1562" y="connsiteY1562"/>
              </a:cxn>
              <a:cxn ang="0">
                <a:pos x="connsiteX1563" y="connsiteY1563"/>
              </a:cxn>
              <a:cxn ang="0">
                <a:pos x="connsiteX1564" y="connsiteY1564"/>
              </a:cxn>
              <a:cxn ang="0">
                <a:pos x="connsiteX1565" y="connsiteY1565"/>
              </a:cxn>
              <a:cxn ang="0">
                <a:pos x="connsiteX1566" y="connsiteY1566"/>
              </a:cxn>
              <a:cxn ang="0">
                <a:pos x="connsiteX1567" y="connsiteY1567"/>
              </a:cxn>
              <a:cxn ang="0">
                <a:pos x="connsiteX1568" y="connsiteY1568"/>
              </a:cxn>
              <a:cxn ang="0">
                <a:pos x="connsiteX1569" y="connsiteY1569"/>
              </a:cxn>
              <a:cxn ang="0">
                <a:pos x="connsiteX1570" y="connsiteY1570"/>
              </a:cxn>
              <a:cxn ang="0">
                <a:pos x="connsiteX1571" y="connsiteY1571"/>
              </a:cxn>
              <a:cxn ang="0">
                <a:pos x="connsiteX1572" y="connsiteY1572"/>
              </a:cxn>
              <a:cxn ang="0">
                <a:pos x="connsiteX1573" y="connsiteY1573"/>
              </a:cxn>
              <a:cxn ang="0">
                <a:pos x="connsiteX1574" y="connsiteY1574"/>
              </a:cxn>
              <a:cxn ang="0">
                <a:pos x="connsiteX1575" y="connsiteY1575"/>
              </a:cxn>
              <a:cxn ang="0">
                <a:pos x="connsiteX1576" y="connsiteY1576"/>
              </a:cxn>
              <a:cxn ang="0">
                <a:pos x="connsiteX1577" y="connsiteY1577"/>
              </a:cxn>
              <a:cxn ang="0">
                <a:pos x="connsiteX1578" y="connsiteY1578"/>
              </a:cxn>
              <a:cxn ang="0">
                <a:pos x="connsiteX1579" y="connsiteY1579"/>
              </a:cxn>
              <a:cxn ang="0">
                <a:pos x="connsiteX1580" y="connsiteY1580"/>
              </a:cxn>
              <a:cxn ang="0">
                <a:pos x="connsiteX1581" y="connsiteY1581"/>
              </a:cxn>
              <a:cxn ang="0">
                <a:pos x="connsiteX1582" y="connsiteY1582"/>
              </a:cxn>
              <a:cxn ang="0">
                <a:pos x="connsiteX1583" y="connsiteY1583"/>
              </a:cxn>
              <a:cxn ang="0">
                <a:pos x="connsiteX1584" y="connsiteY1584"/>
              </a:cxn>
              <a:cxn ang="0">
                <a:pos x="connsiteX1585" y="connsiteY1585"/>
              </a:cxn>
              <a:cxn ang="0">
                <a:pos x="connsiteX1586" y="connsiteY1586"/>
              </a:cxn>
              <a:cxn ang="0">
                <a:pos x="connsiteX1587" y="connsiteY1587"/>
              </a:cxn>
              <a:cxn ang="0">
                <a:pos x="connsiteX1588" y="connsiteY1588"/>
              </a:cxn>
              <a:cxn ang="0">
                <a:pos x="connsiteX1589" y="connsiteY1589"/>
              </a:cxn>
              <a:cxn ang="0">
                <a:pos x="connsiteX1590" y="connsiteY1590"/>
              </a:cxn>
              <a:cxn ang="0">
                <a:pos x="connsiteX1591" y="connsiteY1591"/>
              </a:cxn>
              <a:cxn ang="0">
                <a:pos x="connsiteX1592" y="connsiteY1592"/>
              </a:cxn>
              <a:cxn ang="0">
                <a:pos x="connsiteX1593" y="connsiteY1593"/>
              </a:cxn>
              <a:cxn ang="0">
                <a:pos x="connsiteX1594" y="connsiteY1594"/>
              </a:cxn>
              <a:cxn ang="0">
                <a:pos x="connsiteX1595" y="connsiteY1595"/>
              </a:cxn>
              <a:cxn ang="0">
                <a:pos x="connsiteX1596" y="connsiteY1596"/>
              </a:cxn>
              <a:cxn ang="0">
                <a:pos x="connsiteX1597" y="connsiteY1597"/>
              </a:cxn>
              <a:cxn ang="0">
                <a:pos x="connsiteX1598" y="connsiteY1598"/>
              </a:cxn>
              <a:cxn ang="0">
                <a:pos x="connsiteX1599" y="connsiteY1599"/>
              </a:cxn>
              <a:cxn ang="0">
                <a:pos x="connsiteX1600" y="connsiteY1600"/>
              </a:cxn>
              <a:cxn ang="0">
                <a:pos x="connsiteX1601" y="connsiteY1601"/>
              </a:cxn>
              <a:cxn ang="0">
                <a:pos x="connsiteX1602" y="connsiteY1602"/>
              </a:cxn>
              <a:cxn ang="0">
                <a:pos x="connsiteX1603" y="connsiteY1603"/>
              </a:cxn>
              <a:cxn ang="0">
                <a:pos x="connsiteX1604" y="connsiteY1604"/>
              </a:cxn>
              <a:cxn ang="0">
                <a:pos x="connsiteX1605" y="connsiteY1605"/>
              </a:cxn>
              <a:cxn ang="0">
                <a:pos x="connsiteX1606" y="connsiteY1606"/>
              </a:cxn>
              <a:cxn ang="0">
                <a:pos x="connsiteX1607" y="connsiteY1607"/>
              </a:cxn>
              <a:cxn ang="0">
                <a:pos x="connsiteX1608" y="connsiteY1608"/>
              </a:cxn>
              <a:cxn ang="0">
                <a:pos x="connsiteX1609" y="connsiteY1609"/>
              </a:cxn>
              <a:cxn ang="0">
                <a:pos x="connsiteX1610" y="connsiteY1610"/>
              </a:cxn>
              <a:cxn ang="0">
                <a:pos x="connsiteX1611" y="connsiteY1611"/>
              </a:cxn>
              <a:cxn ang="0">
                <a:pos x="connsiteX1612" y="connsiteY1612"/>
              </a:cxn>
              <a:cxn ang="0">
                <a:pos x="connsiteX1613" y="connsiteY1613"/>
              </a:cxn>
              <a:cxn ang="0">
                <a:pos x="connsiteX1614" y="connsiteY1614"/>
              </a:cxn>
              <a:cxn ang="0">
                <a:pos x="connsiteX1615" y="connsiteY1615"/>
              </a:cxn>
              <a:cxn ang="0">
                <a:pos x="connsiteX1616" y="connsiteY1616"/>
              </a:cxn>
              <a:cxn ang="0">
                <a:pos x="connsiteX1617" y="connsiteY1617"/>
              </a:cxn>
              <a:cxn ang="0">
                <a:pos x="connsiteX1618" y="connsiteY1618"/>
              </a:cxn>
              <a:cxn ang="0">
                <a:pos x="connsiteX1619" y="connsiteY1619"/>
              </a:cxn>
              <a:cxn ang="0">
                <a:pos x="connsiteX1620" y="connsiteY1620"/>
              </a:cxn>
              <a:cxn ang="0">
                <a:pos x="connsiteX1621" y="connsiteY1621"/>
              </a:cxn>
              <a:cxn ang="0">
                <a:pos x="connsiteX1622" y="connsiteY1622"/>
              </a:cxn>
              <a:cxn ang="0">
                <a:pos x="connsiteX1623" y="connsiteY1623"/>
              </a:cxn>
              <a:cxn ang="0">
                <a:pos x="connsiteX1624" y="connsiteY1624"/>
              </a:cxn>
              <a:cxn ang="0">
                <a:pos x="connsiteX1625" y="connsiteY1625"/>
              </a:cxn>
              <a:cxn ang="0">
                <a:pos x="connsiteX1626" y="connsiteY1626"/>
              </a:cxn>
              <a:cxn ang="0">
                <a:pos x="connsiteX1627" y="connsiteY1627"/>
              </a:cxn>
              <a:cxn ang="0">
                <a:pos x="connsiteX1628" y="connsiteY1628"/>
              </a:cxn>
              <a:cxn ang="0">
                <a:pos x="connsiteX1629" y="connsiteY1629"/>
              </a:cxn>
              <a:cxn ang="0">
                <a:pos x="connsiteX1630" y="connsiteY1630"/>
              </a:cxn>
              <a:cxn ang="0">
                <a:pos x="connsiteX1631" y="connsiteY1631"/>
              </a:cxn>
              <a:cxn ang="0">
                <a:pos x="connsiteX1632" y="connsiteY1632"/>
              </a:cxn>
              <a:cxn ang="0">
                <a:pos x="connsiteX1633" y="connsiteY1633"/>
              </a:cxn>
              <a:cxn ang="0">
                <a:pos x="connsiteX1634" y="connsiteY1634"/>
              </a:cxn>
              <a:cxn ang="0">
                <a:pos x="connsiteX1635" y="connsiteY1635"/>
              </a:cxn>
              <a:cxn ang="0">
                <a:pos x="connsiteX1636" y="connsiteY1636"/>
              </a:cxn>
              <a:cxn ang="0">
                <a:pos x="connsiteX1637" y="connsiteY1637"/>
              </a:cxn>
              <a:cxn ang="0">
                <a:pos x="connsiteX1638" y="connsiteY1638"/>
              </a:cxn>
              <a:cxn ang="0">
                <a:pos x="connsiteX1639" y="connsiteY1639"/>
              </a:cxn>
              <a:cxn ang="0">
                <a:pos x="connsiteX1640" y="connsiteY1640"/>
              </a:cxn>
              <a:cxn ang="0">
                <a:pos x="connsiteX1641" y="connsiteY1641"/>
              </a:cxn>
              <a:cxn ang="0">
                <a:pos x="connsiteX1642" y="connsiteY1642"/>
              </a:cxn>
              <a:cxn ang="0">
                <a:pos x="connsiteX1643" y="connsiteY1643"/>
              </a:cxn>
              <a:cxn ang="0">
                <a:pos x="connsiteX1644" y="connsiteY1644"/>
              </a:cxn>
              <a:cxn ang="0">
                <a:pos x="connsiteX1645" y="connsiteY1645"/>
              </a:cxn>
              <a:cxn ang="0">
                <a:pos x="connsiteX1646" y="connsiteY1646"/>
              </a:cxn>
              <a:cxn ang="0">
                <a:pos x="connsiteX1647" y="connsiteY1647"/>
              </a:cxn>
              <a:cxn ang="0">
                <a:pos x="connsiteX1648" y="connsiteY1648"/>
              </a:cxn>
              <a:cxn ang="0">
                <a:pos x="connsiteX1649" y="connsiteY1649"/>
              </a:cxn>
              <a:cxn ang="0">
                <a:pos x="connsiteX1650" y="connsiteY1650"/>
              </a:cxn>
              <a:cxn ang="0">
                <a:pos x="connsiteX1651" y="connsiteY1651"/>
              </a:cxn>
              <a:cxn ang="0">
                <a:pos x="connsiteX1652" y="connsiteY1652"/>
              </a:cxn>
              <a:cxn ang="0">
                <a:pos x="connsiteX1653" y="connsiteY1653"/>
              </a:cxn>
              <a:cxn ang="0">
                <a:pos x="connsiteX1654" y="connsiteY1654"/>
              </a:cxn>
              <a:cxn ang="0">
                <a:pos x="connsiteX1655" y="connsiteY1655"/>
              </a:cxn>
              <a:cxn ang="0">
                <a:pos x="connsiteX1656" y="connsiteY1656"/>
              </a:cxn>
              <a:cxn ang="0">
                <a:pos x="connsiteX1657" y="connsiteY1657"/>
              </a:cxn>
              <a:cxn ang="0">
                <a:pos x="connsiteX1658" y="connsiteY1658"/>
              </a:cxn>
              <a:cxn ang="0">
                <a:pos x="connsiteX1659" y="connsiteY1659"/>
              </a:cxn>
              <a:cxn ang="0">
                <a:pos x="connsiteX1660" y="connsiteY1660"/>
              </a:cxn>
              <a:cxn ang="0">
                <a:pos x="connsiteX1661" y="connsiteY1661"/>
              </a:cxn>
              <a:cxn ang="0">
                <a:pos x="connsiteX1662" y="connsiteY1662"/>
              </a:cxn>
              <a:cxn ang="0">
                <a:pos x="connsiteX1663" y="connsiteY1663"/>
              </a:cxn>
              <a:cxn ang="0">
                <a:pos x="connsiteX1664" y="connsiteY1664"/>
              </a:cxn>
              <a:cxn ang="0">
                <a:pos x="connsiteX1665" y="connsiteY1665"/>
              </a:cxn>
              <a:cxn ang="0">
                <a:pos x="connsiteX1666" y="connsiteY1666"/>
              </a:cxn>
              <a:cxn ang="0">
                <a:pos x="connsiteX1667" y="connsiteY1667"/>
              </a:cxn>
              <a:cxn ang="0">
                <a:pos x="connsiteX1668" y="connsiteY1668"/>
              </a:cxn>
              <a:cxn ang="0">
                <a:pos x="connsiteX1669" y="connsiteY1669"/>
              </a:cxn>
              <a:cxn ang="0">
                <a:pos x="connsiteX1670" y="connsiteY1670"/>
              </a:cxn>
              <a:cxn ang="0">
                <a:pos x="connsiteX1671" y="connsiteY1671"/>
              </a:cxn>
              <a:cxn ang="0">
                <a:pos x="connsiteX1672" y="connsiteY1672"/>
              </a:cxn>
              <a:cxn ang="0">
                <a:pos x="connsiteX1673" y="connsiteY1673"/>
              </a:cxn>
              <a:cxn ang="0">
                <a:pos x="connsiteX1674" y="connsiteY1674"/>
              </a:cxn>
              <a:cxn ang="0">
                <a:pos x="connsiteX1675" y="connsiteY1675"/>
              </a:cxn>
              <a:cxn ang="0">
                <a:pos x="connsiteX1676" y="connsiteY1676"/>
              </a:cxn>
              <a:cxn ang="0">
                <a:pos x="connsiteX1677" y="connsiteY1677"/>
              </a:cxn>
              <a:cxn ang="0">
                <a:pos x="connsiteX1678" y="connsiteY1678"/>
              </a:cxn>
              <a:cxn ang="0">
                <a:pos x="connsiteX1679" y="connsiteY1679"/>
              </a:cxn>
              <a:cxn ang="0">
                <a:pos x="connsiteX1680" y="connsiteY1680"/>
              </a:cxn>
              <a:cxn ang="0">
                <a:pos x="connsiteX1681" y="connsiteY1681"/>
              </a:cxn>
              <a:cxn ang="0">
                <a:pos x="connsiteX1682" y="connsiteY1682"/>
              </a:cxn>
              <a:cxn ang="0">
                <a:pos x="connsiteX1683" y="connsiteY1683"/>
              </a:cxn>
              <a:cxn ang="0">
                <a:pos x="connsiteX1684" y="connsiteY1684"/>
              </a:cxn>
              <a:cxn ang="0">
                <a:pos x="connsiteX1685" y="connsiteY1685"/>
              </a:cxn>
              <a:cxn ang="0">
                <a:pos x="connsiteX1686" y="connsiteY1686"/>
              </a:cxn>
              <a:cxn ang="0">
                <a:pos x="connsiteX1687" y="connsiteY1687"/>
              </a:cxn>
              <a:cxn ang="0">
                <a:pos x="connsiteX1688" y="connsiteY1688"/>
              </a:cxn>
              <a:cxn ang="0">
                <a:pos x="connsiteX1689" y="connsiteY1689"/>
              </a:cxn>
              <a:cxn ang="0">
                <a:pos x="connsiteX1690" y="connsiteY1690"/>
              </a:cxn>
              <a:cxn ang="0">
                <a:pos x="connsiteX1691" y="connsiteY1691"/>
              </a:cxn>
              <a:cxn ang="0">
                <a:pos x="connsiteX1692" y="connsiteY1692"/>
              </a:cxn>
              <a:cxn ang="0">
                <a:pos x="connsiteX1693" y="connsiteY1693"/>
              </a:cxn>
              <a:cxn ang="0">
                <a:pos x="connsiteX1694" y="connsiteY1694"/>
              </a:cxn>
              <a:cxn ang="0">
                <a:pos x="connsiteX1695" y="connsiteY1695"/>
              </a:cxn>
              <a:cxn ang="0">
                <a:pos x="connsiteX1696" y="connsiteY1696"/>
              </a:cxn>
              <a:cxn ang="0">
                <a:pos x="connsiteX1697" y="connsiteY1697"/>
              </a:cxn>
              <a:cxn ang="0">
                <a:pos x="connsiteX1698" y="connsiteY1698"/>
              </a:cxn>
              <a:cxn ang="0">
                <a:pos x="connsiteX1699" y="connsiteY1699"/>
              </a:cxn>
              <a:cxn ang="0">
                <a:pos x="connsiteX1700" y="connsiteY1700"/>
              </a:cxn>
              <a:cxn ang="0">
                <a:pos x="connsiteX1701" y="connsiteY1701"/>
              </a:cxn>
              <a:cxn ang="0">
                <a:pos x="connsiteX1702" y="connsiteY1702"/>
              </a:cxn>
              <a:cxn ang="0">
                <a:pos x="connsiteX1703" y="connsiteY1703"/>
              </a:cxn>
              <a:cxn ang="0">
                <a:pos x="connsiteX1704" y="connsiteY1704"/>
              </a:cxn>
              <a:cxn ang="0">
                <a:pos x="connsiteX1705" y="connsiteY1705"/>
              </a:cxn>
              <a:cxn ang="0">
                <a:pos x="connsiteX1706" y="connsiteY1706"/>
              </a:cxn>
              <a:cxn ang="0">
                <a:pos x="connsiteX1707" y="connsiteY1707"/>
              </a:cxn>
              <a:cxn ang="0">
                <a:pos x="connsiteX1708" y="connsiteY1708"/>
              </a:cxn>
              <a:cxn ang="0">
                <a:pos x="connsiteX1709" y="connsiteY1709"/>
              </a:cxn>
              <a:cxn ang="0">
                <a:pos x="connsiteX1710" y="connsiteY1710"/>
              </a:cxn>
              <a:cxn ang="0">
                <a:pos x="connsiteX1711" y="connsiteY1711"/>
              </a:cxn>
              <a:cxn ang="0">
                <a:pos x="connsiteX1712" y="connsiteY1712"/>
              </a:cxn>
              <a:cxn ang="0">
                <a:pos x="connsiteX1713" y="connsiteY1713"/>
              </a:cxn>
              <a:cxn ang="0">
                <a:pos x="connsiteX1714" y="connsiteY1714"/>
              </a:cxn>
              <a:cxn ang="0">
                <a:pos x="connsiteX1715" y="connsiteY1715"/>
              </a:cxn>
              <a:cxn ang="0">
                <a:pos x="connsiteX1716" y="connsiteY1716"/>
              </a:cxn>
              <a:cxn ang="0">
                <a:pos x="connsiteX1717" y="connsiteY1717"/>
              </a:cxn>
              <a:cxn ang="0">
                <a:pos x="connsiteX1718" y="connsiteY1718"/>
              </a:cxn>
              <a:cxn ang="0">
                <a:pos x="connsiteX1719" y="connsiteY1719"/>
              </a:cxn>
              <a:cxn ang="0">
                <a:pos x="connsiteX1720" y="connsiteY1720"/>
              </a:cxn>
              <a:cxn ang="0">
                <a:pos x="connsiteX1721" y="connsiteY1721"/>
              </a:cxn>
              <a:cxn ang="0">
                <a:pos x="connsiteX1722" y="connsiteY1722"/>
              </a:cxn>
              <a:cxn ang="0">
                <a:pos x="connsiteX1723" y="connsiteY1723"/>
              </a:cxn>
              <a:cxn ang="0">
                <a:pos x="connsiteX1724" y="connsiteY1724"/>
              </a:cxn>
              <a:cxn ang="0">
                <a:pos x="connsiteX1725" y="connsiteY1725"/>
              </a:cxn>
              <a:cxn ang="0">
                <a:pos x="connsiteX1726" y="connsiteY1726"/>
              </a:cxn>
              <a:cxn ang="0">
                <a:pos x="connsiteX1727" y="connsiteY1727"/>
              </a:cxn>
              <a:cxn ang="0">
                <a:pos x="connsiteX1728" y="connsiteY1728"/>
              </a:cxn>
              <a:cxn ang="0">
                <a:pos x="connsiteX1729" y="connsiteY1729"/>
              </a:cxn>
              <a:cxn ang="0">
                <a:pos x="connsiteX1730" y="connsiteY1730"/>
              </a:cxn>
              <a:cxn ang="0">
                <a:pos x="connsiteX1731" y="connsiteY1731"/>
              </a:cxn>
              <a:cxn ang="0">
                <a:pos x="connsiteX1732" y="connsiteY1732"/>
              </a:cxn>
              <a:cxn ang="0">
                <a:pos x="connsiteX1733" y="connsiteY1733"/>
              </a:cxn>
              <a:cxn ang="0">
                <a:pos x="connsiteX1734" y="connsiteY1734"/>
              </a:cxn>
              <a:cxn ang="0">
                <a:pos x="connsiteX1735" y="connsiteY1735"/>
              </a:cxn>
              <a:cxn ang="0">
                <a:pos x="connsiteX1736" y="connsiteY1736"/>
              </a:cxn>
              <a:cxn ang="0">
                <a:pos x="connsiteX1737" y="connsiteY1737"/>
              </a:cxn>
              <a:cxn ang="0">
                <a:pos x="connsiteX1738" y="connsiteY1738"/>
              </a:cxn>
              <a:cxn ang="0">
                <a:pos x="connsiteX1739" y="connsiteY1739"/>
              </a:cxn>
              <a:cxn ang="0">
                <a:pos x="connsiteX1740" y="connsiteY1740"/>
              </a:cxn>
              <a:cxn ang="0">
                <a:pos x="connsiteX1741" y="connsiteY1741"/>
              </a:cxn>
              <a:cxn ang="0">
                <a:pos x="connsiteX1742" y="connsiteY1742"/>
              </a:cxn>
              <a:cxn ang="0">
                <a:pos x="connsiteX1743" y="connsiteY1743"/>
              </a:cxn>
              <a:cxn ang="0">
                <a:pos x="connsiteX1744" y="connsiteY1744"/>
              </a:cxn>
              <a:cxn ang="0">
                <a:pos x="connsiteX1745" y="connsiteY1745"/>
              </a:cxn>
              <a:cxn ang="0">
                <a:pos x="connsiteX1746" y="connsiteY1746"/>
              </a:cxn>
              <a:cxn ang="0">
                <a:pos x="connsiteX1747" y="connsiteY1747"/>
              </a:cxn>
              <a:cxn ang="0">
                <a:pos x="connsiteX1748" y="connsiteY1748"/>
              </a:cxn>
              <a:cxn ang="0">
                <a:pos x="connsiteX1749" y="connsiteY1749"/>
              </a:cxn>
              <a:cxn ang="0">
                <a:pos x="connsiteX1750" y="connsiteY1750"/>
              </a:cxn>
              <a:cxn ang="0">
                <a:pos x="connsiteX1751" y="connsiteY1751"/>
              </a:cxn>
              <a:cxn ang="0">
                <a:pos x="connsiteX1752" y="connsiteY1752"/>
              </a:cxn>
              <a:cxn ang="0">
                <a:pos x="connsiteX1753" y="connsiteY1753"/>
              </a:cxn>
              <a:cxn ang="0">
                <a:pos x="connsiteX1754" y="connsiteY1754"/>
              </a:cxn>
              <a:cxn ang="0">
                <a:pos x="connsiteX1755" y="connsiteY1755"/>
              </a:cxn>
              <a:cxn ang="0">
                <a:pos x="connsiteX1756" y="connsiteY1756"/>
              </a:cxn>
              <a:cxn ang="0">
                <a:pos x="connsiteX1757" y="connsiteY1757"/>
              </a:cxn>
              <a:cxn ang="0">
                <a:pos x="connsiteX1758" y="connsiteY1758"/>
              </a:cxn>
              <a:cxn ang="0">
                <a:pos x="connsiteX1759" y="connsiteY1759"/>
              </a:cxn>
              <a:cxn ang="0">
                <a:pos x="connsiteX1760" y="connsiteY1760"/>
              </a:cxn>
              <a:cxn ang="0">
                <a:pos x="connsiteX1761" y="connsiteY1761"/>
              </a:cxn>
              <a:cxn ang="0">
                <a:pos x="connsiteX1762" y="connsiteY1762"/>
              </a:cxn>
              <a:cxn ang="0">
                <a:pos x="connsiteX1763" y="connsiteY1763"/>
              </a:cxn>
              <a:cxn ang="0">
                <a:pos x="connsiteX1764" y="connsiteY1764"/>
              </a:cxn>
              <a:cxn ang="0">
                <a:pos x="connsiteX1765" y="connsiteY1765"/>
              </a:cxn>
              <a:cxn ang="0">
                <a:pos x="connsiteX1766" y="connsiteY1766"/>
              </a:cxn>
              <a:cxn ang="0">
                <a:pos x="connsiteX1767" y="connsiteY1767"/>
              </a:cxn>
              <a:cxn ang="0">
                <a:pos x="connsiteX1768" y="connsiteY1768"/>
              </a:cxn>
              <a:cxn ang="0">
                <a:pos x="connsiteX1769" y="connsiteY1769"/>
              </a:cxn>
              <a:cxn ang="0">
                <a:pos x="connsiteX1770" y="connsiteY1770"/>
              </a:cxn>
              <a:cxn ang="0">
                <a:pos x="connsiteX1771" y="connsiteY1771"/>
              </a:cxn>
              <a:cxn ang="0">
                <a:pos x="connsiteX1772" y="connsiteY1772"/>
              </a:cxn>
              <a:cxn ang="0">
                <a:pos x="connsiteX1773" y="connsiteY1773"/>
              </a:cxn>
              <a:cxn ang="0">
                <a:pos x="connsiteX1774" y="connsiteY1774"/>
              </a:cxn>
              <a:cxn ang="0">
                <a:pos x="connsiteX1775" y="connsiteY1775"/>
              </a:cxn>
              <a:cxn ang="0">
                <a:pos x="connsiteX1776" y="connsiteY1776"/>
              </a:cxn>
              <a:cxn ang="0">
                <a:pos x="connsiteX1777" y="connsiteY1777"/>
              </a:cxn>
              <a:cxn ang="0">
                <a:pos x="connsiteX1778" y="connsiteY1778"/>
              </a:cxn>
              <a:cxn ang="0">
                <a:pos x="connsiteX1779" y="connsiteY1779"/>
              </a:cxn>
              <a:cxn ang="0">
                <a:pos x="connsiteX1780" y="connsiteY1780"/>
              </a:cxn>
              <a:cxn ang="0">
                <a:pos x="connsiteX1781" y="connsiteY1781"/>
              </a:cxn>
              <a:cxn ang="0">
                <a:pos x="connsiteX1782" y="connsiteY1782"/>
              </a:cxn>
              <a:cxn ang="0">
                <a:pos x="connsiteX1783" y="connsiteY1783"/>
              </a:cxn>
              <a:cxn ang="0">
                <a:pos x="connsiteX1784" y="connsiteY1784"/>
              </a:cxn>
              <a:cxn ang="0">
                <a:pos x="connsiteX1785" y="connsiteY1785"/>
              </a:cxn>
              <a:cxn ang="0">
                <a:pos x="connsiteX1786" y="connsiteY1786"/>
              </a:cxn>
              <a:cxn ang="0">
                <a:pos x="connsiteX1787" y="connsiteY1787"/>
              </a:cxn>
              <a:cxn ang="0">
                <a:pos x="connsiteX1788" y="connsiteY1788"/>
              </a:cxn>
              <a:cxn ang="0">
                <a:pos x="connsiteX1789" y="connsiteY1789"/>
              </a:cxn>
              <a:cxn ang="0">
                <a:pos x="connsiteX1790" y="connsiteY1790"/>
              </a:cxn>
              <a:cxn ang="0">
                <a:pos x="connsiteX1791" y="connsiteY1791"/>
              </a:cxn>
              <a:cxn ang="0">
                <a:pos x="connsiteX1792" y="connsiteY1792"/>
              </a:cxn>
              <a:cxn ang="0">
                <a:pos x="connsiteX1793" y="connsiteY1793"/>
              </a:cxn>
              <a:cxn ang="0">
                <a:pos x="connsiteX1794" y="connsiteY1794"/>
              </a:cxn>
              <a:cxn ang="0">
                <a:pos x="connsiteX1795" y="connsiteY1795"/>
              </a:cxn>
              <a:cxn ang="0">
                <a:pos x="connsiteX1796" y="connsiteY1796"/>
              </a:cxn>
              <a:cxn ang="0">
                <a:pos x="connsiteX1797" y="connsiteY1797"/>
              </a:cxn>
              <a:cxn ang="0">
                <a:pos x="connsiteX1798" y="connsiteY1798"/>
              </a:cxn>
              <a:cxn ang="0">
                <a:pos x="connsiteX1799" y="connsiteY1799"/>
              </a:cxn>
              <a:cxn ang="0">
                <a:pos x="connsiteX1800" y="connsiteY1800"/>
              </a:cxn>
              <a:cxn ang="0">
                <a:pos x="connsiteX1801" y="connsiteY1801"/>
              </a:cxn>
              <a:cxn ang="0">
                <a:pos x="connsiteX1802" y="connsiteY1802"/>
              </a:cxn>
              <a:cxn ang="0">
                <a:pos x="connsiteX1803" y="connsiteY1803"/>
              </a:cxn>
              <a:cxn ang="0">
                <a:pos x="connsiteX1804" y="connsiteY1804"/>
              </a:cxn>
              <a:cxn ang="0">
                <a:pos x="connsiteX1805" y="connsiteY1805"/>
              </a:cxn>
              <a:cxn ang="0">
                <a:pos x="connsiteX1806" y="connsiteY1806"/>
              </a:cxn>
              <a:cxn ang="0">
                <a:pos x="connsiteX1807" y="connsiteY1807"/>
              </a:cxn>
              <a:cxn ang="0">
                <a:pos x="connsiteX1808" y="connsiteY1808"/>
              </a:cxn>
              <a:cxn ang="0">
                <a:pos x="connsiteX1809" y="connsiteY1809"/>
              </a:cxn>
              <a:cxn ang="0">
                <a:pos x="connsiteX1810" y="connsiteY1810"/>
              </a:cxn>
              <a:cxn ang="0">
                <a:pos x="connsiteX1811" y="connsiteY1811"/>
              </a:cxn>
              <a:cxn ang="0">
                <a:pos x="connsiteX1812" y="connsiteY1812"/>
              </a:cxn>
              <a:cxn ang="0">
                <a:pos x="connsiteX1813" y="connsiteY1813"/>
              </a:cxn>
              <a:cxn ang="0">
                <a:pos x="connsiteX1814" y="connsiteY1814"/>
              </a:cxn>
              <a:cxn ang="0">
                <a:pos x="connsiteX1815" y="connsiteY1815"/>
              </a:cxn>
              <a:cxn ang="0">
                <a:pos x="connsiteX1816" y="connsiteY1816"/>
              </a:cxn>
              <a:cxn ang="0">
                <a:pos x="connsiteX1817" y="connsiteY1817"/>
              </a:cxn>
              <a:cxn ang="0">
                <a:pos x="connsiteX1818" y="connsiteY1818"/>
              </a:cxn>
              <a:cxn ang="0">
                <a:pos x="connsiteX1819" y="connsiteY1819"/>
              </a:cxn>
              <a:cxn ang="0">
                <a:pos x="connsiteX1820" y="connsiteY1820"/>
              </a:cxn>
              <a:cxn ang="0">
                <a:pos x="connsiteX1821" y="connsiteY1821"/>
              </a:cxn>
              <a:cxn ang="0">
                <a:pos x="connsiteX1822" y="connsiteY1822"/>
              </a:cxn>
              <a:cxn ang="0">
                <a:pos x="connsiteX1823" y="connsiteY1823"/>
              </a:cxn>
              <a:cxn ang="0">
                <a:pos x="connsiteX1824" y="connsiteY1824"/>
              </a:cxn>
              <a:cxn ang="0">
                <a:pos x="connsiteX1825" y="connsiteY1825"/>
              </a:cxn>
              <a:cxn ang="0">
                <a:pos x="connsiteX1826" y="connsiteY1826"/>
              </a:cxn>
              <a:cxn ang="0">
                <a:pos x="connsiteX1827" y="connsiteY1827"/>
              </a:cxn>
              <a:cxn ang="0">
                <a:pos x="connsiteX1828" y="connsiteY1828"/>
              </a:cxn>
              <a:cxn ang="0">
                <a:pos x="connsiteX1829" y="connsiteY1829"/>
              </a:cxn>
              <a:cxn ang="0">
                <a:pos x="connsiteX1830" y="connsiteY1830"/>
              </a:cxn>
              <a:cxn ang="0">
                <a:pos x="connsiteX1831" y="connsiteY1831"/>
              </a:cxn>
              <a:cxn ang="0">
                <a:pos x="connsiteX1832" y="connsiteY1832"/>
              </a:cxn>
              <a:cxn ang="0">
                <a:pos x="connsiteX1833" y="connsiteY1833"/>
              </a:cxn>
              <a:cxn ang="0">
                <a:pos x="connsiteX1834" y="connsiteY1834"/>
              </a:cxn>
              <a:cxn ang="0">
                <a:pos x="connsiteX1835" y="connsiteY1835"/>
              </a:cxn>
              <a:cxn ang="0">
                <a:pos x="connsiteX1836" y="connsiteY1836"/>
              </a:cxn>
              <a:cxn ang="0">
                <a:pos x="connsiteX1837" y="connsiteY1837"/>
              </a:cxn>
              <a:cxn ang="0">
                <a:pos x="connsiteX1838" y="connsiteY1838"/>
              </a:cxn>
              <a:cxn ang="0">
                <a:pos x="connsiteX1839" y="connsiteY1839"/>
              </a:cxn>
              <a:cxn ang="0">
                <a:pos x="connsiteX1840" y="connsiteY1840"/>
              </a:cxn>
              <a:cxn ang="0">
                <a:pos x="connsiteX1841" y="connsiteY1841"/>
              </a:cxn>
              <a:cxn ang="0">
                <a:pos x="connsiteX1842" y="connsiteY1842"/>
              </a:cxn>
              <a:cxn ang="0">
                <a:pos x="connsiteX1843" y="connsiteY1843"/>
              </a:cxn>
              <a:cxn ang="0">
                <a:pos x="connsiteX1844" y="connsiteY1844"/>
              </a:cxn>
              <a:cxn ang="0">
                <a:pos x="connsiteX1845" y="connsiteY1845"/>
              </a:cxn>
              <a:cxn ang="0">
                <a:pos x="connsiteX1846" y="connsiteY1846"/>
              </a:cxn>
              <a:cxn ang="0">
                <a:pos x="connsiteX1847" y="connsiteY1847"/>
              </a:cxn>
              <a:cxn ang="0">
                <a:pos x="connsiteX1848" y="connsiteY1848"/>
              </a:cxn>
              <a:cxn ang="0">
                <a:pos x="connsiteX1849" y="connsiteY1849"/>
              </a:cxn>
              <a:cxn ang="0">
                <a:pos x="connsiteX1850" y="connsiteY1850"/>
              </a:cxn>
              <a:cxn ang="0">
                <a:pos x="connsiteX1851" y="connsiteY1851"/>
              </a:cxn>
              <a:cxn ang="0">
                <a:pos x="connsiteX1852" y="connsiteY1852"/>
              </a:cxn>
              <a:cxn ang="0">
                <a:pos x="connsiteX1853" y="connsiteY1853"/>
              </a:cxn>
              <a:cxn ang="0">
                <a:pos x="connsiteX1854" y="connsiteY1854"/>
              </a:cxn>
              <a:cxn ang="0">
                <a:pos x="connsiteX1855" y="connsiteY1855"/>
              </a:cxn>
              <a:cxn ang="0">
                <a:pos x="connsiteX1856" y="connsiteY1856"/>
              </a:cxn>
              <a:cxn ang="0">
                <a:pos x="connsiteX1857" y="connsiteY1857"/>
              </a:cxn>
              <a:cxn ang="0">
                <a:pos x="connsiteX1858" y="connsiteY1858"/>
              </a:cxn>
              <a:cxn ang="0">
                <a:pos x="connsiteX1859" y="connsiteY1859"/>
              </a:cxn>
              <a:cxn ang="0">
                <a:pos x="connsiteX1860" y="connsiteY1860"/>
              </a:cxn>
              <a:cxn ang="0">
                <a:pos x="connsiteX1861" y="connsiteY1861"/>
              </a:cxn>
              <a:cxn ang="0">
                <a:pos x="connsiteX1862" y="connsiteY1862"/>
              </a:cxn>
              <a:cxn ang="0">
                <a:pos x="connsiteX1863" y="connsiteY1863"/>
              </a:cxn>
              <a:cxn ang="0">
                <a:pos x="connsiteX1864" y="connsiteY1864"/>
              </a:cxn>
              <a:cxn ang="0">
                <a:pos x="connsiteX1865" y="connsiteY1865"/>
              </a:cxn>
              <a:cxn ang="0">
                <a:pos x="connsiteX1866" y="connsiteY1866"/>
              </a:cxn>
              <a:cxn ang="0">
                <a:pos x="connsiteX1867" y="connsiteY1867"/>
              </a:cxn>
              <a:cxn ang="0">
                <a:pos x="connsiteX1868" y="connsiteY1868"/>
              </a:cxn>
              <a:cxn ang="0">
                <a:pos x="connsiteX1869" y="connsiteY1869"/>
              </a:cxn>
              <a:cxn ang="0">
                <a:pos x="connsiteX1870" y="connsiteY1870"/>
              </a:cxn>
              <a:cxn ang="0">
                <a:pos x="connsiteX1871" y="connsiteY1871"/>
              </a:cxn>
              <a:cxn ang="0">
                <a:pos x="connsiteX1872" y="connsiteY1872"/>
              </a:cxn>
              <a:cxn ang="0">
                <a:pos x="connsiteX1873" y="connsiteY1873"/>
              </a:cxn>
              <a:cxn ang="0">
                <a:pos x="connsiteX1874" y="connsiteY1874"/>
              </a:cxn>
              <a:cxn ang="0">
                <a:pos x="connsiteX1875" y="connsiteY1875"/>
              </a:cxn>
              <a:cxn ang="0">
                <a:pos x="connsiteX1876" y="connsiteY1876"/>
              </a:cxn>
              <a:cxn ang="0">
                <a:pos x="connsiteX1877" y="connsiteY1877"/>
              </a:cxn>
              <a:cxn ang="0">
                <a:pos x="connsiteX1878" y="connsiteY1878"/>
              </a:cxn>
              <a:cxn ang="0">
                <a:pos x="connsiteX1879" y="connsiteY1879"/>
              </a:cxn>
              <a:cxn ang="0">
                <a:pos x="connsiteX1880" y="connsiteY1880"/>
              </a:cxn>
              <a:cxn ang="0">
                <a:pos x="connsiteX1881" y="connsiteY1881"/>
              </a:cxn>
              <a:cxn ang="0">
                <a:pos x="connsiteX1882" y="connsiteY1882"/>
              </a:cxn>
              <a:cxn ang="0">
                <a:pos x="connsiteX1883" y="connsiteY1883"/>
              </a:cxn>
              <a:cxn ang="0">
                <a:pos x="connsiteX1884" y="connsiteY1884"/>
              </a:cxn>
              <a:cxn ang="0">
                <a:pos x="connsiteX1885" y="connsiteY1885"/>
              </a:cxn>
              <a:cxn ang="0">
                <a:pos x="connsiteX1886" y="connsiteY1886"/>
              </a:cxn>
              <a:cxn ang="0">
                <a:pos x="connsiteX1887" y="connsiteY1887"/>
              </a:cxn>
              <a:cxn ang="0">
                <a:pos x="connsiteX1888" y="connsiteY1888"/>
              </a:cxn>
              <a:cxn ang="0">
                <a:pos x="connsiteX1889" y="connsiteY1889"/>
              </a:cxn>
              <a:cxn ang="0">
                <a:pos x="connsiteX1890" y="connsiteY1890"/>
              </a:cxn>
              <a:cxn ang="0">
                <a:pos x="connsiteX1891" y="connsiteY1891"/>
              </a:cxn>
              <a:cxn ang="0">
                <a:pos x="connsiteX1892" y="connsiteY1892"/>
              </a:cxn>
              <a:cxn ang="0">
                <a:pos x="connsiteX1893" y="connsiteY1893"/>
              </a:cxn>
              <a:cxn ang="0">
                <a:pos x="connsiteX1894" y="connsiteY1894"/>
              </a:cxn>
              <a:cxn ang="0">
                <a:pos x="connsiteX1895" y="connsiteY1895"/>
              </a:cxn>
              <a:cxn ang="0">
                <a:pos x="connsiteX1896" y="connsiteY1896"/>
              </a:cxn>
              <a:cxn ang="0">
                <a:pos x="connsiteX1897" y="connsiteY1897"/>
              </a:cxn>
              <a:cxn ang="0">
                <a:pos x="connsiteX1898" y="connsiteY1898"/>
              </a:cxn>
              <a:cxn ang="0">
                <a:pos x="connsiteX1899" y="connsiteY1899"/>
              </a:cxn>
              <a:cxn ang="0">
                <a:pos x="connsiteX1900" y="connsiteY1900"/>
              </a:cxn>
              <a:cxn ang="0">
                <a:pos x="connsiteX1901" y="connsiteY1901"/>
              </a:cxn>
              <a:cxn ang="0">
                <a:pos x="connsiteX1902" y="connsiteY1902"/>
              </a:cxn>
              <a:cxn ang="0">
                <a:pos x="connsiteX1903" y="connsiteY1903"/>
              </a:cxn>
              <a:cxn ang="0">
                <a:pos x="connsiteX1904" y="connsiteY1904"/>
              </a:cxn>
              <a:cxn ang="0">
                <a:pos x="connsiteX1905" y="connsiteY1905"/>
              </a:cxn>
              <a:cxn ang="0">
                <a:pos x="connsiteX1906" y="connsiteY1906"/>
              </a:cxn>
              <a:cxn ang="0">
                <a:pos x="connsiteX1907" y="connsiteY1907"/>
              </a:cxn>
              <a:cxn ang="0">
                <a:pos x="connsiteX1908" y="connsiteY1908"/>
              </a:cxn>
              <a:cxn ang="0">
                <a:pos x="connsiteX1909" y="connsiteY1909"/>
              </a:cxn>
              <a:cxn ang="0">
                <a:pos x="connsiteX1910" y="connsiteY1910"/>
              </a:cxn>
              <a:cxn ang="0">
                <a:pos x="connsiteX1911" y="connsiteY1911"/>
              </a:cxn>
              <a:cxn ang="0">
                <a:pos x="connsiteX1912" y="connsiteY1912"/>
              </a:cxn>
              <a:cxn ang="0">
                <a:pos x="connsiteX1913" y="connsiteY1913"/>
              </a:cxn>
              <a:cxn ang="0">
                <a:pos x="connsiteX1914" y="connsiteY1914"/>
              </a:cxn>
              <a:cxn ang="0">
                <a:pos x="connsiteX1915" y="connsiteY1915"/>
              </a:cxn>
              <a:cxn ang="0">
                <a:pos x="connsiteX1916" y="connsiteY1916"/>
              </a:cxn>
              <a:cxn ang="0">
                <a:pos x="connsiteX1917" y="connsiteY1917"/>
              </a:cxn>
              <a:cxn ang="0">
                <a:pos x="connsiteX1918" y="connsiteY1918"/>
              </a:cxn>
              <a:cxn ang="0">
                <a:pos x="connsiteX1919" y="connsiteY1919"/>
              </a:cxn>
              <a:cxn ang="0">
                <a:pos x="connsiteX1920" y="connsiteY1920"/>
              </a:cxn>
              <a:cxn ang="0">
                <a:pos x="connsiteX1921" y="connsiteY1921"/>
              </a:cxn>
              <a:cxn ang="0">
                <a:pos x="connsiteX1922" y="connsiteY1922"/>
              </a:cxn>
              <a:cxn ang="0">
                <a:pos x="connsiteX1923" y="connsiteY1923"/>
              </a:cxn>
              <a:cxn ang="0">
                <a:pos x="connsiteX1924" y="connsiteY1924"/>
              </a:cxn>
              <a:cxn ang="0">
                <a:pos x="connsiteX1925" y="connsiteY1925"/>
              </a:cxn>
              <a:cxn ang="0">
                <a:pos x="connsiteX1926" y="connsiteY1926"/>
              </a:cxn>
              <a:cxn ang="0">
                <a:pos x="connsiteX1927" y="connsiteY1927"/>
              </a:cxn>
              <a:cxn ang="0">
                <a:pos x="connsiteX1928" y="connsiteY1928"/>
              </a:cxn>
              <a:cxn ang="0">
                <a:pos x="connsiteX1929" y="connsiteY1929"/>
              </a:cxn>
              <a:cxn ang="0">
                <a:pos x="connsiteX1930" y="connsiteY1930"/>
              </a:cxn>
              <a:cxn ang="0">
                <a:pos x="connsiteX1931" y="connsiteY1931"/>
              </a:cxn>
              <a:cxn ang="0">
                <a:pos x="connsiteX1932" y="connsiteY1932"/>
              </a:cxn>
              <a:cxn ang="0">
                <a:pos x="connsiteX1933" y="connsiteY1933"/>
              </a:cxn>
              <a:cxn ang="0">
                <a:pos x="connsiteX1934" y="connsiteY1934"/>
              </a:cxn>
              <a:cxn ang="0">
                <a:pos x="connsiteX1935" y="connsiteY1935"/>
              </a:cxn>
              <a:cxn ang="0">
                <a:pos x="connsiteX1936" y="connsiteY1936"/>
              </a:cxn>
              <a:cxn ang="0">
                <a:pos x="connsiteX1937" y="connsiteY1937"/>
              </a:cxn>
              <a:cxn ang="0">
                <a:pos x="connsiteX1938" y="connsiteY1938"/>
              </a:cxn>
              <a:cxn ang="0">
                <a:pos x="connsiteX1939" y="connsiteY1939"/>
              </a:cxn>
              <a:cxn ang="0">
                <a:pos x="connsiteX1940" y="connsiteY1940"/>
              </a:cxn>
              <a:cxn ang="0">
                <a:pos x="connsiteX1941" y="connsiteY1941"/>
              </a:cxn>
              <a:cxn ang="0">
                <a:pos x="connsiteX1942" y="connsiteY1942"/>
              </a:cxn>
              <a:cxn ang="0">
                <a:pos x="connsiteX1943" y="connsiteY1943"/>
              </a:cxn>
              <a:cxn ang="0">
                <a:pos x="connsiteX1944" y="connsiteY1944"/>
              </a:cxn>
              <a:cxn ang="0">
                <a:pos x="connsiteX1945" y="connsiteY1945"/>
              </a:cxn>
              <a:cxn ang="0">
                <a:pos x="connsiteX1946" y="connsiteY1946"/>
              </a:cxn>
              <a:cxn ang="0">
                <a:pos x="connsiteX1947" y="connsiteY1947"/>
              </a:cxn>
              <a:cxn ang="0">
                <a:pos x="connsiteX1948" y="connsiteY1948"/>
              </a:cxn>
              <a:cxn ang="0">
                <a:pos x="connsiteX1949" y="connsiteY1949"/>
              </a:cxn>
              <a:cxn ang="0">
                <a:pos x="connsiteX1950" y="connsiteY1950"/>
              </a:cxn>
              <a:cxn ang="0">
                <a:pos x="connsiteX1951" y="connsiteY1951"/>
              </a:cxn>
              <a:cxn ang="0">
                <a:pos x="connsiteX1952" y="connsiteY1952"/>
              </a:cxn>
              <a:cxn ang="0">
                <a:pos x="connsiteX1953" y="connsiteY1953"/>
              </a:cxn>
              <a:cxn ang="0">
                <a:pos x="connsiteX1954" y="connsiteY1954"/>
              </a:cxn>
              <a:cxn ang="0">
                <a:pos x="connsiteX1955" y="connsiteY1955"/>
              </a:cxn>
              <a:cxn ang="0">
                <a:pos x="connsiteX1956" y="connsiteY1956"/>
              </a:cxn>
              <a:cxn ang="0">
                <a:pos x="connsiteX1957" y="connsiteY1957"/>
              </a:cxn>
              <a:cxn ang="0">
                <a:pos x="connsiteX1958" y="connsiteY1958"/>
              </a:cxn>
              <a:cxn ang="0">
                <a:pos x="connsiteX1959" y="connsiteY1959"/>
              </a:cxn>
              <a:cxn ang="0">
                <a:pos x="connsiteX1960" y="connsiteY1960"/>
              </a:cxn>
              <a:cxn ang="0">
                <a:pos x="connsiteX1961" y="connsiteY1961"/>
              </a:cxn>
              <a:cxn ang="0">
                <a:pos x="connsiteX1962" y="connsiteY1962"/>
              </a:cxn>
              <a:cxn ang="0">
                <a:pos x="connsiteX1963" y="connsiteY1963"/>
              </a:cxn>
              <a:cxn ang="0">
                <a:pos x="connsiteX1964" y="connsiteY1964"/>
              </a:cxn>
              <a:cxn ang="0">
                <a:pos x="connsiteX1965" y="connsiteY1965"/>
              </a:cxn>
              <a:cxn ang="0">
                <a:pos x="connsiteX1966" y="connsiteY1966"/>
              </a:cxn>
              <a:cxn ang="0">
                <a:pos x="connsiteX1967" y="connsiteY1967"/>
              </a:cxn>
              <a:cxn ang="0">
                <a:pos x="connsiteX1968" y="connsiteY1968"/>
              </a:cxn>
              <a:cxn ang="0">
                <a:pos x="connsiteX1969" y="connsiteY1969"/>
              </a:cxn>
              <a:cxn ang="0">
                <a:pos x="connsiteX1970" y="connsiteY1970"/>
              </a:cxn>
              <a:cxn ang="0">
                <a:pos x="connsiteX1971" y="connsiteY1971"/>
              </a:cxn>
              <a:cxn ang="0">
                <a:pos x="connsiteX1972" y="connsiteY1972"/>
              </a:cxn>
              <a:cxn ang="0">
                <a:pos x="connsiteX1973" y="connsiteY1973"/>
              </a:cxn>
              <a:cxn ang="0">
                <a:pos x="connsiteX1974" y="connsiteY1974"/>
              </a:cxn>
              <a:cxn ang="0">
                <a:pos x="connsiteX1975" y="connsiteY1975"/>
              </a:cxn>
              <a:cxn ang="0">
                <a:pos x="connsiteX1976" y="connsiteY1976"/>
              </a:cxn>
              <a:cxn ang="0">
                <a:pos x="connsiteX1977" y="connsiteY1977"/>
              </a:cxn>
              <a:cxn ang="0">
                <a:pos x="connsiteX1978" y="connsiteY1978"/>
              </a:cxn>
              <a:cxn ang="0">
                <a:pos x="connsiteX1979" y="connsiteY1979"/>
              </a:cxn>
              <a:cxn ang="0">
                <a:pos x="connsiteX1980" y="connsiteY1980"/>
              </a:cxn>
              <a:cxn ang="0">
                <a:pos x="connsiteX1981" y="connsiteY1981"/>
              </a:cxn>
              <a:cxn ang="0">
                <a:pos x="connsiteX1982" y="connsiteY1982"/>
              </a:cxn>
              <a:cxn ang="0">
                <a:pos x="connsiteX1983" y="connsiteY1983"/>
              </a:cxn>
              <a:cxn ang="0">
                <a:pos x="connsiteX1984" y="connsiteY1984"/>
              </a:cxn>
              <a:cxn ang="0">
                <a:pos x="connsiteX1985" y="connsiteY1985"/>
              </a:cxn>
              <a:cxn ang="0">
                <a:pos x="connsiteX1986" y="connsiteY1986"/>
              </a:cxn>
              <a:cxn ang="0">
                <a:pos x="connsiteX1987" y="connsiteY1987"/>
              </a:cxn>
              <a:cxn ang="0">
                <a:pos x="connsiteX1988" y="connsiteY1988"/>
              </a:cxn>
              <a:cxn ang="0">
                <a:pos x="connsiteX1989" y="connsiteY1989"/>
              </a:cxn>
              <a:cxn ang="0">
                <a:pos x="connsiteX1990" y="connsiteY1990"/>
              </a:cxn>
              <a:cxn ang="0">
                <a:pos x="connsiteX1991" y="connsiteY1991"/>
              </a:cxn>
              <a:cxn ang="0">
                <a:pos x="connsiteX1992" y="connsiteY1992"/>
              </a:cxn>
              <a:cxn ang="0">
                <a:pos x="connsiteX1993" y="connsiteY1993"/>
              </a:cxn>
              <a:cxn ang="0">
                <a:pos x="connsiteX1994" y="connsiteY1994"/>
              </a:cxn>
              <a:cxn ang="0">
                <a:pos x="connsiteX1995" y="connsiteY1995"/>
              </a:cxn>
              <a:cxn ang="0">
                <a:pos x="connsiteX1996" y="connsiteY1996"/>
              </a:cxn>
              <a:cxn ang="0">
                <a:pos x="connsiteX1997" y="connsiteY1997"/>
              </a:cxn>
              <a:cxn ang="0">
                <a:pos x="connsiteX1998" y="connsiteY1998"/>
              </a:cxn>
              <a:cxn ang="0">
                <a:pos x="connsiteX1999" y="connsiteY1999"/>
              </a:cxn>
              <a:cxn ang="0">
                <a:pos x="connsiteX2000" y="connsiteY2000"/>
              </a:cxn>
              <a:cxn ang="0">
                <a:pos x="connsiteX2001" y="connsiteY2001"/>
              </a:cxn>
              <a:cxn ang="0">
                <a:pos x="connsiteX2002" y="connsiteY2002"/>
              </a:cxn>
              <a:cxn ang="0">
                <a:pos x="connsiteX2003" y="connsiteY2003"/>
              </a:cxn>
              <a:cxn ang="0">
                <a:pos x="connsiteX2004" y="connsiteY2004"/>
              </a:cxn>
              <a:cxn ang="0">
                <a:pos x="connsiteX2005" y="connsiteY2005"/>
              </a:cxn>
              <a:cxn ang="0">
                <a:pos x="connsiteX2006" y="connsiteY2006"/>
              </a:cxn>
              <a:cxn ang="0">
                <a:pos x="connsiteX2007" y="connsiteY2007"/>
              </a:cxn>
              <a:cxn ang="0">
                <a:pos x="connsiteX2008" y="connsiteY2008"/>
              </a:cxn>
              <a:cxn ang="0">
                <a:pos x="connsiteX2009" y="connsiteY2009"/>
              </a:cxn>
              <a:cxn ang="0">
                <a:pos x="connsiteX2010" y="connsiteY2010"/>
              </a:cxn>
              <a:cxn ang="0">
                <a:pos x="connsiteX2011" y="connsiteY2011"/>
              </a:cxn>
              <a:cxn ang="0">
                <a:pos x="connsiteX2012" y="connsiteY2012"/>
              </a:cxn>
              <a:cxn ang="0">
                <a:pos x="connsiteX2013" y="connsiteY2013"/>
              </a:cxn>
              <a:cxn ang="0">
                <a:pos x="connsiteX2014" y="connsiteY2014"/>
              </a:cxn>
              <a:cxn ang="0">
                <a:pos x="connsiteX2015" y="connsiteY2015"/>
              </a:cxn>
              <a:cxn ang="0">
                <a:pos x="connsiteX2016" y="connsiteY2016"/>
              </a:cxn>
              <a:cxn ang="0">
                <a:pos x="connsiteX2017" y="connsiteY2017"/>
              </a:cxn>
              <a:cxn ang="0">
                <a:pos x="connsiteX2018" y="connsiteY2018"/>
              </a:cxn>
              <a:cxn ang="0">
                <a:pos x="connsiteX2019" y="connsiteY2019"/>
              </a:cxn>
              <a:cxn ang="0">
                <a:pos x="connsiteX2020" y="connsiteY2020"/>
              </a:cxn>
              <a:cxn ang="0">
                <a:pos x="connsiteX2021" y="connsiteY2021"/>
              </a:cxn>
              <a:cxn ang="0">
                <a:pos x="connsiteX2022" y="connsiteY2022"/>
              </a:cxn>
              <a:cxn ang="0">
                <a:pos x="connsiteX2023" y="connsiteY2023"/>
              </a:cxn>
              <a:cxn ang="0">
                <a:pos x="connsiteX2024" y="connsiteY2024"/>
              </a:cxn>
              <a:cxn ang="0">
                <a:pos x="connsiteX2025" y="connsiteY2025"/>
              </a:cxn>
              <a:cxn ang="0">
                <a:pos x="connsiteX2026" y="connsiteY2026"/>
              </a:cxn>
              <a:cxn ang="0">
                <a:pos x="connsiteX2027" y="connsiteY2027"/>
              </a:cxn>
              <a:cxn ang="0">
                <a:pos x="connsiteX2028" y="connsiteY2028"/>
              </a:cxn>
              <a:cxn ang="0">
                <a:pos x="connsiteX2029" y="connsiteY2029"/>
              </a:cxn>
              <a:cxn ang="0">
                <a:pos x="connsiteX2030" y="connsiteY2030"/>
              </a:cxn>
              <a:cxn ang="0">
                <a:pos x="connsiteX2031" y="connsiteY2031"/>
              </a:cxn>
              <a:cxn ang="0">
                <a:pos x="connsiteX2032" y="connsiteY2032"/>
              </a:cxn>
              <a:cxn ang="0">
                <a:pos x="connsiteX2033" y="connsiteY2033"/>
              </a:cxn>
              <a:cxn ang="0">
                <a:pos x="connsiteX2034" y="connsiteY2034"/>
              </a:cxn>
              <a:cxn ang="0">
                <a:pos x="connsiteX2035" y="connsiteY2035"/>
              </a:cxn>
              <a:cxn ang="0">
                <a:pos x="connsiteX2036" y="connsiteY2036"/>
              </a:cxn>
              <a:cxn ang="0">
                <a:pos x="connsiteX2037" y="connsiteY2037"/>
              </a:cxn>
              <a:cxn ang="0">
                <a:pos x="connsiteX2038" y="connsiteY2038"/>
              </a:cxn>
              <a:cxn ang="0">
                <a:pos x="connsiteX2039" y="connsiteY2039"/>
              </a:cxn>
              <a:cxn ang="0">
                <a:pos x="connsiteX2040" y="connsiteY2040"/>
              </a:cxn>
              <a:cxn ang="0">
                <a:pos x="connsiteX2041" y="connsiteY2041"/>
              </a:cxn>
              <a:cxn ang="0">
                <a:pos x="connsiteX2042" y="connsiteY2042"/>
              </a:cxn>
              <a:cxn ang="0">
                <a:pos x="connsiteX2043" y="connsiteY2043"/>
              </a:cxn>
              <a:cxn ang="0">
                <a:pos x="connsiteX2044" y="connsiteY2044"/>
              </a:cxn>
              <a:cxn ang="0">
                <a:pos x="connsiteX2045" y="connsiteY2045"/>
              </a:cxn>
              <a:cxn ang="0">
                <a:pos x="connsiteX2046" y="connsiteY2046"/>
              </a:cxn>
              <a:cxn ang="0">
                <a:pos x="connsiteX2047" y="connsiteY2047"/>
              </a:cxn>
              <a:cxn ang="0">
                <a:pos x="connsiteX2048" y="connsiteY2048"/>
              </a:cxn>
              <a:cxn ang="0">
                <a:pos x="connsiteX2049" y="connsiteY2049"/>
              </a:cxn>
              <a:cxn ang="0">
                <a:pos x="connsiteX2050" y="connsiteY2050"/>
              </a:cxn>
              <a:cxn ang="0">
                <a:pos x="connsiteX2051" y="connsiteY2051"/>
              </a:cxn>
              <a:cxn ang="0">
                <a:pos x="connsiteX2052" y="connsiteY2052"/>
              </a:cxn>
              <a:cxn ang="0">
                <a:pos x="connsiteX2053" y="connsiteY2053"/>
              </a:cxn>
              <a:cxn ang="0">
                <a:pos x="connsiteX2054" y="connsiteY2054"/>
              </a:cxn>
              <a:cxn ang="0">
                <a:pos x="connsiteX2055" y="connsiteY2055"/>
              </a:cxn>
              <a:cxn ang="0">
                <a:pos x="connsiteX2056" y="connsiteY2056"/>
              </a:cxn>
              <a:cxn ang="0">
                <a:pos x="connsiteX2057" y="connsiteY2057"/>
              </a:cxn>
              <a:cxn ang="0">
                <a:pos x="connsiteX2058" y="connsiteY2058"/>
              </a:cxn>
              <a:cxn ang="0">
                <a:pos x="connsiteX2059" y="connsiteY2059"/>
              </a:cxn>
              <a:cxn ang="0">
                <a:pos x="connsiteX2060" y="connsiteY2060"/>
              </a:cxn>
              <a:cxn ang="0">
                <a:pos x="connsiteX2061" y="connsiteY2061"/>
              </a:cxn>
              <a:cxn ang="0">
                <a:pos x="connsiteX2062" y="connsiteY2062"/>
              </a:cxn>
              <a:cxn ang="0">
                <a:pos x="connsiteX2063" y="connsiteY2063"/>
              </a:cxn>
              <a:cxn ang="0">
                <a:pos x="connsiteX2064" y="connsiteY2064"/>
              </a:cxn>
              <a:cxn ang="0">
                <a:pos x="connsiteX2065" y="connsiteY2065"/>
              </a:cxn>
              <a:cxn ang="0">
                <a:pos x="connsiteX2066" y="connsiteY2066"/>
              </a:cxn>
              <a:cxn ang="0">
                <a:pos x="connsiteX2067" y="connsiteY2067"/>
              </a:cxn>
              <a:cxn ang="0">
                <a:pos x="connsiteX2068" y="connsiteY2068"/>
              </a:cxn>
              <a:cxn ang="0">
                <a:pos x="connsiteX2069" y="connsiteY2069"/>
              </a:cxn>
              <a:cxn ang="0">
                <a:pos x="connsiteX2070" y="connsiteY2070"/>
              </a:cxn>
              <a:cxn ang="0">
                <a:pos x="connsiteX2071" y="connsiteY2071"/>
              </a:cxn>
              <a:cxn ang="0">
                <a:pos x="connsiteX2072" y="connsiteY2072"/>
              </a:cxn>
              <a:cxn ang="0">
                <a:pos x="connsiteX2073" y="connsiteY2073"/>
              </a:cxn>
              <a:cxn ang="0">
                <a:pos x="connsiteX2074" y="connsiteY2074"/>
              </a:cxn>
              <a:cxn ang="0">
                <a:pos x="connsiteX2075" y="connsiteY2075"/>
              </a:cxn>
              <a:cxn ang="0">
                <a:pos x="connsiteX2076" y="connsiteY2076"/>
              </a:cxn>
              <a:cxn ang="0">
                <a:pos x="connsiteX2077" y="connsiteY2077"/>
              </a:cxn>
              <a:cxn ang="0">
                <a:pos x="connsiteX2078" y="connsiteY2078"/>
              </a:cxn>
              <a:cxn ang="0">
                <a:pos x="connsiteX2079" y="connsiteY2079"/>
              </a:cxn>
              <a:cxn ang="0">
                <a:pos x="connsiteX2080" y="connsiteY2080"/>
              </a:cxn>
              <a:cxn ang="0">
                <a:pos x="connsiteX2081" y="connsiteY2081"/>
              </a:cxn>
              <a:cxn ang="0">
                <a:pos x="connsiteX2082" y="connsiteY2082"/>
              </a:cxn>
              <a:cxn ang="0">
                <a:pos x="connsiteX2083" y="connsiteY2083"/>
              </a:cxn>
              <a:cxn ang="0">
                <a:pos x="connsiteX2084" y="connsiteY2084"/>
              </a:cxn>
              <a:cxn ang="0">
                <a:pos x="connsiteX2085" y="connsiteY2085"/>
              </a:cxn>
              <a:cxn ang="0">
                <a:pos x="connsiteX2086" y="connsiteY2086"/>
              </a:cxn>
              <a:cxn ang="0">
                <a:pos x="connsiteX2087" y="connsiteY2087"/>
              </a:cxn>
              <a:cxn ang="0">
                <a:pos x="connsiteX2088" y="connsiteY2088"/>
              </a:cxn>
              <a:cxn ang="0">
                <a:pos x="connsiteX2089" y="connsiteY2089"/>
              </a:cxn>
              <a:cxn ang="0">
                <a:pos x="connsiteX2090" y="connsiteY2090"/>
              </a:cxn>
              <a:cxn ang="0">
                <a:pos x="connsiteX2091" y="connsiteY2091"/>
              </a:cxn>
              <a:cxn ang="0">
                <a:pos x="connsiteX2092" y="connsiteY2092"/>
              </a:cxn>
              <a:cxn ang="0">
                <a:pos x="connsiteX2093" y="connsiteY2093"/>
              </a:cxn>
              <a:cxn ang="0">
                <a:pos x="connsiteX2094" y="connsiteY2094"/>
              </a:cxn>
              <a:cxn ang="0">
                <a:pos x="connsiteX2095" y="connsiteY2095"/>
              </a:cxn>
              <a:cxn ang="0">
                <a:pos x="connsiteX2096" y="connsiteY2096"/>
              </a:cxn>
              <a:cxn ang="0">
                <a:pos x="connsiteX2097" y="connsiteY2097"/>
              </a:cxn>
              <a:cxn ang="0">
                <a:pos x="connsiteX2098" y="connsiteY2098"/>
              </a:cxn>
              <a:cxn ang="0">
                <a:pos x="connsiteX2099" y="connsiteY2099"/>
              </a:cxn>
              <a:cxn ang="0">
                <a:pos x="connsiteX2100" y="connsiteY2100"/>
              </a:cxn>
              <a:cxn ang="0">
                <a:pos x="connsiteX2101" y="connsiteY2101"/>
              </a:cxn>
              <a:cxn ang="0">
                <a:pos x="connsiteX2102" y="connsiteY2102"/>
              </a:cxn>
              <a:cxn ang="0">
                <a:pos x="connsiteX2103" y="connsiteY2103"/>
              </a:cxn>
              <a:cxn ang="0">
                <a:pos x="connsiteX2104" y="connsiteY2104"/>
              </a:cxn>
              <a:cxn ang="0">
                <a:pos x="connsiteX2105" y="connsiteY2105"/>
              </a:cxn>
              <a:cxn ang="0">
                <a:pos x="connsiteX2106" y="connsiteY2106"/>
              </a:cxn>
              <a:cxn ang="0">
                <a:pos x="connsiteX2107" y="connsiteY2107"/>
              </a:cxn>
              <a:cxn ang="0">
                <a:pos x="connsiteX2108" y="connsiteY2108"/>
              </a:cxn>
              <a:cxn ang="0">
                <a:pos x="connsiteX2109" y="connsiteY2109"/>
              </a:cxn>
              <a:cxn ang="0">
                <a:pos x="connsiteX2110" y="connsiteY2110"/>
              </a:cxn>
              <a:cxn ang="0">
                <a:pos x="connsiteX2111" y="connsiteY2111"/>
              </a:cxn>
              <a:cxn ang="0">
                <a:pos x="connsiteX2112" y="connsiteY2112"/>
              </a:cxn>
              <a:cxn ang="0">
                <a:pos x="connsiteX2113" y="connsiteY2113"/>
              </a:cxn>
              <a:cxn ang="0">
                <a:pos x="connsiteX2114" y="connsiteY2114"/>
              </a:cxn>
              <a:cxn ang="0">
                <a:pos x="connsiteX2115" y="connsiteY2115"/>
              </a:cxn>
              <a:cxn ang="0">
                <a:pos x="connsiteX2116" y="connsiteY2116"/>
              </a:cxn>
              <a:cxn ang="0">
                <a:pos x="connsiteX2117" y="connsiteY2117"/>
              </a:cxn>
              <a:cxn ang="0">
                <a:pos x="connsiteX2118" y="connsiteY2118"/>
              </a:cxn>
              <a:cxn ang="0">
                <a:pos x="connsiteX2119" y="connsiteY2119"/>
              </a:cxn>
              <a:cxn ang="0">
                <a:pos x="connsiteX2120" y="connsiteY2120"/>
              </a:cxn>
              <a:cxn ang="0">
                <a:pos x="connsiteX2121" y="connsiteY2121"/>
              </a:cxn>
              <a:cxn ang="0">
                <a:pos x="connsiteX2122" y="connsiteY2122"/>
              </a:cxn>
              <a:cxn ang="0">
                <a:pos x="connsiteX2123" y="connsiteY2123"/>
              </a:cxn>
              <a:cxn ang="0">
                <a:pos x="connsiteX2124" y="connsiteY2124"/>
              </a:cxn>
              <a:cxn ang="0">
                <a:pos x="connsiteX2125" y="connsiteY2125"/>
              </a:cxn>
              <a:cxn ang="0">
                <a:pos x="connsiteX2126" y="connsiteY2126"/>
              </a:cxn>
              <a:cxn ang="0">
                <a:pos x="connsiteX2127" y="connsiteY2127"/>
              </a:cxn>
              <a:cxn ang="0">
                <a:pos x="connsiteX2128" y="connsiteY2128"/>
              </a:cxn>
              <a:cxn ang="0">
                <a:pos x="connsiteX2129" y="connsiteY2129"/>
              </a:cxn>
              <a:cxn ang="0">
                <a:pos x="connsiteX2130" y="connsiteY2130"/>
              </a:cxn>
              <a:cxn ang="0">
                <a:pos x="connsiteX2131" y="connsiteY2131"/>
              </a:cxn>
              <a:cxn ang="0">
                <a:pos x="connsiteX2132" y="connsiteY2132"/>
              </a:cxn>
              <a:cxn ang="0">
                <a:pos x="connsiteX2133" y="connsiteY2133"/>
              </a:cxn>
              <a:cxn ang="0">
                <a:pos x="connsiteX2134" y="connsiteY2134"/>
              </a:cxn>
              <a:cxn ang="0">
                <a:pos x="connsiteX2135" y="connsiteY2135"/>
              </a:cxn>
              <a:cxn ang="0">
                <a:pos x="connsiteX2136" y="connsiteY2136"/>
              </a:cxn>
              <a:cxn ang="0">
                <a:pos x="connsiteX2137" y="connsiteY2137"/>
              </a:cxn>
              <a:cxn ang="0">
                <a:pos x="connsiteX2138" y="connsiteY2138"/>
              </a:cxn>
              <a:cxn ang="0">
                <a:pos x="connsiteX2139" y="connsiteY2139"/>
              </a:cxn>
              <a:cxn ang="0">
                <a:pos x="connsiteX2140" y="connsiteY2140"/>
              </a:cxn>
              <a:cxn ang="0">
                <a:pos x="connsiteX2141" y="connsiteY2141"/>
              </a:cxn>
              <a:cxn ang="0">
                <a:pos x="connsiteX2142" y="connsiteY2142"/>
              </a:cxn>
              <a:cxn ang="0">
                <a:pos x="connsiteX2143" y="connsiteY2143"/>
              </a:cxn>
              <a:cxn ang="0">
                <a:pos x="connsiteX2144" y="connsiteY2144"/>
              </a:cxn>
              <a:cxn ang="0">
                <a:pos x="connsiteX2145" y="connsiteY2145"/>
              </a:cxn>
              <a:cxn ang="0">
                <a:pos x="connsiteX2146" y="connsiteY2146"/>
              </a:cxn>
              <a:cxn ang="0">
                <a:pos x="connsiteX2147" y="connsiteY2147"/>
              </a:cxn>
              <a:cxn ang="0">
                <a:pos x="connsiteX2148" y="connsiteY2148"/>
              </a:cxn>
              <a:cxn ang="0">
                <a:pos x="connsiteX2149" y="connsiteY2149"/>
              </a:cxn>
              <a:cxn ang="0">
                <a:pos x="connsiteX2150" y="connsiteY2150"/>
              </a:cxn>
              <a:cxn ang="0">
                <a:pos x="connsiteX2151" y="connsiteY2151"/>
              </a:cxn>
              <a:cxn ang="0">
                <a:pos x="connsiteX2152" y="connsiteY2152"/>
              </a:cxn>
              <a:cxn ang="0">
                <a:pos x="connsiteX2153" y="connsiteY2153"/>
              </a:cxn>
              <a:cxn ang="0">
                <a:pos x="connsiteX2154" y="connsiteY2154"/>
              </a:cxn>
              <a:cxn ang="0">
                <a:pos x="connsiteX2155" y="connsiteY2155"/>
              </a:cxn>
              <a:cxn ang="0">
                <a:pos x="connsiteX2156" y="connsiteY2156"/>
              </a:cxn>
              <a:cxn ang="0">
                <a:pos x="connsiteX2157" y="connsiteY2157"/>
              </a:cxn>
              <a:cxn ang="0">
                <a:pos x="connsiteX2158" y="connsiteY2158"/>
              </a:cxn>
              <a:cxn ang="0">
                <a:pos x="connsiteX2159" y="connsiteY2159"/>
              </a:cxn>
              <a:cxn ang="0">
                <a:pos x="connsiteX2160" y="connsiteY2160"/>
              </a:cxn>
              <a:cxn ang="0">
                <a:pos x="connsiteX2161" y="connsiteY2161"/>
              </a:cxn>
              <a:cxn ang="0">
                <a:pos x="connsiteX2162" y="connsiteY2162"/>
              </a:cxn>
              <a:cxn ang="0">
                <a:pos x="connsiteX2163" y="connsiteY2163"/>
              </a:cxn>
              <a:cxn ang="0">
                <a:pos x="connsiteX2164" y="connsiteY2164"/>
              </a:cxn>
              <a:cxn ang="0">
                <a:pos x="connsiteX2165" y="connsiteY2165"/>
              </a:cxn>
              <a:cxn ang="0">
                <a:pos x="connsiteX2166" y="connsiteY2166"/>
              </a:cxn>
              <a:cxn ang="0">
                <a:pos x="connsiteX2167" y="connsiteY2167"/>
              </a:cxn>
              <a:cxn ang="0">
                <a:pos x="connsiteX2168" y="connsiteY2168"/>
              </a:cxn>
              <a:cxn ang="0">
                <a:pos x="connsiteX2169" y="connsiteY2169"/>
              </a:cxn>
              <a:cxn ang="0">
                <a:pos x="connsiteX2170" y="connsiteY2170"/>
              </a:cxn>
              <a:cxn ang="0">
                <a:pos x="connsiteX2171" y="connsiteY2171"/>
              </a:cxn>
              <a:cxn ang="0">
                <a:pos x="connsiteX2172" y="connsiteY2172"/>
              </a:cxn>
              <a:cxn ang="0">
                <a:pos x="connsiteX2173" y="connsiteY2173"/>
              </a:cxn>
              <a:cxn ang="0">
                <a:pos x="connsiteX2174" y="connsiteY2174"/>
              </a:cxn>
              <a:cxn ang="0">
                <a:pos x="connsiteX2175" y="connsiteY2175"/>
              </a:cxn>
              <a:cxn ang="0">
                <a:pos x="connsiteX2176" y="connsiteY2176"/>
              </a:cxn>
              <a:cxn ang="0">
                <a:pos x="connsiteX2177" y="connsiteY2177"/>
              </a:cxn>
              <a:cxn ang="0">
                <a:pos x="connsiteX2178" y="connsiteY2178"/>
              </a:cxn>
              <a:cxn ang="0">
                <a:pos x="connsiteX2179" y="connsiteY2179"/>
              </a:cxn>
              <a:cxn ang="0">
                <a:pos x="connsiteX2180" y="connsiteY2180"/>
              </a:cxn>
              <a:cxn ang="0">
                <a:pos x="connsiteX2181" y="connsiteY2181"/>
              </a:cxn>
              <a:cxn ang="0">
                <a:pos x="connsiteX2182" y="connsiteY2182"/>
              </a:cxn>
              <a:cxn ang="0">
                <a:pos x="connsiteX2183" y="connsiteY2183"/>
              </a:cxn>
              <a:cxn ang="0">
                <a:pos x="connsiteX2184" y="connsiteY2184"/>
              </a:cxn>
              <a:cxn ang="0">
                <a:pos x="connsiteX2185" y="connsiteY2185"/>
              </a:cxn>
              <a:cxn ang="0">
                <a:pos x="connsiteX2186" y="connsiteY2186"/>
              </a:cxn>
              <a:cxn ang="0">
                <a:pos x="connsiteX2187" y="connsiteY2187"/>
              </a:cxn>
              <a:cxn ang="0">
                <a:pos x="connsiteX2188" y="connsiteY2188"/>
              </a:cxn>
              <a:cxn ang="0">
                <a:pos x="connsiteX2189" y="connsiteY2189"/>
              </a:cxn>
              <a:cxn ang="0">
                <a:pos x="connsiteX2190" y="connsiteY2190"/>
              </a:cxn>
              <a:cxn ang="0">
                <a:pos x="connsiteX2191" y="connsiteY2191"/>
              </a:cxn>
              <a:cxn ang="0">
                <a:pos x="connsiteX2192" y="connsiteY2192"/>
              </a:cxn>
              <a:cxn ang="0">
                <a:pos x="connsiteX2193" y="connsiteY2193"/>
              </a:cxn>
              <a:cxn ang="0">
                <a:pos x="connsiteX2194" y="connsiteY2194"/>
              </a:cxn>
              <a:cxn ang="0">
                <a:pos x="connsiteX2195" y="connsiteY2195"/>
              </a:cxn>
              <a:cxn ang="0">
                <a:pos x="connsiteX2196" y="connsiteY2196"/>
              </a:cxn>
              <a:cxn ang="0">
                <a:pos x="connsiteX2197" y="connsiteY2197"/>
              </a:cxn>
              <a:cxn ang="0">
                <a:pos x="connsiteX2198" y="connsiteY2198"/>
              </a:cxn>
              <a:cxn ang="0">
                <a:pos x="connsiteX2199" y="connsiteY2199"/>
              </a:cxn>
              <a:cxn ang="0">
                <a:pos x="connsiteX2200" y="connsiteY2200"/>
              </a:cxn>
              <a:cxn ang="0">
                <a:pos x="connsiteX2201" y="connsiteY2201"/>
              </a:cxn>
              <a:cxn ang="0">
                <a:pos x="connsiteX2202" y="connsiteY2202"/>
              </a:cxn>
              <a:cxn ang="0">
                <a:pos x="connsiteX2203" y="connsiteY2203"/>
              </a:cxn>
              <a:cxn ang="0">
                <a:pos x="connsiteX2204" y="connsiteY2204"/>
              </a:cxn>
              <a:cxn ang="0">
                <a:pos x="connsiteX2205" y="connsiteY2205"/>
              </a:cxn>
              <a:cxn ang="0">
                <a:pos x="connsiteX2206" y="connsiteY2206"/>
              </a:cxn>
              <a:cxn ang="0">
                <a:pos x="connsiteX2207" y="connsiteY2207"/>
              </a:cxn>
              <a:cxn ang="0">
                <a:pos x="connsiteX2208" y="connsiteY2208"/>
              </a:cxn>
              <a:cxn ang="0">
                <a:pos x="connsiteX2209" y="connsiteY2209"/>
              </a:cxn>
              <a:cxn ang="0">
                <a:pos x="connsiteX2210" y="connsiteY2210"/>
              </a:cxn>
              <a:cxn ang="0">
                <a:pos x="connsiteX2211" y="connsiteY2211"/>
              </a:cxn>
              <a:cxn ang="0">
                <a:pos x="connsiteX2212" y="connsiteY2212"/>
              </a:cxn>
              <a:cxn ang="0">
                <a:pos x="connsiteX2213" y="connsiteY2213"/>
              </a:cxn>
              <a:cxn ang="0">
                <a:pos x="connsiteX2214" y="connsiteY2214"/>
              </a:cxn>
              <a:cxn ang="0">
                <a:pos x="connsiteX2215" y="connsiteY2215"/>
              </a:cxn>
              <a:cxn ang="0">
                <a:pos x="connsiteX2216" y="connsiteY2216"/>
              </a:cxn>
              <a:cxn ang="0">
                <a:pos x="connsiteX2217" y="connsiteY2217"/>
              </a:cxn>
              <a:cxn ang="0">
                <a:pos x="connsiteX2218" y="connsiteY2218"/>
              </a:cxn>
              <a:cxn ang="0">
                <a:pos x="connsiteX2219" y="connsiteY2219"/>
              </a:cxn>
              <a:cxn ang="0">
                <a:pos x="connsiteX2220" y="connsiteY2220"/>
              </a:cxn>
              <a:cxn ang="0">
                <a:pos x="connsiteX2221" y="connsiteY2221"/>
              </a:cxn>
              <a:cxn ang="0">
                <a:pos x="connsiteX2222" y="connsiteY2222"/>
              </a:cxn>
              <a:cxn ang="0">
                <a:pos x="connsiteX2223" y="connsiteY2223"/>
              </a:cxn>
              <a:cxn ang="0">
                <a:pos x="connsiteX2224" y="connsiteY2224"/>
              </a:cxn>
              <a:cxn ang="0">
                <a:pos x="connsiteX2225" y="connsiteY2225"/>
              </a:cxn>
              <a:cxn ang="0">
                <a:pos x="connsiteX2226" y="connsiteY2226"/>
              </a:cxn>
              <a:cxn ang="0">
                <a:pos x="connsiteX2227" y="connsiteY2227"/>
              </a:cxn>
              <a:cxn ang="0">
                <a:pos x="connsiteX2228" y="connsiteY2228"/>
              </a:cxn>
              <a:cxn ang="0">
                <a:pos x="connsiteX2229" y="connsiteY2229"/>
              </a:cxn>
              <a:cxn ang="0">
                <a:pos x="connsiteX2230" y="connsiteY2230"/>
              </a:cxn>
              <a:cxn ang="0">
                <a:pos x="connsiteX2231" y="connsiteY2231"/>
              </a:cxn>
              <a:cxn ang="0">
                <a:pos x="connsiteX2232" y="connsiteY2232"/>
              </a:cxn>
              <a:cxn ang="0">
                <a:pos x="connsiteX2233" y="connsiteY2233"/>
              </a:cxn>
              <a:cxn ang="0">
                <a:pos x="connsiteX2234" y="connsiteY2234"/>
              </a:cxn>
              <a:cxn ang="0">
                <a:pos x="connsiteX2235" y="connsiteY2235"/>
              </a:cxn>
              <a:cxn ang="0">
                <a:pos x="connsiteX2236" y="connsiteY2236"/>
              </a:cxn>
              <a:cxn ang="0">
                <a:pos x="connsiteX2237" y="connsiteY2237"/>
              </a:cxn>
              <a:cxn ang="0">
                <a:pos x="connsiteX2238" y="connsiteY2238"/>
              </a:cxn>
              <a:cxn ang="0">
                <a:pos x="connsiteX2239" y="connsiteY2239"/>
              </a:cxn>
              <a:cxn ang="0">
                <a:pos x="connsiteX2240" y="connsiteY2240"/>
              </a:cxn>
              <a:cxn ang="0">
                <a:pos x="connsiteX2241" y="connsiteY2241"/>
              </a:cxn>
              <a:cxn ang="0">
                <a:pos x="connsiteX2242" y="connsiteY2242"/>
              </a:cxn>
              <a:cxn ang="0">
                <a:pos x="connsiteX2243" y="connsiteY2243"/>
              </a:cxn>
              <a:cxn ang="0">
                <a:pos x="connsiteX2244" y="connsiteY2244"/>
              </a:cxn>
              <a:cxn ang="0">
                <a:pos x="connsiteX2245" y="connsiteY2245"/>
              </a:cxn>
              <a:cxn ang="0">
                <a:pos x="connsiteX2246" y="connsiteY2246"/>
              </a:cxn>
              <a:cxn ang="0">
                <a:pos x="connsiteX2247" y="connsiteY2247"/>
              </a:cxn>
              <a:cxn ang="0">
                <a:pos x="connsiteX2248" y="connsiteY2248"/>
              </a:cxn>
              <a:cxn ang="0">
                <a:pos x="connsiteX2249" y="connsiteY2249"/>
              </a:cxn>
              <a:cxn ang="0">
                <a:pos x="connsiteX2250" y="connsiteY2250"/>
              </a:cxn>
              <a:cxn ang="0">
                <a:pos x="connsiteX2251" y="connsiteY2251"/>
              </a:cxn>
              <a:cxn ang="0">
                <a:pos x="connsiteX2252" y="connsiteY2252"/>
              </a:cxn>
              <a:cxn ang="0">
                <a:pos x="connsiteX2253" y="connsiteY2253"/>
              </a:cxn>
              <a:cxn ang="0">
                <a:pos x="connsiteX2254" y="connsiteY2254"/>
              </a:cxn>
              <a:cxn ang="0">
                <a:pos x="connsiteX2255" y="connsiteY2255"/>
              </a:cxn>
              <a:cxn ang="0">
                <a:pos x="connsiteX2256" y="connsiteY2256"/>
              </a:cxn>
              <a:cxn ang="0">
                <a:pos x="connsiteX2257" y="connsiteY2257"/>
              </a:cxn>
              <a:cxn ang="0">
                <a:pos x="connsiteX2258" y="connsiteY2258"/>
              </a:cxn>
              <a:cxn ang="0">
                <a:pos x="connsiteX2259" y="connsiteY2259"/>
              </a:cxn>
              <a:cxn ang="0">
                <a:pos x="connsiteX2260" y="connsiteY2260"/>
              </a:cxn>
              <a:cxn ang="0">
                <a:pos x="connsiteX2261" y="connsiteY2261"/>
              </a:cxn>
              <a:cxn ang="0">
                <a:pos x="connsiteX2262" y="connsiteY2262"/>
              </a:cxn>
              <a:cxn ang="0">
                <a:pos x="connsiteX2263" y="connsiteY2263"/>
              </a:cxn>
              <a:cxn ang="0">
                <a:pos x="connsiteX2264" y="connsiteY2264"/>
              </a:cxn>
              <a:cxn ang="0">
                <a:pos x="connsiteX2265" y="connsiteY2265"/>
              </a:cxn>
              <a:cxn ang="0">
                <a:pos x="connsiteX2266" y="connsiteY2266"/>
              </a:cxn>
              <a:cxn ang="0">
                <a:pos x="connsiteX2267" y="connsiteY2267"/>
              </a:cxn>
              <a:cxn ang="0">
                <a:pos x="connsiteX2268" y="connsiteY2268"/>
              </a:cxn>
              <a:cxn ang="0">
                <a:pos x="connsiteX2269" y="connsiteY2269"/>
              </a:cxn>
              <a:cxn ang="0">
                <a:pos x="connsiteX2270" y="connsiteY2270"/>
              </a:cxn>
              <a:cxn ang="0">
                <a:pos x="connsiteX2271" y="connsiteY2271"/>
              </a:cxn>
              <a:cxn ang="0">
                <a:pos x="connsiteX2272" y="connsiteY2272"/>
              </a:cxn>
              <a:cxn ang="0">
                <a:pos x="connsiteX2273" y="connsiteY2273"/>
              </a:cxn>
              <a:cxn ang="0">
                <a:pos x="connsiteX2274" y="connsiteY2274"/>
              </a:cxn>
              <a:cxn ang="0">
                <a:pos x="connsiteX2275" y="connsiteY2275"/>
              </a:cxn>
              <a:cxn ang="0">
                <a:pos x="connsiteX2276" y="connsiteY2276"/>
              </a:cxn>
              <a:cxn ang="0">
                <a:pos x="connsiteX2277" y="connsiteY2277"/>
              </a:cxn>
              <a:cxn ang="0">
                <a:pos x="connsiteX2278" y="connsiteY2278"/>
              </a:cxn>
              <a:cxn ang="0">
                <a:pos x="connsiteX2279" y="connsiteY2279"/>
              </a:cxn>
              <a:cxn ang="0">
                <a:pos x="connsiteX2280" y="connsiteY2280"/>
              </a:cxn>
              <a:cxn ang="0">
                <a:pos x="connsiteX2281" y="connsiteY2281"/>
              </a:cxn>
              <a:cxn ang="0">
                <a:pos x="connsiteX2282" y="connsiteY2282"/>
              </a:cxn>
              <a:cxn ang="0">
                <a:pos x="connsiteX2283" y="connsiteY2283"/>
              </a:cxn>
              <a:cxn ang="0">
                <a:pos x="connsiteX2284" y="connsiteY2284"/>
              </a:cxn>
              <a:cxn ang="0">
                <a:pos x="connsiteX2285" y="connsiteY2285"/>
              </a:cxn>
              <a:cxn ang="0">
                <a:pos x="connsiteX2286" y="connsiteY2286"/>
              </a:cxn>
              <a:cxn ang="0">
                <a:pos x="connsiteX2287" y="connsiteY2287"/>
              </a:cxn>
              <a:cxn ang="0">
                <a:pos x="connsiteX2288" y="connsiteY2288"/>
              </a:cxn>
              <a:cxn ang="0">
                <a:pos x="connsiteX2289" y="connsiteY2289"/>
              </a:cxn>
              <a:cxn ang="0">
                <a:pos x="connsiteX2290" y="connsiteY2290"/>
              </a:cxn>
              <a:cxn ang="0">
                <a:pos x="connsiteX2291" y="connsiteY2291"/>
              </a:cxn>
              <a:cxn ang="0">
                <a:pos x="connsiteX2292" y="connsiteY2292"/>
              </a:cxn>
              <a:cxn ang="0">
                <a:pos x="connsiteX2293" y="connsiteY2293"/>
              </a:cxn>
              <a:cxn ang="0">
                <a:pos x="connsiteX2294" y="connsiteY2294"/>
              </a:cxn>
              <a:cxn ang="0">
                <a:pos x="connsiteX2295" y="connsiteY2295"/>
              </a:cxn>
              <a:cxn ang="0">
                <a:pos x="connsiteX2296" y="connsiteY2296"/>
              </a:cxn>
              <a:cxn ang="0">
                <a:pos x="connsiteX2297" y="connsiteY2297"/>
              </a:cxn>
              <a:cxn ang="0">
                <a:pos x="connsiteX2298" y="connsiteY2298"/>
              </a:cxn>
              <a:cxn ang="0">
                <a:pos x="connsiteX2299" y="connsiteY2299"/>
              </a:cxn>
              <a:cxn ang="0">
                <a:pos x="connsiteX2300" y="connsiteY2300"/>
              </a:cxn>
              <a:cxn ang="0">
                <a:pos x="connsiteX2301" y="connsiteY2301"/>
              </a:cxn>
              <a:cxn ang="0">
                <a:pos x="connsiteX2302" y="connsiteY2302"/>
              </a:cxn>
              <a:cxn ang="0">
                <a:pos x="connsiteX2303" y="connsiteY2303"/>
              </a:cxn>
              <a:cxn ang="0">
                <a:pos x="connsiteX2304" y="connsiteY2304"/>
              </a:cxn>
              <a:cxn ang="0">
                <a:pos x="connsiteX2305" y="connsiteY2305"/>
              </a:cxn>
              <a:cxn ang="0">
                <a:pos x="connsiteX2306" y="connsiteY2306"/>
              </a:cxn>
              <a:cxn ang="0">
                <a:pos x="connsiteX2307" y="connsiteY2307"/>
              </a:cxn>
              <a:cxn ang="0">
                <a:pos x="connsiteX2308" y="connsiteY2308"/>
              </a:cxn>
              <a:cxn ang="0">
                <a:pos x="connsiteX2309" y="connsiteY2309"/>
              </a:cxn>
              <a:cxn ang="0">
                <a:pos x="connsiteX2310" y="connsiteY2310"/>
              </a:cxn>
              <a:cxn ang="0">
                <a:pos x="connsiteX2311" y="connsiteY2311"/>
              </a:cxn>
              <a:cxn ang="0">
                <a:pos x="connsiteX2312" y="connsiteY2312"/>
              </a:cxn>
              <a:cxn ang="0">
                <a:pos x="connsiteX2313" y="connsiteY2313"/>
              </a:cxn>
              <a:cxn ang="0">
                <a:pos x="connsiteX2314" y="connsiteY2314"/>
              </a:cxn>
              <a:cxn ang="0">
                <a:pos x="connsiteX2315" y="connsiteY2315"/>
              </a:cxn>
              <a:cxn ang="0">
                <a:pos x="connsiteX2316" y="connsiteY2316"/>
              </a:cxn>
              <a:cxn ang="0">
                <a:pos x="connsiteX2317" y="connsiteY2317"/>
              </a:cxn>
              <a:cxn ang="0">
                <a:pos x="connsiteX2318" y="connsiteY2318"/>
              </a:cxn>
              <a:cxn ang="0">
                <a:pos x="connsiteX2319" y="connsiteY2319"/>
              </a:cxn>
              <a:cxn ang="0">
                <a:pos x="connsiteX2320" y="connsiteY2320"/>
              </a:cxn>
              <a:cxn ang="0">
                <a:pos x="connsiteX2321" y="connsiteY2321"/>
              </a:cxn>
              <a:cxn ang="0">
                <a:pos x="connsiteX2322" y="connsiteY2322"/>
              </a:cxn>
              <a:cxn ang="0">
                <a:pos x="connsiteX2323" y="connsiteY2323"/>
              </a:cxn>
              <a:cxn ang="0">
                <a:pos x="connsiteX2324" y="connsiteY2324"/>
              </a:cxn>
              <a:cxn ang="0">
                <a:pos x="connsiteX2325" y="connsiteY2325"/>
              </a:cxn>
              <a:cxn ang="0">
                <a:pos x="connsiteX2326" y="connsiteY2326"/>
              </a:cxn>
              <a:cxn ang="0">
                <a:pos x="connsiteX2327" y="connsiteY2327"/>
              </a:cxn>
              <a:cxn ang="0">
                <a:pos x="connsiteX2328" y="connsiteY2328"/>
              </a:cxn>
              <a:cxn ang="0">
                <a:pos x="connsiteX2329" y="connsiteY2329"/>
              </a:cxn>
              <a:cxn ang="0">
                <a:pos x="connsiteX2330" y="connsiteY2330"/>
              </a:cxn>
              <a:cxn ang="0">
                <a:pos x="connsiteX2331" y="connsiteY2331"/>
              </a:cxn>
              <a:cxn ang="0">
                <a:pos x="connsiteX2332" y="connsiteY2332"/>
              </a:cxn>
              <a:cxn ang="0">
                <a:pos x="connsiteX2333" y="connsiteY2333"/>
              </a:cxn>
              <a:cxn ang="0">
                <a:pos x="connsiteX2334" y="connsiteY2334"/>
              </a:cxn>
              <a:cxn ang="0">
                <a:pos x="connsiteX2335" y="connsiteY2335"/>
              </a:cxn>
              <a:cxn ang="0">
                <a:pos x="connsiteX2336" y="connsiteY2336"/>
              </a:cxn>
              <a:cxn ang="0">
                <a:pos x="connsiteX2337" y="connsiteY2337"/>
              </a:cxn>
              <a:cxn ang="0">
                <a:pos x="connsiteX2338" y="connsiteY2338"/>
              </a:cxn>
              <a:cxn ang="0">
                <a:pos x="connsiteX2339" y="connsiteY2339"/>
              </a:cxn>
              <a:cxn ang="0">
                <a:pos x="connsiteX2340" y="connsiteY2340"/>
              </a:cxn>
              <a:cxn ang="0">
                <a:pos x="connsiteX2341" y="connsiteY2341"/>
              </a:cxn>
              <a:cxn ang="0">
                <a:pos x="connsiteX2342" y="connsiteY2342"/>
              </a:cxn>
              <a:cxn ang="0">
                <a:pos x="connsiteX2343" y="connsiteY2343"/>
              </a:cxn>
              <a:cxn ang="0">
                <a:pos x="connsiteX2344" y="connsiteY2344"/>
              </a:cxn>
              <a:cxn ang="0">
                <a:pos x="connsiteX2345" y="connsiteY2345"/>
              </a:cxn>
              <a:cxn ang="0">
                <a:pos x="connsiteX2346" y="connsiteY2346"/>
              </a:cxn>
              <a:cxn ang="0">
                <a:pos x="connsiteX2347" y="connsiteY2347"/>
              </a:cxn>
              <a:cxn ang="0">
                <a:pos x="connsiteX2348" y="connsiteY2348"/>
              </a:cxn>
              <a:cxn ang="0">
                <a:pos x="connsiteX2349" y="connsiteY2349"/>
              </a:cxn>
              <a:cxn ang="0">
                <a:pos x="connsiteX2350" y="connsiteY2350"/>
              </a:cxn>
              <a:cxn ang="0">
                <a:pos x="connsiteX2351" y="connsiteY2351"/>
              </a:cxn>
              <a:cxn ang="0">
                <a:pos x="connsiteX2352" y="connsiteY2352"/>
              </a:cxn>
              <a:cxn ang="0">
                <a:pos x="connsiteX2353" y="connsiteY2353"/>
              </a:cxn>
              <a:cxn ang="0">
                <a:pos x="connsiteX2354" y="connsiteY2354"/>
              </a:cxn>
              <a:cxn ang="0">
                <a:pos x="connsiteX2355" y="connsiteY2355"/>
              </a:cxn>
              <a:cxn ang="0">
                <a:pos x="connsiteX2356" y="connsiteY2356"/>
              </a:cxn>
              <a:cxn ang="0">
                <a:pos x="connsiteX2357" y="connsiteY2357"/>
              </a:cxn>
              <a:cxn ang="0">
                <a:pos x="connsiteX2358" y="connsiteY2358"/>
              </a:cxn>
              <a:cxn ang="0">
                <a:pos x="connsiteX2359" y="connsiteY2359"/>
              </a:cxn>
              <a:cxn ang="0">
                <a:pos x="connsiteX2360" y="connsiteY2360"/>
              </a:cxn>
              <a:cxn ang="0">
                <a:pos x="connsiteX2361" y="connsiteY2361"/>
              </a:cxn>
              <a:cxn ang="0">
                <a:pos x="connsiteX2362" y="connsiteY2362"/>
              </a:cxn>
              <a:cxn ang="0">
                <a:pos x="connsiteX2363" y="connsiteY2363"/>
              </a:cxn>
              <a:cxn ang="0">
                <a:pos x="connsiteX2364" y="connsiteY2364"/>
              </a:cxn>
              <a:cxn ang="0">
                <a:pos x="connsiteX2365" y="connsiteY2365"/>
              </a:cxn>
              <a:cxn ang="0">
                <a:pos x="connsiteX2366" y="connsiteY2366"/>
              </a:cxn>
              <a:cxn ang="0">
                <a:pos x="connsiteX2367" y="connsiteY2367"/>
              </a:cxn>
              <a:cxn ang="0">
                <a:pos x="connsiteX2368" y="connsiteY2368"/>
              </a:cxn>
              <a:cxn ang="0">
                <a:pos x="connsiteX2369" y="connsiteY2369"/>
              </a:cxn>
              <a:cxn ang="0">
                <a:pos x="connsiteX2370" y="connsiteY2370"/>
              </a:cxn>
              <a:cxn ang="0">
                <a:pos x="connsiteX2371" y="connsiteY2371"/>
              </a:cxn>
              <a:cxn ang="0">
                <a:pos x="connsiteX2372" y="connsiteY2372"/>
              </a:cxn>
              <a:cxn ang="0">
                <a:pos x="connsiteX2373" y="connsiteY2373"/>
              </a:cxn>
              <a:cxn ang="0">
                <a:pos x="connsiteX2374" y="connsiteY2374"/>
              </a:cxn>
              <a:cxn ang="0">
                <a:pos x="connsiteX2375" y="connsiteY2375"/>
              </a:cxn>
              <a:cxn ang="0">
                <a:pos x="connsiteX2376" y="connsiteY2376"/>
              </a:cxn>
              <a:cxn ang="0">
                <a:pos x="connsiteX2377" y="connsiteY2377"/>
              </a:cxn>
              <a:cxn ang="0">
                <a:pos x="connsiteX2378" y="connsiteY2378"/>
              </a:cxn>
              <a:cxn ang="0">
                <a:pos x="connsiteX2379" y="connsiteY2379"/>
              </a:cxn>
              <a:cxn ang="0">
                <a:pos x="connsiteX2380" y="connsiteY2380"/>
              </a:cxn>
              <a:cxn ang="0">
                <a:pos x="connsiteX2381" y="connsiteY2381"/>
              </a:cxn>
              <a:cxn ang="0">
                <a:pos x="connsiteX2382" y="connsiteY2382"/>
              </a:cxn>
              <a:cxn ang="0">
                <a:pos x="connsiteX2383" y="connsiteY2383"/>
              </a:cxn>
              <a:cxn ang="0">
                <a:pos x="connsiteX2384" y="connsiteY2384"/>
              </a:cxn>
              <a:cxn ang="0">
                <a:pos x="connsiteX2385" y="connsiteY2385"/>
              </a:cxn>
              <a:cxn ang="0">
                <a:pos x="connsiteX2386" y="connsiteY2386"/>
              </a:cxn>
              <a:cxn ang="0">
                <a:pos x="connsiteX2387" y="connsiteY2387"/>
              </a:cxn>
              <a:cxn ang="0">
                <a:pos x="connsiteX2388" y="connsiteY2388"/>
              </a:cxn>
              <a:cxn ang="0">
                <a:pos x="connsiteX2389" y="connsiteY2389"/>
              </a:cxn>
              <a:cxn ang="0">
                <a:pos x="connsiteX2390" y="connsiteY2390"/>
              </a:cxn>
              <a:cxn ang="0">
                <a:pos x="connsiteX2391" y="connsiteY2391"/>
              </a:cxn>
              <a:cxn ang="0">
                <a:pos x="connsiteX2392" y="connsiteY2392"/>
              </a:cxn>
              <a:cxn ang="0">
                <a:pos x="connsiteX2393" y="connsiteY2393"/>
              </a:cxn>
              <a:cxn ang="0">
                <a:pos x="connsiteX2394" y="connsiteY2394"/>
              </a:cxn>
              <a:cxn ang="0">
                <a:pos x="connsiteX2395" y="connsiteY2395"/>
              </a:cxn>
              <a:cxn ang="0">
                <a:pos x="connsiteX2396" y="connsiteY2396"/>
              </a:cxn>
              <a:cxn ang="0">
                <a:pos x="connsiteX2397" y="connsiteY2397"/>
              </a:cxn>
              <a:cxn ang="0">
                <a:pos x="connsiteX2398" y="connsiteY2398"/>
              </a:cxn>
              <a:cxn ang="0">
                <a:pos x="connsiteX2399" y="connsiteY2399"/>
              </a:cxn>
              <a:cxn ang="0">
                <a:pos x="connsiteX2400" y="connsiteY2400"/>
              </a:cxn>
              <a:cxn ang="0">
                <a:pos x="connsiteX2401" y="connsiteY2401"/>
              </a:cxn>
              <a:cxn ang="0">
                <a:pos x="connsiteX2402" y="connsiteY2402"/>
              </a:cxn>
              <a:cxn ang="0">
                <a:pos x="connsiteX2403" y="connsiteY2403"/>
              </a:cxn>
              <a:cxn ang="0">
                <a:pos x="connsiteX2404" y="connsiteY2404"/>
              </a:cxn>
              <a:cxn ang="0">
                <a:pos x="connsiteX2405" y="connsiteY2405"/>
              </a:cxn>
              <a:cxn ang="0">
                <a:pos x="connsiteX2406" y="connsiteY2406"/>
              </a:cxn>
              <a:cxn ang="0">
                <a:pos x="connsiteX2407" y="connsiteY2407"/>
              </a:cxn>
              <a:cxn ang="0">
                <a:pos x="connsiteX2408" y="connsiteY2408"/>
              </a:cxn>
              <a:cxn ang="0">
                <a:pos x="connsiteX2409" y="connsiteY2409"/>
              </a:cxn>
              <a:cxn ang="0">
                <a:pos x="connsiteX2410" y="connsiteY2410"/>
              </a:cxn>
              <a:cxn ang="0">
                <a:pos x="connsiteX2411" y="connsiteY2411"/>
              </a:cxn>
              <a:cxn ang="0">
                <a:pos x="connsiteX2412" y="connsiteY2412"/>
              </a:cxn>
              <a:cxn ang="0">
                <a:pos x="connsiteX2413" y="connsiteY2413"/>
              </a:cxn>
              <a:cxn ang="0">
                <a:pos x="connsiteX2414" y="connsiteY2414"/>
              </a:cxn>
              <a:cxn ang="0">
                <a:pos x="connsiteX2415" y="connsiteY2415"/>
              </a:cxn>
              <a:cxn ang="0">
                <a:pos x="connsiteX2416" y="connsiteY2416"/>
              </a:cxn>
              <a:cxn ang="0">
                <a:pos x="connsiteX2417" y="connsiteY2417"/>
              </a:cxn>
              <a:cxn ang="0">
                <a:pos x="connsiteX2418" y="connsiteY2418"/>
              </a:cxn>
              <a:cxn ang="0">
                <a:pos x="connsiteX2419" y="connsiteY2419"/>
              </a:cxn>
              <a:cxn ang="0">
                <a:pos x="connsiteX2420" y="connsiteY2420"/>
              </a:cxn>
              <a:cxn ang="0">
                <a:pos x="connsiteX2421" y="connsiteY2421"/>
              </a:cxn>
              <a:cxn ang="0">
                <a:pos x="connsiteX2422" y="connsiteY2422"/>
              </a:cxn>
              <a:cxn ang="0">
                <a:pos x="connsiteX2423" y="connsiteY2423"/>
              </a:cxn>
              <a:cxn ang="0">
                <a:pos x="connsiteX2424" y="connsiteY2424"/>
              </a:cxn>
              <a:cxn ang="0">
                <a:pos x="connsiteX2425" y="connsiteY2425"/>
              </a:cxn>
              <a:cxn ang="0">
                <a:pos x="connsiteX2426" y="connsiteY2426"/>
              </a:cxn>
              <a:cxn ang="0">
                <a:pos x="connsiteX2427" y="connsiteY2427"/>
              </a:cxn>
              <a:cxn ang="0">
                <a:pos x="connsiteX2428" y="connsiteY2428"/>
              </a:cxn>
              <a:cxn ang="0">
                <a:pos x="connsiteX2429" y="connsiteY2429"/>
              </a:cxn>
              <a:cxn ang="0">
                <a:pos x="connsiteX2430" y="connsiteY2430"/>
              </a:cxn>
              <a:cxn ang="0">
                <a:pos x="connsiteX2431" y="connsiteY2431"/>
              </a:cxn>
              <a:cxn ang="0">
                <a:pos x="connsiteX2432" y="connsiteY2432"/>
              </a:cxn>
              <a:cxn ang="0">
                <a:pos x="connsiteX2433" y="connsiteY2433"/>
              </a:cxn>
              <a:cxn ang="0">
                <a:pos x="connsiteX2434" y="connsiteY2434"/>
              </a:cxn>
              <a:cxn ang="0">
                <a:pos x="connsiteX2435" y="connsiteY2435"/>
              </a:cxn>
              <a:cxn ang="0">
                <a:pos x="connsiteX2436" y="connsiteY2436"/>
              </a:cxn>
              <a:cxn ang="0">
                <a:pos x="connsiteX2437" y="connsiteY2437"/>
              </a:cxn>
              <a:cxn ang="0">
                <a:pos x="connsiteX2438" y="connsiteY2438"/>
              </a:cxn>
              <a:cxn ang="0">
                <a:pos x="connsiteX2439" y="connsiteY2439"/>
              </a:cxn>
              <a:cxn ang="0">
                <a:pos x="connsiteX2440" y="connsiteY2440"/>
              </a:cxn>
              <a:cxn ang="0">
                <a:pos x="connsiteX2441" y="connsiteY2441"/>
              </a:cxn>
              <a:cxn ang="0">
                <a:pos x="connsiteX2442" y="connsiteY2442"/>
              </a:cxn>
              <a:cxn ang="0">
                <a:pos x="connsiteX2443" y="connsiteY2443"/>
              </a:cxn>
              <a:cxn ang="0">
                <a:pos x="connsiteX2444" y="connsiteY2444"/>
              </a:cxn>
              <a:cxn ang="0">
                <a:pos x="connsiteX2445" y="connsiteY2445"/>
              </a:cxn>
              <a:cxn ang="0">
                <a:pos x="connsiteX2446" y="connsiteY2446"/>
              </a:cxn>
              <a:cxn ang="0">
                <a:pos x="connsiteX2447" y="connsiteY2447"/>
              </a:cxn>
              <a:cxn ang="0">
                <a:pos x="connsiteX2448" y="connsiteY2448"/>
              </a:cxn>
              <a:cxn ang="0">
                <a:pos x="connsiteX2449" y="connsiteY2449"/>
              </a:cxn>
              <a:cxn ang="0">
                <a:pos x="connsiteX2450" y="connsiteY2450"/>
              </a:cxn>
              <a:cxn ang="0">
                <a:pos x="connsiteX2451" y="connsiteY2451"/>
              </a:cxn>
              <a:cxn ang="0">
                <a:pos x="connsiteX2452" y="connsiteY2452"/>
              </a:cxn>
              <a:cxn ang="0">
                <a:pos x="connsiteX2453" y="connsiteY2453"/>
              </a:cxn>
              <a:cxn ang="0">
                <a:pos x="connsiteX2454" y="connsiteY2454"/>
              </a:cxn>
              <a:cxn ang="0">
                <a:pos x="connsiteX2455" y="connsiteY2455"/>
              </a:cxn>
              <a:cxn ang="0">
                <a:pos x="connsiteX2456" y="connsiteY2456"/>
              </a:cxn>
              <a:cxn ang="0">
                <a:pos x="connsiteX2457" y="connsiteY2457"/>
              </a:cxn>
              <a:cxn ang="0">
                <a:pos x="connsiteX2458" y="connsiteY2458"/>
              </a:cxn>
              <a:cxn ang="0">
                <a:pos x="connsiteX2459" y="connsiteY2459"/>
              </a:cxn>
              <a:cxn ang="0">
                <a:pos x="connsiteX2460" y="connsiteY2460"/>
              </a:cxn>
              <a:cxn ang="0">
                <a:pos x="connsiteX2461" y="connsiteY2461"/>
              </a:cxn>
              <a:cxn ang="0">
                <a:pos x="connsiteX2462" y="connsiteY2462"/>
              </a:cxn>
              <a:cxn ang="0">
                <a:pos x="connsiteX2463" y="connsiteY2463"/>
              </a:cxn>
              <a:cxn ang="0">
                <a:pos x="connsiteX2464" y="connsiteY2464"/>
              </a:cxn>
              <a:cxn ang="0">
                <a:pos x="connsiteX2465" y="connsiteY2465"/>
              </a:cxn>
              <a:cxn ang="0">
                <a:pos x="connsiteX2466" y="connsiteY2466"/>
              </a:cxn>
              <a:cxn ang="0">
                <a:pos x="connsiteX2467" y="connsiteY2467"/>
              </a:cxn>
              <a:cxn ang="0">
                <a:pos x="connsiteX2468" y="connsiteY2468"/>
              </a:cxn>
              <a:cxn ang="0">
                <a:pos x="connsiteX2469" y="connsiteY2469"/>
              </a:cxn>
              <a:cxn ang="0">
                <a:pos x="connsiteX2470" y="connsiteY2470"/>
              </a:cxn>
              <a:cxn ang="0">
                <a:pos x="connsiteX2471" y="connsiteY2471"/>
              </a:cxn>
              <a:cxn ang="0">
                <a:pos x="connsiteX2472" y="connsiteY2472"/>
              </a:cxn>
              <a:cxn ang="0">
                <a:pos x="connsiteX2473" y="connsiteY2473"/>
              </a:cxn>
              <a:cxn ang="0">
                <a:pos x="connsiteX2474" y="connsiteY2474"/>
              </a:cxn>
              <a:cxn ang="0">
                <a:pos x="connsiteX2475" y="connsiteY2475"/>
              </a:cxn>
              <a:cxn ang="0">
                <a:pos x="connsiteX2476" y="connsiteY2476"/>
              </a:cxn>
              <a:cxn ang="0">
                <a:pos x="connsiteX2477" y="connsiteY2477"/>
              </a:cxn>
              <a:cxn ang="0">
                <a:pos x="connsiteX2478" y="connsiteY2478"/>
              </a:cxn>
              <a:cxn ang="0">
                <a:pos x="connsiteX2479" y="connsiteY2479"/>
              </a:cxn>
              <a:cxn ang="0">
                <a:pos x="connsiteX2480" y="connsiteY2480"/>
              </a:cxn>
              <a:cxn ang="0">
                <a:pos x="connsiteX2481" y="connsiteY2481"/>
              </a:cxn>
              <a:cxn ang="0">
                <a:pos x="connsiteX2482" y="connsiteY2482"/>
              </a:cxn>
              <a:cxn ang="0">
                <a:pos x="connsiteX2483" y="connsiteY2483"/>
              </a:cxn>
              <a:cxn ang="0">
                <a:pos x="connsiteX2484" y="connsiteY2484"/>
              </a:cxn>
              <a:cxn ang="0">
                <a:pos x="connsiteX2485" y="connsiteY2485"/>
              </a:cxn>
              <a:cxn ang="0">
                <a:pos x="connsiteX2486" y="connsiteY2486"/>
              </a:cxn>
              <a:cxn ang="0">
                <a:pos x="connsiteX2487" y="connsiteY2487"/>
              </a:cxn>
              <a:cxn ang="0">
                <a:pos x="connsiteX2488" y="connsiteY2488"/>
              </a:cxn>
              <a:cxn ang="0">
                <a:pos x="connsiteX2489" y="connsiteY2489"/>
              </a:cxn>
              <a:cxn ang="0">
                <a:pos x="connsiteX2490" y="connsiteY2490"/>
              </a:cxn>
              <a:cxn ang="0">
                <a:pos x="connsiteX2491" y="connsiteY2491"/>
              </a:cxn>
              <a:cxn ang="0">
                <a:pos x="connsiteX2492" y="connsiteY2492"/>
              </a:cxn>
              <a:cxn ang="0">
                <a:pos x="connsiteX2493" y="connsiteY2493"/>
              </a:cxn>
              <a:cxn ang="0">
                <a:pos x="connsiteX2494" y="connsiteY2494"/>
              </a:cxn>
              <a:cxn ang="0">
                <a:pos x="connsiteX2495" y="connsiteY2495"/>
              </a:cxn>
              <a:cxn ang="0">
                <a:pos x="connsiteX2496" y="connsiteY2496"/>
              </a:cxn>
              <a:cxn ang="0">
                <a:pos x="connsiteX2497" y="connsiteY2497"/>
              </a:cxn>
              <a:cxn ang="0">
                <a:pos x="connsiteX2498" y="connsiteY2498"/>
              </a:cxn>
              <a:cxn ang="0">
                <a:pos x="connsiteX2499" y="connsiteY2499"/>
              </a:cxn>
              <a:cxn ang="0">
                <a:pos x="connsiteX2500" y="connsiteY2500"/>
              </a:cxn>
              <a:cxn ang="0">
                <a:pos x="connsiteX2501" y="connsiteY2501"/>
              </a:cxn>
              <a:cxn ang="0">
                <a:pos x="connsiteX2502" y="connsiteY2502"/>
              </a:cxn>
              <a:cxn ang="0">
                <a:pos x="connsiteX2503" y="connsiteY2503"/>
              </a:cxn>
              <a:cxn ang="0">
                <a:pos x="connsiteX2504" y="connsiteY2504"/>
              </a:cxn>
              <a:cxn ang="0">
                <a:pos x="connsiteX2505" y="connsiteY2505"/>
              </a:cxn>
              <a:cxn ang="0">
                <a:pos x="connsiteX2506" y="connsiteY2506"/>
              </a:cxn>
              <a:cxn ang="0">
                <a:pos x="connsiteX2507" y="connsiteY2507"/>
              </a:cxn>
              <a:cxn ang="0">
                <a:pos x="connsiteX2508" y="connsiteY2508"/>
              </a:cxn>
              <a:cxn ang="0">
                <a:pos x="connsiteX2509" y="connsiteY2509"/>
              </a:cxn>
              <a:cxn ang="0">
                <a:pos x="connsiteX2510" y="connsiteY2510"/>
              </a:cxn>
              <a:cxn ang="0">
                <a:pos x="connsiteX2511" y="connsiteY2511"/>
              </a:cxn>
              <a:cxn ang="0">
                <a:pos x="connsiteX2512" y="connsiteY2512"/>
              </a:cxn>
              <a:cxn ang="0">
                <a:pos x="connsiteX2513" y="connsiteY2513"/>
              </a:cxn>
              <a:cxn ang="0">
                <a:pos x="connsiteX2514" y="connsiteY2514"/>
              </a:cxn>
              <a:cxn ang="0">
                <a:pos x="connsiteX2515" y="connsiteY2515"/>
              </a:cxn>
              <a:cxn ang="0">
                <a:pos x="connsiteX2516" y="connsiteY2516"/>
              </a:cxn>
              <a:cxn ang="0">
                <a:pos x="connsiteX2517" y="connsiteY2517"/>
              </a:cxn>
              <a:cxn ang="0">
                <a:pos x="connsiteX2518" y="connsiteY2518"/>
              </a:cxn>
              <a:cxn ang="0">
                <a:pos x="connsiteX2519" y="connsiteY2519"/>
              </a:cxn>
              <a:cxn ang="0">
                <a:pos x="connsiteX2520" y="connsiteY2520"/>
              </a:cxn>
              <a:cxn ang="0">
                <a:pos x="connsiteX2521" y="connsiteY2521"/>
              </a:cxn>
              <a:cxn ang="0">
                <a:pos x="connsiteX2522" y="connsiteY2522"/>
              </a:cxn>
              <a:cxn ang="0">
                <a:pos x="connsiteX2523" y="connsiteY2523"/>
              </a:cxn>
              <a:cxn ang="0">
                <a:pos x="connsiteX2524" y="connsiteY2524"/>
              </a:cxn>
              <a:cxn ang="0">
                <a:pos x="connsiteX2525" y="connsiteY2525"/>
              </a:cxn>
              <a:cxn ang="0">
                <a:pos x="connsiteX2526" y="connsiteY2526"/>
              </a:cxn>
              <a:cxn ang="0">
                <a:pos x="connsiteX2527" y="connsiteY2527"/>
              </a:cxn>
              <a:cxn ang="0">
                <a:pos x="connsiteX2528" y="connsiteY2528"/>
              </a:cxn>
              <a:cxn ang="0">
                <a:pos x="connsiteX2529" y="connsiteY2529"/>
              </a:cxn>
              <a:cxn ang="0">
                <a:pos x="connsiteX2530" y="connsiteY2530"/>
              </a:cxn>
              <a:cxn ang="0">
                <a:pos x="connsiteX2531" y="connsiteY2531"/>
              </a:cxn>
              <a:cxn ang="0">
                <a:pos x="connsiteX2532" y="connsiteY2532"/>
              </a:cxn>
              <a:cxn ang="0">
                <a:pos x="connsiteX2533" y="connsiteY2533"/>
              </a:cxn>
              <a:cxn ang="0">
                <a:pos x="connsiteX2534" y="connsiteY2534"/>
              </a:cxn>
              <a:cxn ang="0">
                <a:pos x="connsiteX2535" y="connsiteY2535"/>
              </a:cxn>
              <a:cxn ang="0">
                <a:pos x="connsiteX2536" y="connsiteY2536"/>
              </a:cxn>
              <a:cxn ang="0">
                <a:pos x="connsiteX2537" y="connsiteY2537"/>
              </a:cxn>
              <a:cxn ang="0">
                <a:pos x="connsiteX2538" y="connsiteY2538"/>
              </a:cxn>
              <a:cxn ang="0">
                <a:pos x="connsiteX2539" y="connsiteY2539"/>
              </a:cxn>
              <a:cxn ang="0">
                <a:pos x="connsiteX2540" y="connsiteY2540"/>
              </a:cxn>
              <a:cxn ang="0">
                <a:pos x="connsiteX2541" y="connsiteY2541"/>
              </a:cxn>
              <a:cxn ang="0">
                <a:pos x="connsiteX2542" y="connsiteY2542"/>
              </a:cxn>
              <a:cxn ang="0">
                <a:pos x="connsiteX2543" y="connsiteY2543"/>
              </a:cxn>
              <a:cxn ang="0">
                <a:pos x="connsiteX2544" y="connsiteY2544"/>
              </a:cxn>
              <a:cxn ang="0">
                <a:pos x="connsiteX2545" y="connsiteY2545"/>
              </a:cxn>
              <a:cxn ang="0">
                <a:pos x="connsiteX2546" y="connsiteY2546"/>
              </a:cxn>
              <a:cxn ang="0">
                <a:pos x="connsiteX2547" y="connsiteY2547"/>
              </a:cxn>
              <a:cxn ang="0">
                <a:pos x="connsiteX2548" y="connsiteY2548"/>
              </a:cxn>
              <a:cxn ang="0">
                <a:pos x="connsiteX2549" y="connsiteY2549"/>
              </a:cxn>
              <a:cxn ang="0">
                <a:pos x="connsiteX2550" y="connsiteY2550"/>
              </a:cxn>
              <a:cxn ang="0">
                <a:pos x="connsiteX2551" y="connsiteY2551"/>
              </a:cxn>
              <a:cxn ang="0">
                <a:pos x="connsiteX2552" y="connsiteY2552"/>
              </a:cxn>
              <a:cxn ang="0">
                <a:pos x="connsiteX2553" y="connsiteY2553"/>
              </a:cxn>
              <a:cxn ang="0">
                <a:pos x="connsiteX2554" y="connsiteY2554"/>
              </a:cxn>
              <a:cxn ang="0">
                <a:pos x="connsiteX2555" y="connsiteY2555"/>
              </a:cxn>
              <a:cxn ang="0">
                <a:pos x="connsiteX2556" y="connsiteY2556"/>
              </a:cxn>
              <a:cxn ang="0">
                <a:pos x="connsiteX2557" y="connsiteY2557"/>
              </a:cxn>
              <a:cxn ang="0">
                <a:pos x="connsiteX2558" y="connsiteY2558"/>
              </a:cxn>
              <a:cxn ang="0">
                <a:pos x="connsiteX2559" y="connsiteY2559"/>
              </a:cxn>
              <a:cxn ang="0">
                <a:pos x="connsiteX2560" y="connsiteY2560"/>
              </a:cxn>
              <a:cxn ang="0">
                <a:pos x="connsiteX2561" y="connsiteY2561"/>
              </a:cxn>
              <a:cxn ang="0">
                <a:pos x="connsiteX2562" y="connsiteY2562"/>
              </a:cxn>
              <a:cxn ang="0">
                <a:pos x="connsiteX2563" y="connsiteY2563"/>
              </a:cxn>
              <a:cxn ang="0">
                <a:pos x="connsiteX2564" y="connsiteY2564"/>
              </a:cxn>
              <a:cxn ang="0">
                <a:pos x="connsiteX2565" y="connsiteY2565"/>
              </a:cxn>
              <a:cxn ang="0">
                <a:pos x="connsiteX2566" y="connsiteY2566"/>
              </a:cxn>
              <a:cxn ang="0">
                <a:pos x="connsiteX2567" y="connsiteY2567"/>
              </a:cxn>
              <a:cxn ang="0">
                <a:pos x="connsiteX2568" y="connsiteY2568"/>
              </a:cxn>
              <a:cxn ang="0">
                <a:pos x="connsiteX2569" y="connsiteY2569"/>
              </a:cxn>
              <a:cxn ang="0">
                <a:pos x="connsiteX2570" y="connsiteY2570"/>
              </a:cxn>
              <a:cxn ang="0">
                <a:pos x="connsiteX2571" y="connsiteY2571"/>
              </a:cxn>
              <a:cxn ang="0">
                <a:pos x="connsiteX2572" y="connsiteY2572"/>
              </a:cxn>
              <a:cxn ang="0">
                <a:pos x="connsiteX2573" y="connsiteY2573"/>
              </a:cxn>
              <a:cxn ang="0">
                <a:pos x="connsiteX2574" y="connsiteY2574"/>
              </a:cxn>
              <a:cxn ang="0">
                <a:pos x="connsiteX2575" y="connsiteY2575"/>
              </a:cxn>
              <a:cxn ang="0">
                <a:pos x="connsiteX2576" y="connsiteY2576"/>
              </a:cxn>
              <a:cxn ang="0">
                <a:pos x="connsiteX2577" y="connsiteY2577"/>
              </a:cxn>
              <a:cxn ang="0">
                <a:pos x="connsiteX2578" y="connsiteY2578"/>
              </a:cxn>
              <a:cxn ang="0">
                <a:pos x="connsiteX2579" y="connsiteY2579"/>
              </a:cxn>
              <a:cxn ang="0">
                <a:pos x="connsiteX2580" y="connsiteY2580"/>
              </a:cxn>
              <a:cxn ang="0">
                <a:pos x="connsiteX2581" y="connsiteY2581"/>
              </a:cxn>
              <a:cxn ang="0">
                <a:pos x="connsiteX2582" y="connsiteY2582"/>
              </a:cxn>
              <a:cxn ang="0">
                <a:pos x="connsiteX2583" y="connsiteY2583"/>
              </a:cxn>
              <a:cxn ang="0">
                <a:pos x="connsiteX2584" y="connsiteY2584"/>
              </a:cxn>
              <a:cxn ang="0">
                <a:pos x="connsiteX2585" y="connsiteY2585"/>
              </a:cxn>
              <a:cxn ang="0">
                <a:pos x="connsiteX2586" y="connsiteY2586"/>
              </a:cxn>
              <a:cxn ang="0">
                <a:pos x="connsiteX2587" y="connsiteY2587"/>
              </a:cxn>
              <a:cxn ang="0">
                <a:pos x="connsiteX2588" y="connsiteY2588"/>
              </a:cxn>
              <a:cxn ang="0">
                <a:pos x="connsiteX2589" y="connsiteY2589"/>
              </a:cxn>
              <a:cxn ang="0">
                <a:pos x="connsiteX2590" y="connsiteY2590"/>
              </a:cxn>
              <a:cxn ang="0">
                <a:pos x="connsiteX2591" y="connsiteY2591"/>
              </a:cxn>
              <a:cxn ang="0">
                <a:pos x="connsiteX2592" y="connsiteY2592"/>
              </a:cxn>
              <a:cxn ang="0">
                <a:pos x="connsiteX2593" y="connsiteY2593"/>
              </a:cxn>
              <a:cxn ang="0">
                <a:pos x="connsiteX2594" y="connsiteY2594"/>
              </a:cxn>
              <a:cxn ang="0">
                <a:pos x="connsiteX2595" y="connsiteY2595"/>
              </a:cxn>
              <a:cxn ang="0">
                <a:pos x="connsiteX2596" y="connsiteY2596"/>
              </a:cxn>
              <a:cxn ang="0">
                <a:pos x="connsiteX2597" y="connsiteY2597"/>
              </a:cxn>
              <a:cxn ang="0">
                <a:pos x="connsiteX2598" y="connsiteY2598"/>
              </a:cxn>
              <a:cxn ang="0">
                <a:pos x="connsiteX2599" y="connsiteY2599"/>
              </a:cxn>
              <a:cxn ang="0">
                <a:pos x="connsiteX2600" y="connsiteY2600"/>
              </a:cxn>
              <a:cxn ang="0">
                <a:pos x="connsiteX2601" y="connsiteY2601"/>
              </a:cxn>
              <a:cxn ang="0">
                <a:pos x="connsiteX2602" y="connsiteY2602"/>
              </a:cxn>
              <a:cxn ang="0">
                <a:pos x="connsiteX2603" y="connsiteY2603"/>
              </a:cxn>
              <a:cxn ang="0">
                <a:pos x="connsiteX2604" y="connsiteY2604"/>
              </a:cxn>
              <a:cxn ang="0">
                <a:pos x="connsiteX2605" y="connsiteY2605"/>
              </a:cxn>
              <a:cxn ang="0">
                <a:pos x="connsiteX2606" y="connsiteY2606"/>
              </a:cxn>
              <a:cxn ang="0">
                <a:pos x="connsiteX2607" y="connsiteY2607"/>
              </a:cxn>
              <a:cxn ang="0">
                <a:pos x="connsiteX2608" y="connsiteY2608"/>
              </a:cxn>
              <a:cxn ang="0">
                <a:pos x="connsiteX2609" y="connsiteY2609"/>
              </a:cxn>
              <a:cxn ang="0">
                <a:pos x="connsiteX2610" y="connsiteY2610"/>
              </a:cxn>
              <a:cxn ang="0">
                <a:pos x="connsiteX2611" y="connsiteY2611"/>
              </a:cxn>
              <a:cxn ang="0">
                <a:pos x="connsiteX2612" y="connsiteY2612"/>
              </a:cxn>
              <a:cxn ang="0">
                <a:pos x="connsiteX2613" y="connsiteY2613"/>
              </a:cxn>
              <a:cxn ang="0">
                <a:pos x="connsiteX2614" y="connsiteY2614"/>
              </a:cxn>
              <a:cxn ang="0">
                <a:pos x="connsiteX2615" y="connsiteY2615"/>
              </a:cxn>
              <a:cxn ang="0">
                <a:pos x="connsiteX2616" y="connsiteY2616"/>
              </a:cxn>
              <a:cxn ang="0">
                <a:pos x="connsiteX2617" y="connsiteY2617"/>
              </a:cxn>
              <a:cxn ang="0">
                <a:pos x="connsiteX2618" y="connsiteY2618"/>
              </a:cxn>
              <a:cxn ang="0">
                <a:pos x="connsiteX2619" y="connsiteY2619"/>
              </a:cxn>
              <a:cxn ang="0">
                <a:pos x="connsiteX2620" y="connsiteY2620"/>
              </a:cxn>
              <a:cxn ang="0">
                <a:pos x="connsiteX2621" y="connsiteY2621"/>
              </a:cxn>
              <a:cxn ang="0">
                <a:pos x="connsiteX2622" y="connsiteY2622"/>
              </a:cxn>
              <a:cxn ang="0">
                <a:pos x="connsiteX2623" y="connsiteY2623"/>
              </a:cxn>
              <a:cxn ang="0">
                <a:pos x="connsiteX2624" y="connsiteY2624"/>
              </a:cxn>
              <a:cxn ang="0">
                <a:pos x="connsiteX2625" y="connsiteY2625"/>
              </a:cxn>
              <a:cxn ang="0">
                <a:pos x="connsiteX2626" y="connsiteY2626"/>
              </a:cxn>
              <a:cxn ang="0">
                <a:pos x="connsiteX2627" y="connsiteY2627"/>
              </a:cxn>
              <a:cxn ang="0">
                <a:pos x="connsiteX2628" y="connsiteY2628"/>
              </a:cxn>
              <a:cxn ang="0">
                <a:pos x="connsiteX2629" y="connsiteY2629"/>
              </a:cxn>
              <a:cxn ang="0">
                <a:pos x="connsiteX2630" y="connsiteY2630"/>
              </a:cxn>
              <a:cxn ang="0">
                <a:pos x="connsiteX2631" y="connsiteY2631"/>
              </a:cxn>
              <a:cxn ang="0">
                <a:pos x="connsiteX2632" y="connsiteY2632"/>
              </a:cxn>
              <a:cxn ang="0">
                <a:pos x="connsiteX2633" y="connsiteY2633"/>
              </a:cxn>
              <a:cxn ang="0">
                <a:pos x="connsiteX2634" y="connsiteY2634"/>
              </a:cxn>
              <a:cxn ang="0">
                <a:pos x="connsiteX2635" y="connsiteY2635"/>
              </a:cxn>
              <a:cxn ang="0">
                <a:pos x="connsiteX2636" y="connsiteY2636"/>
              </a:cxn>
              <a:cxn ang="0">
                <a:pos x="connsiteX2637" y="connsiteY2637"/>
              </a:cxn>
              <a:cxn ang="0">
                <a:pos x="connsiteX2638" y="connsiteY2638"/>
              </a:cxn>
              <a:cxn ang="0">
                <a:pos x="connsiteX2639" y="connsiteY2639"/>
              </a:cxn>
              <a:cxn ang="0">
                <a:pos x="connsiteX2640" y="connsiteY2640"/>
              </a:cxn>
              <a:cxn ang="0">
                <a:pos x="connsiteX2641" y="connsiteY2641"/>
              </a:cxn>
              <a:cxn ang="0">
                <a:pos x="connsiteX2642" y="connsiteY2642"/>
              </a:cxn>
              <a:cxn ang="0">
                <a:pos x="connsiteX2643" y="connsiteY2643"/>
              </a:cxn>
              <a:cxn ang="0">
                <a:pos x="connsiteX2644" y="connsiteY2644"/>
              </a:cxn>
              <a:cxn ang="0">
                <a:pos x="connsiteX2645" y="connsiteY2645"/>
              </a:cxn>
              <a:cxn ang="0">
                <a:pos x="connsiteX2646" y="connsiteY2646"/>
              </a:cxn>
              <a:cxn ang="0">
                <a:pos x="connsiteX2647" y="connsiteY2647"/>
              </a:cxn>
              <a:cxn ang="0">
                <a:pos x="connsiteX2648" y="connsiteY2648"/>
              </a:cxn>
              <a:cxn ang="0">
                <a:pos x="connsiteX2649" y="connsiteY2649"/>
              </a:cxn>
              <a:cxn ang="0">
                <a:pos x="connsiteX2650" y="connsiteY2650"/>
              </a:cxn>
              <a:cxn ang="0">
                <a:pos x="connsiteX2651" y="connsiteY2651"/>
              </a:cxn>
              <a:cxn ang="0">
                <a:pos x="connsiteX2652" y="connsiteY2652"/>
              </a:cxn>
              <a:cxn ang="0">
                <a:pos x="connsiteX2653" y="connsiteY2653"/>
              </a:cxn>
              <a:cxn ang="0">
                <a:pos x="connsiteX2654" y="connsiteY2654"/>
              </a:cxn>
              <a:cxn ang="0">
                <a:pos x="connsiteX2655" y="connsiteY2655"/>
              </a:cxn>
              <a:cxn ang="0">
                <a:pos x="connsiteX2656" y="connsiteY2656"/>
              </a:cxn>
              <a:cxn ang="0">
                <a:pos x="connsiteX2657" y="connsiteY2657"/>
              </a:cxn>
              <a:cxn ang="0">
                <a:pos x="connsiteX2658" y="connsiteY2658"/>
              </a:cxn>
              <a:cxn ang="0">
                <a:pos x="connsiteX2659" y="connsiteY2659"/>
              </a:cxn>
              <a:cxn ang="0">
                <a:pos x="connsiteX2660" y="connsiteY2660"/>
              </a:cxn>
              <a:cxn ang="0">
                <a:pos x="connsiteX2661" y="connsiteY2661"/>
              </a:cxn>
              <a:cxn ang="0">
                <a:pos x="connsiteX2662" y="connsiteY2662"/>
              </a:cxn>
              <a:cxn ang="0">
                <a:pos x="connsiteX2663" y="connsiteY2663"/>
              </a:cxn>
              <a:cxn ang="0">
                <a:pos x="connsiteX2664" y="connsiteY2664"/>
              </a:cxn>
              <a:cxn ang="0">
                <a:pos x="connsiteX2665" y="connsiteY2665"/>
              </a:cxn>
              <a:cxn ang="0">
                <a:pos x="connsiteX2666" y="connsiteY2666"/>
              </a:cxn>
              <a:cxn ang="0">
                <a:pos x="connsiteX2667" y="connsiteY2667"/>
              </a:cxn>
              <a:cxn ang="0">
                <a:pos x="connsiteX2668" y="connsiteY2668"/>
              </a:cxn>
              <a:cxn ang="0">
                <a:pos x="connsiteX2669" y="connsiteY2669"/>
              </a:cxn>
              <a:cxn ang="0">
                <a:pos x="connsiteX2670" y="connsiteY2670"/>
              </a:cxn>
              <a:cxn ang="0">
                <a:pos x="connsiteX2671" y="connsiteY2671"/>
              </a:cxn>
              <a:cxn ang="0">
                <a:pos x="connsiteX2672" y="connsiteY2672"/>
              </a:cxn>
              <a:cxn ang="0">
                <a:pos x="connsiteX2673" y="connsiteY2673"/>
              </a:cxn>
              <a:cxn ang="0">
                <a:pos x="connsiteX2674" y="connsiteY2674"/>
              </a:cxn>
              <a:cxn ang="0">
                <a:pos x="connsiteX2675" y="connsiteY2675"/>
              </a:cxn>
              <a:cxn ang="0">
                <a:pos x="connsiteX2676" y="connsiteY2676"/>
              </a:cxn>
              <a:cxn ang="0">
                <a:pos x="connsiteX2677" y="connsiteY2677"/>
              </a:cxn>
              <a:cxn ang="0">
                <a:pos x="connsiteX2678" y="connsiteY2678"/>
              </a:cxn>
              <a:cxn ang="0">
                <a:pos x="connsiteX2679" y="connsiteY2679"/>
              </a:cxn>
              <a:cxn ang="0">
                <a:pos x="connsiteX2680" y="connsiteY2680"/>
              </a:cxn>
              <a:cxn ang="0">
                <a:pos x="connsiteX2681" y="connsiteY2681"/>
              </a:cxn>
              <a:cxn ang="0">
                <a:pos x="connsiteX2682" y="connsiteY2682"/>
              </a:cxn>
              <a:cxn ang="0">
                <a:pos x="connsiteX2683" y="connsiteY2683"/>
              </a:cxn>
              <a:cxn ang="0">
                <a:pos x="connsiteX2684" y="connsiteY2684"/>
              </a:cxn>
              <a:cxn ang="0">
                <a:pos x="connsiteX2685" y="connsiteY2685"/>
              </a:cxn>
              <a:cxn ang="0">
                <a:pos x="connsiteX2686" y="connsiteY2686"/>
              </a:cxn>
              <a:cxn ang="0">
                <a:pos x="connsiteX2687" y="connsiteY2687"/>
              </a:cxn>
              <a:cxn ang="0">
                <a:pos x="connsiteX2688" y="connsiteY2688"/>
              </a:cxn>
              <a:cxn ang="0">
                <a:pos x="connsiteX2689" y="connsiteY2689"/>
              </a:cxn>
              <a:cxn ang="0">
                <a:pos x="connsiteX2690" y="connsiteY2690"/>
              </a:cxn>
              <a:cxn ang="0">
                <a:pos x="connsiteX2691" y="connsiteY2691"/>
              </a:cxn>
              <a:cxn ang="0">
                <a:pos x="connsiteX2692" y="connsiteY2692"/>
              </a:cxn>
              <a:cxn ang="0">
                <a:pos x="connsiteX2693" y="connsiteY2693"/>
              </a:cxn>
              <a:cxn ang="0">
                <a:pos x="connsiteX2694" y="connsiteY2694"/>
              </a:cxn>
              <a:cxn ang="0">
                <a:pos x="connsiteX2695" y="connsiteY2695"/>
              </a:cxn>
              <a:cxn ang="0">
                <a:pos x="connsiteX2696" y="connsiteY2696"/>
              </a:cxn>
              <a:cxn ang="0">
                <a:pos x="connsiteX2697" y="connsiteY2697"/>
              </a:cxn>
              <a:cxn ang="0">
                <a:pos x="connsiteX2698" y="connsiteY2698"/>
              </a:cxn>
              <a:cxn ang="0">
                <a:pos x="connsiteX2699" y="connsiteY2699"/>
              </a:cxn>
              <a:cxn ang="0">
                <a:pos x="connsiteX2700" y="connsiteY2700"/>
              </a:cxn>
              <a:cxn ang="0">
                <a:pos x="connsiteX2701" y="connsiteY2701"/>
              </a:cxn>
              <a:cxn ang="0">
                <a:pos x="connsiteX2702" y="connsiteY2702"/>
              </a:cxn>
              <a:cxn ang="0">
                <a:pos x="connsiteX2703" y="connsiteY2703"/>
              </a:cxn>
              <a:cxn ang="0">
                <a:pos x="connsiteX2704" y="connsiteY2704"/>
              </a:cxn>
              <a:cxn ang="0">
                <a:pos x="connsiteX2705" y="connsiteY2705"/>
              </a:cxn>
              <a:cxn ang="0">
                <a:pos x="connsiteX2706" y="connsiteY2706"/>
              </a:cxn>
              <a:cxn ang="0">
                <a:pos x="connsiteX2707" y="connsiteY2707"/>
              </a:cxn>
              <a:cxn ang="0">
                <a:pos x="connsiteX2708" y="connsiteY2708"/>
              </a:cxn>
              <a:cxn ang="0">
                <a:pos x="connsiteX2709" y="connsiteY2709"/>
              </a:cxn>
              <a:cxn ang="0">
                <a:pos x="connsiteX2710" y="connsiteY2710"/>
              </a:cxn>
              <a:cxn ang="0">
                <a:pos x="connsiteX2711" y="connsiteY2711"/>
              </a:cxn>
              <a:cxn ang="0">
                <a:pos x="connsiteX2712" y="connsiteY2712"/>
              </a:cxn>
              <a:cxn ang="0">
                <a:pos x="connsiteX2713" y="connsiteY2713"/>
              </a:cxn>
              <a:cxn ang="0">
                <a:pos x="connsiteX2714" y="connsiteY2714"/>
              </a:cxn>
              <a:cxn ang="0">
                <a:pos x="connsiteX2715" y="connsiteY2715"/>
              </a:cxn>
              <a:cxn ang="0">
                <a:pos x="connsiteX2716" y="connsiteY2716"/>
              </a:cxn>
              <a:cxn ang="0">
                <a:pos x="connsiteX2717" y="connsiteY2717"/>
              </a:cxn>
              <a:cxn ang="0">
                <a:pos x="connsiteX2718" y="connsiteY2718"/>
              </a:cxn>
              <a:cxn ang="0">
                <a:pos x="connsiteX2719" y="connsiteY2719"/>
              </a:cxn>
              <a:cxn ang="0">
                <a:pos x="connsiteX2720" y="connsiteY2720"/>
              </a:cxn>
              <a:cxn ang="0">
                <a:pos x="connsiteX2721" y="connsiteY2721"/>
              </a:cxn>
              <a:cxn ang="0">
                <a:pos x="connsiteX2722" y="connsiteY2722"/>
              </a:cxn>
              <a:cxn ang="0">
                <a:pos x="connsiteX2723" y="connsiteY2723"/>
              </a:cxn>
              <a:cxn ang="0">
                <a:pos x="connsiteX2724" y="connsiteY2724"/>
              </a:cxn>
              <a:cxn ang="0">
                <a:pos x="connsiteX2725" y="connsiteY2725"/>
              </a:cxn>
              <a:cxn ang="0">
                <a:pos x="connsiteX2726" y="connsiteY2726"/>
              </a:cxn>
              <a:cxn ang="0">
                <a:pos x="connsiteX2727" y="connsiteY2727"/>
              </a:cxn>
              <a:cxn ang="0">
                <a:pos x="connsiteX2728" y="connsiteY2728"/>
              </a:cxn>
              <a:cxn ang="0">
                <a:pos x="connsiteX2729" y="connsiteY2729"/>
              </a:cxn>
              <a:cxn ang="0">
                <a:pos x="connsiteX2730" y="connsiteY2730"/>
              </a:cxn>
              <a:cxn ang="0">
                <a:pos x="connsiteX2731" y="connsiteY2731"/>
              </a:cxn>
              <a:cxn ang="0">
                <a:pos x="connsiteX2732" y="connsiteY2732"/>
              </a:cxn>
              <a:cxn ang="0">
                <a:pos x="connsiteX2733" y="connsiteY2733"/>
              </a:cxn>
              <a:cxn ang="0">
                <a:pos x="connsiteX2734" y="connsiteY2734"/>
              </a:cxn>
              <a:cxn ang="0">
                <a:pos x="connsiteX2735" y="connsiteY2735"/>
              </a:cxn>
              <a:cxn ang="0">
                <a:pos x="connsiteX2736" y="connsiteY2736"/>
              </a:cxn>
              <a:cxn ang="0">
                <a:pos x="connsiteX2737" y="connsiteY2737"/>
              </a:cxn>
              <a:cxn ang="0">
                <a:pos x="connsiteX2738" y="connsiteY2738"/>
              </a:cxn>
              <a:cxn ang="0">
                <a:pos x="connsiteX2739" y="connsiteY2739"/>
              </a:cxn>
              <a:cxn ang="0">
                <a:pos x="connsiteX2740" y="connsiteY2740"/>
              </a:cxn>
              <a:cxn ang="0">
                <a:pos x="connsiteX2741" y="connsiteY2741"/>
              </a:cxn>
              <a:cxn ang="0">
                <a:pos x="connsiteX2742" y="connsiteY2742"/>
              </a:cxn>
              <a:cxn ang="0">
                <a:pos x="connsiteX2743" y="connsiteY2743"/>
              </a:cxn>
              <a:cxn ang="0">
                <a:pos x="connsiteX2744" y="connsiteY2744"/>
              </a:cxn>
              <a:cxn ang="0">
                <a:pos x="connsiteX2745" y="connsiteY2745"/>
              </a:cxn>
              <a:cxn ang="0">
                <a:pos x="connsiteX2746" y="connsiteY2746"/>
              </a:cxn>
              <a:cxn ang="0">
                <a:pos x="connsiteX2747" y="connsiteY2747"/>
              </a:cxn>
              <a:cxn ang="0">
                <a:pos x="connsiteX2748" y="connsiteY2748"/>
              </a:cxn>
              <a:cxn ang="0">
                <a:pos x="connsiteX2749" y="connsiteY2749"/>
              </a:cxn>
              <a:cxn ang="0">
                <a:pos x="connsiteX2750" y="connsiteY2750"/>
              </a:cxn>
              <a:cxn ang="0">
                <a:pos x="connsiteX2751" y="connsiteY2751"/>
              </a:cxn>
              <a:cxn ang="0">
                <a:pos x="connsiteX2752" y="connsiteY2752"/>
              </a:cxn>
              <a:cxn ang="0">
                <a:pos x="connsiteX2753" y="connsiteY2753"/>
              </a:cxn>
              <a:cxn ang="0">
                <a:pos x="connsiteX2754" y="connsiteY2754"/>
              </a:cxn>
              <a:cxn ang="0">
                <a:pos x="connsiteX2755" y="connsiteY2755"/>
              </a:cxn>
              <a:cxn ang="0">
                <a:pos x="connsiteX2756" y="connsiteY2756"/>
              </a:cxn>
              <a:cxn ang="0">
                <a:pos x="connsiteX2757" y="connsiteY2757"/>
              </a:cxn>
              <a:cxn ang="0">
                <a:pos x="connsiteX2758" y="connsiteY2758"/>
              </a:cxn>
              <a:cxn ang="0">
                <a:pos x="connsiteX2759" y="connsiteY2759"/>
              </a:cxn>
              <a:cxn ang="0">
                <a:pos x="connsiteX2760" y="connsiteY2760"/>
              </a:cxn>
              <a:cxn ang="0">
                <a:pos x="connsiteX2761" y="connsiteY2761"/>
              </a:cxn>
              <a:cxn ang="0">
                <a:pos x="connsiteX2762" y="connsiteY2762"/>
              </a:cxn>
              <a:cxn ang="0">
                <a:pos x="connsiteX2763" y="connsiteY2763"/>
              </a:cxn>
              <a:cxn ang="0">
                <a:pos x="connsiteX2764" y="connsiteY2764"/>
              </a:cxn>
              <a:cxn ang="0">
                <a:pos x="connsiteX2765" y="connsiteY2765"/>
              </a:cxn>
              <a:cxn ang="0">
                <a:pos x="connsiteX2766" y="connsiteY2766"/>
              </a:cxn>
              <a:cxn ang="0">
                <a:pos x="connsiteX2767" y="connsiteY2767"/>
              </a:cxn>
              <a:cxn ang="0">
                <a:pos x="connsiteX2768" y="connsiteY2768"/>
              </a:cxn>
              <a:cxn ang="0">
                <a:pos x="connsiteX2769" y="connsiteY2769"/>
              </a:cxn>
              <a:cxn ang="0">
                <a:pos x="connsiteX2770" y="connsiteY2770"/>
              </a:cxn>
              <a:cxn ang="0">
                <a:pos x="connsiteX2771" y="connsiteY2771"/>
              </a:cxn>
              <a:cxn ang="0">
                <a:pos x="connsiteX2772" y="connsiteY2772"/>
              </a:cxn>
              <a:cxn ang="0">
                <a:pos x="connsiteX2773" y="connsiteY2773"/>
              </a:cxn>
              <a:cxn ang="0">
                <a:pos x="connsiteX2774" y="connsiteY2774"/>
              </a:cxn>
              <a:cxn ang="0">
                <a:pos x="connsiteX2775" y="connsiteY2775"/>
              </a:cxn>
              <a:cxn ang="0">
                <a:pos x="connsiteX2776" y="connsiteY2776"/>
              </a:cxn>
              <a:cxn ang="0">
                <a:pos x="connsiteX2777" y="connsiteY2777"/>
              </a:cxn>
              <a:cxn ang="0">
                <a:pos x="connsiteX2778" y="connsiteY2778"/>
              </a:cxn>
              <a:cxn ang="0">
                <a:pos x="connsiteX2779" y="connsiteY2779"/>
              </a:cxn>
              <a:cxn ang="0">
                <a:pos x="connsiteX2780" y="connsiteY2780"/>
              </a:cxn>
              <a:cxn ang="0">
                <a:pos x="connsiteX2781" y="connsiteY2781"/>
              </a:cxn>
              <a:cxn ang="0">
                <a:pos x="connsiteX2782" y="connsiteY2782"/>
              </a:cxn>
              <a:cxn ang="0">
                <a:pos x="connsiteX2783" y="connsiteY2783"/>
              </a:cxn>
              <a:cxn ang="0">
                <a:pos x="connsiteX2784" y="connsiteY2784"/>
              </a:cxn>
              <a:cxn ang="0">
                <a:pos x="connsiteX2785" y="connsiteY2785"/>
              </a:cxn>
              <a:cxn ang="0">
                <a:pos x="connsiteX2786" y="connsiteY2786"/>
              </a:cxn>
              <a:cxn ang="0">
                <a:pos x="connsiteX2787" y="connsiteY2787"/>
              </a:cxn>
              <a:cxn ang="0">
                <a:pos x="connsiteX2788" y="connsiteY2788"/>
              </a:cxn>
              <a:cxn ang="0">
                <a:pos x="connsiteX2789" y="connsiteY2789"/>
              </a:cxn>
              <a:cxn ang="0">
                <a:pos x="connsiteX2790" y="connsiteY2790"/>
              </a:cxn>
              <a:cxn ang="0">
                <a:pos x="connsiteX2791" y="connsiteY2791"/>
              </a:cxn>
              <a:cxn ang="0">
                <a:pos x="connsiteX2792" y="connsiteY2792"/>
              </a:cxn>
              <a:cxn ang="0">
                <a:pos x="connsiteX2793" y="connsiteY2793"/>
              </a:cxn>
              <a:cxn ang="0">
                <a:pos x="connsiteX2794" y="connsiteY2794"/>
              </a:cxn>
              <a:cxn ang="0">
                <a:pos x="connsiteX2795" y="connsiteY2795"/>
              </a:cxn>
              <a:cxn ang="0">
                <a:pos x="connsiteX2796" y="connsiteY2796"/>
              </a:cxn>
              <a:cxn ang="0">
                <a:pos x="connsiteX2797" y="connsiteY2797"/>
              </a:cxn>
              <a:cxn ang="0">
                <a:pos x="connsiteX2798" y="connsiteY2798"/>
              </a:cxn>
              <a:cxn ang="0">
                <a:pos x="connsiteX2799" y="connsiteY2799"/>
              </a:cxn>
              <a:cxn ang="0">
                <a:pos x="connsiteX2800" y="connsiteY2800"/>
              </a:cxn>
              <a:cxn ang="0">
                <a:pos x="connsiteX2801" y="connsiteY2801"/>
              </a:cxn>
              <a:cxn ang="0">
                <a:pos x="connsiteX2802" y="connsiteY2802"/>
              </a:cxn>
              <a:cxn ang="0">
                <a:pos x="connsiteX2803" y="connsiteY2803"/>
              </a:cxn>
              <a:cxn ang="0">
                <a:pos x="connsiteX2804" y="connsiteY2804"/>
              </a:cxn>
              <a:cxn ang="0">
                <a:pos x="connsiteX2805" y="connsiteY2805"/>
              </a:cxn>
              <a:cxn ang="0">
                <a:pos x="connsiteX2806" y="connsiteY2806"/>
              </a:cxn>
              <a:cxn ang="0">
                <a:pos x="connsiteX2807" y="connsiteY2807"/>
              </a:cxn>
              <a:cxn ang="0">
                <a:pos x="connsiteX2808" y="connsiteY2808"/>
              </a:cxn>
              <a:cxn ang="0">
                <a:pos x="connsiteX2809" y="connsiteY2809"/>
              </a:cxn>
              <a:cxn ang="0">
                <a:pos x="connsiteX2810" y="connsiteY2810"/>
              </a:cxn>
              <a:cxn ang="0">
                <a:pos x="connsiteX2811" y="connsiteY2811"/>
              </a:cxn>
              <a:cxn ang="0">
                <a:pos x="connsiteX2812" y="connsiteY2812"/>
              </a:cxn>
              <a:cxn ang="0">
                <a:pos x="connsiteX2813" y="connsiteY2813"/>
              </a:cxn>
              <a:cxn ang="0">
                <a:pos x="connsiteX2814" y="connsiteY2814"/>
              </a:cxn>
              <a:cxn ang="0">
                <a:pos x="connsiteX2815" y="connsiteY2815"/>
              </a:cxn>
              <a:cxn ang="0">
                <a:pos x="connsiteX2816" y="connsiteY2816"/>
              </a:cxn>
              <a:cxn ang="0">
                <a:pos x="connsiteX2817" y="connsiteY2817"/>
              </a:cxn>
              <a:cxn ang="0">
                <a:pos x="connsiteX2818" y="connsiteY2818"/>
              </a:cxn>
              <a:cxn ang="0">
                <a:pos x="connsiteX2819" y="connsiteY2819"/>
              </a:cxn>
              <a:cxn ang="0">
                <a:pos x="connsiteX2820" y="connsiteY2820"/>
              </a:cxn>
              <a:cxn ang="0">
                <a:pos x="connsiteX2821" y="connsiteY2821"/>
              </a:cxn>
              <a:cxn ang="0">
                <a:pos x="connsiteX2822" y="connsiteY2822"/>
              </a:cxn>
              <a:cxn ang="0">
                <a:pos x="connsiteX2823" y="connsiteY2823"/>
              </a:cxn>
              <a:cxn ang="0">
                <a:pos x="connsiteX2824" y="connsiteY2824"/>
              </a:cxn>
              <a:cxn ang="0">
                <a:pos x="connsiteX2825" y="connsiteY2825"/>
              </a:cxn>
              <a:cxn ang="0">
                <a:pos x="connsiteX2826" y="connsiteY2826"/>
              </a:cxn>
              <a:cxn ang="0">
                <a:pos x="connsiteX2827" y="connsiteY2827"/>
              </a:cxn>
              <a:cxn ang="0">
                <a:pos x="connsiteX2828" y="connsiteY2828"/>
              </a:cxn>
              <a:cxn ang="0">
                <a:pos x="connsiteX2829" y="connsiteY2829"/>
              </a:cxn>
              <a:cxn ang="0">
                <a:pos x="connsiteX2830" y="connsiteY2830"/>
              </a:cxn>
              <a:cxn ang="0">
                <a:pos x="connsiteX2831" y="connsiteY2831"/>
              </a:cxn>
              <a:cxn ang="0">
                <a:pos x="connsiteX2832" y="connsiteY2832"/>
              </a:cxn>
              <a:cxn ang="0">
                <a:pos x="connsiteX2833" y="connsiteY2833"/>
              </a:cxn>
              <a:cxn ang="0">
                <a:pos x="connsiteX2834" y="connsiteY2834"/>
              </a:cxn>
              <a:cxn ang="0">
                <a:pos x="connsiteX2835" y="connsiteY2835"/>
              </a:cxn>
              <a:cxn ang="0">
                <a:pos x="connsiteX2836" y="connsiteY2836"/>
              </a:cxn>
              <a:cxn ang="0">
                <a:pos x="connsiteX2837" y="connsiteY2837"/>
              </a:cxn>
              <a:cxn ang="0">
                <a:pos x="connsiteX2838" y="connsiteY2838"/>
              </a:cxn>
              <a:cxn ang="0">
                <a:pos x="connsiteX2839" y="connsiteY2839"/>
              </a:cxn>
              <a:cxn ang="0">
                <a:pos x="connsiteX2840" y="connsiteY2840"/>
              </a:cxn>
              <a:cxn ang="0">
                <a:pos x="connsiteX2841" y="connsiteY2841"/>
              </a:cxn>
              <a:cxn ang="0">
                <a:pos x="connsiteX2842" y="connsiteY2842"/>
              </a:cxn>
              <a:cxn ang="0">
                <a:pos x="connsiteX2843" y="connsiteY2843"/>
              </a:cxn>
              <a:cxn ang="0">
                <a:pos x="connsiteX2844" y="connsiteY2844"/>
              </a:cxn>
              <a:cxn ang="0">
                <a:pos x="connsiteX2845" y="connsiteY2845"/>
              </a:cxn>
              <a:cxn ang="0">
                <a:pos x="connsiteX2846" y="connsiteY2846"/>
              </a:cxn>
              <a:cxn ang="0">
                <a:pos x="connsiteX2847" y="connsiteY2847"/>
              </a:cxn>
              <a:cxn ang="0">
                <a:pos x="connsiteX2848" y="connsiteY2848"/>
              </a:cxn>
              <a:cxn ang="0">
                <a:pos x="connsiteX2849" y="connsiteY2849"/>
              </a:cxn>
              <a:cxn ang="0">
                <a:pos x="connsiteX2850" y="connsiteY2850"/>
              </a:cxn>
              <a:cxn ang="0">
                <a:pos x="connsiteX2851" y="connsiteY2851"/>
              </a:cxn>
              <a:cxn ang="0">
                <a:pos x="connsiteX2852" y="connsiteY2852"/>
              </a:cxn>
              <a:cxn ang="0">
                <a:pos x="connsiteX2853" y="connsiteY2853"/>
              </a:cxn>
              <a:cxn ang="0">
                <a:pos x="connsiteX2854" y="connsiteY2854"/>
              </a:cxn>
              <a:cxn ang="0">
                <a:pos x="connsiteX2855" y="connsiteY2855"/>
              </a:cxn>
              <a:cxn ang="0">
                <a:pos x="connsiteX2856" y="connsiteY2856"/>
              </a:cxn>
              <a:cxn ang="0">
                <a:pos x="connsiteX2857" y="connsiteY2857"/>
              </a:cxn>
              <a:cxn ang="0">
                <a:pos x="connsiteX2858" y="connsiteY2858"/>
              </a:cxn>
              <a:cxn ang="0">
                <a:pos x="connsiteX2859" y="connsiteY2859"/>
              </a:cxn>
              <a:cxn ang="0">
                <a:pos x="connsiteX2860" y="connsiteY2860"/>
              </a:cxn>
              <a:cxn ang="0">
                <a:pos x="connsiteX2861" y="connsiteY2861"/>
              </a:cxn>
              <a:cxn ang="0">
                <a:pos x="connsiteX2862" y="connsiteY2862"/>
              </a:cxn>
              <a:cxn ang="0">
                <a:pos x="connsiteX2863" y="connsiteY2863"/>
              </a:cxn>
              <a:cxn ang="0">
                <a:pos x="connsiteX2864" y="connsiteY2864"/>
              </a:cxn>
              <a:cxn ang="0">
                <a:pos x="connsiteX2865" y="connsiteY2865"/>
              </a:cxn>
              <a:cxn ang="0">
                <a:pos x="connsiteX2866" y="connsiteY2866"/>
              </a:cxn>
              <a:cxn ang="0">
                <a:pos x="connsiteX2867" y="connsiteY2867"/>
              </a:cxn>
              <a:cxn ang="0">
                <a:pos x="connsiteX2868" y="connsiteY2868"/>
              </a:cxn>
              <a:cxn ang="0">
                <a:pos x="connsiteX2869" y="connsiteY2869"/>
              </a:cxn>
              <a:cxn ang="0">
                <a:pos x="connsiteX2870" y="connsiteY2870"/>
              </a:cxn>
              <a:cxn ang="0">
                <a:pos x="connsiteX2871" y="connsiteY2871"/>
              </a:cxn>
              <a:cxn ang="0">
                <a:pos x="connsiteX2872" y="connsiteY2872"/>
              </a:cxn>
              <a:cxn ang="0">
                <a:pos x="connsiteX2873" y="connsiteY2873"/>
              </a:cxn>
              <a:cxn ang="0">
                <a:pos x="connsiteX2874" y="connsiteY2874"/>
              </a:cxn>
              <a:cxn ang="0">
                <a:pos x="connsiteX2875" y="connsiteY2875"/>
              </a:cxn>
              <a:cxn ang="0">
                <a:pos x="connsiteX2876" y="connsiteY2876"/>
              </a:cxn>
              <a:cxn ang="0">
                <a:pos x="connsiteX2877" y="connsiteY2877"/>
              </a:cxn>
              <a:cxn ang="0">
                <a:pos x="connsiteX2878" y="connsiteY2878"/>
              </a:cxn>
              <a:cxn ang="0">
                <a:pos x="connsiteX2879" y="connsiteY2879"/>
              </a:cxn>
              <a:cxn ang="0">
                <a:pos x="connsiteX2880" y="connsiteY2880"/>
              </a:cxn>
              <a:cxn ang="0">
                <a:pos x="connsiteX2881" y="connsiteY2881"/>
              </a:cxn>
              <a:cxn ang="0">
                <a:pos x="connsiteX2882" y="connsiteY2882"/>
              </a:cxn>
              <a:cxn ang="0">
                <a:pos x="connsiteX2883" y="connsiteY2883"/>
              </a:cxn>
              <a:cxn ang="0">
                <a:pos x="connsiteX2884" y="connsiteY2884"/>
              </a:cxn>
              <a:cxn ang="0">
                <a:pos x="connsiteX2885" y="connsiteY2885"/>
              </a:cxn>
              <a:cxn ang="0">
                <a:pos x="connsiteX2886" y="connsiteY2886"/>
              </a:cxn>
              <a:cxn ang="0">
                <a:pos x="connsiteX2887" y="connsiteY2887"/>
              </a:cxn>
              <a:cxn ang="0">
                <a:pos x="connsiteX2888" y="connsiteY2888"/>
              </a:cxn>
              <a:cxn ang="0">
                <a:pos x="connsiteX2889" y="connsiteY2889"/>
              </a:cxn>
              <a:cxn ang="0">
                <a:pos x="connsiteX2890" y="connsiteY2890"/>
              </a:cxn>
              <a:cxn ang="0">
                <a:pos x="connsiteX2891" y="connsiteY2891"/>
              </a:cxn>
              <a:cxn ang="0">
                <a:pos x="connsiteX2892" y="connsiteY2892"/>
              </a:cxn>
              <a:cxn ang="0">
                <a:pos x="connsiteX2893" y="connsiteY2893"/>
              </a:cxn>
              <a:cxn ang="0">
                <a:pos x="connsiteX2894" y="connsiteY2894"/>
              </a:cxn>
              <a:cxn ang="0">
                <a:pos x="connsiteX2895" y="connsiteY2895"/>
              </a:cxn>
              <a:cxn ang="0">
                <a:pos x="connsiteX2896" y="connsiteY2896"/>
              </a:cxn>
              <a:cxn ang="0">
                <a:pos x="connsiteX2897" y="connsiteY2897"/>
              </a:cxn>
              <a:cxn ang="0">
                <a:pos x="connsiteX2898" y="connsiteY2898"/>
              </a:cxn>
              <a:cxn ang="0">
                <a:pos x="connsiteX2899" y="connsiteY2899"/>
              </a:cxn>
              <a:cxn ang="0">
                <a:pos x="connsiteX2900" y="connsiteY2900"/>
              </a:cxn>
              <a:cxn ang="0">
                <a:pos x="connsiteX2901" y="connsiteY2901"/>
              </a:cxn>
              <a:cxn ang="0">
                <a:pos x="connsiteX2902" y="connsiteY2902"/>
              </a:cxn>
              <a:cxn ang="0">
                <a:pos x="connsiteX2903" y="connsiteY2903"/>
              </a:cxn>
              <a:cxn ang="0">
                <a:pos x="connsiteX2904" y="connsiteY2904"/>
              </a:cxn>
              <a:cxn ang="0">
                <a:pos x="connsiteX2905" y="connsiteY2905"/>
              </a:cxn>
              <a:cxn ang="0">
                <a:pos x="connsiteX2906" y="connsiteY2906"/>
              </a:cxn>
              <a:cxn ang="0">
                <a:pos x="connsiteX2907" y="connsiteY2907"/>
              </a:cxn>
              <a:cxn ang="0">
                <a:pos x="connsiteX2908" y="connsiteY2908"/>
              </a:cxn>
              <a:cxn ang="0">
                <a:pos x="connsiteX2909" y="connsiteY2909"/>
              </a:cxn>
              <a:cxn ang="0">
                <a:pos x="connsiteX2910" y="connsiteY2910"/>
              </a:cxn>
              <a:cxn ang="0">
                <a:pos x="connsiteX2911" y="connsiteY2911"/>
              </a:cxn>
              <a:cxn ang="0">
                <a:pos x="connsiteX2912" y="connsiteY2912"/>
              </a:cxn>
              <a:cxn ang="0">
                <a:pos x="connsiteX2913" y="connsiteY2913"/>
              </a:cxn>
              <a:cxn ang="0">
                <a:pos x="connsiteX2914" y="connsiteY2914"/>
              </a:cxn>
              <a:cxn ang="0">
                <a:pos x="connsiteX2915" y="connsiteY2915"/>
              </a:cxn>
              <a:cxn ang="0">
                <a:pos x="connsiteX2916" y="connsiteY2916"/>
              </a:cxn>
              <a:cxn ang="0">
                <a:pos x="connsiteX2917" y="connsiteY2917"/>
              </a:cxn>
              <a:cxn ang="0">
                <a:pos x="connsiteX2918" y="connsiteY2918"/>
              </a:cxn>
              <a:cxn ang="0">
                <a:pos x="connsiteX2919" y="connsiteY2919"/>
              </a:cxn>
              <a:cxn ang="0">
                <a:pos x="connsiteX2920" y="connsiteY2920"/>
              </a:cxn>
              <a:cxn ang="0">
                <a:pos x="connsiteX2921" y="connsiteY2921"/>
              </a:cxn>
              <a:cxn ang="0">
                <a:pos x="connsiteX2922" y="connsiteY2922"/>
              </a:cxn>
              <a:cxn ang="0">
                <a:pos x="connsiteX2923" y="connsiteY2923"/>
              </a:cxn>
              <a:cxn ang="0">
                <a:pos x="connsiteX2924" y="connsiteY2924"/>
              </a:cxn>
              <a:cxn ang="0">
                <a:pos x="connsiteX2925" y="connsiteY2925"/>
              </a:cxn>
              <a:cxn ang="0">
                <a:pos x="connsiteX2926" y="connsiteY2926"/>
              </a:cxn>
              <a:cxn ang="0">
                <a:pos x="connsiteX2927" y="connsiteY2927"/>
              </a:cxn>
              <a:cxn ang="0">
                <a:pos x="connsiteX2928" y="connsiteY2928"/>
              </a:cxn>
              <a:cxn ang="0">
                <a:pos x="connsiteX2929" y="connsiteY2929"/>
              </a:cxn>
              <a:cxn ang="0">
                <a:pos x="connsiteX2930" y="connsiteY2930"/>
              </a:cxn>
              <a:cxn ang="0">
                <a:pos x="connsiteX2931" y="connsiteY2931"/>
              </a:cxn>
              <a:cxn ang="0">
                <a:pos x="connsiteX2932" y="connsiteY2932"/>
              </a:cxn>
              <a:cxn ang="0">
                <a:pos x="connsiteX2933" y="connsiteY2933"/>
              </a:cxn>
              <a:cxn ang="0">
                <a:pos x="connsiteX2934" y="connsiteY2934"/>
              </a:cxn>
              <a:cxn ang="0">
                <a:pos x="connsiteX2935" y="connsiteY2935"/>
              </a:cxn>
              <a:cxn ang="0">
                <a:pos x="connsiteX2936" y="connsiteY2936"/>
              </a:cxn>
              <a:cxn ang="0">
                <a:pos x="connsiteX2937" y="connsiteY2937"/>
              </a:cxn>
              <a:cxn ang="0">
                <a:pos x="connsiteX2938" y="connsiteY2938"/>
              </a:cxn>
              <a:cxn ang="0">
                <a:pos x="connsiteX2939" y="connsiteY2939"/>
              </a:cxn>
              <a:cxn ang="0">
                <a:pos x="connsiteX2940" y="connsiteY2940"/>
              </a:cxn>
              <a:cxn ang="0">
                <a:pos x="connsiteX2941" y="connsiteY2941"/>
              </a:cxn>
              <a:cxn ang="0">
                <a:pos x="connsiteX2942" y="connsiteY2942"/>
              </a:cxn>
              <a:cxn ang="0">
                <a:pos x="connsiteX2943" y="connsiteY2943"/>
              </a:cxn>
              <a:cxn ang="0">
                <a:pos x="connsiteX2944" y="connsiteY2944"/>
              </a:cxn>
              <a:cxn ang="0">
                <a:pos x="connsiteX2945" y="connsiteY2945"/>
              </a:cxn>
              <a:cxn ang="0">
                <a:pos x="connsiteX2946" y="connsiteY2946"/>
              </a:cxn>
              <a:cxn ang="0">
                <a:pos x="connsiteX2947" y="connsiteY2947"/>
              </a:cxn>
              <a:cxn ang="0">
                <a:pos x="connsiteX2948" y="connsiteY2948"/>
              </a:cxn>
              <a:cxn ang="0">
                <a:pos x="connsiteX2949" y="connsiteY2949"/>
              </a:cxn>
              <a:cxn ang="0">
                <a:pos x="connsiteX2950" y="connsiteY2950"/>
              </a:cxn>
              <a:cxn ang="0">
                <a:pos x="connsiteX2951" y="connsiteY2951"/>
              </a:cxn>
              <a:cxn ang="0">
                <a:pos x="connsiteX2952" y="connsiteY2952"/>
              </a:cxn>
              <a:cxn ang="0">
                <a:pos x="connsiteX2953" y="connsiteY2953"/>
              </a:cxn>
              <a:cxn ang="0">
                <a:pos x="connsiteX2954" y="connsiteY2954"/>
              </a:cxn>
              <a:cxn ang="0">
                <a:pos x="connsiteX2955" y="connsiteY2955"/>
              </a:cxn>
              <a:cxn ang="0">
                <a:pos x="connsiteX2956" y="connsiteY2956"/>
              </a:cxn>
              <a:cxn ang="0">
                <a:pos x="connsiteX2957" y="connsiteY2957"/>
              </a:cxn>
              <a:cxn ang="0">
                <a:pos x="connsiteX2958" y="connsiteY2958"/>
              </a:cxn>
              <a:cxn ang="0">
                <a:pos x="connsiteX2959" y="connsiteY2959"/>
              </a:cxn>
              <a:cxn ang="0">
                <a:pos x="connsiteX2960" y="connsiteY2960"/>
              </a:cxn>
              <a:cxn ang="0">
                <a:pos x="connsiteX2961" y="connsiteY2961"/>
              </a:cxn>
              <a:cxn ang="0">
                <a:pos x="connsiteX2962" y="connsiteY2962"/>
              </a:cxn>
              <a:cxn ang="0">
                <a:pos x="connsiteX2963" y="connsiteY2963"/>
              </a:cxn>
              <a:cxn ang="0">
                <a:pos x="connsiteX2964" y="connsiteY2964"/>
              </a:cxn>
              <a:cxn ang="0">
                <a:pos x="connsiteX2965" y="connsiteY2965"/>
              </a:cxn>
              <a:cxn ang="0">
                <a:pos x="connsiteX2966" y="connsiteY2966"/>
              </a:cxn>
              <a:cxn ang="0">
                <a:pos x="connsiteX2967" y="connsiteY2967"/>
              </a:cxn>
              <a:cxn ang="0">
                <a:pos x="connsiteX2968" y="connsiteY2968"/>
              </a:cxn>
              <a:cxn ang="0">
                <a:pos x="connsiteX2969" y="connsiteY2969"/>
              </a:cxn>
              <a:cxn ang="0">
                <a:pos x="connsiteX2970" y="connsiteY2970"/>
              </a:cxn>
              <a:cxn ang="0">
                <a:pos x="connsiteX2971" y="connsiteY2971"/>
              </a:cxn>
              <a:cxn ang="0">
                <a:pos x="connsiteX2972" y="connsiteY2972"/>
              </a:cxn>
              <a:cxn ang="0">
                <a:pos x="connsiteX2973" y="connsiteY2973"/>
              </a:cxn>
              <a:cxn ang="0">
                <a:pos x="connsiteX2974" y="connsiteY2974"/>
              </a:cxn>
              <a:cxn ang="0">
                <a:pos x="connsiteX2975" y="connsiteY2975"/>
              </a:cxn>
              <a:cxn ang="0">
                <a:pos x="connsiteX2976" y="connsiteY2976"/>
              </a:cxn>
              <a:cxn ang="0">
                <a:pos x="connsiteX2977" y="connsiteY2977"/>
              </a:cxn>
              <a:cxn ang="0">
                <a:pos x="connsiteX2978" y="connsiteY2978"/>
              </a:cxn>
              <a:cxn ang="0">
                <a:pos x="connsiteX2979" y="connsiteY2979"/>
              </a:cxn>
              <a:cxn ang="0">
                <a:pos x="connsiteX2980" y="connsiteY2980"/>
              </a:cxn>
              <a:cxn ang="0">
                <a:pos x="connsiteX2981" y="connsiteY2981"/>
              </a:cxn>
              <a:cxn ang="0">
                <a:pos x="connsiteX2982" y="connsiteY2982"/>
              </a:cxn>
              <a:cxn ang="0">
                <a:pos x="connsiteX2983" y="connsiteY2983"/>
              </a:cxn>
              <a:cxn ang="0">
                <a:pos x="connsiteX2984" y="connsiteY2984"/>
              </a:cxn>
              <a:cxn ang="0">
                <a:pos x="connsiteX2985" y="connsiteY2985"/>
              </a:cxn>
              <a:cxn ang="0">
                <a:pos x="connsiteX2986" y="connsiteY2986"/>
              </a:cxn>
              <a:cxn ang="0">
                <a:pos x="connsiteX2987" y="connsiteY2987"/>
              </a:cxn>
              <a:cxn ang="0">
                <a:pos x="connsiteX2988" y="connsiteY2988"/>
              </a:cxn>
              <a:cxn ang="0">
                <a:pos x="connsiteX2989" y="connsiteY2989"/>
              </a:cxn>
              <a:cxn ang="0">
                <a:pos x="connsiteX2990" y="connsiteY2990"/>
              </a:cxn>
              <a:cxn ang="0">
                <a:pos x="connsiteX2991" y="connsiteY2991"/>
              </a:cxn>
              <a:cxn ang="0">
                <a:pos x="connsiteX2992" y="connsiteY2992"/>
              </a:cxn>
              <a:cxn ang="0">
                <a:pos x="connsiteX2993" y="connsiteY2993"/>
              </a:cxn>
              <a:cxn ang="0">
                <a:pos x="connsiteX2994" y="connsiteY2994"/>
              </a:cxn>
              <a:cxn ang="0">
                <a:pos x="connsiteX2995" y="connsiteY2995"/>
              </a:cxn>
              <a:cxn ang="0">
                <a:pos x="connsiteX2996" y="connsiteY2996"/>
              </a:cxn>
              <a:cxn ang="0">
                <a:pos x="connsiteX2997" y="connsiteY2997"/>
              </a:cxn>
              <a:cxn ang="0">
                <a:pos x="connsiteX2998" y="connsiteY2998"/>
              </a:cxn>
              <a:cxn ang="0">
                <a:pos x="connsiteX2999" y="connsiteY2999"/>
              </a:cxn>
              <a:cxn ang="0">
                <a:pos x="connsiteX3000" y="connsiteY3000"/>
              </a:cxn>
              <a:cxn ang="0">
                <a:pos x="connsiteX3001" y="connsiteY3001"/>
              </a:cxn>
              <a:cxn ang="0">
                <a:pos x="connsiteX3002" y="connsiteY3002"/>
              </a:cxn>
              <a:cxn ang="0">
                <a:pos x="connsiteX3003" y="connsiteY3003"/>
              </a:cxn>
              <a:cxn ang="0">
                <a:pos x="connsiteX3004" y="connsiteY3004"/>
              </a:cxn>
              <a:cxn ang="0">
                <a:pos x="connsiteX3005" y="connsiteY3005"/>
              </a:cxn>
              <a:cxn ang="0">
                <a:pos x="connsiteX3006" y="connsiteY3006"/>
              </a:cxn>
              <a:cxn ang="0">
                <a:pos x="connsiteX3007" y="connsiteY3007"/>
              </a:cxn>
              <a:cxn ang="0">
                <a:pos x="connsiteX3008" y="connsiteY3008"/>
              </a:cxn>
              <a:cxn ang="0">
                <a:pos x="connsiteX3009" y="connsiteY3009"/>
              </a:cxn>
              <a:cxn ang="0">
                <a:pos x="connsiteX3010" y="connsiteY3010"/>
              </a:cxn>
              <a:cxn ang="0">
                <a:pos x="connsiteX3011" y="connsiteY3011"/>
              </a:cxn>
              <a:cxn ang="0">
                <a:pos x="connsiteX3012" y="connsiteY3012"/>
              </a:cxn>
              <a:cxn ang="0">
                <a:pos x="connsiteX3013" y="connsiteY3013"/>
              </a:cxn>
              <a:cxn ang="0">
                <a:pos x="connsiteX3014" y="connsiteY3014"/>
              </a:cxn>
              <a:cxn ang="0">
                <a:pos x="connsiteX3015" y="connsiteY3015"/>
              </a:cxn>
              <a:cxn ang="0">
                <a:pos x="connsiteX3016" y="connsiteY3016"/>
              </a:cxn>
              <a:cxn ang="0">
                <a:pos x="connsiteX3017" y="connsiteY3017"/>
              </a:cxn>
              <a:cxn ang="0">
                <a:pos x="connsiteX3018" y="connsiteY3018"/>
              </a:cxn>
              <a:cxn ang="0">
                <a:pos x="connsiteX3019" y="connsiteY3019"/>
              </a:cxn>
              <a:cxn ang="0">
                <a:pos x="connsiteX3020" y="connsiteY3020"/>
              </a:cxn>
              <a:cxn ang="0">
                <a:pos x="connsiteX3021" y="connsiteY3021"/>
              </a:cxn>
              <a:cxn ang="0">
                <a:pos x="connsiteX3022" y="connsiteY3022"/>
              </a:cxn>
              <a:cxn ang="0">
                <a:pos x="connsiteX3023" y="connsiteY3023"/>
              </a:cxn>
              <a:cxn ang="0">
                <a:pos x="connsiteX3024" y="connsiteY3024"/>
              </a:cxn>
              <a:cxn ang="0">
                <a:pos x="connsiteX3025" y="connsiteY3025"/>
              </a:cxn>
              <a:cxn ang="0">
                <a:pos x="connsiteX3026" y="connsiteY3026"/>
              </a:cxn>
              <a:cxn ang="0">
                <a:pos x="connsiteX3027" y="connsiteY3027"/>
              </a:cxn>
              <a:cxn ang="0">
                <a:pos x="connsiteX3028" y="connsiteY3028"/>
              </a:cxn>
              <a:cxn ang="0">
                <a:pos x="connsiteX3029" y="connsiteY3029"/>
              </a:cxn>
              <a:cxn ang="0">
                <a:pos x="connsiteX3030" y="connsiteY3030"/>
              </a:cxn>
              <a:cxn ang="0">
                <a:pos x="connsiteX3031" y="connsiteY3031"/>
              </a:cxn>
              <a:cxn ang="0">
                <a:pos x="connsiteX3032" y="connsiteY3032"/>
              </a:cxn>
              <a:cxn ang="0">
                <a:pos x="connsiteX3033" y="connsiteY3033"/>
              </a:cxn>
              <a:cxn ang="0">
                <a:pos x="connsiteX3034" y="connsiteY3034"/>
              </a:cxn>
              <a:cxn ang="0">
                <a:pos x="connsiteX3035" y="connsiteY3035"/>
              </a:cxn>
              <a:cxn ang="0">
                <a:pos x="connsiteX3036" y="connsiteY3036"/>
              </a:cxn>
              <a:cxn ang="0">
                <a:pos x="connsiteX3037" y="connsiteY3037"/>
              </a:cxn>
              <a:cxn ang="0">
                <a:pos x="connsiteX3038" y="connsiteY3038"/>
              </a:cxn>
              <a:cxn ang="0">
                <a:pos x="connsiteX3039" y="connsiteY3039"/>
              </a:cxn>
              <a:cxn ang="0">
                <a:pos x="connsiteX3040" y="connsiteY3040"/>
              </a:cxn>
              <a:cxn ang="0">
                <a:pos x="connsiteX3041" y="connsiteY3041"/>
              </a:cxn>
              <a:cxn ang="0">
                <a:pos x="connsiteX3042" y="connsiteY3042"/>
              </a:cxn>
              <a:cxn ang="0">
                <a:pos x="connsiteX3043" y="connsiteY3043"/>
              </a:cxn>
              <a:cxn ang="0">
                <a:pos x="connsiteX3044" y="connsiteY3044"/>
              </a:cxn>
              <a:cxn ang="0">
                <a:pos x="connsiteX3045" y="connsiteY3045"/>
              </a:cxn>
              <a:cxn ang="0">
                <a:pos x="connsiteX3046" y="connsiteY3046"/>
              </a:cxn>
              <a:cxn ang="0">
                <a:pos x="connsiteX3047" y="connsiteY3047"/>
              </a:cxn>
              <a:cxn ang="0">
                <a:pos x="connsiteX3048" y="connsiteY3048"/>
              </a:cxn>
              <a:cxn ang="0">
                <a:pos x="connsiteX3049" y="connsiteY3049"/>
              </a:cxn>
              <a:cxn ang="0">
                <a:pos x="connsiteX3050" y="connsiteY3050"/>
              </a:cxn>
              <a:cxn ang="0">
                <a:pos x="connsiteX3051" y="connsiteY3051"/>
              </a:cxn>
              <a:cxn ang="0">
                <a:pos x="connsiteX3052" y="connsiteY3052"/>
              </a:cxn>
              <a:cxn ang="0">
                <a:pos x="connsiteX3053" y="connsiteY3053"/>
              </a:cxn>
              <a:cxn ang="0">
                <a:pos x="connsiteX3054" y="connsiteY3054"/>
              </a:cxn>
              <a:cxn ang="0">
                <a:pos x="connsiteX3055" y="connsiteY3055"/>
              </a:cxn>
              <a:cxn ang="0">
                <a:pos x="connsiteX3056" y="connsiteY3056"/>
              </a:cxn>
              <a:cxn ang="0">
                <a:pos x="connsiteX3057" y="connsiteY3057"/>
              </a:cxn>
              <a:cxn ang="0">
                <a:pos x="connsiteX3058" y="connsiteY3058"/>
              </a:cxn>
              <a:cxn ang="0">
                <a:pos x="connsiteX3059" y="connsiteY3059"/>
              </a:cxn>
              <a:cxn ang="0">
                <a:pos x="connsiteX3060" y="connsiteY3060"/>
              </a:cxn>
              <a:cxn ang="0">
                <a:pos x="connsiteX3061" y="connsiteY3061"/>
              </a:cxn>
              <a:cxn ang="0">
                <a:pos x="connsiteX3062" y="connsiteY3062"/>
              </a:cxn>
              <a:cxn ang="0">
                <a:pos x="connsiteX3063" y="connsiteY3063"/>
              </a:cxn>
              <a:cxn ang="0">
                <a:pos x="connsiteX3064" y="connsiteY3064"/>
              </a:cxn>
              <a:cxn ang="0">
                <a:pos x="connsiteX3065" y="connsiteY3065"/>
              </a:cxn>
              <a:cxn ang="0">
                <a:pos x="connsiteX3066" y="connsiteY3066"/>
              </a:cxn>
              <a:cxn ang="0">
                <a:pos x="connsiteX3067" y="connsiteY3067"/>
              </a:cxn>
              <a:cxn ang="0">
                <a:pos x="connsiteX3068" y="connsiteY3068"/>
              </a:cxn>
              <a:cxn ang="0">
                <a:pos x="connsiteX3069" y="connsiteY3069"/>
              </a:cxn>
              <a:cxn ang="0">
                <a:pos x="connsiteX3070" y="connsiteY3070"/>
              </a:cxn>
              <a:cxn ang="0">
                <a:pos x="connsiteX3071" y="connsiteY3071"/>
              </a:cxn>
              <a:cxn ang="0">
                <a:pos x="connsiteX3072" y="connsiteY3072"/>
              </a:cxn>
              <a:cxn ang="0">
                <a:pos x="connsiteX3073" y="connsiteY3073"/>
              </a:cxn>
              <a:cxn ang="0">
                <a:pos x="connsiteX3074" y="connsiteY3074"/>
              </a:cxn>
              <a:cxn ang="0">
                <a:pos x="connsiteX3075" y="connsiteY3075"/>
              </a:cxn>
              <a:cxn ang="0">
                <a:pos x="connsiteX3076" y="connsiteY3076"/>
              </a:cxn>
              <a:cxn ang="0">
                <a:pos x="connsiteX3077" y="connsiteY3077"/>
              </a:cxn>
              <a:cxn ang="0">
                <a:pos x="connsiteX3078" y="connsiteY3078"/>
              </a:cxn>
              <a:cxn ang="0">
                <a:pos x="connsiteX3079" y="connsiteY3079"/>
              </a:cxn>
              <a:cxn ang="0">
                <a:pos x="connsiteX3080" y="connsiteY3080"/>
              </a:cxn>
              <a:cxn ang="0">
                <a:pos x="connsiteX3081" y="connsiteY3081"/>
              </a:cxn>
              <a:cxn ang="0">
                <a:pos x="connsiteX3082" y="connsiteY3082"/>
              </a:cxn>
              <a:cxn ang="0">
                <a:pos x="connsiteX3083" y="connsiteY3083"/>
              </a:cxn>
              <a:cxn ang="0">
                <a:pos x="connsiteX3084" y="connsiteY3084"/>
              </a:cxn>
              <a:cxn ang="0">
                <a:pos x="connsiteX3085" y="connsiteY3085"/>
              </a:cxn>
              <a:cxn ang="0">
                <a:pos x="connsiteX3086" y="connsiteY3086"/>
              </a:cxn>
              <a:cxn ang="0">
                <a:pos x="connsiteX3087" y="connsiteY3087"/>
              </a:cxn>
              <a:cxn ang="0">
                <a:pos x="connsiteX3088" y="connsiteY3088"/>
              </a:cxn>
              <a:cxn ang="0">
                <a:pos x="connsiteX3089" y="connsiteY3089"/>
              </a:cxn>
              <a:cxn ang="0">
                <a:pos x="connsiteX3090" y="connsiteY3090"/>
              </a:cxn>
              <a:cxn ang="0">
                <a:pos x="connsiteX3091" y="connsiteY3091"/>
              </a:cxn>
              <a:cxn ang="0">
                <a:pos x="connsiteX3092" y="connsiteY3092"/>
              </a:cxn>
              <a:cxn ang="0">
                <a:pos x="connsiteX3093" y="connsiteY3093"/>
              </a:cxn>
              <a:cxn ang="0">
                <a:pos x="connsiteX3094" y="connsiteY3094"/>
              </a:cxn>
              <a:cxn ang="0">
                <a:pos x="connsiteX3095" y="connsiteY3095"/>
              </a:cxn>
              <a:cxn ang="0">
                <a:pos x="connsiteX3096" y="connsiteY3096"/>
              </a:cxn>
              <a:cxn ang="0">
                <a:pos x="connsiteX3097" y="connsiteY3097"/>
              </a:cxn>
              <a:cxn ang="0">
                <a:pos x="connsiteX3098" y="connsiteY3098"/>
              </a:cxn>
              <a:cxn ang="0">
                <a:pos x="connsiteX3099" y="connsiteY3099"/>
              </a:cxn>
              <a:cxn ang="0">
                <a:pos x="connsiteX3100" y="connsiteY3100"/>
              </a:cxn>
              <a:cxn ang="0">
                <a:pos x="connsiteX3101" y="connsiteY3101"/>
              </a:cxn>
              <a:cxn ang="0">
                <a:pos x="connsiteX3102" y="connsiteY3102"/>
              </a:cxn>
              <a:cxn ang="0">
                <a:pos x="connsiteX3103" y="connsiteY3103"/>
              </a:cxn>
              <a:cxn ang="0">
                <a:pos x="connsiteX3104" y="connsiteY3104"/>
              </a:cxn>
              <a:cxn ang="0">
                <a:pos x="connsiteX3105" y="connsiteY3105"/>
              </a:cxn>
              <a:cxn ang="0">
                <a:pos x="connsiteX3106" y="connsiteY3106"/>
              </a:cxn>
              <a:cxn ang="0">
                <a:pos x="connsiteX3107" y="connsiteY3107"/>
              </a:cxn>
              <a:cxn ang="0">
                <a:pos x="connsiteX3108" y="connsiteY3108"/>
              </a:cxn>
              <a:cxn ang="0">
                <a:pos x="connsiteX3109" y="connsiteY3109"/>
              </a:cxn>
              <a:cxn ang="0">
                <a:pos x="connsiteX3110" y="connsiteY3110"/>
              </a:cxn>
              <a:cxn ang="0">
                <a:pos x="connsiteX3111" y="connsiteY3111"/>
              </a:cxn>
              <a:cxn ang="0">
                <a:pos x="connsiteX3112" y="connsiteY3112"/>
              </a:cxn>
              <a:cxn ang="0">
                <a:pos x="connsiteX3113" y="connsiteY3113"/>
              </a:cxn>
              <a:cxn ang="0">
                <a:pos x="connsiteX3114" y="connsiteY3114"/>
              </a:cxn>
              <a:cxn ang="0">
                <a:pos x="connsiteX3115" y="connsiteY3115"/>
              </a:cxn>
              <a:cxn ang="0">
                <a:pos x="connsiteX3116" y="connsiteY3116"/>
              </a:cxn>
              <a:cxn ang="0">
                <a:pos x="connsiteX3117" y="connsiteY3117"/>
              </a:cxn>
              <a:cxn ang="0">
                <a:pos x="connsiteX3118" y="connsiteY3118"/>
              </a:cxn>
              <a:cxn ang="0">
                <a:pos x="connsiteX3119" y="connsiteY3119"/>
              </a:cxn>
              <a:cxn ang="0">
                <a:pos x="connsiteX3120" y="connsiteY3120"/>
              </a:cxn>
              <a:cxn ang="0">
                <a:pos x="connsiteX3121" y="connsiteY3121"/>
              </a:cxn>
              <a:cxn ang="0">
                <a:pos x="connsiteX3122" y="connsiteY3122"/>
              </a:cxn>
              <a:cxn ang="0">
                <a:pos x="connsiteX3123" y="connsiteY3123"/>
              </a:cxn>
              <a:cxn ang="0">
                <a:pos x="connsiteX3124" y="connsiteY3124"/>
              </a:cxn>
              <a:cxn ang="0">
                <a:pos x="connsiteX3125" y="connsiteY3125"/>
              </a:cxn>
              <a:cxn ang="0">
                <a:pos x="connsiteX3126" y="connsiteY3126"/>
              </a:cxn>
              <a:cxn ang="0">
                <a:pos x="connsiteX3127" y="connsiteY3127"/>
              </a:cxn>
              <a:cxn ang="0">
                <a:pos x="connsiteX3128" y="connsiteY3128"/>
              </a:cxn>
              <a:cxn ang="0">
                <a:pos x="connsiteX3129" y="connsiteY3129"/>
              </a:cxn>
              <a:cxn ang="0">
                <a:pos x="connsiteX3130" y="connsiteY3130"/>
              </a:cxn>
              <a:cxn ang="0">
                <a:pos x="connsiteX3131" y="connsiteY3131"/>
              </a:cxn>
              <a:cxn ang="0">
                <a:pos x="connsiteX3132" y="connsiteY3132"/>
              </a:cxn>
              <a:cxn ang="0">
                <a:pos x="connsiteX3133" y="connsiteY3133"/>
              </a:cxn>
              <a:cxn ang="0">
                <a:pos x="connsiteX3134" y="connsiteY3134"/>
              </a:cxn>
              <a:cxn ang="0">
                <a:pos x="connsiteX3135" y="connsiteY3135"/>
              </a:cxn>
              <a:cxn ang="0">
                <a:pos x="connsiteX3136" y="connsiteY3136"/>
              </a:cxn>
              <a:cxn ang="0">
                <a:pos x="connsiteX3137" y="connsiteY3137"/>
              </a:cxn>
              <a:cxn ang="0">
                <a:pos x="connsiteX3138" y="connsiteY3138"/>
              </a:cxn>
              <a:cxn ang="0">
                <a:pos x="connsiteX3139" y="connsiteY3139"/>
              </a:cxn>
              <a:cxn ang="0">
                <a:pos x="connsiteX3140" y="connsiteY3140"/>
              </a:cxn>
              <a:cxn ang="0">
                <a:pos x="connsiteX3141" y="connsiteY3141"/>
              </a:cxn>
              <a:cxn ang="0">
                <a:pos x="connsiteX3142" y="connsiteY3142"/>
              </a:cxn>
              <a:cxn ang="0">
                <a:pos x="connsiteX3143" y="connsiteY3143"/>
              </a:cxn>
              <a:cxn ang="0">
                <a:pos x="connsiteX3144" y="connsiteY3144"/>
              </a:cxn>
              <a:cxn ang="0">
                <a:pos x="connsiteX3145" y="connsiteY3145"/>
              </a:cxn>
              <a:cxn ang="0">
                <a:pos x="connsiteX3146" y="connsiteY3146"/>
              </a:cxn>
              <a:cxn ang="0">
                <a:pos x="connsiteX3147" y="connsiteY3147"/>
              </a:cxn>
              <a:cxn ang="0">
                <a:pos x="connsiteX3148" y="connsiteY3148"/>
              </a:cxn>
              <a:cxn ang="0">
                <a:pos x="connsiteX3149" y="connsiteY3149"/>
              </a:cxn>
              <a:cxn ang="0">
                <a:pos x="connsiteX3150" y="connsiteY3150"/>
              </a:cxn>
              <a:cxn ang="0">
                <a:pos x="connsiteX3151" y="connsiteY3151"/>
              </a:cxn>
              <a:cxn ang="0">
                <a:pos x="connsiteX3152" y="connsiteY3152"/>
              </a:cxn>
              <a:cxn ang="0">
                <a:pos x="connsiteX3153" y="connsiteY3153"/>
              </a:cxn>
              <a:cxn ang="0">
                <a:pos x="connsiteX3154" y="connsiteY3154"/>
              </a:cxn>
              <a:cxn ang="0">
                <a:pos x="connsiteX3155" y="connsiteY3155"/>
              </a:cxn>
              <a:cxn ang="0">
                <a:pos x="connsiteX3156" y="connsiteY3156"/>
              </a:cxn>
              <a:cxn ang="0">
                <a:pos x="connsiteX3157" y="connsiteY3157"/>
              </a:cxn>
              <a:cxn ang="0">
                <a:pos x="connsiteX3158" y="connsiteY3158"/>
              </a:cxn>
              <a:cxn ang="0">
                <a:pos x="connsiteX3159" y="connsiteY3159"/>
              </a:cxn>
              <a:cxn ang="0">
                <a:pos x="connsiteX3160" y="connsiteY3160"/>
              </a:cxn>
              <a:cxn ang="0">
                <a:pos x="connsiteX3161" y="connsiteY3161"/>
              </a:cxn>
              <a:cxn ang="0">
                <a:pos x="connsiteX3162" y="connsiteY3162"/>
              </a:cxn>
              <a:cxn ang="0">
                <a:pos x="connsiteX3163" y="connsiteY3163"/>
              </a:cxn>
              <a:cxn ang="0">
                <a:pos x="connsiteX3164" y="connsiteY3164"/>
              </a:cxn>
              <a:cxn ang="0">
                <a:pos x="connsiteX3165" y="connsiteY3165"/>
              </a:cxn>
              <a:cxn ang="0">
                <a:pos x="connsiteX3166" y="connsiteY3166"/>
              </a:cxn>
              <a:cxn ang="0">
                <a:pos x="connsiteX3167" y="connsiteY3167"/>
              </a:cxn>
              <a:cxn ang="0">
                <a:pos x="connsiteX3168" y="connsiteY3168"/>
              </a:cxn>
              <a:cxn ang="0">
                <a:pos x="connsiteX3169" y="connsiteY3169"/>
              </a:cxn>
              <a:cxn ang="0">
                <a:pos x="connsiteX3170" y="connsiteY3170"/>
              </a:cxn>
              <a:cxn ang="0">
                <a:pos x="connsiteX3171" y="connsiteY3171"/>
              </a:cxn>
              <a:cxn ang="0">
                <a:pos x="connsiteX3172" y="connsiteY3172"/>
              </a:cxn>
              <a:cxn ang="0">
                <a:pos x="connsiteX3173" y="connsiteY3173"/>
              </a:cxn>
              <a:cxn ang="0">
                <a:pos x="connsiteX3174" y="connsiteY3174"/>
              </a:cxn>
              <a:cxn ang="0">
                <a:pos x="connsiteX3175" y="connsiteY3175"/>
              </a:cxn>
              <a:cxn ang="0">
                <a:pos x="connsiteX3176" y="connsiteY3176"/>
              </a:cxn>
              <a:cxn ang="0">
                <a:pos x="connsiteX3177" y="connsiteY3177"/>
              </a:cxn>
              <a:cxn ang="0">
                <a:pos x="connsiteX3178" y="connsiteY3178"/>
              </a:cxn>
              <a:cxn ang="0">
                <a:pos x="connsiteX3179" y="connsiteY3179"/>
              </a:cxn>
              <a:cxn ang="0">
                <a:pos x="connsiteX3180" y="connsiteY3180"/>
              </a:cxn>
              <a:cxn ang="0">
                <a:pos x="connsiteX3181" y="connsiteY3181"/>
              </a:cxn>
              <a:cxn ang="0">
                <a:pos x="connsiteX3182" y="connsiteY3182"/>
              </a:cxn>
              <a:cxn ang="0">
                <a:pos x="connsiteX3183" y="connsiteY3183"/>
              </a:cxn>
              <a:cxn ang="0">
                <a:pos x="connsiteX3184" y="connsiteY3184"/>
              </a:cxn>
              <a:cxn ang="0">
                <a:pos x="connsiteX3185" y="connsiteY3185"/>
              </a:cxn>
              <a:cxn ang="0">
                <a:pos x="connsiteX3186" y="connsiteY3186"/>
              </a:cxn>
              <a:cxn ang="0">
                <a:pos x="connsiteX3187" y="connsiteY3187"/>
              </a:cxn>
              <a:cxn ang="0">
                <a:pos x="connsiteX3188" y="connsiteY3188"/>
              </a:cxn>
              <a:cxn ang="0">
                <a:pos x="connsiteX3189" y="connsiteY3189"/>
              </a:cxn>
              <a:cxn ang="0">
                <a:pos x="connsiteX3190" y="connsiteY3190"/>
              </a:cxn>
              <a:cxn ang="0">
                <a:pos x="connsiteX3191" y="connsiteY3191"/>
              </a:cxn>
              <a:cxn ang="0">
                <a:pos x="connsiteX3192" y="connsiteY3192"/>
              </a:cxn>
              <a:cxn ang="0">
                <a:pos x="connsiteX3193" y="connsiteY3193"/>
              </a:cxn>
              <a:cxn ang="0">
                <a:pos x="connsiteX3194" y="connsiteY3194"/>
              </a:cxn>
              <a:cxn ang="0">
                <a:pos x="connsiteX3195" y="connsiteY3195"/>
              </a:cxn>
              <a:cxn ang="0">
                <a:pos x="connsiteX3196" y="connsiteY3196"/>
              </a:cxn>
              <a:cxn ang="0">
                <a:pos x="connsiteX3197" y="connsiteY3197"/>
              </a:cxn>
              <a:cxn ang="0">
                <a:pos x="connsiteX3198" y="connsiteY3198"/>
              </a:cxn>
              <a:cxn ang="0">
                <a:pos x="connsiteX3199" y="connsiteY3199"/>
              </a:cxn>
              <a:cxn ang="0">
                <a:pos x="connsiteX3200" y="connsiteY3200"/>
              </a:cxn>
              <a:cxn ang="0">
                <a:pos x="connsiteX3201" y="connsiteY3201"/>
              </a:cxn>
              <a:cxn ang="0">
                <a:pos x="connsiteX3202" y="connsiteY3202"/>
              </a:cxn>
              <a:cxn ang="0">
                <a:pos x="connsiteX3203" y="connsiteY3203"/>
              </a:cxn>
              <a:cxn ang="0">
                <a:pos x="connsiteX3204" y="connsiteY3204"/>
              </a:cxn>
              <a:cxn ang="0">
                <a:pos x="connsiteX3205" y="connsiteY3205"/>
              </a:cxn>
              <a:cxn ang="0">
                <a:pos x="connsiteX3206" y="connsiteY3206"/>
              </a:cxn>
              <a:cxn ang="0">
                <a:pos x="connsiteX3207" y="connsiteY3207"/>
              </a:cxn>
              <a:cxn ang="0">
                <a:pos x="connsiteX3208" y="connsiteY3208"/>
              </a:cxn>
              <a:cxn ang="0">
                <a:pos x="connsiteX3209" y="connsiteY3209"/>
              </a:cxn>
              <a:cxn ang="0">
                <a:pos x="connsiteX3210" y="connsiteY3210"/>
              </a:cxn>
              <a:cxn ang="0">
                <a:pos x="connsiteX3211" y="connsiteY3211"/>
              </a:cxn>
              <a:cxn ang="0">
                <a:pos x="connsiteX3212" y="connsiteY3212"/>
              </a:cxn>
              <a:cxn ang="0">
                <a:pos x="connsiteX3213" y="connsiteY3213"/>
              </a:cxn>
              <a:cxn ang="0">
                <a:pos x="connsiteX3214" y="connsiteY3214"/>
              </a:cxn>
              <a:cxn ang="0">
                <a:pos x="connsiteX3215" y="connsiteY3215"/>
              </a:cxn>
              <a:cxn ang="0">
                <a:pos x="connsiteX3216" y="connsiteY3216"/>
              </a:cxn>
              <a:cxn ang="0">
                <a:pos x="connsiteX3217" y="connsiteY3217"/>
              </a:cxn>
              <a:cxn ang="0">
                <a:pos x="connsiteX3218" y="connsiteY3218"/>
              </a:cxn>
              <a:cxn ang="0">
                <a:pos x="connsiteX3219" y="connsiteY3219"/>
              </a:cxn>
              <a:cxn ang="0">
                <a:pos x="connsiteX3220" y="connsiteY3220"/>
              </a:cxn>
              <a:cxn ang="0">
                <a:pos x="connsiteX3221" y="connsiteY3221"/>
              </a:cxn>
              <a:cxn ang="0">
                <a:pos x="connsiteX3222" y="connsiteY3222"/>
              </a:cxn>
              <a:cxn ang="0">
                <a:pos x="connsiteX3223" y="connsiteY3223"/>
              </a:cxn>
              <a:cxn ang="0">
                <a:pos x="connsiteX3224" y="connsiteY3224"/>
              </a:cxn>
              <a:cxn ang="0">
                <a:pos x="connsiteX3225" y="connsiteY3225"/>
              </a:cxn>
              <a:cxn ang="0">
                <a:pos x="connsiteX3226" y="connsiteY3226"/>
              </a:cxn>
              <a:cxn ang="0">
                <a:pos x="connsiteX3227" y="connsiteY3227"/>
              </a:cxn>
              <a:cxn ang="0">
                <a:pos x="connsiteX3228" y="connsiteY3228"/>
              </a:cxn>
              <a:cxn ang="0">
                <a:pos x="connsiteX3229" y="connsiteY3229"/>
              </a:cxn>
              <a:cxn ang="0">
                <a:pos x="connsiteX3230" y="connsiteY3230"/>
              </a:cxn>
              <a:cxn ang="0">
                <a:pos x="connsiteX3231" y="connsiteY3231"/>
              </a:cxn>
              <a:cxn ang="0">
                <a:pos x="connsiteX3232" y="connsiteY3232"/>
              </a:cxn>
              <a:cxn ang="0">
                <a:pos x="connsiteX3233" y="connsiteY3233"/>
              </a:cxn>
              <a:cxn ang="0">
                <a:pos x="connsiteX3234" y="connsiteY3234"/>
              </a:cxn>
              <a:cxn ang="0">
                <a:pos x="connsiteX3235" y="connsiteY3235"/>
              </a:cxn>
              <a:cxn ang="0">
                <a:pos x="connsiteX3236" y="connsiteY3236"/>
              </a:cxn>
              <a:cxn ang="0">
                <a:pos x="connsiteX3237" y="connsiteY3237"/>
              </a:cxn>
              <a:cxn ang="0">
                <a:pos x="connsiteX3238" y="connsiteY3238"/>
              </a:cxn>
              <a:cxn ang="0">
                <a:pos x="connsiteX3239" y="connsiteY3239"/>
              </a:cxn>
              <a:cxn ang="0">
                <a:pos x="connsiteX3240" y="connsiteY3240"/>
              </a:cxn>
              <a:cxn ang="0">
                <a:pos x="connsiteX3241" y="connsiteY3241"/>
              </a:cxn>
              <a:cxn ang="0">
                <a:pos x="connsiteX3242" y="connsiteY3242"/>
              </a:cxn>
              <a:cxn ang="0">
                <a:pos x="connsiteX3243" y="connsiteY3243"/>
              </a:cxn>
              <a:cxn ang="0">
                <a:pos x="connsiteX3244" y="connsiteY3244"/>
              </a:cxn>
              <a:cxn ang="0">
                <a:pos x="connsiteX3245" y="connsiteY3245"/>
              </a:cxn>
              <a:cxn ang="0">
                <a:pos x="connsiteX3246" y="connsiteY3246"/>
              </a:cxn>
              <a:cxn ang="0">
                <a:pos x="connsiteX3247" y="connsiteY3247"/>
              </a:cxn>
              <a:cxn ang="0">
                <a:pos x="connsiteX3248" y="connsiteY3248"/>
              </a:cxn>
              <a:cxn ang="0">
                <a:pos x="connsiteX3249" y="connsiteY3249"/>
              </a:cxn>
              <a:cxn ang="0">
                <a:pos x="connsiteX3250" y="connsiteY3250"/>
              </a:cxn>
              <a:cxn ang="0">
                <a:pos x="connsiteX3251" y="connsiteY3251"/>
              </a:cxn>
              <a:cxn ang="0">
                <a:pos x="connsiteX3252" y="connsiteY3252"/>
              </a:cxn>
              <a:cxn ang="0">
                <a:pos x="connsiteX3253" y="connsiteY3253"/>
              </a:cxn>
              <a:cxn ang="0">
                <a:pos x="connsiteX3254" y="connsiteY3254"/>
              </a:cxn>
              <a:cxn ang="0">
                <a:pos x="connsiteX3255" y="connsiteY3255"/>
              </a:cxn>
              <a:cxn ang="0">
                <a:pos x="connsiteX3256" y="connsiteY3256"/>
              </a:cxn>
              <a:cxn ang="0">
                <a:pos x="connsiteX3257" y="connsiteY3257"/>
              </a:cxn>
              <a:cxn ang="0">
                <a:pos x="connsiteX3258" y="connsiteY3258"/>
              </a:cxn>
              <a:cxn ang="0">
                <a:pos x="connsiteX3259" y="connsiteY3259"/>
              </a:cxn>
              <a:cxn ang="0">
                <a:pos x="connsiteX3260" y="connsiteY3260"/>
              </a:cxn>
              <a:cxn ang="0">
                <a:pos x="connsiteX3261" y="connsiteY3261"/>
              </a:cxn>
              <a:cxn ang="0">
                <a:pos x="connsiteX3262" y="connsiteY3262"/>
              </a:cxn>
              <a:cxn ang="0">
                <a:pos x="connsiteX3263" y="connsiteY3263"/>
              </a:cxn>
              <a:cxn ang="0">
                <a:pos x="connsiteX3264" y="connsiteY3264"/>
              </a:cxn>
              <a:cxn ang="0">
                <a:pos x="connsiteX3265" y="connsiteY3265"/>
              </a:cxn>
              <a:cxn ang="0">
                <a:pos x="connsiteX3266" y="connsiteY3266"/>
              </a:cxn>
              <a:cxn ang="0">
                <a:pos x="connsiteX3267" y="connsiteY3267"/>
              </a:cxn>
              <a:cxn ang="0">
                <a:pos x="connsiteX3268" y="connsiteY3268"/>
              </a:cxn>
              <a:cxn ang="0">
                <a:pos x="connsiteX3269" y="connsiteY3269"/>
              </a:cxn>
              <a:cxn ang="0">
                <a:pos x="connsiteX3270" y="connsiteY3270"/>
              </a:cxn>
              <a:cxn ang="0">
                <a:pos x="connsiteX3271" y="connsiteY3271"/>
              </a:cxn>
              <a:cxn ang="0">
                <a:pos x="connsiteX3272" y="connsiteY3272"/>
              </a:cxn>
              <a:cxn ang="0">
                <a:pos x="connsiteX3273" y="connsiteY3273"/>
              </a:cxn>
              <a:cxn ang="0">
                <a:pos x="connsiteX3274" y="connsiteY3274"/>
              </a:cxn>
              <a:cxn ang="0">
                <a:pos x="connsiteX3275" y="connsiteY3275"/>
              </a:cxn>
              <a:cxn ang="0">
                <a:pos x="connsiteX3276" y="connsiteY3276"/>
              </a:cxn>
              <a:cxn ang="0">
                <a:pos x="connsiteX3277" y="connsiteY3277"/>
              </a:cxn>
              <a:cxn ang="0">
                <a:pos x="connsiteX3278" y="connsiteY3278"/>
              </a:cxn>
              <a:cxn ang="0">
                <a:pos x="connsiteX3279" y="connsiteY3279"/>
              </a:cxn>
              <a:cxn ang="0">
                <a:pos x="connsiteX3280" y="connsiteY3280"/>
              </a:cxn>
              <a:cxn ang="0">
                <a:pos x="connsiteX3281" y="connsiteY3281"/>
              </a:cxn>
              <a:cxn ang="0">
                <a:pos x="connsiteX3282" y="connsiteY3282"/>
              </a:cxn>
              <a:cxn ang="0">
                <a:pos x="connsiteX3283" y="connsiteY3283"/>
              </a:cxn>
              <a:cxn ang="0">
                <a:pos x="connsiteX3284" y="connsiteY3284"/>
              </a:cxn>
              <a:cxn ang="0">
                <a:pos x="connsiteX3285" y="connsiteY3285"/>
              </a:cxn>
              <a:cxn ang="0">
                <a:pos x="connsiteX3286" y="connsiteY3286"/>
              </a:cxn>
              <a:cxn ang="0">
                <a:pos x="connsiteX3287" y="connsiteY3287"/>
              </a:cxn>
              <a:cxn ang="0">
                <a:pos x="connsiteX3288" y="connsiteY3288"/>
              </a:cxn>
              <a:cxn ang="0">
                <a:pos x="connsiteX3289" y="connsiteY3289"/>
              </a:cxn>
              <a:cxn ang="0">
                <a:pos x="connsiteX3290" y="connsiteY3290"/>
              </a:cxn>
              <a:cxn ang="0">
                <a:pos x="connsiteX3291" y="connsiteY3291"/>
              </a:cxn>
              <a:cxn ang="0">
                <a:pos x="connsiteX3292" y="connsiteY3292"/>
              </a:cxn>
              <a:cxn ang="0">
                <a:pos x="connsiteX3293" y="connsiteY3293"/>
              </a:cxn>
              <a:cxn ang="0">
                <a:pos x="connsiteX3294" y="connsiteY3294"/>
              </a:cxn>
              <a:cxn ang="0">
                <a:pos x="connsiteX3295" y="connsiteY3295"/>
              </a:cxn>
              <a:cxn ang="0">
                <a:pos x="connsiteX3296" y="connsiteY3296"/>
              </a:cxn>
              <a:cxn ang="0">
                <a:pos x="connsiteX3297" y="connsiteY3297"/>
              </a:cxn>
              <a:cxn ang="0">
                <a:pos x="connsiteX3298" y="connsiteY3298"/>
              </a:cxn>
              <a:cxn ang="0">
                <a:pos x="connsiteX3299" y="connsiteY3299"/>
              </a:cxn>
              <a:cxn ang="0">
                <a:pos x="connsiteX3300" y="connsiteY3300"/>
              </a:cxn>
              <a:cxn ang="0">
                <a:pos x="connsiteX3301" y="connsiteY3301"/>
              </a:cxn>
              <a:cxn ang="0">
                <a:pos x="connsiteX3302" y="connsiteY3302"/>
              </a:cxn>
              <a:cxn ang="0">
                <a:pos x="connsiteX3303" y="connsiteY3303"/>
              </a:cxn>
              <a:cxn ang="0">
                <a:pos x="connsiteX3304" y="connsiteY3304"/>
              </a:cxn>
              <a:cxn ang="0">
                <a:pos x="connsiteX3305" y="connsiteY3305"/>
              </a:cxn>
              <a:cxn ang="0">
                <a:pos x="connsiteX3306" y="connsiteY3306"/>
              </a:cxn>
              <a:cxn ang="0">
                <a:pos x="connsiteX3307" y="connsiteY3307"/>
              </a:cxn>
              <a:cxn ang="0">
                <a:pos x="connsiteX3308" y="connsiteY3308"/>
              </a:cxn>
              <a:cxn ang="0">
                <a:pos x="connsiteX3309" y="connsiteY3309"/>
              </a:cxn>
              <a:cxn ang="0">
                <a:pos x="connsiteX3310" y="connsiteY3310"/>
              </a:cxn>
              <a:cxn ang="0">
                <a:pos x="connsiteX3311" y="connsiteY3311"/>
              </a:cxn>
              <a:cxn ang="0">
                <a:pos x="connsiteX3312" y="connsiteY3312"/>
              </a:cxn>
              <a:cxn ang="0">
                <a:pos x="connsiteX3313" y="connsiteY3313"/>
              </a:cxn>
              <a:cxn ang="0">
                <a:pos x="connsiteX3314" y="connsiteY3314"/>
              </a:cxn>
              <a:cxn ang="0">
                <a:pos x="connsiteX3315" y="connsiteY3315"/>
              </a:cxn>
              <a:cxn ang="0">
                <a:pos x="connsiteX3316" y="connsiteY3316"/>
              </a:cxn>
              <a:cxn ang="0">
                <a:pos x="connsiteX3317" y="connsiteY3317"/>
              </a:cxn>
              <a:cxn ang="0">
                <a:pos x="connsiteX3318" y="connsiteY3318"/>
              </a:cxn>
              <a:cxn ang="0">
                <a:pos x="connsiteX3319" y="connsiteY3319"/>
              </a:cxn>
              <a:cxn ang="0">
                <a:pos x="connsiteX3320" y="connsiteY3320"/>
              </a:cxn>
              <a:cxn ang="0">
                <a:pos x="connsiteX3321" y="connsiteY3321"/>
              </a:cxn>
              <a:cxn ang="0">
                <a:pos x="connsiteX3322" y="connsiteY3322"/>
              </a:cxn>
              <a:cxn ang="0">
                <a:pos x="connsiteX3323" y="connsiteY3323"/>
              </a:cxn>
              <a:cxn ang="0">
                <a:pos x="connsiteX3324" y="connsiteY3324"/>
              </a:cxn>
              <a:cxn ang="0">
                <a:pos x="connsiteX3325" y="connsiteY3325"/>
              </a:cxn>
              <a:cxn ang="0">
                <a:pos x="connsiteX3326" y="connsiteY3326"/>
              </a:cxn>
              <a:cxn ang="0">
                <a:pos x="connsiteX3327" y="connsiteY3327"/>
              </a:cxn>
              <a:cxn ang="0">
                <a:pos x="connsiteX3328" y="connsiteY3328"/>
              </a:cxn>
              <a:cxn ang="0">
                <a:pos x="connsiteX3329" y="connsiteY3329"/>
              </a:cxn>
              <a:cxn ang="0">
                <a:pos x="connsiteX3330" y="connsiteY3330"/>
              </a:cxn>
              <a:cxn ang="0">
                <a:pos x="connsiteX3331" y="connsiteY3331"/>
              </a:cxn>
              <a:cxn ang="0">
                <a:pos x="connsiteX3332" y="connsiteY3332"/>
              </a:cxn>
              <a:cxn ang="0">
                <a:pos x="connsiteX3333" y="connsiteY3333"/>
              </a:cxn>
              <a:cxn ang="0">
                <a:pos x="connsiteX3334" y="connsiteY3334"/>
              </a:cxn>
              <a:cxn ang="0">
                <a:pos x="connsiteX3335" y="connsiteY3335"/>
              </a:cxn>
              <a:cxn ang="0">
                <a:pos x="connsiteX3336" y="connsiteY3336"/>
              </a:cxn>
              <a:cxn ang="0">
                <a:pos x="connsiteX3337" y="connsiteY3337"/>
              </a:cxn>
              <a:cxn ang="0">
                <a:pos x="connsiteX3338" y="connsiteY3338"/>
              </a:cxn>
              <a:cxn ang="0">
                <a:pos x="connsiteX3339" y="connsiteY3339"/>
              </a:cxn>
              <a:cxn ang="0">
                <a:pos x="connsiteX3340" y="connsiteY3340"/>
              </a:cxn>
              <a:cxn ang="0">
                <a:pos x="connsiteX3341" y="connsiteY3341"/>
              </a:cxn>
              <a:cxn ang="0">
                <a:pos x="connsiteX3342" y="connsiteY3342"/>
              </a:cxn>
              <a:cxn ang="0">
                <a:pos x="connsiteX3343" y="connsiteY3343"/>
              </a:cxn>
              <a:cxn ang="0">
                <a:pos x="connsiteX3344" y="connsiteY3344"/>
              </a:cxn>
              <a:cxn ang="0">
                <a:pos x="connsiteX3345" y="connsiteY3345"/>
              </a:cxn>
              <a:cxn ang="0">
                <a:pos x="connsiteX3346" y="connsiteY3346"/>
              </a:cxn>
              <a:cxn ang="0">
                <a:pos x="connsiteX3347" y="connsiteY3347"/>
              </a:cxn>
              <a:cxn ang="0">
                <a:pos x="connsiteX3348" y="connsiteY3348"/>
              </a:cxn>
              <a:cxn ang="0">
                <a:pos x="connsiteX3349" y="connsiteY3349"/>
              </a:cxn>
              <a:cxn ang="0">
                <a:pos x="connsiteX3350" y="connsiteY3350"/>
              </a:cxn>
              <a:cxn ang="0">
                <a:pos x="connsiteX3351" y="connsiteY3351"/>
              </a:cxn>
              <a:cxn ang="0">
                <a:pos x="connsiteX3352" y="connsiteY3352"/>
              </a:cxn>
              <a:cxn ang="0">
                <a:pos x="connsiteX3353" y="connsiteY3353"/>
              </a:cxn>
              <a:cxn ang="0">
                <a:pos x="connsiteX3354" y="connsiteY3354"/>
              </a:cxn>
              <a:cxn ang="0">
                <a:pos x="connsiteX3355" y="connsiteY3355"/>
              </a:cxn>
              <a:cxn ang="0">
                <a:pos x="connsiteX3356" y="connsiteY3356"/>
              </a:cxn>
              <a:cxn ang="0">
                <a:pos x="connsiteX3357" y="connsiteY3357"/>
              </a:cxn>
              <a:cxn ang="0">
                <a:pos x="connsiteX3358" y="connsiteY3358"/>
              </a:cxn>
              <a:cxn ang="0">
                <a:pos x="connsiteX3359" y="connsiteY3359"/>
              </a:cxn>
              <a:cxn ang="0">
                <a:pos x="connsiteX3360" y="connsiteY3360"/>
              </a:cxn>
              <a:cxn ang="0">
                <a:pos x="connsiteX3361" y="connsiteY3361"/>
              </a:cxn>
              <a:cxn ang="0">
                <a:pos x="connsiteX3362" y="connsiteY3362"/>
              </a:cxn>
              <a:cxn ang="0">
                <a:pos x="connsiteX3363" y="connsiteY3363"/>
              </a:cxn>
              <a:cxn ang="0">
                <a:pos x="connsiteX3364" y="connsiteY3364"/>
              </a:cxn>
              <a:cxn ang="0">
                <a:pos x="connsiteX3365" y="connsiteY3365"/>
              </a:cxn>
              <a:cxn ang="0">
                <a:pos x="connsiteX3366" y="connsiteY3366"/>
              </a:cxn>
              <a:cxn ang="0">
                <a:pos x="connsiteX3367" y="connsiteY3367"/>
              </a:cxn>
              <a:cxn ang="0">
                <a:pos x="connsiteX3368" y="connsiteY3368"/>
              </a:cxn>
              <a:cxn ang="0">
                <a:pos x="connsiteX3369" y="connsiteY3369"/>
              </a:cxn>
              <a:cxn ang="0">
                <a:pos x="connsiteX3370" y="connsiteY3370"/>
              </a:cxn>
              <a:cxn ang="0">
                <a:pos x="connsiteX3371" y="connsiteY3371"/>
              </a:cxn>
              <a:cxn ang="0">
                <a:pos x="connsiteX3372" y="connsiteY3372"/>
              </a:cxn>
              <a:cxn ang="0">
                <a:pos x="connsiteX3373" y="connsiteY3373"/>
              </a:cxn>
              <a:cxn ang="0">
                <a:pos x="connsiteX3374" y="connsiteY3374"/>
              </a:cxn>
              <a:cxn ang="0">
                <a:pos x="connsiteX3375" y="connsiteY3375"/>
              </a:cxn>
              <a:cxn ang="0">
                <a:pos x="connsiteX3376" y="connsiteY3376"/>
              </a:cxn>
              <a:cxn ang="0">
                <a:pos x="connsiteX3377" y="connsiteY3377"/>
              </a:cxn>
              <a:cxn ang="0">
                <a:pos x="connsiteX3378" y="connsiteY3378"/>
              </a:cxn>
              <a:cxn ang="0">
                <a:pos x="connsiteX3379" y="connsiteY3379"/>
              </a:cxn>
              <a:cxn ang="0">
                <a:pos x="connsiteX3380" y="connsiteY3380"/>
              </a:cxn>
              <a:cxn ang="0">
                <a:pos x="connsiteX3381" y="connsiteY3381"/>
              </a:cxn>
              <a:cxn ang="0">
                <a:pos x="connsiteX3382" y="connsiteY3382"/>
              </a:cxn>
              <a:cxn ang="0">
                <a:pos x="connsiteX3383" y="connsiteY3383"/>
              </a:cxn>
              <a:cxn ang="0">
                <a:pos x="connsiteX3384" y="connsiteY3384"/>
              </a:cxn>
              <a:cxn ang="0">
                <a:pos x="connsiteX3385" y="connsiteY3385"/>
              </a:cxn>
              <a:cxn ang="0">
                <a:pos x="connsiteX3386" y="connsiteY3386"/>
              </a:cxn>
              <a:cxn ang="0">
                <a:pos x="connsiteX3387" y="connsiteY3387"/>
              </a:cxn>
              <a:cxn ang="0">
                <a:pos x="connsiteX3388" y="connsiteY3388"/>
              </a:cxn>
              <a:cxn ang="0">
                <a:pos x="connsiteX3389" y="connsiteY3389"/>
              </a:cxn>
              <a:cxn ang="0">
                <a:pos x="connsiteX3390" y="connsiteY3390"/>
              </a:cxn>
              <a:cxn ang="0">
                <a:pos x="connsiteX3391" y="connsiteY3391"/>
              </a:cxn>
              <a:cxn ang="0">
                <a:pos x="connsiteX3392" y="connsiteY3392"/>
              </a:cxn>
              <a:cxn ang="0">
                <a:pos x="connsiteX3393" y="connsiteY3393"/>
              </a:cxn>
              <a:cxn ang="0">
                <a:pos x="connsiteX3394" y="connsiteY3394"/>
              </a:cxn>
              <a:cxn ang="0">
                <a:pos x="connsiteX3395" y="connsiteY3395"/>
              </a:cxn>
              <a:cxn ang="0">
                <a:pos x="connsiteX3396" y="connsiteY3396"/>
              </a:cxn>
              <a:cxn ang="0">
                <a:pos x="connsiteX3397" y="connsiteY3397"/>
              </a:cxn>
              <a:cxn ang="0">
                <a:pos x="connsiteX3398" y="connsiteY3398"/>
              </a:cxn>
              <a:cxn ang="0">
                <a:pos x="connsiteX3399" y="connsiteY3399"/>
              </a:cxn>
              <a:cxn ang="0">
                <a:pos x="connsiteX3400" y="connsiteY3400"/>
              </a:cxn>
              <a:cxn ang="0">
                <a:pos x="connsiteX3401" y="connsiteY3401"/>
              </a:cxn>
              <a:cxn ang="0">
                <a:pos x="connsiteX3402" y="connsiteY3402"/>
              </a:cxn>
              <a:cxn ang="0">
                <a:pos x="connsiteX3403" y="connsiteY3403"/>
              </a:cxn>
              <a:cxn ang="0">
                <a:pos x="connsiteX3404" y="connsiteY3404"/>
              </a:cxn>
              <a:cxn ang="0">
                <a:pos x="connsiteX3405" y="connsiteY3405"/>
              </a:cxn>
              <a:cxn ang="0">
                <a:pos x="connsiteX3406" y="connsiteY3406"/>
              </a:cxn>
              <a:cxn ang="0">
                <a:pos x="connsiteX3407" y="connsiteY3407"/>
              </a:cxn>
              <a:cxn ang="0">
                <a:pos x="connsiteX3408" y="connsiteY3408"/>
              </a:cxn>
              <a:cxn ang="0">
                <a:pos x="connsiteX3409" y="connsiteY3409"/>
              </a:cxn>
              <a:cxn ang="0">
                <a:pos x="connsiteX3410" y="connsiteY3410"/>
              </a:cxn>
              <a:cxn ang="0">
                <a:pos x="connsiteX3411" y="connsiteY3411"/>
              </a:cxn>
              <a:cxn ang="0">
                <a:pos x="connsiteX3412" y="connsiteY3412"/>
              </a:cxn>
              <a:cxn ang="0">
                <a:pos x="connsiteX3413" y="connsiteY3413"/>
              </a:cxn>
              <a:cxn ang="0">
                <a:pos x="connsiteX3414" y="connsiteY3414"/>
              </a:cxn>
              <a:cxn ang="0">
                <a:pos x="connsiteX3415" y="connsiteY3415"/>
              </a:cxn>
              <a:cxn ang="0">
                <a:pos x="connsiteX3416" y="connsiteY3416"/>
              </a:cxn>
              <a:cxn ang="0">
                <a:pos x="connsiteX3417" y="connsiteY3417"/>
              </a:cxn>
              <a:cxn ang="0">
                <a:pos x="connsiteX3418" y="connsiteY3418"/>
              </a:cxn>
              <a:cxn ang="0">
                <a:pos x="connsiteX3419" y="connsiteY3419"/>
              </a:cxn>
              <a:cxn ang="0">
                <a:pos x="connsiteX3420" y="connsiteY3420"/>
              </a:cxn>
              <a:cxn ang="0">
                <a:pos x="connsiteX3421" y="connsiteY3421"/>
              </a:cxn>
              <a:cxn ang="0">
                <a:pos x="connsiteX3422" y="connsiteY3422"/>
              </a:cxn>
              <a:cxn ang="0">
                <a:pos x="connsiteX3423" y="connsiteY3423"/>
              </a:cxn>
              <a:cxn ang="0">
                <a:pos x="connsiteX3424" y="connsiteY3424"/>
              </a:cxn>
              <a:cxn ang="0">
                <a:pos x="connsiteX3425" y="connsiteY3425"/>
              </a:cxn>
              <a:cxn ang="0">
                <a:pos x="connsiteX3426" y="connsiteY3426"/>
              </a:cxn>
              <a:cxn ang="0">
                <a:pos x="connsiteX3427" y="connsiteY3427"/>
              </a:cxn>
              <a:cxn ang="0">
                <a:pos x="connsiteX3428" y="connsiteY3428"/>
              </a:cxn>
              <a:cxn ang="0">
                <a:pos x="connsiteX3429" y="connsiteY3429"/>
              </a:cxn>
              <a:cxn ang="0">
                <a:pos x="connsiteX3430" y="connsiteY3430"/>
              </a:cxn>
              <a:cxn ang="0">
                <a:pos x="connsiteX3431" y="connsiteY3431"/>
              </a:cxn>
              <a:cxn ang="0">
                <a:pos x="connsiteX3432" y="connsiteY3432"/>
              </a:cxn>
              <a:cxn ang="0">
                <a:pos x="connsiteX3433" y="connsiteY3433"/>
              </a:cxn>
              <a:cxn ang="0">
                <a:pos x="connsiteX3434" y="connsiteY3434"/>
              </a:cxn>
              <a:cxn ang="0">
                <a:pos x="connsiteX3435" y="connsiteY3435"/>
              </a:cxn>
              <a:cxn ang="0">
                <a:pos x="connsiteX3436" y="connsiteY3436"/>
              </a:cxn>
              <a:cxn ang="0">
                <a:pos x="connsiteX3437" y="connsiteY3437"/>
              </a:cxn>
              <a:cxn ang="0">
                <a:pos x="connsiteX3438" y="connsiteY3438"/>
              </a:cxn>
              <a:cxn ang="0">
                <a:pos x="connsiteX3439" y="connsiteY3439"/>
              </a:cxn>
              <a:cxn ang="0">
                <a:pos x="connsiteX3440" y="connsiteY3440"/>
              </a:cxn>
              <a:cxn ang="0">
                <a:pos x="connsiteX3441" y="connsiteY3441"/>
              </a:cxn>
              <a:cxn ang="0">
                <a:pos x="connsiteX3442" y="connsiteY3442"/>
              </a:cxn>
              <a:cxn ang="0">
                <a:pos x="connsiteX3443" y="connsiteY3443"/>
              </a:cxn>
              <a:cxn ang="0">
                <a:pos x="connsiteX3444" y="connsiteY3444"/>
              </a:cxn>
              <a:cxn ang="0">
                <a:pos x="connsiteX3445" y="connsiteY3445"/>
              </a:cxn>
              <a:cxn ang="0">
                <a:pos x="connsiteX3446" y="connsiteY3446"/>
              </a:cxn>
              <a:cxn ang="0">
                <a:pos x="connsiteX3447" y="connsiteY3447"/>
              </a:cxn>
              <a:cxn ang="0">
                <a:pos x="connsiteX3448" y="connsiteY3448"/>
              </a:cxn>
              <a:cxn ang="0">
                <a:pos x="connsiteX3449" y="connsiteY3449"/>
              </a:cxn>
              <a:cxn ang="0">
                <a:pos x="connsiteX3450" y="connsiteY3450"/>
              </a:cxn>
              <a:cxn ang="0">
                <a:pos x="connsiteX3451" y="connsiteY3451"/>
              </a:cxn>
              <a:cxn ang="0">
                <a:pos x="connsiteX3452" y="connsiteY3452"/>
              </a:cxn>
              <a:cxn ang="0">
                <a:pos x="connsiteX3453" y="connsiteY3453"/>
              </a:cxn>
              <a:cxn ang="0">
                <a:pos x="connsiteX3454" y="connsiteY3454"/>
              </a:cxn>
              <a:cxn ang="0">
                <a:pos x="connsiteX3455" y="connsiteY3455"/>
              </a:cxn>
              <a:cxn ang="0">
                <a:pos x="connsiteX3456" y="connsiteY3456"/>
              </a:cxn>
              <a:cxn ang="0">
                <a:pos x="connsiteX3457" y="connsiteY3457"/>
              </a:cxn>
              <a:cxn ang="0">
                <a:pos x="connsiteX3458" y="connsiteY3458"/>
              </a:cxn>
              <a:cxn ang="0">
                <a:pos x="connsiteX3459" y="connsiteY3459"/>
              </a:cxn>
              <a:cxn ang="0">
                <a:pos x="connsiteX3460" y="connsiteY3460"/>
              </a:cxn>
              <a:cxn ang="0">
                <a:pos x="connsiteX3461" y="connsiteY3461"/>
              </a:cxn>
              <a:cxn ang="0">
                <a:pos x="connsiteX3462" y="connsiteY3462"/>
              </a:cxn>
              <a:cxn ang="0">
                <a:pos x="connsiteX3463" y="connsiteY3463"/>
              </a:cxn>
              <a:cxn ang="0">
                <a:pos x="connsiteX3464" y="connsiteY3464"/>
              </a:cxn>
              <a:cxn ang="0">
                <a:pos x="connsiteX3465" y="connsiteY3465"/>
              </a:cxn>
              <a:cxn ang="0">
                <a:pos x="connsiteX3466" y="connsiteY3466"/>
              </a:cxn>
              <a:cxn ang="0">
                <a:pos x="connsiteX3467" y="connsiteY3467"/>
              </a:cxn>
              <a:cxn ang="0">
                <a:pos x="connsiteX3468" y="connsiteY3468"/>
              </a:cxn>
              <a:cxn ang="0">
                <a:pos x="connsiteX3469" y="connsiteY3469"/>
              </a:cxn>
              <a:cxn ang="0">
                <a:pos x="connsiteX3470" y="connsiteY3470"/>
              </a:cxn>
              <a:cxn ang="0">
                <a:pos x="connsiteX3471" y="connsiteY3471"/>
              </a:cxn>
              <a:cxn ang="0">
                <a:pos x="connsiteX3472" y="connsiteY3472"/>
              </a:cxn>
              <a:cxn ang="0">
                <a:pos x="connsiteX3473" y="connsiteY3473"/>
              </a:cxn>
              <a:cxn ang="0">
                <a:pos x="connsiteX3474" y="connsiteY3474"/>
              </a:cxn>
              <a:cxn ang="0">
                <a:pos x="connsiteX3475" y="connsiteY3475"/>
              </a:cxn>
              <a:cxn ang="0">
                <a:pos x="connsiteX3476" y="connsiteY3476"/>
              </a:cxn>
              <a:cxn ang="0">
                <a:pos x="connsiteX3477" y="connsiteY3477"/>
              </a:cxn>
              <a:cxn ang="0">
                <a:pos x="connsiteX3478" y="connsiteY3478"/>
              </a:cxn>
              <a:cxn ang="0">
                <a:pos x="connsiteX3479" y="connsiteY3479"/>
              </a:cxn>
              <a:cxn ang="0">
                <a:pos x="connsiteX3480" y="connsiteY3480"/>
              </a:cxn>
              <a:cxn ang="0">
                <a:pos x="connsiteX3481" y="connsiteY3481"/>
              </a:cxn>
              <a:cxn ang="0">
                <a:pos x="connsiteX3482" y="connsiteY3482"/>
              </a:cxn>
              <a:cxn ang="0">
                <a:pos x="connsiteX3483" y="connsiteY3483"/>
              </a:cxn>
              <a:cxn ang="0">
                <a:pos x="connsiteX3484" y="connsiteY3484"/>
              </a:cxn>
              <a:cxn ang="0">
                <a:pos x="connsiteX3485" y="connsiteY3485"/>
              </a:cxn>
              <a:cxn ang="0">
                <a:pos x="connsiteX3486" y="connsiteY3486"/>
              </a:cxn>
              <a:cxn ang="0">
                <a:pos x="connsiteX3487" y="connsiteY3487"/>
              </a:cxn>
              <a:cxn ang="0">
                <a:pos x="connsiteX3488" y="connsiteY3488"/>
              </a:cxn>
              <a:cxn ang="0">
                <a:pos x="connsiteX3489" y="connsiteY3489"/>
              </a:cxn>
              <a:cxn ang="0">
                <a:pos x="connsiteX3490" y="connsiteY3490"/>
              </a:cxn>
              <a:cxn ang="0">
                <a:pos x="connsiteX3491" y="connsiteY3491"/>
              </a:cxn>
              <a:cxn ang="0">
                <a:pos x="connsiteX3492" y="connsiteY3492"/>
              </a:cxn>
              <a:cxn ang="0">
                <a:pos x="connsiteX3493" y="connsiteY3493"/>
              </a:cxn>
              <a:cxn ang="0">
                <a:pos x="connsiteX3494" y="connsiteY3494"/>
              </a:cxn>
              <a:cxn ang="0">
                <a:pos x="connsiteX3495" y="connsiteY3495"/>
              </a:cxn>
              <a:cxn ang="0">
                <a:pos x="connsiteX3496" y="connsiteY3496"/>
              </a:cxn>
              <a:cxn ang="0">
                <a:pos x="connsiteX3497" y="connsiteY3497"/>
              </a:cxn>
              <a:cxn ang="0">
                <a:pos x="connsiteX3498" y="connsiteY3498"/>
              </a:cxn>
              <a:cxn ang="0">
                <a:pos x="connsiteX3499" y="connsiteY3499"/>
              </a:cxn>
              <a:cxn ang="0">
                <a:pos x="connsiteX3500" y="connsiteY3500"/>
              </a:cxn>
              <a:cxn ang="0">
                <a:pos x="connsiteX3501" y="connsiteY3501"/>
              </a:cxn>
              <a:cxn ang="0">
                <a:pos x="connsiteX3502" y="connsiteY3502"/>
              </a:cxn>
              <a:cxn ang="0">
                <a:pos x="connsiteX3503" y="connsiteY3503"/>
              </a:cxn>
              <a:cxn ang="0">
                <a:pos x="connsiteX3504" y="connsiteY3504"/>
              </a:cxn>
              <a:cxn ang="0">
                <a:pos x="connsiteX3505" y="connsiteY3505"/>
              </a:cxn>
              <a:cxn ang="0">
                <a:pos x="connsiteX3506" y="connsiteY3506"/>
              </a:cxn>
              <a:cxn ang="0">
                <a:pos x="connsiteX3507" y="connsiteY3507"/>
              </a:cxn>
              <a:cxn ang="0">
                <a:pos x="connsiteX3508" y="connsiteY3508"/>
              </a:cxn>
              <a:cxn ang="0">
                <a:pos x="connsiteX3509" y="connsiteY3509"/>
              </a:cxn>
              <a:cxn ang="0">
                <a:pos x="connsiteX3510" y="connsiteY3510"/>
              </a:cxn>
              <a:cxn ang="0">
                <a:pos x="connsiteX3511" y="connsiteY3511"/>
              </a:cxn>
              <a:cxn ang="0">
                <a:pos x="connsiteX3512" y="connsiteY3512"/>
              </a:cxn>
              <a:cxn ang="0">
                <a:pos x="connsiteX3513" y="connsiteY3513"/>
              </a:cxn>
              <a:cxn ang="0">
                <a:pos x="connsiteX3514" y="connsiteY3514"/>
              </a:cxn>
              <a:cxn ang="0">
                <a:pos x="connsiteX3515" y="connsiteY3515"/>
              </a:cxn>
              <a:cxn ang="0">
                <a:pos x="connsiteX3516" y="connsiteY3516"/>
              </a:cxn>
              <a:cxn ang="0">
                <a:pos x="connsiteX3517" y="connsiteY3517"/>
              </a:cxn>
              <a:cxn ang="0">
                <a:pos x="connsiteX3518" y="connsiteY3518"/>
              </a:cxn>
              <a:cxn ang="0">
                <a:pos x="connsiteX3519" y="connsiteY3519"/>
              </a:cxn>
              <a:cxn ang="0">
                <a:pos x="connsiteX3520" y="connsiteY3520"/>
              </a:cxn>
              <a:cxn ang="0">
                <a:pos x="connsiteX3521" y="connsiteY3521"/>
              </a:cxn>
              <a:cxn ang="0">
                <a:pos x="connsiteX3522" y="connsiteY3522"/>
              </a:cxn>
              <a:cxn ang="0">
                <a:pos x="connsiteX3523" y="connsiteY3523"/>
              </a:cxn>
              <a:cxn ang="0">
                <a:pos x="connsiteX3524" y="connsiteY3524"/>
              </a:cxn>
              <a:cxn ang="0">
                <a:pos x="connsiteX3525" y="connsiteY3525"/>
              </a:cxn>
              <a:cxn ang="0">
                <a:pos x="connsiteX3526" y="connsiteY3526"/>
              </a:cxn>
              <a:cxn ang="0">
                <a:pos x="connsiteX3527" y="connsiteY3527"/>
              </a:cxn>
              <a:cxn ang="0">
                <a:pos x="connsiteX3528" y="connsiteY3528"/>
              </a:cxn>
              <a:cxn ang="0">
                <a:pos x="connsiteX3529" y="connsiteY3529"/>
              </a:cxn>
              <a:cxn ang="0">
                <a:pos x="connsiteX3530" y="connsiteY3530"/>
              </a:cxn>
              <a:cxn ang="0">
                <a:pos x="connsiteX3531" y="connsiteY3531"/>
              </a:cxn>
              <a:cxn ang="0">
                <a:pos x="connsiteX3532" y="connsiteY3532"/>
              </a:cxn>
              <a:cxn ang="0">
                <a:pos x="connsiteX3533" y="connsiteY3533"/>
              </a:cxn>
              <a:cxn ang="0">
                <a:pos x="connsiteX3534" y="connsiteY3534"/>
              </a:cxn>
              <a:cxn ang="0">
                <a:pos x="connsiteX3535" y="connsiteY3535"/>
              </a:cxn>
              <a:cxn ang="0">
                <a:pos x="connsiteX3536" y="connsiteY3536"/>
              </a:cxn>
              <a:cxn ang="0">
                <a:pos x="connsiteX3537" y="connsiteY3537"/>
              </a:cxn>
              <a:cxn ang="0">
                <a:pos x="connsiteX3538" y="connsiteY3538"/>
              </a:cxn>
              <a:cxn ang="0">
                <a:pos x="connsiteX3539" y="connsiteY3539"/>
              </a:cxn>
              <a:cxn ang="0">
                <a:pos x="connsiteX3540" y="connsiteY3540"/>
              </a:cxn>
              <a:cxn ang="0">
                <a:pos x="connsiteX3541" y="connsiteY3541"/>
              </a:cxn>
              <a:cxn ang="0">
                <a:pos x="connsiteX3542" y="connsiteY3542"/>
              </a:cxn>
              <a:cxn ang="0">
                <a:pos x="connsiteX3543" y="connsiteY3543"/>
              </a:cxn>
              <a:cxn ang="0">
                <a:pos x="connsiteX3544" y="connsiteY3544"/>
              </a:cxn>
              <a:cxn ang="0">
                <a:pos x="connsiteX3545" y="connsiteY3545"/>
              </a:cxn>
              <a:cxn ang="0">
                <a:pos x="connsiteX3546" y="connsiteY3546"/>
              </a:cxn>
              <a:cxn ang="0">
                <a:pos x="connsiteX3547" y="connsiteY3547"/>
              </a:cxn>
              <a:cxn ang="0">
                <a:pos x="connsiteX3548" y="connsiteY3548"/>
              </a:cxn>
              <a:cxn ang="0">
                <a:pos x="connsiteX3549" y="connsiteY3549"/>
              </a:cxn>
              <a:cxn ang="0">
                <a:pos x="connsiteX3550" y="connsiteY3550"/>
              </a:cxn>
              <a:cxn ang="0">
                <a:pos x="connsiteX3551" y="connsiteY3551"/>
              </a:cxn>
              <a:cxn ang="0">
                <a:pos x="connsiteX3552" y="connsiteY3552"/>
              </a:cxn>
              <a:cxn ang="0">
                <a:pos x="connsiteX3553" y="connsiteY3553"/>
              </a:cxn>
              <a:cxn ang="0">
                <a:pos x="connsiteX3554" y="connsiteY3554"/>
              </a:cxn>
              <a:cxn ang="0">
                <a:pos x="connsiteX3555" y="connsiteY3555"/>
              </a:cxn>
              <a:cxn ang="0">
                <a:pos x="connsiteX3556" y="connsiteY3556"/>
              </a:cxn>
              <a:cxn ang="0">
                <a:pos x="connsiteX3557" y="connsiteY3557"/>
              </a:cxn>
              <a:cxn ang="0">
                <a:pos x="connsiteX3558" y="connsiteY3558"/>
              </a:cxn>
              <a:cxn ang="0">
                <a:pos x="connsiteX3559" y="connsiteY3559"/>
              </a:cxn>
              <a:cxn ang="0">
                <a:pos x="connsiteX3560" y="connsiteY3560"/>
              </a:cxn>
              <a:cxn ang="0">
                <a:pos x="connsiteX3561" y="connsiteY3561"/>
              </a:cxn>
              <a:cxn ang="0">
                <a:pos x="connsiteX3562" y="connsiteY3562"/>
              </a:cxn>
              <a:cxn ang="0">
                <a:pos x="connsiteX3563" y="connsiteY3563"/>
              </a:cxn>
              <a:cxn ang="0">
                <a:pos x="connsiteX3564" y="connsiteY3564"/>
              </a:cxn>
              <a:cxn ang="0">
                <a:pos x="connsiteX3565" y="connsiteY3565"/>
              </a:cxn>
              <a:cxn ang="0">
                <a:pos x="connsiteX3566" y="connsiteY3566"/>
              </a:cxn>
              <a:cxn ang="0">
                <a:pos x="connsiteX3567" y="connsiteY3567"/>
              </a:cxn>
              <a:cxn ang="0">
                <a:pos x="connsiteX3568" y="connsiteY3568"/>
              </a:cxn>
              <a:cxn ang="0">
                <a:pos x="connsiteX3569" y="connsiteY3569"/>
              </a:cxn>
              <a:cxn ang="0">
                <a:pos x="connsiteX3570" y="connsiteY3570"/>
              </a:cxn>
              <a:cxn ang="0">
                <a:pos x="connsiteX3571" y="connsiteY3571"/>
              </a:cxn>
              <a:cxn ang="0">
                <a:pos x="connsiteX3572" y="connsiteY3572"/>
              </a:cxn>
              <a:cxn ang="0">
                <a:pos x="connsiteX3573" y="connsiteY3573"/>
              </a:cxn>
              <a:cxn ang="0">
                <a:pos x="connsiteX3574" y="connsiteY3574"/>
              </a:cxn>
              <a:cxn ang="0">
                <a:pos x="connsiteX3575" y="connsiteY3575"/>
              </a:cxn>
              <a:cxn ang="0">
                <a:pos x="connsiteX3576" y="connsiteY3576"/>
              </a:cxn>
              <a:cxn ang="0">
                <a:pos x="connsiteX3577" y="connsiteY3577"/>
              </a:cxn>
              <a:cxn ang="0">
                <a:pos x="connsiteX3578" y="connsiteY3578"/>
              </a:cxn>
              <a:cxn ang="0">
                <a:pos x="connsiteX3579" y="connsiteY3579"/>
              </a:cxn>
              <a:cxn ang="0">
                <a:pos x="connsiteX3580" y="connsiteY3580"/>
              </a:cxn>
              <a:cxn ang="0">
                <a:pos x="connsiteX3581" y="connsiteY3581"/>
              </a:cxn>
              <a:cxn ang="0">
                <a:pos x="connsiteX3582" y="connsiteY3582"/>
              </a:cxn>
              <a:cxn ang="0">
                <a:pos x="connsiteX3583" y="connsiteY3583"/>
              </a:cxn>
              <a:cxn ang="0">
                <a:pos x="connsiteX3584" y="connsiteY3584"/>
              </a:cxn>
              <a:cxn ang="0">
                <a:pos x="connsiteX3585" y="connsiteY3585"/>
              </a:cxn>
              <a:cxn ang="0">
                <a:pos x="connsiteX3586" y="connsiteY3586"/>
              </a:cxn>
              <a:cxn ang="0">
                <a:pos x="connsiteX3587" y="connsiteY3587"/>
              </a:cxn>
              <a:cxn ang="0">
                <a:pos x="connsiteX3588" y="connsiteY3588"/>
              </a:cxn>
              <a:cxn ang="0">
                <a:pos x="connsiteX3589" y="connsiteY3589"/>
              </a:cxn>
              <a:cxn ang="0">
                <a:pos x="connsiteX3590" y="connsiteY3590"/>
              </a:cxn>
              <a:cxn ang="0">
                <a:pos x="connsiteX3591" y="connsiteY3591"/>
              </a:cxn>
              <a:cxn ang="0">
                <a:pos x="connsiteX3592" y="connsiteY3592"/>
              </a:cxn>
              <a:cxn ang="0">
                <a:pos x="connsiteX3593" y="connsiteY3593"/>
              </a:cxn>
              <a:cxn ang="0">
                <a:pos x="connsiteX3594" y="connsiteY3594"/>
              </a:cxn>
              <a:cxn ang="0">
                <a:pos x="connsiteX3595" y="connsiteY3595"/>
              </a:cxn>
              <a:cxn ang="0">
                <a:pos x="connsiteX3596" y="connsiteY3596"/>
              </a:cxn>
              <a:cxn ang="0">
                <a:pos x="connsiteX3597" y="connsiteY3597"/>
              </a:cxn>
              <a:cxn ang="0">
                <a:pos x="connsiteX3598" y="connsiteY3598"/>
              </a:cxn>
              <a:cxn ang="0">
                <a:pos x="connsiteX3599" y="connsiteY3599"/>
              </a:cxn>
              <a:cxn ang="0">
                <a:pos x="connsiteX3600" y="connsiteY3600"/>
              </a:cxn>
              <a:cxn ang="0">
                <a:pos x="connsiteX3601" y="connsiteY3601"/>
              </a:cxn>
              <a:cxn ang="0">
                <a:pos x="connsiteX3602" y="connsiteY3602"/>
              </a:cxn>
              <a:cxn ang="0">
                <a:pos x="connsiteX3603" y="connsiteY3603"/>
              </a:cxn>
              <a:cxn ang="0">
                <a:pos x="connsiteX3604" y="connsiteY3604"/>
              </a:cxn>
              <a:cxn ang="0">
                <a:pos x="connsiteX3605" y="connsiteY3605"/>
              </a:cxn>
              <a:cxn ang="0">
                <a:pos x="connsiteX3606" y="connsiteY3606"/>
              </a:cxn>
              <a:cxn ang="0">
                <a:pos x="connsiteX3607" y="connsiteY3607"/>
              </a:cxn>
              <a:cxn ang="0">
                <a:pos x="connsiteX3608" y="connsiteY3608"/>
              </a:cxn>
              <a:cxn ang="0">
                <a:pos x="connsiteX3609" y="connsiteY3609"/>
              </a:cxn>
              <a:cxn ang="0">
                <a:pos x="connsiteX3610" y="connsiteY3610"/>
              </a:cxn>
              <a:cxn ang="0">
                <a:pos x="connsiteX3611" y="connsiteY3611"/>
              </a:cxn>
              <a:cxn ang="0">
                <a:pos x="connsiteX3612" y="connsiteY3612"/>
              </a:cxn>
              <a:cxn ang="0">
                <a:pos x="connsiteX3613" y="connsiteY3613"/>
              </a:cxn>
              <a:cxn ang="0">
                <a:pos x="connsiteX3614" y="connsiteY3614"/>
              </a:cxn>
              <a:cxn ang="0">
                <a:pos x="connsiteX3615" y="connsiteY3615"/>
              </a:cxn>
              <a:cxn ang="0">
                <a:pos x="connsiteX3616" y="connsiteY3616"/>
              </a:cxn>
              <a:cxn ang="0">
                <a:pos x="connsiteX3617" y="connsiteY3617"/>
              </a:cxn>
              <a:cxn ang="0">
                <a:pos x="connsiteX3618" y="connsiteY3618"/>
              </a:cxn>
              <a:cxn ang="0">
                <a:pos x="connsiteX3619" y="connsiteY3619"/>
              </a:cxn>
              <a:cxn ang="0">
                <a:pos x="connsiteX3620" y="connsiteY3620"/>
              </a:cxn>
              <a:cxn ang="0">
                <a:pos x="connsiteX3621" y="connsiteY3621"/>
              </a:cxn>
              <a:cxn ang="0">
                <a:pos x="connsiteX3622" y="connsiteY3622"/>
              </a:cxn>
              <a:cxn ang="0">
                <a:pos x="connsiteX3623" y="connsiteY3623"/>
              </a:cxn>
              <a:cxn ang="0">
                <a:pos x="connsiteX3624" y="connsiteY3624"/>
              </a:cxn>
              <a:cxn ang="0">
                <a:pos x="connsiteX3625" y="connsiteY3625"/>
              </a:cxn>
              <a:cxn ang="0">
                <a:pos x="connsiteX3626" y="connsiteY3626"/>
              </a:cxn>
              <a:cxn ang="0">
                <a:pos x="connsiteX3627" y="connsiteY3627"/>
              </a:cxn>
              <a:cxn ang="0">
                <a:pos x="connsiteX3628" y="connsiteY3628"/>
              </a:cxn>
              <a:cxn ang="0">
                <a:pos x="connsiteX3629" y="connsiteY3629"/>
              </a:cxn>
              <a:cxn ang="0">
                <a:pos x="connsiteX3630" y="connsiteY3630"/>
              </a:cxn>
              <a:cxn ang="0">
                <a:pos x="connsiteX3631" y="connsiteY3631"/>
              </a:cxn>
              <a:cxn ang="0">
                <a:pos x="connsiteX3632" y="connsiteY3632"/>
              </a:cxn>
              <a:cxn ang="0">
                <a:pos x="connsiteX3633" y="connsiteY3633"/>
              </a:cxn>
              <a:cxn ang="0">
                <a:pos x="connsiteX3634" y="connsiteY3634"/>
              </a:cxn>
              <a:cxn ang="0">
                <a:pos x="connsiteX3635" y="connsiteY3635"/>
              </a:cxn>
              <a:cxn ang="0">
                <a:pos x="connsiteX3636" y="connsiteY3636"/>
              </a:cxn>
              <a:cxn ang="0">
                <a:pos x="connsiteX3637" y="connsiteY3637"/>
              </a:cxn>
              <a:cxn ang="0">
                <a:pos x="connsiteX3638" y="connsiteY3638"/>
              </a:cxn>
              <a:cxn ang="0">
                <a:pos x="connsiteX3639" y="connsiteY3639"/>
              </a:cxn>
              <a:cxn ang="0">
                <a:pos x="connsiteX3640" y="connsiteY3640"/>
              </a:cxn>
              <a:cxn ang="0">
                <a:pos x="connsiteX3641" y="connsiteY3641"/>
              </a:cxn>
              <a:cxn ang="0">
                <a:pos x="connsiteX3642" y="connsiteY3642"/>
              </a:cxn>
              <a:cxn ang="0">
                <a:pos x="connsiteX3643" y="connsiteY3643"/>
              </a:cxn>
              <a:cxn ang="0">
                <a:pos x="connsiteX3644" y="connsiteY3644"/>
              </a:cxn>
              <a:cxn ang="0">
                <a:pos x="connsiteX3645" y="connsiteY3645"/>
              </a:cxn>
              <a:cxn ang="0">
                <a:pos x="connsiteX3646" y="connsiteY3646"/>
              </a:cxn>
              <a:cxn ang="0">
                <a:pos x="connsiteX3647" y="connsiteY3647"/>
              </a:cxn>
              <a:cxn ang="0">
                <a:pos x="connsiteX3648" y="connsiteY3648"/>
              </a:cxn>
              <a:cxn ang="0">
                <a:pos x="connsiteX3649" y="connsiteY3649"/>
              </a:cxn>
              <a:cxn ang="0">
                <a:pos x="connsiteX3650" y="connsiteY3650"/>
              </a:cxn>
              <a:cxn ang="0">
                <a:pos x="connsiteX3651" y="connsiteY3651"/>
              </a:cxn>
              <a:cxn ang="0">
                <a:pos x="connsiteX3652" y="connsiteY3652"/>
              </a:cxn>
              <a:cxn ang="0">
                <a:pos x="connsiteX3653" y="connsiteY3653"/>
              </a:cxn>
              <a:cxn ang="0">
                <a:pos x="connsiteX3654" y="connsiteY3654"/>
              </a:cxn>
              <a:cxn ang="0">
                <a:pos x="connsiteX3655" y="connsiteY3655"/>
              </a:cxn>
              <a:cxn ang="0">
                <a:pos x="connsiteX3656" y="connsiteY3656"/>
              </a:cxn>
              <a:cxn ang="0">
                <a:pos x="connsiteX3657" y="connsiteY3657"/>
              </a:cxn>
              <a:cxn ang="0">
                <a:pos x="connsiteX3658" y="connsiteY3658"/>
              </a:cxn>
              <a:cxn ang="0">
                <a:pos x="connsiteX3659" y="connsiteY3659"/>
              </a:cxn>
              <a:cxn ang="0">
                <a:pos x="connsiteX3660" y="connsiteY3660"/>
              </a:cxn>
              <a:cxn ang="0">
                <a:pos x="connsiteX3661" y="connsiteY3661"/>
              </a:cxn>
              <a:cxn ang="0">
                <a:pos x="connsiteX3662" y="connsiteY3662"/>
              </a:cxn>
              <a:cxn ang="0">
                <a:pos x="connsiteX3663" y="connsiteY3663"/>
              </a:cxn>
              <a:cxn ang="0">
                <a:pos x="connsiteX3664" y="connsiteY3664"/>
              </a:cxn>
              <a:cxn ang="0">
                <a:pos x="connsiteX3665" y="connsiteY3665"/>
              </a:cxn>
              <a:cxn ang="0">
                <a:pos x="connsiteX3666" y="connsiteY3666"/>
              </a:cxn>
              <a:cxn ang="0">
                <a:pos x="connsiteX3667" y="connsiteY3667"/>
              </a:cxn>
              <a:cxn ang="0">
                <a:pos x="connsiteX3668" y="connsiteY3668"/>
              </a:cxn>
              <a:cxn ang="0">
                <a:pos x="connsiteX3669" y="connsiteY3669"/>
              </a:cxn>
              <a:cxn ang="0">
                <a:pos x="connsiteX3670" y="connsiteY3670"/>
              </a:cxn>
              <a:cxn ang="0">
                <a:pos x="connsiteX3671" y="connsiteY3671"/>
              </a:cxn>
              <a:cxn ang="0">
                <a:pos x="connsiteX3672" y="connsiteY3672"/>
              </a:cxn>
              <a:cxn ang="0">
                <a:pos x="connsiteX3673" y="connsiteY3673"/>
              </a:cxn>
              <a:cxn ang="0">
                <a:pos x="connsiteX3674" y="connsiteY3674"/>
              </a:cxn>
              <a:cxn ang="0">
                <a:pos x="connsiteX3675" y="connsiteY3675"/>
              </a:cxn>
              <a:cxn ang="0">
                <a:pos x="connsiteX3676" y="connsiteY3676"/>
              </a:cxn>
              <a:cxn ang="0">
                <a:pos x="connsiteX3677" y="connsiteY3677"/>
              </a:cxn>
              <a:cxn ang="0">
                <a:pos x="connsiteX3678" y="connsiteY3678"/>
              </a:cxn>
              <a:cxn ang="0">
                <a:pos x="connsiteX3679" y="connsiteY3679"/>
              </a:cxn>
              <a:cxn ang="0">
                <a:pos x="connsiteX3680" y="connsiteY3680"/>
              </a:cxn>
              <a:cxn ang="0">
                <a:pos x="connsiteX3681" y="connsiteY3681"/>
              </a:cxn>
              <a:cxn ang="0">
                <a:pos x="connsiteX3682" y="connsiteY3682"/>
              </a:cxn>
              <a:cxn ang="0">
                <a:pos x="connsiteX3683" y="connsiteY3683"/>
              </a:cxn>
              <a:cxn ang="0">
                <a:pos x="connsiteX3684" y="connsiteY3684"/>
              </a:cxn>
              <a:cxn ang="0">
                <a:pos x="connsiteX3685" y="connsiteY3685"/>
              </a:cxn>
              <a:cxn ang="0">
                <a:pos x="connsiteX3686" y="connsiteY3686"/>
              </a:cxn>
              <a:cxn ang="0">
                <a:pos x="connsiteX3687" y="connsiteY3687"/>
              </a:cxn>
              <a:cxn ang="0">
                <a:pos x="connsiteX3688" y="connsiteY3688"/>
              </a:cxn>
              <a:cxn ang="0">
                <a:pos x="connsiteX3689" y="connsiteY3689"/>
              </a:cxn>
              <a:cxn ang="0">
                <a:pos x="connsiteX3690" y="connsiteY3690"/>
              </a:cxn>
              <a:cxn ang="0">
                <a:pos x="connsiteX3691" y="connsiteY3691"/>
              </a:cxn>
              <a:cxn ang="0">
                <a:pos x="connsiteX3692" y="connsiteY3692"/>
              </a:cxn>
              <a:cxn ang="0">
                <a:pos x="connsiteX3693" y="connsiteY3693"/>
              </a:cxn>
              <a:cxn ang="0">
                <a:pos x="connsiteX3694" y="connsiteY3694"/>
              </a:cxn>
              <a:cxn ang="0">
                <a:pos x="connsiteX3695" y="connsiteY3695"/>
              </a:cxn>
              <a:cxn ang="0">
                <a:pos x="connsiteX3696" y="connsiteY3696"/>
              </a:cxn>
              <a:cxn ang="0">
                <a:pos x="connsiteX3697" y="connsiteY3697"/>
              </a:cxn>
              <a:cxn ang="0">
                <a:pos x="connsiteX3698" y="connsiteY3698"/>
              </a:cxn>
              <a:cxn ang="0">
                <a:pos x="connsiteX3699" y="connsiteY3699"/>
              </a:cxn>
              <a:cxn ang="0">
                <a:pos x="connsiteX3700" y="connsiteY3700"/>
              </a:cxn>
              <a:cxn ang="0">
                <a:pos x="connsiteX3701" y="connsiteY3701"/>
              </a:cxn>
              <a:cxn ang="0">
                <a:pos x="connsiteX3702" y="connsiteY3702"/>
              </a:cxn>
              <a:cxn ang="0">
                <a:pos x="connsiteX3703" y="connsiteY3703"/>
              </a:cxn>
              <a:cxn ang="0">
                <a:pos x="connsiteX3704" y="connsiteY3704"/>
              </a:cxn>
              <a:cxn ang="0">
                <a:pos x="connsiteX3705" y="connsiteY3705"/>
              </a:cxn>
              <a:cxn ang="0">
                <a:pos x="connsiteX3706" y="connsiteY3706"/>
              </a:cxn>
              <a:cxn ang="0">
                <a:pos x="connsiteX3707" y="connsiteY3707"/>
              </a:cxn>
              <a:cxn ang="0">
                <a:pos x="connsiteX3708" y="connsiteY3708"/>
              </a:cxn>
              <a:cxn ang="0">
                <a:pos x="connsiteX3709" y="connsiteY3709"/>
              </a:cxn>
              <a:cxn ang="0">
                <a:pos x="connsiteX3710" y="connsiteY3710"/>
              </a:cxn>
              <a:cxn ang="0">
                <a:pos x="connsiteX3711" y="connsiteY3711"/>
              </a:cxn>
              <a:cxn ang="0">
                <a:pos x="connsiteX3712" y="connsiteY3712"/>
              </a:cxn>
              <a:cxn ang="0">
                <a:pos x="connsiteX3713" y="connsiteY3713"/>
              </a:cxn>
              <a:cxn ang="0">
                <a:pos x="connsiteX3714" y="connsiteY3714"/>
              </a:cxn>
              <a:cxn ang="0">
                <a:pos x="connsiteX3715" y="connsiteY3715"/>
              </a:cxn>
              <a:cxn ang="0">
                <a:pos x="connsiteX3716" y="connsiteY3716"/>
              </a:cxn>
              <a:cxn ang="0">
                <a:pos x="connsiteX3717" y="connsiteY3717"/>
              </a:cxn>
              <a:cxn ang="0">
                <a:pos x="connsiteX3718" y="connsiteY3718"/>
              </a:cxn>
              <a:cxn ang="0">
                <a:pos x="connsiteX3719" y="connsiteY3719"/>
              </a:cxn>
              <a:cxn ang="0">
                <a:pos x="connsiteX3720" y="connsiteY3720"/>
              </a:cxn>
              <a:cxn ang="0">
                <a:pos x="connsiteX3721" y="connsiteY3721"/>
              </a:cxn>
              <a:cxn ang="0">
                <a:pos x="connsiteX3722" y="connsiteY3722"/>
              </a:cxn>
              <a:cxn ang="0">
                <a:pos x="connsiteX3723" y="connsiteY3723"/>
              </a:cxn>
              <a:cxn ang="0">
                <a:pos x="connsiteX3724" y="connsiteY3724"/>
              </a:cxn>
              <a:cxn ang="0">
                <a:pos x="connsiteX3725" y="connsiteY3725"/>
              </a:cxn>
              <a:cxn ang="0">
                <a:pos x="connsiteX3726" y="connsiteY3726"/>
              </a:cxn>
              <a:cxn ang="0">
                <a:pos x="connsiteX3727" y="connsiteY3727"/>
              </a:cxn>
              <a:cxn ang="0">
                <a:pos x="connsiteX3728" y="connsiteY3728"/>
              </a:cxn>
              <a:cxn ang="0">
                <a:pos x="connsiteX3729" y="connsiteY3729"/>
              </a:cxn>
              <a:cxn ang="0">
                <a:pos x="connsiteX3730" y="connsiteY3730"/>
              </a:cxn>
              <a:cxn ang="0">
                <a:pos x="connsiteX3731" y="connsiteY3731"/>
              </a:cxn>
              <a:cxn ang="0">
                <a:pos x="connsiteX3732" y="connsiteY3732"/>
              </a:cxn>
              <a:cxn ang="0">
                <a:pos x="connsiteX3733" y="connsiteY3733"/>
              </a:cxn>
              <a:cxn ang="0">
                <a:pos x="connsiteX3734" y="connsiteY3734"/>
              </a:cxn>
              <a:cxn ang="0">
                <a:pos x="connsiteX3735" y="connsiteY3735"/>
              </a:cxn>
              <a:cxn ang="0">
                <a:pos x="connsiteX3736" y="connsiteY3736"/>
              </a:cxn>
              <a:cxn ang="0">
                <a:pos x="connsiteX3737" y="connsiteY3737"/>
              </a:cxn>
              <a:cxn ang="0">
                <a:pos x="connsiteX3738" y="connsiteY3738"/>
              </a:cxn>
              <a:cxn ang="0">
                <a:pos x="connsiteX3739" y="connsiteY3739"/>
              </a:cxn>
              <a:cxn ang="0">
                <a:pos x="connsiteX3740" y="connsiteY3740"/>
              </a:cxn>
              <a:cxn ang="0">
                <a:pos x="connsiteX3741" y="connsiteY3741"/>
              </a:cxn>
              <a:cxn ang="0">
                <a:pos x="connsiteX3742" y="connsiteY3742"/>
              </a:cxn>
              <a:cxn ang="0">
                <a:pos x="connsiteX3743" y="connsiteY3743"/>
              </a:cxn>
              <a:cxn ang="0">
                <a:pos x="connsiteX3744" y="connsiteY3744"/>
              </a:cxn>
              <a:cxn ang="0">
                <a:pos x="connsiteX3745" y="connsiteY3745"/>
              </a:cxn>
              <a:cxn ang="0">
                <a:pos x="connsiteX3746" y="connsiteY3746"/>
              </a:cxn>
              <a:cxn ang="0">
                <a:pos x="connsiteX3747" y="connsiteY3747"/>
              </a:cxn>
              <a:cxn ang="0">
                <a:pos x="connsiteX3748" y="connsiteY3748"/>
              </a:cxn>
              <a:cxn ang="0">
                <a:pos x="connsiteX3749" y="connsiteY3749"/>
              </a:cxn>
              <a:cxn ang="0">
                <a:pos x="connsiteX3750" y="connsiteY3750"/>
              </a:cxn>
              <a:cxn ang="0">
                <a:pos x="connsiteX3751" y="connsiteY3751"/>
              </a:cxn>
              <a:cxn ang="0">
                <a:pos x="connsiteX3752" y="connsiteY3752"/>
              </a:cxn>
              <a:cxn ang="0">
                <a:pos x="connsiteX3753" y="connsiteY3753"/>
              </a:cxn>
              <a:cxn ang="0">
                <a:pos x="connsiteX3754" y="connsiteY3754"/>
              </a:cxn>
              <a:cxn ang="0">
                <a:pos x="connsiteX3755" y="connsiteY3755"/>
              </a:cxn>
              <a:cxn ang="0">
                <a:pos x="connsiteX3756" y="connsiteY3756"/>
              </a:cxn>
              <a:cxn ang="0">
                <a:pos x="connsiteX3757" y="connsiteY3757"/>
              </a:cxn>
              <a:cxn ang="0">
                <a:pos x="connsiteX3758" y="connsiteY3758"/>
              </a:cxn>
              <a:cxn ang="0">
                <a:pos x="connsiteX3759" y="connsiteY3759"/>
              </a:cxn>
              <a:cxn ang="0">
                <a:pos x="connsiteX3760" y="connsiteY3760"/>
              </a:cxn>
              <a:cxn ang="0">
                <a:pos x="connsiteX3761" y="connsiteY3761"/>
              </a:cxn>
              <a:cxn ang="0">
                <a:pos x="connsiteX3762" y="connsiteY3762"/>
              </a:cxn>
              <a:cxn ang="0">
                <a:pos x="connsiteX3763" y="connsiteY3763"/>
              </a:cxn>
              <a:cxn ang="0">
                <a:pos x="connsiteX3764" y="connsiteY3764"/>
              </a:cxn>
              <a:cxn ang="0">
                <a:pos x="connsiteX3765" y="connsiteY3765"/>
              </a:cxn>
              <a:cxn ang="0">
                <a:pos x="connsiteX3766" y="connsiteY3766"/>
              </a:cxn>
              <a:cxn ang="0">
                <a:pos x="connsiteX3767" y="connsiteY3767"/>
              </a:cxn>
              <a:cxn ang="0">
                <a:pos x="connsiteX3768" y="connsiteY3768"/>
              </a:cxn>
              <a:cxn ang="0">
                <a:pos x="connsiteX3769" y="connsiteY3769"/>
              </a:cxn>
              <a:cxn ang="0">
                <a:pos x="connsiteX3770" y="connsiteY3770"/>
              </a:cxn>
              <a:cxn ang="0">
                <a:pos x="connsiteX3771" y="connsiteY3771"/>
              </a:cxn>
              <a:cxn ang="0">
                <a:pos x="connsiteX3772" y="connsiteY3772"/>
              </a:cxn>
              <a:cxn ang="0">
                <a:pos x="connsiteX3773" y="connsiteY3773"/>
              </a:cxn>
              <a:cxn ang="0">
                <a:pos x="connsiteX3774" y="connsiteY3774"/>
              </a:cxn>
              <a:cxn ang="0">
                <a:pos x="connsiteX3775" y="connsiteY3775"/>
              </a:cxn>
              <a:cxn ang="0">
                <a:pos x="connsiteX3776" y="connsiteY3776"/>
              </a:cxn>
              <a:cxn ang="0">
                <a:pos x="connsiteX3777" y="connsiteY3777"/>
              </a:cxn>
              <a:cxn ang="0">
                <a:pos x="connsiteX3778" y="connsiteY3778"/>
              </a:cxn>
              <a:cxn ang="0">
                <a:pos x="connsiteX3779" y="connsiteY3779"/>
              </a:cxn>
              <a:cxn ang="0">
                <a:pos x="connsiteX3780" y="connsiteY3780"/>
              </a:cxn>
              <a:cxn ang="0">
                <a:pos x="connsiteX3781" y="connsiteY3781"/>
              </a:cxn>
              <a:cxn ang="0">
                <a:pos x="connsiteX3782" y="connsiteY3782"/>
              </a:cxn>
              <a:cxn ang="0">
                <a:pos x="connsiteX3783" y="connsiteY3783"/>
              </a:cxn>
              <a:cxn ang="0">
                <a:pos x="connsiteX3784" y="connsiteY3784"/>
              </a:cxn>
              <a:cxn ang="0">
                <a:pos x="connsiteX3785" y="connsiteY3785"/>
              </a:cxn>
              <a:cxn ang="0">
                <a:pos x="connsiteX3786" y="connsiteY3786"/>
              </a:cxn>
              <a:cxn ang="0">
                <a:pos x="connsiteX3787" y="connsiteY3787"/>
              </a:cxn>
              <a:cxn ang="0">
                <a:pos x="connsiteX3788" y="connsiteY3788"/>
              </a:cxn>
              <a:cxn ang="0">
                <a:pos x="connsiteX3789" y="connsiteY3789"/>
              </a:cxn>
              <a:cxn ang="0">
                <a:pos x="connsiteX3790" y="connsiteY3790"/>
              </a:cxn>
              <a:cxn ang="0">
                <a:pos x="connsiteX3791" y="connsiteY3791"/>
              </a:cxn>
              <a:cxn ang="0">
                <a:pos x="connsiteX3792" y="connsiteY3792"/>
              </a:cxn>
              <a:cxn ang="0">
                <a:pos x="connsiteX3793" y="connsiteY3793"/>
              </a:cxn>
              <a:cxn ang="0">
                <a:pos x="connsiteX3794" y="connsiteY3794"/>
              </a:cxn>
              <a:cxn ang="0">
                <a:pos x="connsiteX3795" y="connsiteY3795"/>
              </a:cxn>
              <a:cxn ang="0">
                <a:pos x="connsiteX3796" y="connsiteY3796"/>
              </a:cxn>
              <a:cxn ang="0">
                <a:pos x="connsiteX3797" y="connsiteY3797"/>
              </a:cxn>
              <a:cxn ang="0">
                <a:pos x="connsiteX3798" y="connsiteY3798"/>
              </a:cxn>
              <a:cxn ang="0">
                <a:pos x="connsiteX3799" y="connsiteY3799"/>
              </a:cxn>
              <a:cxn ang="0">
                <a:pos x="connsiteX3800" y="connsiteY3800"/>
              </a:cxn>
              <a:cxn ang="0">
                <a:pos x="connsiteX3801" y="connsiteY3801"/>
              </a:cxn>
              <a:cxn ang="0">
                <a:pos x="connsiteX3802" y="connsiteY3802"/>
              </a:cxn>
              <a:cxn ang="0">
                <a:pos x="connsiteX3803" y="connsiteY3803"/>
              </a:cxn>
              <a:cxn ang="0">
                <a:pos x="connsiteX3804" y="connsiteY3804"/>
              </a:cxn>
              <a:cxn ang="0">
                <a:pos x="connsiteX3805" y="connsiteY3805"/>
              </a:cxn>
              <a:cxn ang="0">
                <a:pos x="connsiteX3806" y="connsiteY3806"/>
              </a:cxn>
              <a:cxn ang="0">
                <a:pos x="connsiteX3807" y="connsiteY3807"/>
              </a:cxn>
              <a:cxn ang="0">
                <a:pos x="connsiteX3808" y="connsiteY3808"/>
              </a:cxn>
              <a:cxn ang="0">
                <a:pos x="connsiteX3809" y="connsiteY3809"/>
              </a:cxn>
              <a:cxn ang="0">
                <a:pos x="connsiteX3810" y="connsiteY3810"/>
              </a:cxn>
              <a:cxn ang="0">
                <a:pos x="connsiteX3811" y="connsiteY3811"/>
              </a:cxn>
              <a:cxn ang="0">
                <a:pos x="connsiteX3812" y="connsiteY3812"/>
              </a:cxn>
              <a:cxn ang="0">
                <a:pos x="connsiteX3813" y="connsiteY3813"/>
              </a:cxn>
              <a:cxn ang="0">
                <a:pos x="connsiteX3814" y="connsiteY3814"/>
              </a:cxn>
              <a:cxn ang="0">
                <a:pos x="connsiteX3815" y="connsiteY3815"/>
              </a:cxn>
              <a:cxn ang="0">
                <a:pos x="connsiteX3816" y="connsiteY3816"/>
              </a:cxn>
              <a:cxn ang="0">
                <a:pos x="connsiteX3817" y="connsiteY3817"/>
              </a:cxn>
              <a:cxn ang="0">
                <a:pos x="connsiteX3818" y="connsiteY3818"/>
              </a:cxn>
              <a:cxn ang="0">
                <a:pos x="connsiteX3819" y="connsiteY3819"/>
              </a:cxn>
              <a:cxn ang="0">
                <a:pos x="connsiteX3820" y="connsiteY3820"/>
              </a:cxn>
              <a:cxn ang="0">
                <a:pos x="connsiteX3821" y="connsiteY3821"/>
              </a:cxn>
              <a:cxn ang="0">
                <a:pos x="connsiteX3822" y="connsiteY3822"/>
              </a:cxn>
              <a:cxn ang="0">
                <a:pos x="connsiteX3823" y="connsiteY3823"/>
              </a:cxn>
              <a:cxn ang="0">
                <a:pos x="connsiteX3824" y="connsiteY3824"/>
              </a:cxn>
              <a:cxn ang="0">
                <a:pos x="connsiteX3825" y="connsiteY3825"/>
              </a:cxn>
              <a:cxn ang="0">
                <a:pos x="connsiteX3826" y="connsiteY3826"/>
              </a:cxn>
              <a:cxn ang="0">
                <a:pos x="connsiteX3827" y="connsiteY3827"/>
              </a:cxn>
              <a:cxn ang="0">
                <a:pos x="connsiteX3828" y="connsiteY3828"/>
              </a:cxn>
              <a:cxn ang="0">
                <a:pos x="connsiteX3829" y="connsiteY3829"/>
              </a:cxn>
              <a:cxn ang="0">
                <a:pos x="connsiteX3830" y="connsiteY3830"/>
              </a:cxn>
              <a:cxn ang="0">
                <a:pos x="connsiteX3831" y="connsiteY3831"/>
              </a:cxn>
              <a:cxn ang="0">
                <a:pos x="connsiteX3832" y="connsiteY3832"/>
              </a:cxn>
              <a:cxn ang="0">
                <a:pos x="connsiteX3833" y="connsiteY3833"/>
              </a:cxn>
              <a:cxn ang="0">
                <a:pos x="connsiteX3834" y="connsiteY3834"/>
              </a:cxn>
              <a:cxn ang="0">
                <a:pos x="connsiteX3835" y="connsiteY3835"/>
              </a:cxn>
              <a:cxn ang="0">
                <a:pos x="connsiteX3836" y="connsiteY3836"/>
              </a:cxn>
              <a:cxn ang="0">
                <a:pos x="connsiteX3837" y="connsiteY3837"/>
              </a:cxn>
              <a:cxn ang="0">
                <a:pos x="connsiteX3838" y="connsiteY3838"/>
              </a:cxn>
              <a:cxn ang="0">
                <a:pos x="connsiteX3839" y="connsiteY3839"/>
              </a:cxn>
              <a:cxn ang="0">
                <a:pos x="connsiteX3840" y="connsiteY3840"/>
              </a:cxn>
              <a:cxn ang="0">
                <a:pos x="connsiteX3841" y="connsiteY3841"/>
              </a:cxn>
              <a:cxn ang="0">
                <a:pos x="connsiteX3842" y="connsiteY3842"/>
              </a:cxn>
              <a:cxn ang="0">
                <a:pos x="connsiteX3843" y="connsiteY3843"/>
              </a:cxn>
              <a:cxn ang="0">
                <a:pos x="connsiteX3844" y="connsiteY3844"/>
              </a:cxn>
              <a:cxn ang="0">
                <a:pos x="connsiteX3845" y="connsiteY3845"/>
              </a:cxn>
              <a:cxn ang="0">
                <a:pos x="connsiteX3846" y="connsiteY3846"/>
              </a:cxn>
              <a:cxn ang="0">
                <a:pos x="connsiteX3847" y="connsiteY3847"/>
              </a:cxn>
              <a:cxn ang="0">
                <a:pos x="connsiteX3848" y="connsiteY3848"/>
              </a:cxn>
              <a:cxn ang="0">
                <a:pos x="connsiteX3849" y="connsiteY3849"/>
              </a:cxn>
              <a:cxn ang="0">
                <a:pos x="connsiteX3850" y="connsiteY3850"/>
              </a:cxn>
              <a:cxn ang="0">
                <a:pos x="connsiteX3851" y="connsiteY3851"/>
              </a:cxn>
              <a:cxn ang="0">
                <a:pos x="connsiteX3852" y="connsiteY3852"/>
              </a:cxn>
              <a:cxn ang="0">
                <a:pos x="connsiteX3853" y="connsiteY3853"/>
              </a:cxn>
              <a:cxn ang="0">
                <a:pos x="connsiteX3854" y="connsiteY3854"/>
              </a:cxn>
              <a:cxn ang="0">
                <a:pos x="connsiteX3855" y="connsiteY3855"/>
              </a:cxn>
              <a:cxn ang="0">
                <a:pos x="connsiteX3856" y="connsiteY3856"/>
              </a:cxn>
              <a:cxn ang="0">
                <a:pos x="connsiteX3857" y="connsiteY3857"/>
              </a:cxn>
              <a:cxn ang="0">
                <a:pos x="connsiteX3858" y="connsiteY3858"/>
              </a:cxn>
              <a:cxn ang="0">
                <a:pos x="connsiteX3859" y="connsiteY3859"/>
              </a:cxn>
              <a:cxn ang="0">
                <a:pos x="connsiteX3860" y="connsiteY3860"/>
              </a:cxn>
              <a:cxn ang="0">
                <a:pos x="connsiteX3861" y="connsiteY3861"/>
              </a:cxn>
              <a:cxn ang="0">
                <a:pos x="connsiteX3862" y="connsiteY3862"/>
              </a:cxn>
              <a:cxn ang="0">
                <a:pos x="connsiteX3863" y="connsiteY3863"/>
              </a:cxn>
              <a:cxn ang="0">
                <a:pos x="connsiteX3864" y="connsiteY3864"/>
              </a:cxn>
              <a:cxn ang="0">
                <a:pos x="connsiteX3865" y="connsiteY3865"/>
              </a:cxn>
              <a:cxn ang="0">
                <a:pos x="connsiteX3866" y="connsiteY3866"/>
              </a:cxn>
              <a:cxn ang="0">
                <a:pos x="connsiteX3867" y="connsiteY3867"/>
              </a:cxn>
              <a:cxn ang="0">
                <a:pos x="connsiteX3868" y="connsiteY3868"/>
              </a:cxn>
              <a:cxn ang="0">
                <a:pos x="connsiteX3869" y="connsiteY3869"/>
              </a:cxn>
              <a:cxn ang="0">
                <a:pos x="connsiteX3870" y="connsiteY3870"/>
              </a:cxn>
              <a:cxn ang="0">
                <a:pos x="connsiteX3871" y="connsiteY3871"/>
              </a:cxn>
              <a:cxn ang="0">
                <a:pos x="connsiteX3872" y="connsiteY3872"/>
              </a:cxn>
              <a:cxn ang="0">
                <a:pos x="connsiteX3873" y="connsiteY3873"/>
              </a:cxn>
              <a:cxn ang="0">
                <a:pos x="connsiteX3874" y="connsiteY3874"/>
              </a:cxn>
              <a:cxn ang="0">
                <a:pos x="connsiteX3875" y="connsiteY3875"/>
              </a:cxn>
              <a:cxn ang="0">
                <a:pos x="connsiteX3876" y="connsiteY3876"/>
              </a:cxn>
              <a:cxn ang="0">
                <a:pos x="connsiteX3877" y="connsiteY3877"/>
              </a:cxn>
              <a:cxn ang="0">
                <a:pos x="connsiteX3878" y="connsiteY3878"/>
              </a:cxn>
              <a:cxn ang="0">
                <a:pos x="connsiteX3879" y="connsiteY3879"/>
              </a:cxn>
              <a:cxn ang="0">
                <a:pos x="connsiteX3880" y="connsiteY3880"/>
              </a:cxn>
              <a:cxn ang="0">
                <a:pos x="connsiteX3881" y="connsiteY3881"/>
              </a:cxn>
              <a:cxn ang="0">
                <a:pos x="connsiteX3882" y="connsiteY3882"/>
              </a:cxn>
              <a:cxn ang="0">
                <a:pos x="connsiteX3883" y="connsiteY3883"/>
              </a:cxn>
              <a:cxn ang="0">
                <a:pos x="connsiteX3884" y="connsiteY3884"/>
              </a:cxn>
              <a:cxn ang="0">
                <a:pos x="connsiteX3885" y="connsiteY3885"/>
              </a:cxn>
              <a:cxn ang="0">
                <a:pos x="connsiteX3886" y="connsiteY3886"/>
              </a:cxn>
              <a:cxn ang="0">
                <a:pos x="connsiteX3887" y="connsiteY3887"/>
              </a:cxn>
              <a:cxn ang="0">
                <a:pos x="connsiteX3888" y="connsiteY3888"/>
              </a:cxn>
              <a:cxn ang="0">
                <a:pos x="connsiteX3889" y="connsiteY3889"/>
              </a:cxn>
              <a:cxn ang="0">
                <a:pos x="connsiteX3890" y="connsiteY3890"/>
              </a:cxn>
              <a:cxn ang="0">
                <a:pos x="connsiteX3891" y="connsiteY3891"/>
              </a:cxn>
              <a:cxn ang="0">
                <a:pos x="connsiteX3892" y="connsiteY3892"/>
              </a:cxn>
              <a:cxn ang="0">
                <a:pos x="connsiteX3893" y="connsiteY3893"/>
              </a:cxn>
              <a:cxn ang="0">
                <a:pos x="connsiteX3894" y="connsiteY3894"/>
              </a:cxn>
              <a:cxn ang="0">
                <a:pos x="connsiteX3895" y="connsiteY3895"/>
              </a:cxn>
              <a:cxn ang="0">
                <a:pos x="connsiteX3896" y="connsiteY3896"/>
              </a:cxn>
              <a:cxn ang="0">
                <a:pos x="connsiteX3897" y="connsiteY3897"/>
              </a:cxn>
              <a:cxn ang="0">
                <a:pos x="connsiteX3898" y="connsiteY3898"/>
              </a:cxn>
              <a:cxn ang="0">
                <a:pos x="connsiteX3899" y="connsiteY3899"/>
              </a:cxn>
              <a:cxn ang="0">
                <a:pos x="connsiteX3900" y="connsiteY3900"/>
              </a:cxn>
              <a:cxn ang="0">
                <a:pos x="connsiteX3901" y="connsiteY3901"/>
              </a:cxn>
              <a:cxn ang="0">
                <a:pos x="connsiteX3902" y="connsiteY3902"/>
              </a:cxn>
              <a:cxn ang="0">
                <a:pos x="connsiteX3903" y="connsiteY3903"/>
              </a:cxn>
              <a:cxn ang="0">
                <a:pos x="connsiteX3904" y="connsiteY3904"/>
              </a:cxn>
              <a:cxn ang="0">
                <a:pos x="connsiteX3905" y="connsiteY3905"/>
              </a:cxn>
              <a:cxn ang="0">
                <a:pos x="connsiteX3906" y="connsiteY3906"/>
              </a:cxn>
              <a:cxn ang="0">
                <a:pos x="connsiteX3907" y="connsiteY3907"/>
              </a:cxn>
              <a:cxn ang="0">
                <a:pos x="connsiteX3908" y="connsiteY3908"/>
              </a:cxn>
              <a:cxn ang="0">
                <a:pos x="connsiteX3909" y="connsiteY3909"/>
              </a:cxn>
              <a:cxn ang="0">
                <a:pos x="connsiteX3910" y="connsiteY3910"/>
              </a:cxn>
              <a:cxn ang="0">
                <a:pos x="connsiteX3911" y="connsiteY3911"/>
              </a:cxn>
              <a:cxn ang="0">
                <a:pos x="connsiteX3912" y="connsiteY3912"/>
              </a:cxn>
              <a:cxn ang="0">
                <a:pos x="connsiteX3913" y="connsiteY3913"/>
              </a:cxn>
              <a:cxn ang="0">
                <a:pos x="connsiteX3914" y="connsiteY3914"/>
              </a:cxn>
              <a:cxn ang="0">
                <a:pos x="connsiteX3915" y="connsiteY3915"/>
              </a:cxn>
              <a:cxn ang="0">
                <a:pos x="connsiteX3916" y="connsiteY3916"/>
              </a:cxn>
              <a:cxn ang="0">
                <a:pos x="connsiteX3917" y="connsiteY3917"/>
              </a:cxn>
              <a:cxn ang="0">
                <a:pos x="connsiteX3918" y="connsiteY3918"/>
              </a:cxn>
              <a:cxn ang="0">
                <a:pos x="connsiteX3919" y="connsiteY3919"/>
              </a:cxn>
              <a:cxn ang="0">
                <a:pos x="connsiteX3920" y="connsiteY3920"/>
              </a:cxn>
              <a:cxn ang="0">
                <a:pos x="connsiteX3921" y="connsiteY3921"/>
              </a:cxn>
              <a:cxn ang="0">
                <a:pos x="connsiteX3922" y="connsiteY3922"/>
              </a:cxn>
              <a:cxn ang="0">
                <a:pos x="connsiteX3923" y="connsiteY3923"/>
              </a:cxn>
              <a:cxn ang="0">
                <a:pos x="connsiteX3924" y="connsiteY3924"/>
              </a:cxn>
              <a:cxn ang="0">
                <a:pos x="connsiteX3925" y="connsiteY3925"/>
              </a:cxn>
              <a:cxn ang="0">
                <a:pos x="connsiteX3926" y="connsiteY3926"/>
              </a:cxn>
              <a:cxn ang="0">
                <a:pos x="connsiteX3927" y="connsiteY3927"/>
              </a:cxn>
              <a:cxn ang="0">
                <a:pos x="connsiteX3928" y="connsiteY3928"/>
              </a:cxn>
              <a:cxn ang="0">
                <a:pos x="connsiteX3929" y="connsiteY3929"/>
              </a:cxn>
              <a:cxn ang="0">
                <a:pos x="connsiteX3930" y="connsiteY3930"/>
              </a:cxn>
              <a:cxn ang="0">
                <a:pos x="connsiteX3931" y="connsiteY3931"/>
              </a:cxn>
              <a:cxn ang="0">
                <a:pos x="connsiteX3932" y="connsiteY3932"/>
              </a:cxn>
              <a:cxn ang="0">
                <a:pos x="connsiteX3933" y="connsiteY3933"/>
              </a:cxn>
              <a:cxn ang="0">
                <a:pos x="connsiteX3934" y="connsiteY3934"/>
              </a:cxn>
              <a:cxn ang="0">
                <a:pos x="connsiteX3935" y="connsiteY3935"/>
              </a:cxn>
              <a:cxn ang="0">
                <a:pos x="connsiteX3936" y="connsiteY3936"/>
              </a:cxn>
              <a:cxn ang="0">
                <a:pos x="connsiteX3937" y="connsiteY3937"/>
              </a:cxn>
              <a:cxn ang="0">
                <a:pos x="connsiteX3938" y="connsiteY3938"/>
              </a:cxn>
              <a:cxn ang="0">
                <a:pos x="connsiteX3939" y="connsiteY3939"/>
              </a:cxn>
              <a:cxn ang="0">
                <a:pos x="connsiteX3940" y="connsiteY3940"/>
              </a:cxn>
              <a:cxn ang="0">
                <a:pos x="connsiteX3941" y="connsiteY3941"/>
              </a:cxn>
              <a:cxn ang="0">
                <a:pos x="connsiteX3942" y="connsiteY3942"/>
              </a:cxn>
              <a:cxn ang="0">
                <a:pos x="connsiteX3943" y="connsiteY3943"/>
              </a:cxn>
              <a:cxn ang="0">
                <a:pos x="connsiteX3944" y="connsiteY3944"/>
              </a:cxn>
              <a:cxn ang="0">
                <a:pos x="connsiteX3945" y="connsiteY3945"/>
              </a:cxn>
              <a:cxn ang="0">
                <a:pos x="connsiteX3946" y="connsiteY3946"/>
              </a:cxn>
              <a:cxn ang="0">
                <a:pos x="connsiteX3947" y="connsiteY3947"/>
              </a:cxn>
              <a:cxn ang="0">
                <a:pos x="connsiteX3948" y="connsiteY3948"/>
              </a:cxn>
              <a:cxn ang="0">
                <a:pos x="connsiteX3949" y="connsiteY3949"/>
              </a:cxn>
              <a:cxn ang="0">
                <a:pos x="connsiteX3950" y="connsiteY3950"/>
              </a:cxn>
              <a:cxn ang="0">
                <a:pos x="connsiteX3951" y="connsiteY3951"/>
              </a:cxn>
              <a:cxn ang="0">
                <a:pos x="connsiteX3952" y="connsiteY3952"/>
              </a:cxn>
              <a:cxn ang="0">
                <a:pos x="connsiteX3953" y="connsiteY3953"/>
              </a:cxn>
              <a:cxn ang="0">
                <a:pos x="connsiteX3954" y="connsiteY3954"/>
              </a:cxn>
              <a:cxn ang="0">
                <a:pos x="connsiteX3955" y="connsiteY3955"/>
              </a:cxn>
              <a:cxn ang="0">
                <a:pos x="connsiteX3956" y="connsiteY3956"/>
              </a:cxn>
              <a:cxn ang="0">
                <a:pos x="connsiteX3957" y="connsiteY3957"/>
              </a:cxn>
              <a:cxn ang="0">
                <a:pos x="connsiteX3958" y="connsiteY3958"/>
              </a:cxn>
              <a:cxn ang="0">
                <a:pos x="connsiteX3959" y="connsiteY3959"/>
              </a:cxn>
              <a:cxn ang="0">
                <a:pos x="connsiteX3960" y="connsiteY3960"/>
              </a:cxn>
              <a:cxn ang="0">
                <a:pos x="connsiteX3961" y="connsiteY3961"/>
              </a:cxn>
              <a:cxn ang="0">
                <a:pos x="connsiteX3962" y="connsiteY3962"/>
              </a:cxn>
              <a:cxn ang="0">
                <a:pos x="connsiteX3963" y="connsiteY3963"/>
              </a:cxn>
              <a:cxn ang="0">
                <a:pos x="connsiteX3964" y="connsiteY3964"/>
              </a:cxn>
              <a:cxn ang="0">
                <a:pos x="connsiteX3965" y="connsiteY3965"/>
              </a:cxn>
              <a:cxn ang="0">
                <a:pos x="connsiteX3966" y="connsiteY3966"/>
              </a:cxn>
              <a:cxn ang="0">
                <a:pos x="connsiteX3967" y="connsiteY3967"/>
              </a:cxn>
              <a:cxn ang="0">
                <a:pos x="connsiteX3968" y="connsiteY3968"/>
              </a:cxn>
              <a:cxn ang="0">
                <a:pos x="connsiteX3969" y="connsiteY3969"/>
              </a:cxn>
              <a:cxn ang="0">
                <a:pos x="connsiteX3970" y="connsiteY3970"/>
              </a:cxn>
              <a:cxn ang="0">
                <a:pos x="connsiteX3971" y="connsiteY3971"/>
              </a:cxn>
              <a:cxn ang="0">
                <a:pos x="connsiteX3972" y="connsiteY3972"/>
              </a:cxn>
              <a:cxn ang="0">
                <a:pos x="connsiteX3973" y="connsiteY3973"/>
              </a:cxn>
              <a:cxn ang="0">
                <a:pos x="connsiteX3974" y="connsiteY3974"/>
              </a:cxn>
              <a:cxn ang="0">
                <a:pos x="connsiteX3975" y="connsiteY3975"/>
              </a:cxn>
              <a:cxn ang="0">
                <a:pos x="connsiteX3976" y="connsiteY3976"/>
              </a:cxn>
              <a:cxn ang="0">
                <a:pos x="connsiteX3977" y="connsiteY3977"/>
              </a:cxn>
              <a:cxn ang="0">
                <a:pos x="connsiteX3978" y="connsiteY3978"/>
              </a:cxn>
              <a:cxn ang="0">
                <a:pos x="connsiteX3979" y="connsiteY3979"/>
              </a:cxn>
              <a:cxn ang="0">
                <a:pos x="connsiteX3980" y="connsiteY3980"/>
              </a:cxn>
              <a:cxn ang="0">
                <a:pos x="connsiteX3981" y="connsiteY3981"/>
              </a:cxn>
              <a:cxn ang="0">
                <a:pos x="connsiteX3982" y="connsiteY3982"/>
              </a:cxn>
              <a:cxn ang="0">
                <a:pos x="connsiteX3983" y="connsiteY3983"/>
              </a:cxn>
              <a:cxn ang="0">
                <a:pos x="connsiteX3984" y="connsiteY3984"/>
              </a:cxn>
              <a:cxn ang="0">
                <a:pos x="connsiteX3985" y="connsiteY3985"/>
              </a:cxn>
              <a:cxn ang="0">
                <a:pos x="connsiteX3986" y="connsiteY3986"/>
              </a:cxn>
              <a:cxn ang="0">
                <a:pos x="connsiteX3987" y="connsiteY3987"/>
              </a:cxn>
              <a:cxn ang="0">
                <a:pos x="connsiteX3988" y="connsiteY3988"/>
              </a:cxn>
              <a:cxn ang="0">
                <a:pos x="connsiteX3989" y="connsiteY3989"/>
              </a:cxn>
              <a:cxn ang="0">
                <a:pos x="connsiteX3990" y="connsiteY3990"/>
              </a:cxn>
              <a:cxn ang="0">
                <a:pos x="connsiteX3991" y="connsiteY3991"/>
              </a:cxn>
              <a:cxn ang="0">
                <a:pos x="connsiteX3992" y="connsiteY3992"/>
              </a:cxn>
              <a:cxn ang="0">
                <a:pos x="connsiteX3993" y="connsiteY3993"/>
              </a:cxn>
              <a:cxn ang="0">
                <a:pos x="connsiteX3994" y="connsiteY3994"/>
              </a:cxn>
              <a:cxn ang="0">
                <a:pos x="connsiteX3995" y="connsiteY3995"/>
              </a:cxn>
              <a:cxn ang="0">
                <a:pos x="connsiteX3996" y="connsiteY3996"/>
              </a:cxn>
              <a:cxn ang="0">
                <a:pos x="connsiteX3997" y="connsiteY3997"/>
              </a:cxn>
              <a:cxn ang="0">
                <a:pos x="connsiteX3998" y="connsiteY3998"/>
              </a:cxn>
              <a:cxn ang="0">
                <a:pos x="connsiteX3999" y="connsiteY3999"/>
              </a:cxn>
              <a:cxn ang="0">
                <a:pos x="connsiteX4000" y="connsiteY4000"/>
              </a:cxn>
              <a:cxn ang="0">
                <a:pos x="connsiteX4001" y="connsiteY4001"/>
              </a:cxn>
              <a:cxn ang="0">
                <a:pos x="connsiteX4002" y="connsiteY4002"/>
              </a:cxn>
              <a:cxn ang="0">
                <a:pos x="connsiteX4003" y="connsiteY4003"/>
              </a:cxn>
              <a:cxn ang="0">
                <a:pos x="connsiteX4004" y="connsiteY4004"/>
              </a:cxn>
              <a:cxn ang="0">
                <a:pos x="connsiteX4005" y="connsiteY4005"/>
              </a:cxn>
              <a:cxn ang="0">
                <a:pos x="connsiteX4006" y="connsiteY4006"/>
              </a:cxn>
              <a:cxn ang="0">
                <a:pos x="connsiteX4007" y="connsiteY4007"/>
              </a:cxn>
              <a:cxn ang="0">
                <a:pos x="connsiteX4008" y="connsiteY4008"/>
              </a:cxn>
              <a:cxn ang="0">
                <a:pos x="connsiteX4009" y="connsiteY4009"/>
              </a:cxn>
              <a:cxn ang="0">
                <a:pos x="connsiteX4010" y="connsiteY4010"/>
              </a:cxn>
              <a:cxn ang="0">
                <a:pos x="connsiteX4011" y="connsiteY4011"/>
              </a:cxn>
              <a:cxn ang="0">
                <a:pos x="connsiteX4012" y="connsiteY4012"/>
              </a:cxn>
              <a:cxn ang="0">
                <a:pos x="connsiteX4013" y="connsiteY4013"/>
              </a:cxn>
              <a:cxn ang="0">
                <a:pos x="connsiteX4014" y="connsiteY4014"/>
              </a:cxn>
              <a:cxn ang="0">
                <a:pos x="connsiteX4015" y="connsiteY4015"/>
              </a:cxn>
              <a:cxn ang="0">
                <a:pos x="connsiteX4016" y="connsiteY4016"/>
              </a:cxn>
              <a:cxn ang="0">
                <a:pos x="connsiteX4017" y="connsiteY4017"/>
              </a:cxn>
              <a:cxn ang="0">
                <a:pos x="connsiteX4018" y="connsiteY4018"/>
              </a:cxn>
              <a:cxn ang="0">
                <a:pos x="connsiteX4019" y="connsiteY4019"/>
              </a:cxn>
              <a:cxn ang="0">
                <a:pos x="connsiteX4020" y="connsiteY4020"/>
              </a:cxn>
              <a:cxn ang="0">
                <a:pos x="connsiteX4021" y="connsiteY4021"/>
              </a:cxn>
              <a:cxn ang="0">
                <a:pos x="connsiteX4022" y="connsiteY4022"/>
              </a:cxn>
              <a:cxn ang="0">
                <a:pos x="connsiteX4023" y="connsiteY4023"/>
              </a:cxn>
              <a:cxn ang="0">
                <a:pos x="connsiteX4024" y="connsiteY4024"/>
              </a:cxn>
              <a:cxn ang="0">
                <a:pos x="connsiteX4025" y="connsiteY4025"/>
              </a:cxn>
              <a:cxn ang="0">
                <a:pos x="connsiteX4026" y="connsiteY4026"/>
              </a:cxn>
              <a:cxn ang="0">
                <a:pos x="connsiteX4027" y="connsiteY4027"/>
              </a:cxn>
              <a:cxn ang="0">
                <a:pos x="connsiteX4028" y="connsiteY4028"/>
              </a:cxn>
              <a:cxn ang="0">
                <a:pos x="connsiteX4029" y="connsiteY4029"/>
              </a:cxn>
              <a:cxn ang="0">
                <a:pos x="connsiteX4030" y="connsiteY4030"/>
              </a:cxn>
              <a:cxn ang="0">
                <a:pos x="connsiteX4031" y="connsiteY4031"/>
              </a:cxn>
              <a:cxn ang="0">
                <a:pos x="connsiteX4032" y="connsiteY4032"/>
              </a:cxn>
              <a:cxn ang="0">
                <a:pos x="connsiteX4033" y="connsiteY4033"/>
              </a:cxn>
              <a:cxn ang="0">
                <a:pos x="connsiteX4034" y="connsiteY4034"/>
              </a:cxn>
              <a:cxn ang="0">
                <a:pos x="connsiteX4035" y="connsiteY4035"/>
              </a:cxn>
              <a:cxn ang="0">
                <a:pos x="connsiteX4036" y="connsiteY4036"/>
              </a:cxn>
              <a:cxn ang="0">
                <a:pos x="connsiteX4037" y="connsiteY4037"/>
              </a:cxn>
              <a:cxn ang="0">
                <a:pos x="connsiteX4038" y="connsiteY4038"/>
              </a:cxn>
              <a:cxn ang="0">
                <a:pos x="connsiteX4039" y="connsiteY4039"/>
              </a:cxn>
              <a:cxn ang="0">
                <a:pos x="connsiteX4040" y="connsiteY4040"/>
              </a:cxn>
              <a:cxn ang="0">
                <a:pos x="connsiteX4041" y="connsiteY4041"/>
              </a:cxn>
              <a:cxn ang="0">
                <a:pos x="connsiteX4042" y="connsiteY4042"/>
              </a:cxn>
              <a:cxn ang="0">
                <a:pos x="connsiteX4043" y="connsiteY4043"/>
              </a:cxn>
              <a:cxn ang="0">
                <a:pos x="connsiteX4044" y="connsiteY4044"/>
              </a:cxn>
              <a:cxn ang="0">
                <a:pos x="connsiteX4045" y="connsiteY4045"/>
              </a:cxn>
              <a:cxn ang="0">
                <a:pos x="connsiteX4046" y="connsiteY4046"/>
              </a:cxn>
              <a:cxn ang="0">
                <a:pos x="connsiteX4047" y="connsiteY4047"/>
              </a:cxn>
              <a:cxn ang="0">
                <a:pos x="connsiteX4048" y="connsiteY4048"/>
              </a:cxn>
              <a:cxn ang="0">
                <a:pos x="connsiteX4049" y="connsiteY4049"/>
              </a:cxn>
              <a:cxn ang="0">
                <a:pos x="connsiteX4050" y="connsiteY4050"/>
              </a:cxn>
              <a:cxn ang="0">
                <a:pos x="connsiteX4051" y="connsiteY4051"/>
              </a:cxn>
              <a:cxn ang="0">
                <a:pos x="connsiteX4052" y="connsiteY4052"/>
              </a:cxn>
              <a:cxn ang="0">
                <a:pos x="connsiteX4053" y="connsiteY4053"/>
              </a:cxn>
              <a:cxn ang="0">
                <a:pos x="connsiteX4054" y="connsiteY4054"/>
              </a:cxn>
              <a:cxn ang="0">
                <a:pos x="connsiteX4055" y="connsiteY4055"/>
              </a:cxn>
              <a:cxn ang="0">
                <a:pos x="connsiteX4056" y="connsiteY4056"/>
              </a:cxn>
              <a:cxn ang="0">
                <a:pos x="connsiteX4057" y="connsiteY4057"/>
              </a:cxn>
              <a:cxn ang="0">
                <a:pos x="connsiteX4058" y="connsiteY4058"/>
              </a:cxn>
              <a:cxn ang="0">
                <a:pos x="connsiteX4059" y="connsiteY4059"/>
              </a:cxn>
              <a:cxn ang="0">
                <a:pos x="connsiteX4060" y="connsiteY4060"/>
              </a:cxn>
              <a:cxn ang="0">
                <a:pos x="connsiteX4061" y="connsiteY4061"/>
              </a:cxn>
              <a:cxn ang="0">
                <a:pos x="connsiteX4062" y="connsiteY4062"/>
              </a:cxn>
              <a:cxn ang="0">
                <a:pos x="connsiteX4063" y="connsiteY4063"/>
              </a:cxn>
              <a:cxn ang="0">
                <a:pos x="connsiteX4064" y="connsiteY4064"/>
              </a:cxn>
              <a:cxn ang="0">
                <a:pos x="connsiteX4065" y="connsiteY4065"/>
              </a:cxn>
              <a:cxn ang="0">
                <a:pos x="connsiteX4066" y="connsiteY4066"/>
              </a:cxn>
              <a:cxn ang="0">
                <a:pos x="connsiteX4067" y="connsiteY4067"/>
              </a:cxn>
              <a:cxn ang="0">
                <a:pos x="connsiteX4068" y="connsiteY4068"/>
              </a:cxn>
              <a:cxn ang="0">
                <a:pos x="connsiteX4069" y="connsiteY4069"/>
              </a:cxn>
              <a:cxn ang="0">
                <a:pos x="connsiteX4070" y="connsiteY4070"/>
              </a:cxn>
              <a:cxn ang="0">
                <a:pos x="connsiteX4071" y="connsiteY4071"/>
              </a:cxn>
              <a:cxn ang="0">
                <a:pos x="connsiteX4072" y="connsiteY4072"/>
              </a:cxn>
              <a:cxn ang="0">
                <a:pos x="connsiteX4073" y="connsiteY4073"/>
              </a:cxn>
              <a:cxn ang="0">
                <a:pos x="connsiteX4074" y="connsiteY4074"/>
              </a:cxn>
              <a:cxn ang="0">
                <a:pos x="connsiteX4075" y="connsiteY4075"/>
              </a:cxn>
              <a:cxn ang="0">
                <a:pos x="connsiteX4076" y="connsiteY4076"/>
              </a:cxn>
              <a:cxn ang="0">
                <a:pos x="connsiteX4077" y="connsiteY4077"/>
              </a:cxn>
              <a:cxn ang="0">
                <a:pos x="connsiteX4078" y="connsiteY4078"/>
              </a:cxn>
              <a:cxn ang="0">
                <a:pos x="connsiteX4079" y="connsiteY4079"/>
              </a:cxn>
              <a:cxn ang="0">
                <a:pos x="connsiteX4080" y="connsiteY4080"/>
              </a:cxn>
              <a:cxn ang="0">
                <a:pos x="connsiteX4081" y="connsiteY4081"/>
              </a:cxn>
              <a:cxn ang="0">
                <a:pos x="connsiteX4082" y="connsiteY4082"/>
              </a:cxn>
              <a:cxn ang="0">
                <a:pos x="connsiteX4083" y="connsiteY4083"/>
              </a:cxn>
              <a:cxn ang="0">
                <a:pos x="connsiteX4084" y="connsiteY4084"/>
              </a:cxn>
              <a:cxn ang="0">
                <a:pos x="connsiteX4085" y="connsiteY4085"/>
              </a:cxn>
              <a:cxn ang="0">
                <a:pos x="connsiteX4086" y="connsiteY4086"/>
              </a:cxn>
              <a:cxn ang="0">
                <a:pos x="connsiteX4087" y="connsiteY4087"/>
              </a:cxn>
              <a:cxn ang="0">
                <a:pos x="connsiteX4088" y="connsiteY4088"/>
              </a:cxn>
              <a:cxn ang="0">
                <a:pos x="connsiteX4089" y="connsiteY4089"/>
              </a:cxn>
              <a:cxn ang="0">
                <a:pos x="connsiteX4090" y="connsiteY4090"/>
              </a:cxn>
              <a:cxn ang="0">
                <a:pos x="connsiteX4091" y="connsiteY4091"/>
              </a:cxn>
              <a:cxn ang="0">
                <a:pos x="connsiteX4092" y="connsiteY4092"/>
              </a:cxn>
              <a:cxn ang="0">
                <a:pos x="connsiteX4093" y="connsiteY4093"/>
              </a:cxn>
              <a:cxn ang="0">
                <a:pos x="connsiteX4094" y="connsiteY4094"/>
              </a:cxn>
              <a:cxn ang="0">
                <a:pos x="connsiteX4095" y="connsiteY4095"/>
              </a:cxn>
              <a:cxn ang="0">
                <a:pos x="connsiteX4096" y="connsiteY4096"/>
              </a:cxn>
              <a:cxn ang="0">
                <a:pos x="connsiteX4097" y="connsiteY4097"/>
              </a:cxn>
              <a:cxn ang="0">
                <a:pos x="connsiteX4098" y="connsiteY4098"/>
              </a:cxn>
              <a:cxn ang="0">
                <a:pos x="connsiteX4099" y="connsiteY4099"/>
              </a:cxn>
              <a:cxn ang="0">
                <a:pos x="connsiteX4100" y="connsiteY4100"/>
              </a:cxn>
              <a:cxn ang="0">
                <a:pos x="connsiteX4101" y="connsiteY4101"/>
              </a:cxn>
              <a:cxn ang="0">
                <a:pos x="connsiteX4102" y="connsiteY4102"/>
              </a:cxn>
              <a:cxn ang="0">
                <a:pos x="connsiteX4103" y="connsiteY4103"/>
              </a:cxn>
              <a:cxn ang="0">
                <a:pos x="connsiteX4104" y="connsiteY4104"/>
              </a:cxn>
              <a:cxn ang="0">
                <a:pos x="connsiteX4105" y="connsiteY4105"/>
              </a:cxn>
              <a:cxn ang="0">
                <a:pos x="connsiteX4106" y="connsiteY4106"/>
              </a:cxn>
              <a:cxn ang="0">
                <a:pos x="connsiteX4107" y="connsiteY4107"/>
              </a:cxn>
              <a:cxn ang="0">
                <a:pos x="connsiteX4108" y="connsiteY4108"/>
              </a:cxn>
              <a:cxn ang="0">
                <a:pos x="connsiteX4109" y="connsiteY4109"/>
              </a:cxn>
              <a:cxn ang="0">
                <a:pos x="connsiteX4110" y="connsiteY4110"/>
              </a:cxn>
              <a:cxn ang="0">
                <a:pos x="connsiteX4111" y="connsiteY4111"/>
              </a:cxn>
              <a:cxn ang="0">
                <a:pos x="connsiteX4112" y="connsiteY4112"/>
              </a:cxn>
              <a:cxn ang="0">
                <a:pos x="connsiteX4113" y="connsiteY4113"/>
              </a:cxn>
              <a:cxn ang="0">
                <a:pos x="connsiteX4114" y="connsiteY4114"/>
              </a:cxn>
              <a:cxn ang="0">
                <a:pos x="connsiteX4115" y="connsiteY4115"/>
              </a:cxn>
              <a:cxn ang="0">
                <a:pos x="connsiteX4116" y="connsiteY4116"/>
              </a:cxn>
              <a:cxn ang="0">
                <a:pos x="connsiteX4117" y="connsiteY4117"/>
              </a:cxn>
              <a:cxn ang="0">
                <a:pos x="connsiteX4118" y="connsiteY4118"/>
              </a:cxn>
              <a:cxn ang="0">
                <a:pos x="connsiteX4119" y="connsiteY4119"/>
              </a:cxn>
              <a:cxn ang="0">
                <a:pos x="connsiteX4120" y="connsiteY4120"/>
              </a:cxn>
              <a:cxn ang="0">
                <a:pos x="connsiteX4121" y="connsiteY4121"/>
              </a:cxn>
              <a:cxn ang="0">
                <a:pos x="connsiteX4122" y="connsiteY4122"/>
              </a:cxn>
              <a:cxn ang="0">
                <a:pos x="connsiteX4123" y="connsiteY4123"/>
              </a:cxn>
              <a:cxn ang="0">
                <a:pos x="connsiteX4124" y="connsiteY4124"/>
              </a:cxn>
              <a:cxn ang="0">
                <a:pos x="connsiteX4125" y="connsiteY4125"/>
              </a:cxn>
              <a:cxn ang="0">
                <a:pos x="connsiteX4126" y="connsiteY4126"/>
              </a:cxn>
              <a:cxn ang="0">
                <a:pos x="connsiteX4127" y="connsiteY4127"/>
              </a:cxn>
              <a:cxn ang="0">
                <a:pos x="connsiteX4128" y="connsiteY4128"/>
              </a:cxn>
              <a:cxn ang="0">
                <a:pos x="connsiteX4129" y="connsiteY4129"/>
              </a:cxn>
              <a:cxn ang="0">
                <a:pos x="connsiteX4130" y="connsiteY4130"/>
              </a:cxn>
              <a:cxn ang="0">
                <a:pos x="connsiteX4131" y="connsiteY4131"/>
              </a:cxn>
              <a:cxn ang="0">
                <a:pos x="connsiteX4132" y="connsiteY4132"/>
              </a:cxn>
              <a:cxn ang="0">
                <a:pos x="connsiteX4133" y="connsiteY4133"/>
              </a:cxn>
              <a:cxn ang="0">
                <a:pos x="connsiteX4134" y="connsiteY4134"/>
              </a:cxn>
              <a:cxn ang="0">
                <a:pos x="connsiteX4135" y="connsiteY4135"/>
              </a:cxn>
              <a:cxn ang="0">
                <a:pos x="connsiteX4136" y="connsiteY4136"/>
              </a:cxn>
              <a:cxn ang="0">
                <a:pos x="connsiteX4137" y="connsiteY4137"/>
              </a:cxn>
              <a:cxn ang="0">
                <a:pos x="connsiteX4138" y="connsiteY4138"/>
              </a:cxn>
              <a:cxn ang="0">
                <a:pos x="connsiteX4139" y="connsiteY4139"/>
              </a:cxn>
              <a:cxn ang="0">
                <a:pos x="connsiteX4140" y="connsiteY4140"/>
              </a:cxn>
              <a:cxn ang="0">
                <a:pos x="connsiteX4141" y="connsiteY4141"/>
              </a:cxn>
              <a:cxn ang="0">
                <a:pos x="connsiteX4142" y="connsiteY4142"/>
              </a:cxn>
              <a:cxn ang="0">
                <a:pos x="connsiteX4143" y="connsiteY4143"/>
              </a:cxn>
              <a:cxn ang="0">
                <a:pos x="connsiteX4144" y="connsiteY4144"/>
              </a:cxn>
              <a:cxn ang="0">
                <a:pos x="connsiteX4145" y="connsiteY4145"/>
              </a:cxn>
              <a:cxn ang="0">
                <a:pos x="connsiteX4146" y="connsiteY4146"/>
              </a:cxn>
              <a:cxn ang="0">
                <a:pos x="connsiteX4147" y="connsiteY4147"/>
              </a:cxn>
              <a:cxn ang="0">
                <a:pos x="connsiteX4148" y="connsiteY4148"/>
              </a:cxn>
              <a:cxn ang="0">
                <a:pos x="connsiteX4149" y="connsiteY4149"/>
              </a:cxn>
              <a:cxn ang="0">
                <a:pos x="connsiteX4150" y="connsiteY4150"/>
              </a:cxn>
              <a:cxn ang="0">
                <a:pos x="connsiteX4151" y="connsiteY4151"/>
              </a:cxn>
              <a:cxn ang="0">
                <a:pos x="connsiteX4152" y="connsiteY4152"/>
              </a:cxn>
              <a:cxn ang="0">
                <a:pos x="connsiteX4153" y="connsiteY4153"/>
              </a:cxn>
              <a:cxn ang="0">
                <a:pos x="connsiteX4154" y="connsiteY4154"/>
              </a:cxn>
              <a:cxn ang="0">
                <a:pos x="connsiteX4155" y="connsiteY4155"/>
              </a:cxn>
              <a:cxn ang="0">
                <a:pos x="connsiteX4156" y="connsiteY4156"/>
              </a:cxn>
              <a:cxn ang="0">
                <a:pos x="connsiteX4157" y="connsiteY4157"/>
              </a:cxn>
              <a:cxn ang="0">
                <a:pos x="connsiteX4158" y="connsiteY4158"/>
              </a:cxn>
              <a:cxn ang="0">
                <a:pos x="connsiteX4159" y="connsiteY4159"/>
              </a:cxn>
              <a:cxn ang="0">
                <a:pos x="connsiteX4160" y="connsiteY4160"/>
              </a:cxn>
              <a:cxn ang="0">
                <a:pos x="connsiteX4161" y="connsiteY4161"/>
              </a:cxn>
              <a:cxn ang="0">
                <a:pos x="connsiteX4162" y="connsiteY4162"/>
              </a:cxn>
              <a:cxn ang="0">
                <a:pos x="connsiteX4163" y="connsiteY4163"/>
              </a:cxn>
              <a:cxn ang="0">
                <a:pos x="connsiteX4164" y="connsiteY4164"/>
              </a:cxn>
              <a:cxn ang="0">
                <a:pos x="connsiteX4165" y="connsiteY4165"/>
              </a:cxn>
              <a:cxn ang="0">
                <a:pos x="connsiteX4166" y="connsiteY4166"/>
              </a:cxn>
              <a:cxn ang="0">
                <a:pos x="connsiteX4167" y="connsiteY4167"/>
              </a:cxn>
              <a:cxn ang="0">
                <a:pos x="connsiteX4168" y="connsiteY4168"/>
              </a:cxn>
              <a:cxn ang="0">
                <a:pos x="connsiteX4169" y="connsiteY4169"/>
              </a:cxn>
              <a:cxn ang="0">
                <a:pos x="connsiteX4170" y="connsiteY4170"/>
              </a:cxn>
              <a:cxn ang="0">
                <a:pos x="connsiteX4171" y="connsiteY4171"/>
              </a:cxn>
              <a:cxn ang="0">
                <a:pos x="connsiteX4172" y="connsiteY4172"/>
              </a:cxn>
              <a:cxn ang="0">
                <a:pos x="connsiteX4173" y="connsiteY4173"/>
              </a:cxn>
              <a:cxn ang="0">
                <a:pos x="connsiteX4174" y="connsiteY4174"/>
              </a:cxn>
              <a:cxn ang="0">
                <a:pos x="connsiteX4175" y="connsiteY4175"/>
              </a:cxn>
              <a:cxn ang="0">
                <a:pos x="connsiteX4176" y="connsiteY4176"/>
              </a:cxn>
              <a:cxn ang="0">
                <a:pos x="connsiteX4177" y="connsiteY4177"/>
              </a:cxn>
              <a:cxn ang="0">
                <a:pos x="connsiteX4178" y="connsiteY4178"/>
              </a:cxn>
              <a:cxn ang="0">
                <a:pos x="connsiteX4179" y="connsiteY4179"/>
              </a:cxn>
              <a:cxn ang="0">
                <a:pos x="connsiteX4180" y="connsiteY4180"/>
              </a:cxn>
              <a:cxn ang="0">
                <a:pos x="connsiteX4181" y="connsiteY4181"/>
              </a:cxn>
              <a:cxn ang="0">
                <a:pos x="connsiteX4182" y="connsiteY4182"/>
              </a:cxn>
              <a:cxn ang="0">
                <a:pos x="connsiteX4183" y="connsiteY4183"/>
              </a:cxn>
              <a:cxn ang="0">
                <a:pos x="connsiteX4184" y="connsiteY4184"/>
              </a:cxn>
              <a:cxn ang="0">
                <a:pos x="connsiteX4185" y="connsiteY4185"/>
              </a:cxn>
              <a:cxn ang="0">
                <a:pos x="connsiteX4186" y="connsiteY4186"/>
              </a:cxn>
              <a:cxn ang="0">
                <a:pos x="connsiteX4187" y="connsiteY4187"/>
              </a:cxn>
              <a:cxn ang="0">
                <a:pos x="connsiteX4188" y="connsiteY4188"/>
              </a:cxn>
              <a:cxn ang="0">
                <a:pos x="connsiteX4189" y="connsiteY4189"/>
              </a:cxn>
              <a:cxn ang="0">
                <a:pos x="connsiteX4190" y="connsiteY4190"/>
              </a:cxn>
              <a:cxn ang="0">
                <a:pos x="connsiteX4191" y="connsiteY4191"/>
              </a:cxn>
              <a:cxn ang="0">
                <a:pos x="connsiteX4192" y="connsiteY4192"/>
              </a:cxn>
              <a:cxn ang="0">
                <a:pos x="connsiteX4193" y="connsiteY4193"/>
              </a:cxn>
              <a:cxn ang="0">
                <a:pos x="connsiteX4194" y="connsiteY4194"/>
              </a:cxn>
              <a:cxn ang="0">
                <a:pos x="connsiteX4195" y="connsiteY4195"/>
              </a:cxn>
              <a:cxn ang="0">
                <a:pos x="connsiteX4196" y="connsiteY4196"/>
              </a:cxn>
              <a:cxn ang="0">
                <a:pos x="connsiteX4197" y="connsiteY4197"/>
              </a:cxn>
              <a:cxn ang="0">
                <a:pos x="connsiteX4198" y="connsiteY4198"/>
              </a:cxn>
              <a:cxn ang="0">
                <a:pos x="connsiteX4199" y="connsiteY4199"/>
              </a:cxn>
              <a:cxn ang="0">
                <a:pos x="connsiteX4200" y="connsiteY4200"/>
              </a:cxn>
              <a:cxn ang="0">
                <a:pos x="connsiteX4201" y="connsiteY4201"/>
              </a:cxn>
              <a:cxn ang="0">
                <a:pos x="connsiteX4202" y="connsiteY4202"/>
              </a:cxn>
              <a:cxn ang="0">
                <a:pos x="connsiteX4203" y="connsiteY4203"/>
              </a:cxn>
              <a:cxn ang="0">
                <a:pos x="connsiteX4204" y="connsiteY4204"/>
              </a:cxn>
              <a:cxn ang="0">
                <a:pos x="connsiteX4205" y="connsiteY4205"/>
              </a:cxn>
              <a:cxn ang="0">
                <a:pos x="connsiteX4206" y="connsiteY4206"/>
              </a:cxn>
              <a:cxn ang="0">
                <a:pos x="connsiteX4207" y="connsiteY4207"/>
              </a:cxn>
              <a:cxn ang="0">
                <a:pos x="connsiteX4208" y="connsiteY4208"/>
              </a:cxn>
              <a:cxn ang="0">
                <a:pos x="connsiteX4209" y="connsiteY4209"/>
              </a:cxn>
              <a:cxn ang="0">
                <a:pos x="connsiteX4210" y="connsiteY4210"/>
              </a:cxn>
              <a:cxn ang="0">
                <a:pos x="connsiteX4211" y="connsiteY4211"/>
              </a:cxn>
              <a:cxn ang="0">
                <a:pos x="connsiteX4212" y="connsiteY4212"/>
              </a:cxn>
              <a:cxn ang="0">
                <a:pos x="connsiteX4213" y="connsiteY4213"/>
              </a:cxn>
              <a:cxn ang="0">
                <a:pos x="connsiteX4214" y="connsiteY4214"/>
              </a:cxn>
              <a:cxn ang="0">
                <a:pos x="connsiteX4215" y="connsiteY4215"/>
              </a:cxn>
              <a:cxn ang="0">
                <a:pos x="connsiteX4216" y="connsiteY4216"/>
              </a:cxn>
              <a:cxn ang="0">
                <a:pos x="connsiteX4217" y="connsiteY4217"/>
              </a:cxn>
              <a:cxn ang="0">
                <a:pos x="connsiteX4218" y="connsiteY4218"/>
              </a:cxn>
              <a:cxn ang="0">
                <a:pos x="connsiteX4219" y="connsiteY4219"/>
              </a:cxn>
              <a:cxn ang="0">
                <a:pos x="connsiteX4220" y="connsiteY4220"/>
              </a:cxn>
              <a:cxn ang="0">
                <a:pos x="connsiteX4221" y="connsiteY4221"/>
              </a:cxn>
              <a:cxn ang="0">
                <a:pos x="connsiteX4222" y="connsiteY4222"/>
              </a:cxn>
              <a:cxn ang="0">
                <a:pos x="connsiteX4223" y="connsiteY4223"/>
              </a:cxn>
              <a:cxn ang="0">
                <a:pos x="connsiteX4224" y="connsiteY4224"/>
              </a:cxn>
              <a:cxn ang="0">
                <a:pos x="connsiteX4225" y="connsiteY4225"/>
              </a:cxn>
              <a:cxn ang="0">
                <a:pos x="connsiteX4226" y="connsiteY4226"/>
              </a:cxn>
              <a:cxn ang="0">
                <a:pos x="connsiteX4227" y="connsiteY4227"/>
              </a:cxn>
              <a:cxn ang="0">
                <a:pos x="connsiteX4228" y="connsiteY4228"/>
              </a:cxn>
              <a:cxn ang="0">
                <a:pos x="connsiteX4229" y="connsiteY4229"/>
              </a:cxn>
              <a:cxn ang="0">
                <a:pos x="connsiteX4230" y="connsiteY4230"/>
              </a:cxn>
              <a:cxn ang="0">
                <a:pos x="connsiteX4231" y="connsiteY4231"/>
              </a:cxn>
              <a:cxn ang="0">
                <a:pos x="connsiteX4232" y="connsiteY4232"/>
              </a:cxn>
              <a:cxn ang="0">
                <a:pos x="connsiteX4233" y="connsiteY4233"/>
              </a:cxn>
              <a:cxn ang="0">
                <a:pos x="connsiteX4234" y="connsiteY4234"/>
              </a:cxn>
              <a:cxn ang="0">
                <a:pos x="connsiteX4235" y="connsiteY4235"/>
              </a:cxn>
              <a:cxn ang="0">
                <a:pos x="connsiteX4236" y="connsiteY4236"/>
              </a:cxn>
              <a:cxn ang="0">
                <a:pos x="connsiteX4237" y="connsiteY4237"/>
              </a:cxn>
              <a:cxn ang="0">
                <a:pos x="connsiteX4238" y="connsiteY4238"/>
              </a:cxn>
              <a:cxn ang="0">
                <a:pos x="connsiteX4239" y="connsiteY4239"/>
              </a:cxn>
              <a:cxn ang="0">
                <a:pos x="connsiteX4240" y="connsiteY4240"/>
              </a:cxn>
              <a:cxn ang="0">
                <a:pos x="connsiteX4241" y="connsiteY4241"/>
              </a:cxn>
              <a:cxn ang="0">
                <a:pos x="connsiteX4242" y="connsiteY4242"/>
              </a:cxn>
              <a:cxn ang="0">
                <a:pos x="connsiteX4243" y="connsiteY4243"/>
              </a:cxn>
              <a:cxn ang="0">
                <a:pos x="connsiteX4244" y="connsiteY4244"/>
              </a:cxn>
              <a:cxn ang="0">
                <a:pos x="connsiteX4245" y="connsiteY4245"/>
              </a:cxn>
              <a:cxn ang="0">
                <a:pos x="connsiteX4246" y="connsiteY4246"/>
              </a:cxn>
              <a:cxn ang="0">
                <a:pos x="connsiteX4247" y="connsiteY4247"/>
              </a:cxn>
              <a:cxn ang="0">
                <a:pos x="connsiteX4248" y="connsiteY4248"/>
              </a:cxn>
              <a:cxn ang="0">
                <a:pos x="connsiteX4249" y="connsiteY4249"/>
              </a:cxn>
              <a:cxn ang="0">
                <a:pos x="connsiteX4250" y="connsiteY4250"/>
              </a:cxn>
              <a:cxn ang="0">
                <a:pos x="connsiteX4251" y="connsiteY4251"/>
              </a:cxn>
              <a:cxn ang="0">
                <a:pos x="connsiteX4252" y="connsiteY4252"/>
              </a:cxn>
              <a:cxn ang="0">
                <a:pos x="connsiteX4253" y="connsiteY4253"/>
              </a:cxn>
              <a:cxn ang="0">
                <a:pos x="connsiteX4254" y="connsiteY4254"/>
              </a:cxn>
              <a:cxn ang="0">
                <a:pos x="connsiteX4255" y="connsiteY4255"/>
              </a:cxn>
              <a:cxn ang="0">
                <a:pos x="connsiteX4256" y="connsiteY4256"/>
              </a:cxn>
              <a:cxn ang="0">
                <a:pos x="connsiteX4257" y="connsiteY4257"/>
              </a:cxn>
              <a:cxn ang="0">
                <a:pos x="connsiteX4258" y="connsiteY4258"/>
              </a:cxn>
              <a:cxn ang="0">
                <a:pos x="connsiteX4259" y="connsiteY4259"/>
              </a:cxn>
              <a:cxn ang="0">
                <a:pos x="connsiteX4260" y="connsiteY4260"/>
              </a:cxn>
              <a:cxn ang="0">
                <a:pos x="connsiteX4261" y="connsiteY4261"/>
              </a:cxn>
              <a:cxn ang="0">
                <a:pos x="connsiteX4262" y="connsiteY4262"/>
              </a:cxn>
              <a:cxn ang="0">
                <a:pos x="connsiteX4263" y="connsiteY4263"/>
              </a:cxn>
              <a:cxn ang="0">
                <a:pos x="connsiteX4264" y="connsiteY4264"/>
              </a:cxn>
              <a:cxn ang="0">
                <a:pos x="connsiteX4265" y="connsiteY4265"/>
              </a:cxn>
              <a:cxn ang="0">
                <a:pos x="connsiteX4266" y="connsiteY4266"/>
              </a:cxn>
              <a:cxn ang="0">
                <a:pos x="connsiteX4267" y="connsiteY4267"/>
              </a:cxn>
              <a:cxn ang="0">
                <a:pos x="connsiteX4268" y="connsiteY4268"/>
              </a:cxn>
              <a:cxn ang="0">
                <a:pos x="connsiteX4269" y="connsiteY4269"/>
              </a:cxn>
              <a:cxn ang="0">
                <a:pos x="connsiteX4270" y="connsiteY4270"/>
              </a:cxn>
              <a:cxn ang="0">
                <a:pos x="connsiteX4271" y="connsiteY4271"/>
              </a:cxn>
              <a:cxn ang="0">
                <a:pos x="connsiteX4272" y="connsiteY4272"/>
              </a:cxn>
              <a:cxn ang="0">
                <a:pos x="connsiteX4273" y="connsiteY4273"/>
              </a:cxn>
              <a:cxn ang="0">
                <a:pos x="connsiteX4274" y="connsiteY4274"/>
              </a:cxn>
              <a:cxn ang="0">
                <a:pos x="connsiteX4275" y="connsiteY4275"/>
              </a:cxn>
              <a:cxn ang="0">
                <a:pos x="connsiteX4276" y="connsiteY4276"/>
              </a:cxn>
              <a:cxn ang="0">
                <a:pos x="connsiteX4277" y="connsiteY4277"/>
              </a:cxn>
              <a:cxn ang="0">
                <a:pos x="connsiteX4278" y="connsiteY4278"/>
              </a:cxn>
              <a:cxn ang="0">
                <a:pos x="connsiteX4279" y="connsiteY4279"/>
              </a:cxn>
              <a:cxn ang="0">
                <a:pos x="connsiteX4280" y="connsiteY4280"/>
              </a:cxn>
              <a:cxn ang="0">
                <a:pos x="connsiteX4281" y="connsiteY4281"/>
              </a:cxn>
              <a:cxn ang="0">
                <a:pos x="connsiteX4282" y="connsiteY4282"/>
              </a:cxn>
              <a:cxn ang="0">
                <a:pos x="connsiteX4283" y="connsiteY4283"/>
              </a:cxn>
              <a:cxn ang="0">
                <a:pos x="connsiteX4284" y="connsiteY4284"/>
              </a:cxn>
              <a:cxn ang="0">
                <a:pos x="connsiteX4285" y="connsiteY4285"/>
              </a:cxn>
              <a:cxn ang="0">
                <a:pos x="connsiteX4286" y="connsiteY4286"/>
              </a:cxn>
              <a:cxn ang="0">
                <a:pos x="connsiteX4287" y="connsiteY4287"/>
              </a:cxn>
              <a:cxn ang="0">
                <a:pos x="connsiteX4288" y="connsiteY4288"/>
              </a:cxn>
              <a:cxn ang="0">
                <a:pos x="connsiteX4289" y="connsiteY4289"/>
              </a:cxn>
              <a:cxn ang="0">
                <a:pos x="connsiteX4290" y="connsiteY4290"/>
              </a:cxn>
              <a:cxn ang="0">
                <a:pos x="connsiteX4291" y="connsiteY4291"/>
              </a:cxn>
              <a:cxn ang="0">
                <a:pos x="connsiteX4292" y="connsiteY4292"/>
              </a:cxn>
              <a:cxn ang="0">
                <a:pos x="connsiteX4293" y="connsiteY4293"/>
              </a:cxn>
              <a:cxn ang="0">
                <a:pos x="connsiteX4294" y="connsiteY4294"/>
              </a:cxn>
              <a:cxn ang="0">
                <a:pos x="connsiteX4295" y="connsiteY4295"/>
              </a:cxn>
              <a:cxn ang="0">
                <a:pos x="connsiteX4296" y="connsiteY4296"/>
              </a:cxn>
              <a:cxn ang="0">
                <a:pos x="connsiteX4297" y="connsiteY4297"/>
              </a:cxn>
              <a:cxn ang="0">
                <a:pos x="connsiteX4298" y="connsiteY4298"/>
              </a:cxn>
              <a:cxn ang="0">
                <a:pos x="connsiteX4299" y="connsiteY4299"/>
              </a:cxn>
              <a:cxn ang="0">
                <a:pos x="connsiteX4300" y="connsiteY4300"/>
              </a:cxn>
              <a:cxn ang="0">
                <a:pos x="connsiteX4301" y="connsiteY4301"/>
              </a:cxn>
              <a:cxn ang="0">
                <a:pos x="connsiteX4302" y="connsiteY4302"/>
              </a:cxn>
              <a:cxn ang="0">
                <a:pos x="connsiteX4303" y="connsiteY4303"/>
              </a:cxn>
              <a:cxn ang="0">
                <a:pos x="connsiteX4304" y="connsiteY4304"/>
              </a:cxn>
              <a:cxn ang="0">
                <a:pos x="connsiteX4305" y="connsiteY4305"/>
              </a:cxn>
              <a:cxn ang="0">
                <a:pos x="connsiteX4306" y="connsiteY4306"/>
              </a:cxn>
              <a:cxn ang="0">
                <a:pos x="connsiteX4307" y="connsiteY4307"/>
              </a:cxn>
              <a:cxn ang="0">
                <a:pos x="connsiteX4308" y="connsiteY4308"/>
              </a:cxn>
              <a:cxn ang="0">
                <a:pos x="connsiteX4309" y="connsiteY4309"/>
              </a:cxn>
              <a:cxn ang="0">
                <a:pos x="connsiteX4310" y="connsiteY4310"/>
              </a:cxn>
              <a:cxn ang="0">
                <a:pos x="connsiteX4311" y="connsiteY4311"/>
              </a:cxn>
              <a:cxn ang="0">
                <a:pos x="connsiteX4312" y="connsiteY4312"/>
              </a:cxn>
              <a:cxn ang="0">
                <a:pos x="connsiteX4313" y="connsiteY4313"/>
              </a:cxn>
              <a:cxn ang="0">
                <a:pos x="connsiteX4314" y="connsiteY4314"/>
              </a:cxn>
              <a:cxn ang="0">
                <a:pos x="connsiteX4315" y="connsiteY4315"/>
              </a:cxn>
              <a:cxn ang="0">
                <a:pos x="connsiteX4316" y="connsiteY4316"/>
              </a:cxn>
              <a:cxn ang="0">
                <a:pos x="connsiteX4317" y="connsiteY4317"/>
              </a:cxn>
              <a:cxn ang="0">
                <a:pos x="connsiteX4318" y="connsiteY4318"/>
              </a:cxn>
              <a:cxn ang="0">
                <a:pos x="connsiteX4319" y="connsiteY4319"/>
              </a:cxn>
              <a:cxn ang="0">
                <a:pos x="connsiteX4320" y="connsiteY4320"/>
              </a:cxn>
              <a:cxn ang="0">
                <a:pos x="connsiteX4321" y="connsiteY4321"/>
              </a:cxn>
              <a:cxn ang="0">
                <a:pos x="connsiteX4322" y="connsiteY4322"/>
              </a:cxn>
              <a:cxn ang="0">
                <a:pos x="connsiteX4323" y="connsiteY4323"/>
              </a:cxn>
              <a:cxn ang="0">
                <a:pos x="connsiteX4324" y="connsiteY4324"/>
              </a:cxn>
              <a:cxn ang="0">
                <a:pos x="connsiteX4325" y="connsiteY4325"/>
              </a:cxn>
              <a:cxn ang="0">
                <a:pos x="connsiteX4326" y="connsiteY4326"/>
              </a:cxn>
              <a:cxn ang="0">
                <a:pos x="connsiteX4327" y="connsiteY4327"/>
              </a:cxn>
              <a:cxn ang="0">
                <a:pos x="connsiteX4328" y="connsiteY4328"/>
              </a:cxn>
              <a:cxn ang="0">
                <a:pos x="connsiteX4329" y="connsiteY4329"/>
              </a:cxn>
              <a:cxn ang="0">
                <a:pos x="connsiteX4330" y="connsiteY4330"/>
              </a:cxn>
              <a:cxn ang="0">
                <a:pos x="connsiteX4331" y="connsiteY4331"/>
              </a:cxn>
              <a:cxn ang="0">
                <a:pos x="connsiteX4332" y="connsiteY4332"/>
              </a:cxn>
              <a:cxn ang="0">
                <a:pos x="connsiteX4333" y="connsiteY4333"/>
              </a:cxn>
              <a:cxn ang="0">
                <a:pos x="connsiteX4334" y="connsiteY4334"/>
              </a:cxn>
              <a:cxn ang="0">
                <a:pos x="connsiteX4335" y="connsiteY4335"/>
              </a:cxn>
              <a:cxn ang="0">
                <a:pos x="connsiteX4336" y="connsiteY4336"/>
              </a:cxn>
              <a:cxn ang="0">
                <a:pos x="connsiteX4337" y="connsiteY4337"/>
              </a:cxn>
              <a:cxn ang="0">
                <a:pos x="connsiteX4338" y="connsiteY4338"/>
              </a:cxn>
              <a:cxn ang="0">
                <a:pos x="connsiteX4339" y="connsiteY4339"/>
              </a:cxn>
              <a:cxn ang="0">
                <a:pos x="connsiteX4340" y="connsiteY4340"/>
              </a:cxn>
              <a:cxn ang="0">
                <a:pos x="connsiteX4341" y="connsiteY4341"/>
              </a:cxn>
              <a:cxn ang="0">
                <a:pos x="connsiteX4342" y="connsiteY4342"/>
              </a:cxn>
              <a:cxn ang="0">
                <a:pos x="connsiteX4343" y="connsiteY4343"/>
              </a:cxn>
              <a:cxn ang="0">
                <a:pos x="connsiteX4344" y="connsiteY4344"/>
              </a:cxn>
              <a:cxn ang="0">
                <a:pos x="connsiteX4345" y="connsiteY4345"/>
              </a:cxn>
              <a:cxn ang="0">
                <a:pos x="connsiteX4346" y="connsiteY4346"/>
              </a:cxn>
              <a:cxn ang="0">
                <a:pos x="connsiteX4347" y="connsiteY4347"/>
              </a:cxn>
              <a:cxn ang="0">
                <a:pos x="connsiteX4348" y="connsiteY4348"/>
              </a:cxn>
              <a:cxn ang="0">
                <a:pos x="connsiteX4349" y="connsiteY4349"/>
              </a:cxn>
              <a:cxn ang="0">
                <a:pos x="connsiteX4350" y="connsiteY4350"/>
              </a:cxn>
              <a:cxn ang="0">
                <a:pos x="connsiteX4351" y="connsiteY4351"/>
              </a:cxn>
              <a:cxn ang="0">
                <a:pos x="connsiteX4352" y="connsiteY4352"/>
              </a:cxn>
              <a:cxn ang="0">
                <a:pos x="connsiteX4353" y="connsiteY4353"/>
              </a:cxn>
              <a:cxn ang="0">
                <a:pos x="connsiteX4354" y="connsiteY4354"/>
              </a:cxn>
              <a:cxn ang="0">
                <a:pos x="connsiteX4355" y="connsiteY4355"/>
              </a:cxn>
              <a:cxn ang="0">
                <a:pos x="connsiteX4356" y="connsiteY4356"/>
              </a:cxn>
              <a:cxn ang="0">
                <a:pos x="connsiteX4357" y="connsiteY4357"/>
              </a:cxn>
              <a:cxn ang="0">
                <a:pos x="connsiteX4358" y="connsiteY4358"/>
              </a:cxn>
              <a:cxn ang="0">
                <a:pos x="connsiteX4359" y="connsiteY4359"/>
              </a:cxn>
              <a:cxn ang="0">
                <a:pos x="connsiteX4360" y="connsiteY4360"/>
              </a:cxn>
              <a:cxn ang="0">
                <a:pos x="connsiteX4361" y="connsiteY4361"/>
              </a:cxn>
              <a:cxn ang="0">
                <a:pos x="connsiteX4362" y="connsiteY4362"/>
              </a:cxn>
              <a:cxn ang="0">
                <a:pos x="connsiteX4363" y="connsiteY4363"/>
              </a:cxn>
              <a:cxn ang="0">
                <a:pos x="connsiteX4364" y="connsiteY4364"/>
              </a:cxn>
              <a:cxn ang="0">
                <a:pos x="connsiteX4365" y="connsiteY4365"/>
              </a:cxn>
              <a:cxn ang="0">
                <a:pos x="connsiteX4366" y="connsiteY4366"/>
              </a:cxn>
              <a:cxn ang="0">
                <a:pos x="connsiteX4367" y="connsiteY4367"/>
              </a:cxn>
              <a:cxn ang="0">
                <a:pos x="connsiteX4368" y="connsiteY4368"/>
              </a:cxn>
              <a:cxn ang="0">
                <a:pos x="connsiteX4369" y="connsiteY4369"/>
              </a:cxn>
              <a:cxn ang="0">
                <a:pos x="connsiteX4370" y="connsiteY4370"/>
              </a:cxn>
              <a:cxn ang="0">
                <a:pos x="connsiteX4371" y="connsiteY4371"/>
              </a:cxn>
              <a:cxn ang="0">
                <a:pos x="connsiteX4372" y="connsiteY4372"/>
              </a:cxn>
              <a:cxn ang="0">
                <a:pos x="connsiteX4373" y="connsiteY4373"/>
              </a:cxn>
              <a:cxn ang="0">
                <a:pos x="connsiteX4374" y="connsiteY4374"/>
              </a:cxn>
              <a:cxn ang="0">
                <a:pos x="connsiteX4375" y="connsiteY4375"/>
              </a:cxn>
              <a:cxn ang="0">
                <a:pos x="connsiteX4376" y="connsiteY4376"/>
              </a:cxn>
              <a:cxn ang="0">
                <a:pos x="connsiteX4377" y="connsiteY4377"/>
              </a:cxn>
              <a:cxn ang="0">
                <a:pos x="connsiteX4378" y="connsiteY4378"/>
              </a:cxn>
              <a:cxn ang="0">
                <a:pos x="connsiteX4379" y="connsiteY4379"/>
              </a:cxn>
              <a:cxn ang="0">
                <a:pos x="connsiteX4380" y="connsiteY4380"/>
              </a:cxn>
              <a:cxn ang="0">
                <a:pos x="connsiteX4381" y="connsiteY4381"/>
              </a:cxn>
              <a:cxn ang="0">
                <a:pos x="connsiteX4382" y="connsiteY4382"/>
              </a:cxn>
              <a:cxn ang="0">
                <a:pos x="connsiteX4383" y="connsiteY4383"/>
              </a:cxn>
              <a:cxn ang="0">
                <a:pos x="connsiteX4384" y="connsiteY4384"/>
              </a:cxn>
              <a:cxn ang="0">
                <a:pos x="connsiteX4385" y="connsiteY4385"/>
              </a:cxn>
              <a:cxn ang="0">
                <a:pos x="connsiteX4386" y="connsiteY4386"/>
              </a:cxn>
              <a:cxn ang="0">
                <a:pos x="connsiteX4387" y="connsiteY4387"/>
              </a:cxn>
              <a:cxn ang="0">
                <a:pos x="connsiteX4388" y="connsiteY4388"/>
              </a:cxn>
              <a:cxn ang="0">
                <a:pos x="connsiteX4389" y="connsiteY4389"/>
              </a:cxn>
              <a:cxn ang="0">
                <a:pos x="connsiteX4390" y="connsiteY4390"/>
              </a:cxn>
              <a:cxn ang="0">
                <a:pos x="connsiteX4391" y="connsiteY4391"/>
              </a:cxn>
              <a:cxn ang="0">
                <a:pos x="connsiteX4392" y="connsiteY4392"/>
              </a:cxn>
              <a:cxn ang="0">
                <a:pos x="connsiteX4393" y="connsiteY4393"/>
              </a:cxn>
              <a:cxn ang="0">
                <a:pos x="connsiteX4394" y="connsiteY4394"/>
              </a:cxn>
              <a:cxn ang="0">
                <a:pos x="connsiteX4395" y="connsiteY4395"/>
              </a:cxn>
              <a:cxn ang="0">
                <a:pos x="connsiteX4396" y="connsiteY4396"/>
              </a:cxn>
              <a:cxn ang="0">
                <a:pos x="connsiteX4397" y="connsiteY4397"/>
              </a:cxn>
              <a:cxn ang="0">
                <a:pos x="connsiteX4398" y="connsiteY4398"/>
              </a:cxn>
              <a:cxn ang="0">
                <a:pos x="connsiteX4399" y="connsiteY4399"/>
              </a:cxn>
              <a:cxn ang="0">
                <a:pos x="connsiteX4400" y="connsiteY4400"/>
              </a:cxn>
              <a:cxn ang="0">
                <a:pos x="connsiteX4401" y="connsiteY4401"/>
              </a:cxn>
              <a:cxn ang="0">
                <a:pos x="connsiteX4402" y="connsiteY4402"/>
              </a:cxn>
              <a:cxn ang="0">
                <a:pos x="connsiteX4403" y="connsiteY4403"/>
              </a:cxn>
              <a:cxn ang="0">
                <a:pos x="connsiteX4404" y="connsiteY4404"/>
              </a:cxn>
              <a:cxn ang="0">
                <a:pos x="connsiteX4405" y="connsiteY4405"/>
              </a:cxn>
              <a:cxn ang="0">
                <a:pos x="connsiteX4406" y="connsiteY4406"/>
              </a:cxn>
              <a:cxn ang="0">
                <a:pos x="connsiteX4407" y="connsiteY4407"/>
              </a:cxn>
              <a:cxn ang="0">
                <a:pos x="connsiteX4408" y="connsiteY4408"/>
              </a:cxn>
              <a:cxn ang="0">
                <a:pos x="connsiteX4409" y="connsiteY4409"/>
              </a:cxn>
              <a:cxn ang="0">
                <a:pos x="connsiteX4410" y="connsiteY4410"/>
              </a:cxn>
              <a:cxn ang="0">
                <a:pos x="connsiteX4411" y="connsiteY4411"/>
              </a:cxn>
              <a:cxn ang="0">
                <a:pos x="connsiteX4412" y="connsiteY4412"/>
              </a:cxn>
              <a:cxn ang="0">
                <a:pos x="connsiteX4413" y="connsiteY4413"/>
              </a:cxn>
              <a:cxn ang="0">
                <a:pos x="connsiteX4414" y="connsiteY4414"/>
              </a:cxn>
              <a:cxn ang="0">
                <a:pos x="connsiteX4415" y="connsiteY4415"/>
              </a:cxn>
              <a:cxn ang="0">
                <a:pos x="connsiteX4416" y="connsiteY4416"/>
              </a:cxn>
              <a:cxn ang="0">
                <a:pos x="connsiteX4417" y="connsiteY4417"/>
              </a:cxn>
              <a:cxn ang="0">
                <a:pos x="connsiteX4418" y="connsiteY4418"/>
              </a:cxn>
              <a:cxn ang="0">
                <a:pos x="connsiteX4419" y="connsiteY4419"/>
              </a:cxn>
              <a:cxn ang="0">
                <a:pos x="connsiteX4420" y="connsiteY4420"/>
              </a:cxn>
              <a:cxn ang="0">
                <a:pos x="connsiteX4421" y="connsiteY4421"/>
              </a:cxn>
              <a:cxn ang="0">
                <a:pos x="connsiteX4422" y="connsiteY4422"/>
              </a:cxn>
              <a:cxn ang="0">
                <a:pos x="connsiteX4423" y="connsiteY4423"/>
              </a:cxn>
              <a:cxn ang="0">
                <a:pos x="connsiteX4424" y="connsiteY4424"/>
              </a:cxn>
              <a:cxn ang="0">
                <a:pos x="connsiteX4425" y="connsiteY4425"/>
              </a:cxn>
              <a:cxn ang="0">
                <a:pos x="connsiteX4426" y="connsiteY4426"/>
              </a:cxn>
              <a:cxn ang="0">
                <a:pos x="connsiteX4427" y="connsiteY4427"/>
              </a:cxn>
              <a:cxn ang="0">
                <a:pos x="connsiteX4428" y="connsiteY4428"/>
              </a:cxn>
              <a:cxn ang="0">
                <a:pos x="connsiteX4429" y="connsiteY4429"/>
              </a:cxn>
              <a:cxn ang="0">
                <a:pos x="connsiteX4430" y="connsiteY4430"/>
              </a:cxn>
              <a:cxn ang="0">
                <a:pos x="connsiteX4431" y="connsiteY4431"/>
              </a:cxn>
              <a:cxn ang="0">
                <a:pos x="connsiteX4432" y="connsiteY4432"/>
              </a:cxn>
              <a:cxn ang="0">
                <a:pos x="connsiteX4433" y="connsiteY4433"/>
              </a:cxn>
              <a:cxn ang="0">
                <a:pos x="connsiteX4434" y="connsiteY4434"/>
              </a:cxn>
              <a:cxn ang="0">
                <a:pos x="connsiteX4435" y="connsiteY4435"/>
              </a:cxn>
              <a:cxn ang="0">
                <a:pos x="connsiteX4436" y="connsiteY4436"/>
              </a:cxn>
              <a:cxn ang="0">
                <a:pos x="connsiteX4437" y="connsiteY4437"/>
              </a:cxn>
              <a:cxn ang="0">
                <a:pos x="connsiteX4438" y="connsiteY4438"/>
              </a:cxn>
              <a:cxn ang="0">
                <a:pos x="connsiteX4439" y="connsiteY4439"/>
              </a:cxn>
              <a:cxn ang="0">
                <a:pos x="connsiteX4440" y="connsiteY4440"/>
              </a:cxn>
              <a:cxn ang="0">
                <a:pos x="connsiteX4441" y="connsiteY4441"/>
              </a:cxn>
              <a:cxn ang="0">
                <a:pos x="connsiteX4442" y="connsiteY4442"/>
              </a:cxn>
              <a:cxn ang="0">
                <a:pos x="connsiteX4443" y="connsiteY4443"/>
              </a:cxn>
              <a:cxn ang="0">
                <a:pos x="connsiteX4444" y="connsiteY4444"/>
              </a:cxn>
              <a:cxn ang="0">
                <a:pos x="connsiteX4445" y="connsiteY4445"/>
              </a:cxn>
              <a:cxn ang="0">
                <a:pos x="connsiteX4446" y="connsiteY4446"/>
              </a:cxn>
              <a:cxn ang="0">
                <a:pos x="connsiteX4447" y="connsiteY4447"/>
              </a:cxn>
              <a:cxn ang="0">
                <a:pos x="connsiteX4448" y="connsiteY4448"/>
              </a:cxn>
              <a:cxn ang="0">
                <a:pos x="connsiteX4449" y="connsiteY4449"/>
              </a:cxn>
              <a:cxn ang="0">
                <a:pos x="connsiteX4450" y="connsiteY4450"/>
              </a:cxn>
              <a:cxn ang="0">
                <a:pos x="connsiteX4451" y="connsiteY4451"/>
              </a:cxn>
              <a:cxn ang="0">
                <a:pos x="connsiteX4452" y="connsiteY4452"/>
              </a:cxn>
              <a:cxn ang="0">
                <a:pos x="connsiteX4453" y="connsiteY4453"/>
              </a:cxn>
              <a:cxn ang="0">
                <a:pos x="connsiteX4454" y="connsiteY4454"/>
              </a:cxn>
              <a:cxn ang="0">
                <a:pos x="connsiteX4455" y="connsiteY4455"/>
              </a:cxn>
              <a:cxn ang="0">
                <a:pos x="connsiteX4456" y="connsiteY4456"/>
              </a:cxn>
              <a:cxn ang="0">
                <a:pos x="connsiteX4457" y="connsiteY4457"/>
              </a:cxn>
              <a:cxn ang="0">
                <a:pos x="connsiteX4458" y="connsiteY4458"/>
              </a:cxn>
              <a:cxn ang="0">
                <a:pos x="connsiteX4459" y="connsiteY4459"/>
              </a:cxn>
              <a:cxn ang="0">
                <a:pos x="connsiteX4460" y="connsiteY4460"/>
              </a:cxn>
              <a:cxn ang="0">
                <a:pos x="connsiteX4461" y="connsiteY4461"/>
              </a:cxn>
              <a:cxn ang="0">
                <a:pos x="connsiteX4462" y="connsiteY4462"/>
              </a:cxn>
              <a:cxn ang="0">
                <a:pos x="connsiteX4463" y="connsiteY4463"/>
              </a:cxn>
              <a:cxn ang="0">
                <a:pos x="connsiteX4464" y="connsiteY4464"/>
              </a:cxn>
              <a:cxn ang="0">
                <a:pos x="connsiteX4465" y="connsiteY4465"/>
              </a:cxn>
              <a:cxn ang="0">
                <a:pos x="connsiteX4466" y="connsiteY4466"/>
              </a:cxn>
              <a:cxn ang="0">
                <a:pos x="connsiteX4467" y="connsiteY4467"/>
              </a:cxn>
              <a:cxn ang="0">
                <a:pos x="connsiteX4468" y="connsiteY4468"/>
              </a:cxn>
              <a:cxn ang="0">
                <a:pos x="connsiteX4469" y="connsiteY4469"/>
              </a:cxn>
              <a:cxn ang="0">
                <a:pos x="connsiteX4470" y="connsiteY4470"/>
              </a:cxn>
              <a:cxn ang="0">
                <a:pos x="connsiteX4471" y="connsiteY4471"/>
              </a:cxn>
              <a:cxn ang="0">
                <a:pos x="connsiteX4472" y="connsiteY4472"/>
              </a:cxn>
              <a:cxn ang="0">
                <a:pos x="connsiteX4473" y="connsiteY4473"/>
              </a:cxn>
              <a:cxn ang="0">
                <a:pos x="connsiteX4474" y="connsiteY4474"/>
              </a:cxn>
              <a:cxn ang="0">
                <a:pos x="connsiteX4475" y="connsiteY4475"/>
              </a:cxn>
              <a:cxn ang="0">
                <a:pos x="connsiteX4476" y="connsiteY4476"/>
              </a:cxn>
              <a:cxn ang="0">
                <a:pos x="connsiteX4477" y="connsiteY4477"/>
              </a:cxn>
              <a:cxn ang="0">
                <a:pos x="connsiteX4478" y="connsiteY4478"/>
              </a:cxn>
              <a:cxn ang="0">
                <a:pos x="connsiteX4479" y="connsiteY4479"/>
              </a:cxn>
              <a:cxn ang="0">
                <a:pos x="connsiteX4480" y="connsiteY4480"/>
              </a:cxn>
              <a:cxn ang="0">
                <a:pos x="connsiteX4481" y="connsiteY4481"/>
              </a:cxn>
              <a:cxn ang="0">
                <a:pos x="connsiteX4482" y="connsiteY4482"/>
              </a:cxn>
              <a:cxn ang="0">
                <a:pos x="connsiteX4483" y="connsiteY4483"/>
              </a:cxn>
              <a:cxn ang="0">
                <a:pos x="connsiteX4484" y="connsiteY4484"/>
              </a:cxn>
              <a:cxn ang="0">
                <a:pos x="connsiteX4485" y="connsiteY4485"/>
              </a:cxn>
              <a:cxn ang="0">
                <a:pos x="connsiteX4486" y="connsiteY4486"/>
              </a:cxn>
              <a:cxn ang="0">
                <a:pos x="connsiteX4487" y="connsiteY4487"/>
              </a:cxn>
              <a:cxn ang="0">
                <a:pos x="connsiteX4488" y="connsiteY4488"/>
              </a:cxn>
              <a:cxn ang="0">
                <a:pos x="connsiteX4489" y="connsiteY4489"/>
              </a:cxn>
              <a:cxn ang="0">
                <a:pos x="connsiteX4490" y="connsiteY4490"/>
              </a:cxn>
              <a:cxn ang="0">
                <a:pos x="connsiteX4491" y="connsiteY4491"/>
              </a:cxn>
              <a:cxn ang="0">
                <a:pos x="connsiteX4492" y="connsiteY4492"/>
              </a:cxn>
              <a:cxn ang="0">
                <a:pos x="connsiteX4493" y="connsiteY4493"/>
              </a:cxn>
              <a:cxn ang="0">
                <a:pos x="connsiteX4494" y="connsiteY4494"/>
              </a:cxn>
              <a:cxn ang="0">
                <a:pos x="connsiteX4495" y="connsiteY4495"/>
              </a:cxn>
              <a:cxn ang="0">
                <a:pos x="connsiteX4496" y="connsiteY4496"/>
              </a:cxn>
              <a:cxn ang="0">
                <a:pos x="connsiteX4497" y="connsiteY4497"/>
              </a:cxn>
              <a:cxn ang="0">
                <a:pos x="connsiteX4498" y="connsiteY4498"/>
              </a:cxn>
              <a:cxn ang="0">
                <a:pos x="connsiteX4499" y="connsiteY4499"/>
              </a:cxn>
              <a:cxn ang="0">
                <a:pos x="connsiteX4500" y="connsiteY4500"/>
              </a:cxn>
              <a:cxn ang="0">
                <a:pos x="connsiteX4501" y="connsiteY4501"/>
              </a:cxn>
              <a:cxn ang="0">
                <a:pos x="connsiteX4502" y="connsiteY4502"/>
              </a:cxn>
              <a:cxn ang="0">
                <a:pos x="connsiteX4503" y="connsiteY4503"/>
              </a:cxn>
              <a:cxn ang="0">
                <a:pos x="connsiteX4504" y="connsiteY4504"/>
              </a:cxn>
              <a:cxn ang="0">
                <a:pos x="connsiteX4505" y="connsiteY4505"/>
              </a:cxn>
              <a:cxn ang="0">
                <a:pos x="connsiteX4506" y="connsiteY4506"/>
              </a:cxn>
              <a:cxn ang="0">
                <a:pos x="connsiteX4507" y="connsiteY4507"/>
              </a:cxn>
              <a:cxn ang="0">
                <a:pos x="connsiteX4508" y="connsiteY4508"/>
              </a:cxn>
              <a:cxn ang="0">
                <a:pos x="connsiteX4509" y="connsiteY4509"/>
              </a:cxn>
              <a:cxn ang="0">
                <a:pos x="connsiteX4510" y="connsiteY4510"/>
              </a:cxn>
              <a:cxn ang="0">
                <a:pos x="connsiteX4511" y="connsiteY4511"/>
              </a:cxn>
              <a:cxn ang="0">
                <a:pos x="connsiteX4512" y="connsiteY4512"/>
              </a:cxn>
              <a:cxn ang="0">
                <a:pos x="connsiteX4513" y="connsiteY4513"/>
              </a:cxn>
              <a:cxn ang="0">
                <a:pos x="connsiteX4514" y="connsiteY4514"/>
              </a:cxn>
              <a:cxn ang="0">
                <a:pos x="connsiteX4515" y="connsiteY4515"/>
              </a:cxn>
              <a:cxn ang="0">
                <a:pos x="connsiteX4516" y="connsiteY4516"/>
              </a:cxn>
              <a:cxn ang="0">
                <a:pos x="connsiteX4517" y="connsiteY4517"/>
              </a:cxn>
              <a:cxn ang="0">
                <a:pos x="connsiteX4518" y="connsiteY4518"/>
              </a:cxn>
              <a:cxn ang="0">
                <a:pos x="connsiteX4519" y="connsiteY4519"/>
              </a:cxn>
              <a:cxn ang="0">
                <a:pos x="connsiteX4520" y="connsiteY4520"/>
              </a:cxn>
              <a:cxn ang="0">
                <a:pos x="connsiteX4521" y="connsiteY4521"/>
              </a:cxn>
              <a:cxn ang="0">
                <a:pos x="connsiteX4522" y="connsiteY4522"/>
              </a:cxn>
              <a:cxn ang="0">
                <a:pos x="connsiteX4523" y="connsiteY4523"/>
              </a:cxn>
              <a:cxn ang="0">
                <a:pos x="connsiteX4524" y="connsiteY4524"/>
              </a:cxn>
              <a:cxn ang="0">
                <a:pos x="connsiteX4525" y="connsiteY4525"/>
              </a:cxn>
              <a:cxn ang="0">
                <a:pos x="connsiteX4526" y="connsiteY4526"/>
              </a:cxn>
              <a:cxn ang="0">
                <a:pos x="connsiteX4527" y="connsiteY4527"/>
              </a:cxn>
              <a:cxn ang="0">
                <a:pos x="connsiteX4528" y="connsiteY4528"/>
              </a:cxn>
              <a:cxn ang="0">
                <a:pos x="connsiteX4529" y="connsiteY4529"/>
              </a:cxn>
              <a:cxn ang="0">
                <a:pos x="connsiteX4530" y="connsiteY4530"/>
              </a:cxn>
              <a:cxn ang="0">
                <a:pos x="connsiteX4531" y="connsiteY4531"/>
              </a:cxn>
              <a:cxn ang="0">
                <a:pos x="connsiteX4532" y="connsiteY4532"/>
              </a:cxn>
              <a:cxn ang="0">
                <a:pos x="connsiteX4533" y="connsiteY4533"/>
              </a:cxn>
              <a:cxn ang="0">
                <a:pos x="connsiteX4534" y="connsiteY4534"/>
              </a:cxn>
              <a:cxn ang="0">
                <a:pos x="connsiteX4535" y="connsiteY4535"/>
              </a:cxn>
              <a:cxn ang="0">
                <a:pos x="connsiteX4536" y="connsiteY4536"/>
              </a:cxn>
              <a:cxn ang="0">
                <a:pos x="connsiteX4537" y="connsiteY4537"/>
              </a:cxn>
              <a:cxn ang="0">
                <a:pos x="connsiteX4538" y="connsiteY4538"/>
              </a:cxn>
              <a:cxn ang="0">
                <a:pos x="connsiteX4539" y="connsiteY4539"/>
              </a:cxn>
              <a:cxn ang="0">
                <a:pos x="connsiteX4540" y="connsiteY4540"/>
              </a:cxn>
              <a:cxn ang="0">
                <a:pos x="connsiteX4541" y="connsiteY4541"/>
              </a:cxn>
              <a:cxn ang="0">
                <a:pos x="connsiteX4542" y="connsiteY4542"/>
              </a:cxn>
              <a:cxn ang="0">
                <a:pos x="connsiteX4543" y="connsiteY4543"/>
              </a:cxn>
              <a:cxn ang="0">
                <a:pos x="connsiteX4544" y="connsiteY4544"/>
              </a:cxn>
              <a:cxn ang="0">
                <a:pos x="connsiteX4545" y="connsiteY4545"/>
              </a:cxn>
              <a:cxn ang="0">
                <a:pos x="connsiteX4546" y="connsiteY4546"/>
              </a:cxn>
              <a:cxn ang="0">
                <a:pos x="connsiteX4547" y="connsiteY4547"/>
              </a:cxn>
              <a:cxn ang="0">
                <a:pos x="connsiteX4548" y="connsiteY4548"/>
              </a:cxn>
              <a:cxn ang="0">
                <a:pos x="connsiteX4549" y="connsiteY4549"/>
              </a:cxn>
              <a:cxn ang="0">
                <a:pos x="connsiteX4550" y="connsiteY4550"/>
              </a:cxn>
              <a:cxn ang="0">
                <a:pos x="connsiteX4551" y="connsiteY4551"/>
              </a:cxn>
              <a:cxn ang="0">
                <a:pos x="connsiteX4552" y="connsiteY4552"/>
              </a:cxn>
              <a:cxn ang="0">
                <a:pos x="connsiteX4553" y="connsiteY4553"/>
              </a:cxn>
              <a:cxn ang="0">
                <a:pos x="connsiteX4554" y="connsiteY4554"/>
              </a:cxn>
              <a:cxn ang="0">
                <a:pos x="connsiteX4555" y="connsiteY4555"/>
              </a:cxn>
              <a:cxn ang="0">
                <a:pos x="connsiteX4556" y="connsiteY4556"/>
              </a:cxn>
              <a:cxn ang="0">
                <a:pos x="connsiteX4557" y="connsiteY4557"/>
              </a:cxn>
              <a:cxn ang="0">
                <a:pos x="connsiteX4558" y="connsiteY4558"/>
              </a:cxn>
              <a:cxn ang="0">
                <a:pos x="connsiteX4559" y="connsiteY4559"/>
              </a:cxn>
              <a:cxn ang="0">
                <a:pos x="connsiteX4560" y="connsiteY4560"/>
              </a:cxn>
              <a:cxn ang="0">
                <a:pos x="connsiteX4561" y="connsiteY4561"/>
              </a:cxn>
              <a:cxn ang="0">
                <a:pos x="connsiteX4562" y="connsiteY4562"/>
              </a:cxn>
              <a:cxn ang="0">
                <a:pos x="connsiteX4563" y="connsiteY4563"/>
              </a:cxn>
              <a:cxn ang="0">
                <a:pos x="connsiteX4564" y="connsiteY4564"/>
              </a:cxn>
              <a:cxn ang="0">
                <a:pos x="connsiteX4565" y="connsiteY4565"/>
              </a:cxn>
              <a:cxn ang="0">
                <a:pos x="connsiteX4566" y="connsiteY4566"/>
              </a:cxn>
              <a:cxn ang="0">
                <a:pos x="connsiteX4567" y="connsiteY4567"/>
              </a:cxn>
              <a:cxn ang="0">
                <a:pos x="connsiteX4568" y="connsiteY4568"/>
              </a:cxn>
              <a:cxn ang="0">
                <a:pos x="connsiteX4569" y="connsiteY4569"/>
              </a:cxn>
              <a:cxn ang="0">
                <a:pos x="connsiteX4570" y="connsiteY4570"/>
              </a:cxn>
              <a:cxn ang="0">
                <a:pos x="connsiteX4571" y="connsiteY4571"/>
              </a:cxn>
              <a:cxn ang="0">
                <a:pos x="connsiteX4572" y="connsiteY4572"/>
              </a:cxn>
              <a:cxn ang="0">
                <a:pos x="connsiteX4573" y="connsiteY4573"/>
              </a:cxn>
              <a:cxn ang="0">
                <a:pos x="connsiteX4574" y="connsiteY4574"/>
              </a:cxn>
              <a:cxn ang="0">
                <a:pos x="connsiteX4575" y="connsiteY4575"/>
              </a:cxn>
              <a:cxn ang="0">
                <a:pos x="connsiteX4576" y="connsiteY4576"/>
              </a:cxn>
              <a:cxn ang="0">
                <a:pos x="connsiteX4577" y="connsiteY4577"/>
              </a:cxn>
              <a:cxn ang="0">
                <a:pos x="connsiteX4578" y="connsiteY4578"/>
              </a:cxn>
              <a:cxn ang="0">
                <a:pos x="connsiteX4579" y="connsiteY4579"/>
              </a:cxn>
              <a:cxn ang="0">
                <a:pos x="connsiteX4580" y="connsiteY4580"/>
              </a:cxn>
              <a:cxn ang="0">
                <a:pos x="connsiteX4581" y="connsiteY4581"/>
              </a:cxn>
              <a:cxn ang="0">
                <a:pos x="connsiteX4582" y="connsiteY4582"/>
              </a:cxn>
              <a:cxn ang="0">
                <a:pos x="connsiteX4583" y="connsiteY4583"/>
              </a:cxn>
              <a:cxn ang="0">
                <a:pos x="connsiteX4584" y="connsiteY4584"/>
              </a:cxn>
              <a:cxn ang="0">
                <a:pos x="connsiteX4585" y="connsiteY4585"/>
              </a:cxn>
              <a:cxn ang="0">
                <a:pos x="connsiteX4586" y="connsiteY4586"/>
              </a:cxn>
              <a:cxn ang="0">
                <a:pos x="connsiteX4587" y="connsiteY4587"/>
              </a:cxn>
              <a:cxn ang="0">
                <a:pos x="connsiteX4588" y="connsiteY4588"/>
              </a:cxn>
              <a:cxn ang="0">
                <a:pos x="connsiteX4589" y="connsiteY4589"/>
              </a:cxn>
              <a:cxn ang="0">
                <a:pos x="connsiteX4590" y="connsiteY4590"/>
              </a:cxn>
              <a:cxn ang="0">
                <a:pos x="connsiteX4591" y="connsiteY4591"/>
              </a:cxn>
              <a:cxn ang="0">
                <a:pos x="connsiteX4592" y="connsiteY4592"/>
              </a:cxn>
              <a:cxn ang="0">
                <a:pos x="connsiteX4593" y="connsiteY4593"/>
              </a:cxn>
              <a:cxn ang="0">
                <a:pos x="connsiteX4594" y="connsiteY4594"/>
              </a:cxn>
              <a:cxn ang="0">
                <a:pos x="connsiteX4595" y="connsiteY4595"/>
              </a:cxn>
              <a:cxn ang="0">
                <a:pos x="connsiteX4596" y="connsiteY4596"/>
              </a:cxn>
              <a:cxn ang="0">
                <a:pos x="connsiteX4597" y="connsiteY4597"/>
              </a:cxn>
              <a:cxn ang="0">
                <a:pos x="connsiteX4598" y="connsiteY4598"/>
              </a:cxn>
              <a:cxn ang="0">
                <a:pos x="connsiteX4599" y="connsiteY4599"/>
              </a:cxn>
              <a:cxn ang="0">
                <a:pos x="connsiteX4600" y="connsiteY4600"/>
              </a:cxn>
              <a:cxn ang="0">
                <a:pos x="connsiteX4601" y="connsiteY4601"/>
              </a:cxn>
              <a:cxn ang="0">
                <a:pos x="connsiteX4602" y="connsiteY4602"/>
              </a:cxn>
              <a:cxn ang="0">
                <a:pos x="connsiteX4603" y="connsiteY4603"/>
              </a:cxn>
              <a:cxn ang="0">
                <a:pos x="connsiteX4604" y="connsiteY4604"/>
              </a:cxn>
              <a:cxn ang="0">
                <a:pos x="connsiteX4605" y="connsiteY4605"/>
              </a:cxn>
              <a:cxn ang="0">
                <a:pos x="connsiteX4606" y="connsiteY4606"/>
              </a:cxn>
              <a:cxn ang="0">
                <a:pos x="connsiteX4607" y="connsiteY4607"/>
              </a:cxn>
              <a:cxn ang="0">
                <a:pos x="connsiteX4608" y="connsiteY4608"/>
              </a:cxn>
              <a:cxn ang="0">
                <a:pos x="connsiteX4609" y="connsiteY4609"/>
              </a:cxn>
              <a:cxn ang="0">
                <a:pos x="connsiteX4610" y="connsiteY4610"/>
              </a:cxn>
              <a:cxn ang="0">
                <a:pos x="connsiteX4611" y="connsiteY4611"/>
              </a:cxn>
              <a:cxn ang="0">
                <a:pos x="connsiteX4612" y="connsiteY4612"/>
              </a:cxn>
              <a:cxn ang="0">
                <a:pos x="connsiteX4613" y="connsiteY4613"/>
              </a:cxn>
              <a:cxn ang="0">
                <a:pos x="connsiteX4614" y="connsiteY4614"/>
              </a:cxn>
              <a:cxn ang="0">
                <a:pos x="connsiteX4615" y="connsiteY4615"/>
              </a:cxn>
              <a:cxn ang="0">
                <a:pos x="connsiteX4616" y="connsiteY4616"/>
              </a:cxn>
              <a:cxn ang="0">
                <a:pos x="connsiteX4617" y="connsiteY4617"/>
              </a:cxn>
              <a:cxn ang="0">
                <a:pos x="connsiteX4618" y="connsiteY4618"/>
              </a:cxn>
              <a:cxn ang="0">
                <a:pos x="connsiteX4619" y="connsiteY4619"/>
              </a:cxn>
              <a:cxn ang="0">
                <a:pos x="connsiteX4620" y="connsiteY4620"/>
              </a:cxn>
              <a:cxn ang="0">
                <a:pos x="connsiteX4621" y="connsiteY4621"/>
              </a:cxn>
              <a:cxn ang="0">
                <a:pos x="connsiteX4622" y="connsiteY4622"/>
              </a:cxn>
              <a:cxn ang="0">
                <a:pos x="connsiteX4623" y="connsiteY4623"/>
              </a:cxn>
              <a:cxn ang="0">
                <a:pos x="connsiteX4624" y="connsiteY4624"/>
              </a:cxn>
              <a:cxn ang="0">
                <a:pos x="connsiteX4625" y="connsiteY4625"/>
              </a:cxn>
              <a:cxn ang="0">
                <a:pos x="connsiteX4626" y="connsiteY4626"/>
              </a:cxn>
              <a:cxn ang="0">
                <a:pos x="connsiteX4627" y="connsiteY4627"/>
              </a:cxn>
              <a:cxn ang="0">
                <a:pos x="connsiteX4628" y="connsiteY4628"/>
              </a:cxn>
              <a:cxn ang="0">
                <a:pos x="connsiteX4629" y="connsiteY4629"/>
              </a:cxn>
              <a:cxn ang="0">
                <a:pos x="connsiteX4630" y="connsiteY4630"/>
              </a:cxn>
              <a:cxn ang="0">
                <a:pos x="connsiteX4631" y="connsiteY4631"/>
              </a:cxn>
              <a:cxn ang="0">
                <a:pos x="connsiteX4632" y="connsiteY4632"/>
              </a:cxn>
              <a:cxn ang="0">
                <a:pos x="connsiteX4633" y="connsiteY4633"/>
              </a:cxn>
              <a:cxn ang="0">
                <a:pos x="connsiteX4634" y="connsiteY4634"/>
              </a:cxn>
              <a:cxn ang="0">
                <a:pos x="connsiteX4635" y="connsiteY4635"/>
              </a:cxn>
              <a:cxn ang="0">
                <a:pos x="connsiteX4636" y="connsiteY4636"/>
              </a:cxn>
              <a:cxn ang="0">
                <a:pos x="connsiteX4637" y="connsiteY4637"/>
              </a:cxn>
              <a:cxn ang="0">
                <a:pos x="connsiteX4638" y="connsiteY4638"/>
              </a:cxn>
              <a:cxn ang="0">
                <a:pos x="connsiteX4639" y="connsiteY4639"/>
              </a:cxn>
              <a:cxn ang="0">
                <a:pos x="connsiteX4640" y="connsiteY4640"/>
              </a:cxn>
              <a:cxn ang="0">
                <a:pos x="connsiteX4641" y="connsiteY4641"/>
              </a:cxn>
              <a:cxn ang="0">
                <a:pos x="connsiteX4642" y="connsiteY4642"/>
              </a:cxn>
              <a:cxn ang="0">
                <a:pos x="connsiteX4643" y="connsiteY4643"/>
              </a:cxn>
              <a:cxn ang="0">
                <a:pos x="connsiteX4644" y="connsiteY4644"/>
              </a:cxn>
              <a:cxn ang="0">
                <a:pos x="connsiteX4645" y="connsiteY4645"/>
              </a:cxn>
              <a:cxn ang="0">
                <a:pos x="connsiteX4646" y="connsiteY4646"/>
              </a:cxn>
              <a:cxn ang="0">
                <a:pos x="connsiteX4647" y="connsiteY4647"/>
              </a:cxn>
              <a:cxn ang="0">
                <a:pos x="connsiteX4648" y="connsiteY4648"/>
              </a:cxn>
              <a:cxn ang="0">
                <a:pos x="connsiteX4649" y="connsiteY4649"/>
              </a:cxn>
              <a:cxn ang="0">
                <a:pos x="connsiteX4650" y="connsiteY4650"/>
              </a:cxn>
              <a:cxn ang="0">
                <a:pos x="connsiteX4651" y="connsiteY4651"/>
              </a:cxn>
              <a:cxn ang="0">
                <a:pos x="connsiteX4652" y="connsiteY4652"/>
              </a:cxn>
              <a:cxn ang="0">
                <a:pos x="connsiteX4653" y="connsiteY4653"/>
              </a:cxn>
              <a:cxn ang="0">
                <a:pos x="connsiteX4654" y="connsiteY4654"/>
              </a:cxn>
              <a:cxn ang="0">
                <a:pos x="connsiteX4655" y="connsiteY4655"/>
              </a:cxn>
              <a:cxn ang="0">
                <a:pos x="connsiteX4656" y="connsiteY4656"/>
              </a:cxn>
              <a:cxn ang="0">
                <a:pos x="connsiteX4657" y="connsiteY4657"/>
              </a:cxn>
              <a:cxn ang="0">
                <a:pos x="connsiteX4658" y="connsiteY4658"/>
              </a:cxn>
              <a:cxn ang="0">
                <a:pos x="connsiteX4659" y="connsiteY4659"/>
              </a:cxn>
              <a:cxn ang="0">
                <a:pos x="connsiteX4660" y="connsiteY4660"/>
              </a:cxn>
              <a:cxn ang="0">
                <a:pos x="connsiteX4661" y="connsiteY4661"/>
              </a:cxn>
              <a:cxn ang="0">
                <a:pos x="connsiteX4662" y="connsiteY4662"/>
              </a:cxn>
              <a:cxn ang="0">
                <a:pos x="connsiteX4663" y="connsiteY4663"/>
              </a:cxn>
              <a:cxn ang="0">
                <a:pos x="connsiteX4664" y="connsiteY4664"/>
              </a:cxn>
              <a:cxn ang="0">
                <a:pos x="connsiteX4665" y="connsiteY4665"/>
              </a:cxn>
              <a:cxn ang="0">
                <a:pos x="connsiteX4666" y="connsiteY4666"/>
              </a:cxn>
              <a:cxn ang="0">
                <a:pos x="connsiteX4667" y="connsiteY4667"/>
              </a:cxn>
              <a:cxn ang="0">
                <a:pos x="connsiteX4668" y="connsiteY4668"/>
              </a:cxn>
              <a:cxn ang="0">
                <a:pos x="connsiteX4669" y="connsiteY4669"/>
              </a:cxn>
              <a:cxn ang="0">
                <a:pos x="connsiteX4670" y="connsiteY4670"/>
              </a:cxn>
              <a:cxn ang="0">
                <a:pos x="connsiteX4671" y="connsiteY4671"/>
              </a:cxn>
              <a:cxn ang="0">
                <a:pos x="connsiteX4672" y="connsiteY4672"/>
              </a:cxn>
              <a:cxn ang="0">
                <a:pos x="connsiteX4673" y="connsiteY4673"/>
              </a:cxn>
              <a:cxn ang="0">
                <a:pos x="connsiteX4674" y="connsiteY4674"/>
              </a:cxn>
              <a:cxn ang="0">
                <a:pos x="connsiteX4675" y="connsiteY4675"/>
              </a:cxn>
              <a:cxn ang="0">
                <a:pos x="connsiteX4676" y="connsiteY4676"/>
              </a:cxn>
              <a:cxn ang="0">
                <a:pos x="connsiteX4677" y="connsiteY4677"/>
              </a:cxn>
              <a:cxn ang="0">
                <a:pos x="connsiteX4678" y="connsiteY4678"/>
              </a:cxn>
              <a:cxn ang="0">
                <a:pos x="connsiteX4679" y="connsiteY4679"/>
              </a:cxn>
              <a:cxn ang="0">
                <a:pos x="connsiteX4680" y="connsiteY4680"/>
              </a:cxn>
              <a:cxn ang="0">
                <a:pos x="connsiteX4681" y="connsiteY4681"/>
              </a:cxn>
              <a:cxn ang="0">
                <a:pos x="connsiteX4682" y="connsiteY4682"/>
              </a:cxn>
              <a:cxn ang="0">
                <a:pos x="connsiteX4683" y="connsiteY4683"/>
              </a:cxn>
              <a:cxn ang="0">
                <a:pos x="connsiteX4684" y="connsiteY4684"/>
              </a:cxn>
              <a:cxn ang="0">
                <a:pos x="connsiteX4685" y="connsiteY4685"/>
              </a:cxn>
              <a:cxn ang="0">
                <a:pos x="connsiteX4686" y="connsiteY4686"/>
              </a:cxn>
              <a:cxn ang="0">
                <a:pos x="connsiteX4687" y="connsiteY4687"/>
              </a:cxn>
              <a:cxn ang="0">
                <a:pos x="connsiteX4688" y="connsiteY4688"/>
              </a:cxn>
              <a:cxn ang="0">
                <a:pos x="connsiteX4689" y="connsiteY4689"/>
              </a:cxn>
              <a:cxn ang="0">
                <a:pos x="connsiteX4690" y="connsiteY4690"/>
              </a:cxn>
              <a:cxn ang="0">
                <a:pos x="connsiteX4691" y="connsiteY4691"/>
              </a:cxn>
              <a:cxn ang="0">
                <a:pos x="connsiteX4692" y="connsiteY4692"/>
              </a:cxn>
              <a:cxn ang="0">
                <a:pos x="connsiteX4693" y="connsiteY4693"/>
              </a:cxn>
              <a:cxn ang="0">
                <a:pos x="connsiteX4694" y="connsiteY4694"/>
              </a:cxn>
              <a:cxn ang="0">
                <a:pos x="connsiteX4695" y="connsiteY4695"/>
              </a:cxn>
              <a:cxn ang="0">
                <a:pos x="connsiteX4696" y="connsiteY4696"/>
              </a:cxn>
              <a:cxn ang="0">
                <a:pos x="connsiteX4697" y="connsiteY4697"/>
              </a:cxn>
              <a:cxn ang="0">
                <a:pos x="connsiteX4698" y="connsiteY4698"/>
              </a:cxn>
              <a:cxn ang="0">
                <a:pos x="connsiteX4699" y="connsiteY4699"/>
              </a:cxn>
              <a:cxn ang="0">
                <a:pos x="connsiteX4700" y="connsiteY4700"/>
              </a:cxn>
              <a:cxn ang="0">
                <a:pos x="connsiteX4701" y="connsiteY4701"/>
              </a:cxn>
              <a:cxn ang="0">
                <a:pos x="connsiteX4702" y="connsiteY4702"/>
              </a:cxn>
              <a:cxn ang="0">
                <a:pos x="connsiteX4703" y="connsiteY4703"/>
              </a:cxn>
              <a:cxn ang="0">
                <a:pos x="connsiteX4704" y="connsiteY4704"/>
              </a:cxn>
              <a:cxn ang="0">
                <a:pos x="connsiteX4705" y="connsiteY4705"/>
              </a:cxn>
              <a:cxn ang="0">
                <a:pos x="connsiteX4706" y="connsiteY4706"/>
              </a:cxn>
              <a:cxn ang="0">
                <a:pos x="connsiteX4707" y="connsiteY4707"/>
              </a:cxn>
              <a:cxn ang="0">
                <a:pos x="connsiteX4708" y="connsiteY4708"/>
              </a:cxn>
              <a:cxn ang="0">
                <a:pos x="connsiteX4709" y="connsiteY4709"/>
              </a:cxn>
              <a:cxn ang="0">
                <a:pos x="connsiteX4710" y="connsiteY4710"/>
              </a:cxn>
              <a:cxn ang="0">
                <a:pos x="connsiteX4711" y="connsiteY4711"/>
              </a:cxn>
              <a:cxn ang="0">
                <a:pos x="connsiteX4712" y="connsiteY4712"/>
              </a:cxn>
              <a:cxn ang="0">
                <a:pos x="connsiteX4713" y="connsiteY4713"/>
              </a:cxn>
              <a:cxn ang="0">
                <a:pos x="connsiteX4714" y="connsiteY4714"/>
              </a:cxn>
              <a:cxn ang="0">
                <a:pos x="connsiteX4715" y="connsiteY4715"/>
              </a:cxn>
              <a:cxn ang="0">
                <a:pos x="connsiteX4716" y="connsiteY4716"/>
              </a:cxn>
              <a:cxn ang="0">
                <a:pos x="connsiteX4717" y="connsiteY4717"/>
              </a:cxn>
              <a:cxn ang="0">
                <a:pos x="connsiteX4718" y="connsiteY4718"/>
              </a:cxn>
              <a:cxn ang="0">
                <a:pos x="connsiteX4719" y="connsiteY4719"/>
              </a:cxn>
              <a:cxn ang="0">
                <a:pos x="connsiteX4720" y="connsiteY4720"/>
              </a:cxn>
              <a:cxn ang="0">
                <a:pos x="connsiteX4721" y="connsiteY4721"/>
              </a:cxn>
              <a:cxn ang="0">
                <a:pos x="connsiteX4722" y="connsiteY4722"/>
              </a:cxn>
              <a:cxn ang="0">
                <a:pos x="connsiteX4723" y="connsiteY4723"/>
              </a:cxn>
              <a:cxn ang="0">
                <a:pos x="connsiteX4724" y="connsiteY4724"/>
              </a:cxn>
              <a:cxn ang="0">
                <a:pos x="connsiteX4725" y="connsiteY4725"/>
              </a:cxn>
              <a:cxn ang="0">
                <a:pos x="connsiteX4726" y="connsiteY4726"/>
              </a:cxn>
              <a:cxn ang="0">
                <a:pos x="connsiteX4727" y="connsiteY4727"/>
              </a:cxn>
              <a:cxn ang="0">
                <a:pos x="connsiteX4728" y="connsiteY4728"/>
              </a:cxn>
              <a:cxn ang="0">
                <a:pos x="connsiteX4729" y="connsiteY4729"/>
              </a:cxn>
              <a:cxn ang="0">
                <a:pos x="connsiteX4730" y="connsiteY4730"/>
              </a:cxn>
              <a:cxn ang="0">
                <a:pos x="connsiteX4731" y="connsiteY4731"/>
              </a:cxn>
              <a:cxn ang="0">
                <a:pos x="connsiteX4732" y="connsiteY4732"/>
              </a:cxn>
              <a:cxn ang="0">
                <a:pos x="connsiteX4733" y="connsiteY4733"/>
              </a:cxn>
              <a:cxn ang="0">
                <a:pos x="connsiteX4734" y="connsiteY4734"/>
              </a:cxn>
              <a:cxn ang="0">
                <a:pos x="connsiteX4735" y="connsiteY4735"/>
              </a:cxn>
              <a:cxn ang="0">
                <a:pos x="connsiteX4736" y="connsiteY4736"/>
              </a:cxn>
              <a:cxn ang="0">
                <a:pos x="connsiteX4737" y="connsiteY4737"/>
              </a:cxn>
              <a:cxn ang="0">
                <a:pos x="connsiteX4738" y="connsiteY4738"/>
              </a:cxn>
              <a:cxn ang="0">
                <a:pos x="connsiteX4739" y="connsiteY4739"/>
              </a:cxn>
              <a:cxn ang="0">
                <a:pos x="connsiteX4740" y="connsiteY4740"/>
              </a:cxn>
              <a:cxn ang="0">
                <a:pos x="connsiteX4741" y="connsiteY4741"/>
              </a:cxn>
              <a:cxn ang="0">
                <a:pos x="connsiteX4742" y="connsiteY4742"/>
              </a:cxn>
              <a:cxn ang="0">
                <a:pos x="connsiteX4743" y="connsiteY4743"/>
              </a:cxn>
              <a:cxn ang="0">
                <a:pos x="connsiteX4744" y="connsiteY4744"/>
              </a:cxn>
              <a:cxn ang="0">
                <a:pos x="connsiteX4745" y="connsiteY4745"/>
              </a:cxn>
              <a:cxn ang="0">
                <a:pos x="connsiteX4746" y="connsiteY4746"/>
              </a:cxn>
              <a:cxn ang="0">
                <a:pos x="connsiteX4747" y="connsiteY4747"/>
              </a:cxn>
              <a:cxn ang="0">
                <a:pos x="connsiteX4748" y="connsiteY4748"/>
              </a:cxn>
              <a:cxn ang="0">
                <a:pos x="connsiteX4749" y="connsiteY4749"/>
              </a:cxn>
              <a:cxn ang="0">
                <a:pos x="connsiteX4750" y="connsiteY4750"/>
              </a:cxn>
              <a:cxn ang="0">
                <a:pos x="connsiteX4751" y="connsiteY4751"/>
              </a:cxn>
              <a:cxn ang="0">
                <a:pos x="connsiteX4752" y="connsiteY4752"/>
              </a:cxn>
              <a:cxn ang="0">
                <a:pos x="connsiteX4753" y="connsiteY4753"/>
              </a:cxn>
              <a:cxn ang="0">
                <a:pos x="connsiteX4754" y="connsiteY4754"/>
              </a:cxn>
              <a:cxn ang="0">
                <a:pos x="connsiteX4755" y="connsiteY4755"/>
              </a:cxn>
              <a:cxn ang="0">
                <a:pos x="connsiteX4756" y="connsiteY4756"/>
              </a:cxn>
              <a:cxn ang="0">
                <a:pos x="connsiteX4757" y="connsiteY4757"/>
              </a:cxn>
              <a:cxn ang="0">
                <a:pos x="connsiteX4758" y="connsiteY4758"/>
              </a:cxn>
              <a:cxn ang="0">
                <a:pos x="connsiteX4759" y="connsiteY4759"/>
              </a:cxn>
              <a:cxn ang="0">
                <a:pos x="connsiteX4760" y="connsiteY4760"/>
              </a:cxn>
              <a:cxn ang="0">
                <a:pos x="connsiteX4761" y="connsiteY4761"/>
              </a:cxn>
              <a:cxn ang="0">
                <a:pos x="connsiteX4762" y="connsiteY4762"/>
              </a:cxn>
              <a:cxn ang="0">
                <a:pos x="connsiteX4763" y="connsiteY4763"/>
              </a:cxn>
              <a:cxn ang="0">
                <a:pos x="connsiteX4764" y="connsiteY4764"/>
              </a:cxn>
              <a:cxn ang="0">
                <a:pos x="connsiteX4765" y="connsiteY4765"/>
              </a:cxn>
              <a:cxn ang="0">
                <a:pos x="connsiteX4766" y="connsiteY4766"/>
              </a:cxn>
              <a:cxn ang="0">
                <a:pos x="connsiteX4767" y="connsiteY4767"/>
              </a:cxn>
              <a:cxn ang="0">
                <a:pos x="connsiteX4768" y="connsiteY4768"/>
              </a:cxn>
              <a:cxn ang="0">
                <a:pos x="connsiteX4769" y="connsiteY4769"/>
              </a:cxn>
              <a:cxn ang="0">
                <a:pos x="connsiteX4770" y="connsiteY4770"/>
              </a:cxn>
              <a:cxn ang="0">
                <a:pos x="connsiteX4771" y="connsiteY4771"/>
              </a:cxn>
              <a:cxn ang="0">
                <a:pos x="connsiteX4772" y="connsiteY4772"/>
              </a:cxn>
              <a:cxn ang="0">
                <a:pos x="connsiteX4773" y="connsiteY4773"/>
              </a:cxn>
              <a:cxn ang="0">
                <a:pos x="connsiteX4774" y="connsiteY4774"/>
              </a:cxn>
              <a:cxn ang="0">
                <a:pos x="connsiteX4775" y="connsiteY4775"/>
              </a:cxn>
              <a:cxn ang="0">
                <a:pos x="connsiteX4776" y="connsiteY4776"/>
              </a:cxn>
              <a:cxn ang="0">
                <a:pos x="connsiteX4777" y="connsiteY4777"/>
              </a:cxn>
              <a:cxn ang="0">
                <a:pos x="connsiteX4778" y="connsiteY4778"/>
              </a:cxn>
              <a:cxn ang="0">
                <a:pos x="connsiteX4779" y="connsiteY4779"/>
              </a:cxn>
              <a:cxn ang="0">
                <a:pos x="connsiteX4780" y="connsiteY4780"/>
              </a:cxn>
              <a:cxn ang="0">
                <a:pos x="connsiteX4781" y="connsiteY4781"/>
              </a:cxn>
              <a:cxn ang="0">
                <a:pos x="connsiteX4782" y="connsiteY4782"/>
              </a:cxn>
              <a:cxn ang="0">
                <a:pos x="connsiteX4783" y="connsiteY4783"/>
              </a:cxn>
              <a:cxn ang="0">
                <a:pos x="connsiteX4784" y="connsiteY4784"/>
              </a:cxn>
              <a:cxn ang="0">
                <a:pos x="connsiteX4785" y="connsiteY4785"/>
              </a:cxn>
              <a:cxn ang="0">
                <a:pos x="connsiteX4786" y="connsiteY4786"/>
              </a:cxn>
              <a:cxn ang="0">
                <a:pos x="connsiteX4787" y="connsiteY4787"/>
              </a:cxn>
              <a:cxn ang="0">
                <a:pos x="connsiteX4788" y="connsiteY4788"/>
              </a:cxn>
              <a:cxn ang="0">
                <a:pos x="connsiteX4789" y="connsiteY4789"/>
              </a:cxn>
              <a:cxn ang="0">
                <a:pos x="connsiteX4790" y="connsiteY4790"/>
              </a:cxn>
              <a:cxn ang="0">
                <a:pos x="connsiteX4791" y="connsiteY4791"/>
              </a:cxn>
              <a:cxn ang="0">
                <a:pos x="connsiteX4792" y="connsiteY4792"/>
              </a:cxn>
              <a:cxn ang="0">
                <a:pos x="connsiteX4793" y="connsiteY4793"/>
              </a:cxn>
              <a:cxn ang="0">
                <a:pos x="connsiteX4794" y="connsiteY4794"/>
              </a:cxn>
              <a:cxn ang="0">
                <a:pos x="connsiteX4795" y="connsiteY4795"/>
              </a:cxn>
              <a:cxn ang="0">
                <a:pos x="connsiteX4796" y="connsiteY4796"/>
              </a:cxn>
              <a:cxn ang="0">
                <a:pos x="connsiteX4797" y="connsiteY4797"/>
              </a:cxn>
              <a:cxn ang="0">
                <a:pos x="connsiteX4798" y="connsiteY4798"/>
              </a:cxn>
              <a:cxn ang="0">
                <a:pos x="connsiteX4799" y="connsiteY4799"/>
              </a:cxn>
              <a:cxn ang="0">
                <a:pos x="connsiteX4800" y="connsiteY4800"/>
              </a:cxn>
              <a:cxn ang="0">
                <a:pos x="connsiteX4801" y="connsiteY4801"/>
              </a:cxn>
              <a:cxn ang="0">
                <a:pos x="connsiteX4802" y="connsiteY4802"/>
              </a:cxn>
              <a:cxn ang="0">
                <a:pos x="connsiteX4803" y="connsiteY4803"/>
              </a:cxn>
              <a:cxn ang="0">
                <a:pos x="connsiteX4804" y="connsiteY4804"/>
              </a:cxn>
              <a:cxn ang="0">
                <a:pos x="connsiteX4805" y="connsiteY4805"/>
              </a:cxn>
              <a:cxn ang="0">
                <a:pos x="connsiteX4806" y="connsiteY4806"/>
              </a:cxn>
              <a:cxn ang="0">
                <a:pos x="connsiteX4807" y="connsiteY4807"/>
              </a:cxn>
              <a:cxn ang="0">
                <a:pos x="connsiteX4808" y="connsiteY4808"/>
              </a:cxn>
              <a:cxn ang="0">
                <a:pos x="connsiteX4809" y="connsiteY4809"/>
              </a:cxn>
              <a:cxn ang="0">
                <a:pos x="connsiteX4810" y="connsiteY4810"/>
              </a:cxn>
              <a:cxn ang="0">
                <a:pos x="connsiteX4811" y="connsiteY4811"/>
              </a:cxn>
              <a:cxn ang="0">
                <a:pos x="connsiteX4812" y="connsiteY4812"/>
              </a:cxn>
              <a:cxn ang="0">
                <a:pos x="connsiteX4813" y="connsiteY4813"/>
              </a:cxn>
              <a:cxn ang="0">
                <a:pos x="connsiteX4814" y="connsiteY4814"/>
              </a:cxn>
              <a:cxn ang="0">
                <a:pos x="connsiteX4815" y="connsiteY4815"/>
              </a:cxn>
              <a:cxn ang="0">
                <a:pos x="connsiteX4816" y="connsiteY4816"/>
              </a:cxn>
              <a:cxn ang="0">
                <a:pos x="connsiteX4817" y="connsiteY4817"/>
              </a:cxn>
              <a:cxn ang="0">
                <a:pos x="connsiteX4818" y="connsiteY4818"/>
              </a:cxn>
              <a:cxn ang="0">
                <a:pos x="connsiteX4819" y="connsiteY4819"/>
              </a:cxn>
              <a:cxn ang="0">
                <a:pos x="connsiteX4820" y="connsiteY4820"/>
              </a:cxn>
              <a:cxn ang="0">
                <a:pos x="connsiteX4821" y="connsiteY4821"/>
              </a:cxn>
              <a:cxn ang="0">
                <a:pos x="connsiteX4822" y="connsiteY4822"/>
              </a:cxn>
              <a:cxn ang="0">
                <a:pos x="connsiteX4823" y="connsiteY4823"/>
              </a:cxn>
              <a:cxn ang="0">
                <a:pos x="connsiteX4824" y="connsiteY4824"/>
              </a:cxn>
              <a:cxn ang="0">
                <a:pos x="connsiteX4825" y="connsiteY4825"/>
              </a:cxn>
              <a:cxn ang="0">
                <a:pos x="connsiteX4826" y="connsiteY4826"/>
              </a:cxn>
              <a:cxn ang="0">
                <a:pos x="connsiteX4827" y="connsiteY4827"/>
              </a:cxn>
              <a:cxn ang="0">
                <a:pos x="connsiteX4828" y="connsiteY4828"/>
              </a:cxn>
              <a:cxn ang="0">
                <a:pos x="connsiteX4829" y="connsiteY4829"/>
              </a:cxn>
              <a:cxn ang="0">
                <a:pos x="connsiteX4830" y="connsiteY4830"/>
              </a:cxn>
              <a:cxn ang="0">
                <a:pos x="connsiteX4831" y="connsiteY4831"/>
              </a:cxn>
              <a:cxn ang="0">
                <a:pos x="connsiteX4832" y="connsiteY4832"/>
              </a:cxn>
              <a:cxn ang="0">
                <a:pos x="connsiteX4833" y="connsiteY4833"/>
              </a:cxn>
              <a:cxn ang="0">
                <a:pos x="connsiteX4834" y="connsiteY4834"/>
              </a:cxn>
              <a:cxn ang="0">
                <a:pos x="connsiteX4835" y="connsiteY4835"/>
              </a:cxn>
              <a:cxn ang="0">
                <a:pos x="connsiteX4836" y="connsiteY4836"/>
              </a:cxn>
              <a:cxn ang="0">
                <a:pos x="connsiteX4837" y="connsiteY4837"/>
              </a:cxn>
              <a:cxn ang="0">
                <a:pos x="connsiteX4838" y="connsiteY4838"/>
              </a:cxn>
              <a:cxn ang="0">
                <a:pos x="connsiteX4839" y="connsiteY4839"/>
              </a:cxn>
              <a:cxn ang="0">
                <a:pos x="connsiteX4840" y="connsiteY4840"/>
              </a:cxn>
              <a:cxn ang="0">
                <a:pos x="connsiteX4841" y="connsiteY4841"/>
              </a:cxn>
              <a:cxn ang="0">
                <a:pos x="connsiteX4842" y="connsiteY4842"/>
              </a:cxn>
              <a:cxn ang="0">
                <a:pos x="connsiteX4843" y="connsiteY4843"/>
              </a:cxn>
              <a:cxn ang="0">
                <a:pos x="connsiteX4844" y="connsiteY4844"/>
              </a:cxn>
              <a:cxn ang="0">
                <a:pos x="connsiteX4845" y="connsiteY4845"/>
              </a:cxn>
              <a:cxn ang="0">
                <a:pos x="connsiteX4846" y="connsiteY4846"/>
              </a:cxn>
              <a:cxn ang="0">
                <a:pos x="connsiteX4847" y="connsiteY4847"/>
              </a:cxn>
              <a:cxn ang="0">
                <a:pos x="connsiteX4848" y="connsiteY4848"/>
              </a:cxn>
              <a:cxn ang="0">
                <a:pos x="connsiteX4849" y="connsiteY4849"/>
              </a:cxn>
              <a:cxn ang="0">
                <a:pos x="connsiteX4850" y="connsiteY4850"/>
              </a:cxn>
              <a:cxn ang="0">
                <a:pos x="connsiteX4851" y="connsiteY4851"/>
              </a:cxn>
              <a:cxn ang="0">
                <a:pos x="connsiteX4852" y="connsiteY4852"/>
              </a:cxn>
              <a:cxn ang="0">
                <a:pos x="connsiteX4853" y="connsiteY4853"/>
              </a:cxn>
              <a:cxn ang="0">
                <a:pos x="connsiteX4854" y="connsiteY4854"/>
              </a:cxn>
              <a:cxn ang="0">
                <a:pos x="connsiteX4855" y="connsiteY4855"/>
              </a:cxn>
              <a:cxn ang="0">
                <a:pos x="connsiteX4856" y="connsiteY4856"/>
              </a:cxn>
              <a:cxn ang="0">
                <a:pos x="connsiteX4857" y="connsiteY4857"/>
              </a:cxn>
              <a:cxn ang="0">
                <a:pos x="connsiteX4858" y="connsiteY4858"/>
              </a:cxn>
              <a:cxn ang="0">
                <a:pos x="connsiteX4859" y="connsiteY4859"/>
              </a:cxn>
              <a:cxn ang="0">
                <a:pos x="connsiteX4860" y="connsiteY4860"/>
              </a:cxn>
              <a:cxn ang="0">
                <a:pos x="connsiteX4861" y="connsiteY4861"/>
              </a:cxn>
              <a:cxn ang="0">
                <a:pos x="connsiteX4862" y="connsiteY4862"/>
              </a:cxn>
              <a:cxn ang="0">
                <a:pos x="connsiteX4863" y="connsiteY4863"/>
              </a:cxn>
              <a:cxn ang="0">
                <a:pos x="connsiteX4864" y="connsiteY4864"/>
              </a:cxn>
              <a:cxn ang="0">
                <a:pos x="connsiteX4865" y="connsiteY4865"/>
              </a:cxn>
              <a:cxn ang="0">
                <a:pos x="connsiteX4866" y="connsiteY4866"/>
              </a:cxn>
              <a:cxn ang="0">
                <a:pos x="connsiteX4867" y="connsiteY4867"/>
              </a:cxn>
              <a:cxn ang="0">
                <a:pos x="connsiteX4868" y="connsiteY4868"/>
              </a:cxn>
              <a:cxn ang="0">
                <a:pos x="connsiteX4869" y="connsiteY4869"/>
              </a:cxn>
              <a:cxn ang="0">
                <a:pos x="connsiteX4870" y="connsiteY4870"/>
              </a:cxn>
              <a:cxn ang="0">
                <a:pos x="connsiteX4871" y="connsiteY4871"/>
              </a:cxn>
              <a:cxn ang="0">
                <a:pos x="connsiteX4872" y="connsiteY4872"/>
              </a:cxn>
              <a:cxn ang="0">
                <a:pos x="connsiteX4873" y="connsiteY4873"/>
              </a:cxn>
              <a:cxn ang="0">
                <a:pos x="connsiteX4874" y="connsiteY4874"/>
              </a:cxn>
              <a:cxn ang="0">
                <a:pos x="connsiteX4875" y="connsiteY4875"/>
              </a:cxn>
              <a:cxn ang="0">
                <a:pos x="connsiteX4876" y="connsiteY4876"/>
              </a:cxn>
              <a:cxn ang="0">
                <a:pos x="connsiteX4877" y="connsiteY4877"/>
              </a:cxn>
              <a:cxn ang="0">
                <a:pos x="connsiteX4878" y="connsiteY4878"/>
              </a:cxn>
              <a:cxn ang="0">
                <a:pos x="connsiteX4879" y="connsiteY4879"/>
              </a:cxn>
              <a:cxn ang="0">
                <a:pos x="connsiteX4880" y="connsiteY4880"/>
              </a:cxn>
              <a:cxn ang="0">
                <a:pos x="connsiteX4881" y="connsiteY4881"/>
              </a:cxn>
              <a:cxn ang="0">
                <a:pos x="connsiteX4882" y="connsiteY4882"/>
              </a:cxn>
              <a:cxn ang="0">
                <a:pos x="connsiteX4883" y="connsiteY4883"/>
              </a:cxn>
              <a:cxn ang="0">
                <a:pos x="connsiteX4884" y="connsiteY4884"/>
              </a:cxn>
              <a:cxn ang="0">
                <a:pos x="connsiteX4885" y="connsiteY4885"/>
              </a:cxn>
              <a:cxn ang="0">
                <a:pos x="connsiteX4886" y="connsiteY4886"/>
              </a:cxn>
              <a:cxn ang="0">
                <a:pos x="connsiteX4887" y="connsiteY4887"/>
              </a:cxn>
              <a:cxn ang="0">
                <a:pos x="connsiteX4888" y="connsiteY4888"/>
              </a:cxn>
              <a:cxn ang="0">
                <a:pos x="connsiteX4889" y="connsiteY4889"/>
              </a:cxn>
              <a:cxn ang="0">
                <a:pos x="connsiteX4890" y="connsiteY4890"/>
              </a:cxn>
              <a:cxn ang="0">
                <a:pos x="connsiteX4891" y="connsiteY4891"/>
              </a:cxn>
              <a:cxn ang="0">
                <a:pos x="connsiteX4892" y="connsiteY4892"/>
              </a:cxn>
              <a:cxn ang="0">
                <a:pos x="connsiteX4893" y="connsiteY4893"/>
              </a:cxn>
              <a:cxn ang="0">
                <a:pos x="connsiteX4894" y="connsiteY4894"/>
              </a:cxn>
              <a:cxn ang="0">
                <a:pos x="connsiteX4895" y="connsiteY4895"/>
              </a:cxn>
              <a:cxn ang="0">
                <a:pos x="connsiteX4896" y="connsiteY4896"/>
              </a:cxn>
              <a:cxn ang="0">
                <a:pos x="connsiteX4897" y="connsiteY4897"/>
              </a:cxn>
              <a:cxn ang="0">
                <a:pos x="connsiteX4898" y="connsiteY4898"/>
              </a:cxn>
              <a:cxn ang="0">
                <a:pos x="connsiteX4899" y="connsiteY4899"/>
              </a:cxn>
              <a:cxn ang="0">
                <a:pos x="connsiteX4900" y="connsiteY4900"/>
              </a:cxn>
              <a:cxn ang="0">
                <a:pos x="connsiteX4901" y="connsiteY4901"/>
              </a:cxn>
              <a:cxn ang="0">
                <a:pos x="connsiteX4902" y="connsiteY4902"/>
              </a:cxn>
              <a:cxn ang="0">
                <a:pos x="connsiteX4903" y="connsiteY4903"/>
              </a:cxn>
              <a:cxn ang="0">
                <a:pos x="connsiteX4904" y="connsiteY4904"/>
              </a:cxn>
              <a:cxn ang="0">
                <a:pos x="connsiteX4905" y="connsiteY4905"/>
              </a:cxn>
              <a:cxn ang="0">
                <a:pos x="connsiteX4906" y="connsiteY4906"/>
              </a:cxn>
              <a:cxn ang="0">
                <a:pos x="connsiteX4907" y="connsiteY4907"/>
              </a:cxn>
              <a:cxn ang="0">
                <a:pos x="connsiteX4908" y="connsiteY4908"/>
              </a:cxn>
              <a:cxn ang="0">
                <a:pos x="connsiteX4909" y="connsiteY4909"/>
              </a:cxn>
              <a:cxn ang="0">
                <a:pos x="connsiteX4910" y="connsiteY4910"/>
              </a:cxn>
              <a:cxn ang="0">
                <a:pos x="connsiteX4911" y="connsiteY4911"/>
              </a:cxn>
              <a:cxn ang="0">
                <a:pos x="connsiteX4912" y="connsiteY4912"/>
              </a:cxn>
              <a:cxn ang="0">
                <a:pos x="connsiteX4913" y="connsiteY4913"/>
              </a:cxn>
              <a:cxn ang="0">
                <a:pos x="connsiteX4914" y="connsiteY4914"/>
              </a:cxn>
              <a:cxn ang="0">
                <a:pos x="connsiteX4915" y="connsiteY4915"/>
              </a:cxn>
              <a:cxn ang="0">
                <a:pos x="connsiteX4916" y="connsiteY4916"/>
              </a:cxn>
              <a:cxn ang="0">
                <a:pos x="connsiteX4917" y="connsiteY4917"/>
              </a:cxn>
              <a:cxn ang="0">
                <a:pos x="connsiteX4918" y="connsiteY4918"/>
              </a:cxn>
              <a:cxn ang="0">
                <a:pos x="connsiteX4919" y="connsiteY4919"/>
              </a:cxn>
              <a:cxn ang="0">
                <a:pos x="connsiteX4920" y="connsiteY4920"/>
              </a:cxn>
              <a:cxn ang="0">
                <a:pos x="connsiteX4921" y="connsiteY4921"/>
              </a:cxn>
              <a:cxn ang="0">
                <a:pos x="connsiteX4922" y="connsiteY4922"/>
              </a:cxn>
              <a:cxn ang="0">
                <a:pos x="connsiteX4923" y="connsiteY4923"/>
              </a:cxn>
              <a:cxn ang="0">
                <a:pos x="connsiteX4924" y="connsiteY4924"/>
              </a:cxn>
              <a:cxn ang="0">
                <a:pos x="connsiteX4925" y="connsiteY4925"/>
              </a:cxn>
              <a:cxn ang="0">
                <a:pos x="connsiteX4926" y="connsiteY4926"/>
              </a:cxn>
              <a:cxn ang="0">
                <a:pos x="connsiteX4927" y="connsiteY4927"/>
              </a:cxn>
              <a:cxn ang="0">
                <a:pos x="connsiteX4928" y="connsiteY4928"/>
              </a:cxn>
              <a:cxn ang="0">
                <a:pos x="connsiteX4929" y="connsiteY4929"/>
              </a:cxn>
              <a:cxn ang="0">
                <a:pos x="connsiteX4930" y="connsiteY4930"/>
              </a:cxn>
              <a:cxn ang="0">
                <a:pos x="connsiteX4931" y="connsiteY4931"/>
              </a:cxn>
              <a:cxn ang="0">
                <a:pos x="connsiteX4932" y="connsiteY4932"/>
              </a:cxn>
              <a:cxn ang="0">
                <a:pos x="connsiteX4933" y="connsiteY4933"/>
              </a:cxn>
              <a:cxn ang="0">
                <a:pos x="connsiteX4934" y="connsiteY4934"/>
              </a:cxn>
              <a:cxn ang="0">
                <a:pos x="connsiteX4935" y="connsiteY4935"/>
              </a:cxn>
              <a:cxn ang="0">
                <a:pos x="connsiteX4936" y="connsiteY4936"/>
              </a:cxn>
              <a:cxn ang="0">
                <a:pos x="connsiteX4937" y="connsiteY4937"/>
              </a:cxn>
              <a:cxn ang="0">
                <a:pos x="connsiteX4938" y="connsiteY4938"/>
              </a:cxn>
              <a:cxn ang="0">
                <a:pos x="connsiteX4939" y="connsiteY4939"/>
              </a:cxn>
              <a:cxn ang="0">
                <a:pos x="connsiteX4940" y="connsiteY4940"/>
              </a:cxn>
              <a:cxn ang="0">
                <a:pos x="connsiteX4941" y="connsiteY4941"/>
              </a:cxn>
              <a:cxn ang="0">
                <a:pos x="connsiteX4942" y="connsiteY4942"/>
              </a:cxn>
              <a:cxn ang="0">
                <a:pos x="connsiteX4943" y="connsiteY4943"/>
              </a:cxn>
              <a:cxn ang="0">
                <a:pos x="connsiteX4944" y="connsiteY4944"/>
              </a:cxn>
              <a:cxn ang="0">
                <a:pos x="connsiteX4945" y="connsiteY4945"/>
              </a:cxn>
              <a:cxn ang="0">
                <a:pos x="connsiteX4946" y="connsiteY4946"/>
              </a:cxn>
              <a:cxn ang="0">
                <a:pos x="connsiteX4947" y="connsiteY4947"/>
              </a:cxn>
              <a:cxn ang="0">
                <a:pos x="connsiteX4948" y="connsiteY4948"/>
              </a:cxn>
              <a:cxn ang="0">
                <a:pos x="connsiteX4949" y="connsiteY4949"/>
              </a:cxn>
              <a:cxn ang="0">
                <a:pos x="connsiteX4950" y="connsiteY4950"/>
              </a:cxn>
              <a:cxn ang="0">
                <a:pos x="connsiteX4951" y="connsiteY4951"/>
              </a:cxn>
              <a:cxn ang="0">
                <a:pos x="connsiteX4952" y="connsiteY4952"/>
              </a:cxn>
              <a:cxn ang="0">
                <a:pos x="connsiteX4953" y="connsiteY4953"/>
              </a:cxn>
              <a:cxn ang="0">
                <a:pos x="connsiteX4954" y="connsiteY4954"/>
              </a:cxn>
              <a:cxn ang="0">
                <a:pos x="connsiteX4955" y="connsiteY4955"/>
              </a:cxn>
              <a:cxn ang="0">
                <a:pos x="connsiteX4956" y="connsiteY4956"/>
              </a:cxn>
              <a:cxn ang="0">
                <a:pos x="connsiteX4957" y="connsiteY4957"/>
              </a:cxn>
              <a:cxn ang="0">
                <a:pos x="connsiteX4958" y="connsiteY4958"/>
              </a:cxn>
              <a:cxn ang="0">
                <a:pos x="connsiteX4959" y="connsiteY4959"/>
              </a:cxn>
              <a:cxn ang="0">
                <a:pos x="connsiteX4960" y="connsiteY4960"/>
              </a:cxn>
              <a:cxn ang="0">
                <a:pos x="connsiteX4961" y="connsiteY4961"/>
              </a:cxn>
              <a:cxn ang="0">
                <a:pos x="connsiteX4962" y="connsiteY4962"/>
              </a:cxn>
              <a:cxn ang="0">
                <a:pos x="connsiteX4963" y="connsiteY4963"/>
              </a:cxn>
              <a:cxn ang="0">
                <a:pos x="connsiteX4964" y="connsiteY4964"/>
              </a:cxn>
              <a:cxn ang="0">
                <a:pos x="connsiteX4965" y="connsiteY4965"/>
              </a:cxn>
              <a:cxn ang="0">
                <a:pos x="connsiteX4966" y="connsiteY4966"/>
              </a:cxn>
              <a:cxn ang="0">
                <a:pos x="connsiteX4967" y="connsiteY4967"/>
              </a:cxn>
              <a:cxn ang="0">
                <a:pos x="connsiteX4968" y="connsiteY4968"/>
              </a:cxn>
              <a:cxn ang="0">
                <a:pos x="connsiteX4969" y="connsiteY4969"/>
              </a:cxn>
              <a:cxn ang="0">
                <a:pos x="connsiteX4970" y="connsiteY4970"/>
              </a:cxn>
              <a:cxn ang="0">
                <a:pos x="connsiteX4971" y="connsiteY4971"/>
              </a:cxn>
              <a:cxn ang="0">
                <a:pos x="connsiteX4972" y="connsiteY4972"/>
              </a:cxn>
              <a:cxn ang="0">
                <a:pos x="connsiteX4973" y="connsiteY4973"/>
              </a:cxn>
              <a:cxn ang="0">
                <a:pos x="connsiteX4974" y="connsiteY4974"/>
              </a:cxn>
              <a:cxn ang="0">
                <a:pos x="connsiteX4975" y="connsiteY4975"/>
              </a:cxn>
              <a:cxn ang="0">
                <a:pos x="connsiteX4976" y="connsiteY4976"/>
              </a:cxn>
              <a:cxn ang="0">
                <a:pos x="connsiteX4977" y="connsiteY4977"/>
              </a:cxn>
              <a:cxn ang="0">
                <a:pos x="connsiteX4978" y="connsiteY4978"/>
              </a:cxn>
              <a:cxn ang="0">
                <a:pos x="connsiteX4979" y="connsiteY4979"/>
              </a:cxn>
              <a:cxn ang="0">
                <a:pos x="connsiteX4980" y="connsiteY4980"/>
              </a:cxn>
              <a:cxn ang="0">
                <a:pos x="connsiteX4981" y="connsiteY4981"/>
              </a:cxn>
              <a:cxn ang="0">
                <a:pos x="connsiteX4982" y="connsiteY4982"/>
              </a:cxn>
              <a:cxn ang="0">
                <a:pos x="connsiteX4983" y="connsiteY4983"/>
              </a:cxn>
              <a:cxn ang="0">
                <a:pos x="connsiteX4984" y="connsiteY4984"/>
              </a:cxn>
              <a:cxn ang="0">
                <a:pos x="connsiteX4985" y="connsiteY4985"/>
              </a:cxn>
              <a:cxn ang="0">
                <a:pos x="connsiteX4986" y="connsiteY4986"/>
              </a:cxn>
              <a:cxn ang="0">
                <a:pos x="connsiteX4987" y="connsiteY4987"/>
              </a:cxn>
              <a:cxn ang="0">
                <a:pos x="connsiteX4988" y="connsiteY4988"/>
              </a:cxn>
              <a:cxn ang="0">
                <a:pos x="connsiteX4989" y="connsiteY4989"/>
              </a:cxn>
              <a:cxn ang="0">
                <a:pos x="connsiteX4990" y="connsiteY4990"/>
              </a:cxn>
              <a:cxn ang="0">
                <a:pos x="connsiteX4991" y="connsiteY4991"/>
              </a:cxn>
              <a:cxn ang="0">
                <a:pos x="connsiteX4992" y="connsiteY4992"/>
              </a:cxn>
              <a:cxn ang="0">
                <a:pos x="connsiteX4993" y="connsiteY4993"/>
              </a:cxn>
              <a:cxn ang="0">
                <a:pos x="connsiteX4994" y="connsiteY4994"/>
              </a:cxn>
              <a:cxn ang="0">
                <a:pos x="connsiteX4995" y="connsiteY4995"/>
              </a:cxn>
              <a:cxn ang="0">
                <a:pos x="connsiteX4996" y="connsiteY4996"/>
              </a:cxn>
              <a:cxn ang="0">
                <a:pos x="connsiteX4997" y="connsiteY4997"/>
              </a:cxn>
              <a:cxn ang="0">
                <a:pos x="connsiteX4998" y="connsiteY4998"/>
              </a:cxn>
              <a:cxn ang="0">
                <a:pos x="connsiteX4999" y="connsiteY4999"/>
              </a:cxn>
              <a:cxn ang="0">
                <a:pos x="connsiteX5000" y="connsiteY5000"/>
              </a:cxn>
              <a:cxn ang="0">
                <a:pos x="connsiteX5001" y="connsiteY5001"/>
              </a:cxn>
              <a:cxn ang="0">
                <a:pos x="connsiteX5002" y="connsiteY5002"/>
              </a:cxn>
              <a:cxn ang="0">
                <a:pos x="connsiteX5003" y="connsiteY5003"/>
              </a:cxn>
              <a:cxn ang="0">
                <a:pos x="connsiteX5004" y="connsiteY5004"/>
              </a:cxn>
              <a:cxn ang="0">
                <a:pos x="connsiteX5005" y="connsiteY5005"/>
              </a:cxn>
              <a:cxn ang="0">
                <a:pos x="connsiteX5006" y="connsiteY5006"/>
              </a:cxn>
              <a:cxn ang="0">
                <a:pos x="connsiteX5007" y="connsiteY5007"/>
              </a:cxn>
              <a:cxn ang="0">
                <a:pos x="connsiteX5008" y="connsiteY5008"/>
              </a:cxn>
              <a:cxn ang="0">
                <a:pos x="connsiteX5009" y="connsiteY5009"/>
              </a:cxn>
              <a:cxn ang="0">
                <a:pos x="connsiteX5010" y="connsiteY5010"/>
              </a:cxn>
              <a:cxn ang="0">
                <a:pos x="connsiteX5011" y="connsiteY5011"/>
              </a:cxn>
              <a:cxn ang="0">
                <a:pos x="connsiteX5012" y="connsiteY5012"/>
              </a:cxn>
              <a:cxn ang="0">
                <a:pos x="connsiteX5013" y="connsiteY5013"/>
              </a:cxn>
              <a:cxn ang="0">
                <a:pos x="connsiteX5014" y="connsiteY5014"/>
              </a:cxn>
              <a:cxn ang="0">
                <a:pos x="connsiteX5015" y="connsiteY5015"/>
              </a:cxn>
              <a:cxn ang="0">
                <a:pos x="connsiteX5016" y="connsiteY5016"/>
              </a:cxn>
              <a:cxn ang="0">
                <a:pos x="connsiteX5017" y="connsiteY5017"/>
              </a:cxn>
              <a:cxn ang="0">
                <a:pos x="connsiteX5018" y="connsiteY5018"/>
              </a:cxn>
              <a:cxn ang="0">
                <a:pos x="connsiteX5019" y="connsiteY5019"/>
              </a:cxn>
              <a:cxn ang="0">
                <a:pos x="connsiteX5020" y="connsiteY5020"/>
              </a:cxn>
              <a:cxn ang="0">
                <a:pos x="connsiteX5021" y="connsiteY5021"/>
              </a:cxn>
              <a:cxn ang="0">
                <a:pos x="connsiteX5022" y="connsiteY5022"/>
              </a:cxn>
              <a:cxn ang="0">
                <a:pos x="connsiteX5023" y="connsiteY5023"/>
              </a:cxn>
              <a:cxn ang="0">
                <a:pos x="connsiteX5024" y="connsiteY5024"/>
              </a:cxn>
              <a:cxn ang="0">
                <a:pos x="connsiteX5025" y="connsiteY5025"/>
              </a:cxn>
              <a:cxn ang="0">
                <a:pos x="connsiteX5026" y="connsiteY5026"/>
              </a:cxn>
              <a:cxn ang="0">
                <a:pos x="connsiteX5027" y="connsiteY5027"/>
              </a:cxn>
              <a:cxn ang="0">
                <a:pos x="connsiteX5028" y="connsiteY5028"/>
              </a:cxn>
              <a:cxn ang="0">
                <a:pos x="connsiteX5029" y="connsiteY5029"/>
              </a:cxn>
              <a:cxn ang="0">
                <a:pos x="connsiteX5030" y="connsiteY5030"/>
              </a:cxn>
              <a:cxn ang="0">
                <a:pos x="connsiteX5031" y="connsiteY5031"/>
              </a:cxn>
              <a:cxn ang="0">
                <a:pos x="connsiteX5032" y="connsiteY5032"/>
              </a:cxn>
              <a:cxn ang="0">
                <a:pos x="connsiteX5033" y="connsiteY5033"/>
              </a:cxn>
              <a:cxn ang="0">
                <a:pos x="connsiteX5034" y="connsiteY5034"/>
              </a:cxn>
              <a:cxn ang="0">
                <a:pos x="connsiteX5035" y="connsiteY5035"/>
              </a:cxn>
              <a:cxn ang="0">
                <a:pos x="connsiteX5036" y="connsiteY5036"/>
              </a:cxn>
              <a:cxn ang="0">
                <a:pos x="connsiteX5037" y="connsiteY5037"/>
              </a:cxn>
              <a:cxn ang="0">
                <a:pos x="connsiteX5038" y="connsiteY5038"/>
              </a:cxn>
              <a:cxn ang="0">
                <a:pos x="connsiteX5039" y="connsiteY5039"/>
              </a:cxn>
              <a:cxn ang="0">
                <a:pos x="connsiteX5040" y="connsiteY5040"/>
              </a:cxn>
              <a:cxn ang="0">
                <a:pos x="connsiteX5041" y="connsiteY5041"/>
              </a:cxn>
              <a:cxn ang="0">
                <a:pos x="connsiteX5042" y="connsiteY5042"/>
              </a:cxn>
              <a:cxn ang="0">
                <a:pos x="connsiteX5043" y="connsiteY5043"/>
              </a:cxn>
              <a:cxn ang="0">
                <a:pos x="connsiteX5044" y="connsiteY5044"/>
              </a:cxn>
              <a:cxn ang="0">
                <a:pos x="connsiteX5045" y="connsiteY5045"/>
              </a:cxn>
              <a:cxn ang="0">
                <a:pos x="connsiteX5046" y="connsiteY5046"/>
              </a:cxn>
              <a:cxn ang="0">
                <a:pos x="connsiteX5047" y="connsiteY5047"/>
              </a:cxn>
              <a:cxn ang="0">
                <a:pos x="connsiteX5048" y="connsiteY5048"/>
              </a:cxn>
              <a:cxn ang="0">
                <a:pos x="connsiteX5049" y="connsiteY5049"/>
              </a:cxn>
              <a:cxn ang="0">
                <a:pos x="connsiteX5050" y="connsiteY5050"/>
              </a:cxn>
              <a:cxn ang="0">
                <a:pos x="connsiteX5051" y="connsiteY5051"/>
              </a:cxn>
              <a:cxn ang="0">
                <a:pos x="connsiteX5052" y="connsiteY5052"/>
              </a:cxn>
              <a:cxn ang="0">
                <a:pos x="connsiteX5053" y="connsiteY5053"/>
              </a:cxn>
              <a:cxn ang="0">
                <a:pos x="connsiteX5054" y="connsiteY5054"/>
              </a:cxn>
              <a:cxn ang="0">
                <a:pos x="connsiteX5055" y="connsiteY5055"/>
              </a:cxn>
              <a:cxn ang="0">
                <a:pos x="connsiteX5056" y="connsiteY5056"/>
              </a:cxn>
              <a:cxn ang="0">
                <a:pos x="connsiteX5057" y="connsiteY5057"/>
              </a:cxn>
              <a:cxn ang="0">
                <a:pos x="connsiteX5058" y="connsiteY5058"/>
              </a:cxn>
              <a:cxn ang="0">
                <a:pos x="connsiteX5059" y="connsiteY5059"/>
              </a:cxn>
              <a:cxn ang="0">
                <a:pos x="connsiteX5060" y="connsiteY5060"/>
              </a:cxn>
              <a:cxn ang="0">
                <a:pos x="connsiteX5061" y="connsiteY5061"/>
              </a:cxn>
              <a:cxn ang="0">
                <a:pos x="connsiteX5062" y="connsiteY5062"/>
              </a:cxn>
              <a:cxn ang="0">
                <a:pos x="connsiteX5063" y="connsiteY5063"/>
              </a:cxn>
              <a:cxn ang="0">
                <a:pos x="connsiteX5064" y="connsiteY5064"/>
              </a:cxn>
              <a:cxn ang="0">
                <a:pos x="connsiteX5065" y="connsiteY5065"/>
              </a:cxn>
              <a:cxn ang="0">
                <a:pos x="connsiteX5066" y="connsiteY5066"/>
              </a:cxn>
              <a:cxn ang="0">
                <a:pos x="connsiteX5067" y="connsiteY5067"/>
              </a:cxn>
              <a:cxn ang="0">
                <a:pos x="connsiteX5068" y="connsiteY5068"/>
              </a:cxn>
              <a:cxn ang="0">
                <a:pos x="connsiteX5069" y="connsiteY5069"/>
              </a:cxn>
              <a:cxn ang="0">
                <a:pos x="connsiteX5070" y="connsiteY5070"/>
              </a:cxn>
              <a:cxn ang="0">
                <a:pos x="connsiteX5071" y="connsiteY5071"/>
              </a:cxn>
              <a:cxn ang="0">
                <a:pos x="connsiteX5072" y="connsiteY5072"/>
              </a:cxn>
              <a:cxn ang="0">
                <a:pos x="connsiteX5073" y="connsiteY5073"/>
              </a:cxn>
              <a:cxn ang="0">
                <a:pos x="connsiteX5074" y="connsiteY5074"/>
              </a:cxn>
              <a:cxn ang="0">
                <a:pos x="connsiteX5075" y="connsiteY5075"/>
              </a:cxn>
              <a:cxn ang="0">
                <a:pos x="connsiteX5076" y="connsiteY5076"/>
              </a:cxn>
              <a:cxn ang="0">
                <a:pos x="connsiteX5077" y="connsiteY5077"/>
              </a:cxn>
              <a:cxn ang="0">
                <a:pos x="connsiteX5078" y="connsiteY5078"/>
              </a:cxn>
              <a:cxn ang="0">
                <a:pos x="connsiteX5079" y="connsiteY5079"/>
              </a:cxn>
              <a:cxn ang="0">
                <a:pos x="connsiteX5080" y="connsiteY5080"/>
              </a:cxn>
              <a:cxn ang="0">
                <a:pos x="connsiteX5081" y="connsiteY5081"/>
              </a:cxn>
              <a:cxn ang="0">
                <a:pos x="connsiteX5082" y="connsiteY5082"/>
              </a:cxn>
              <a:cxn ang="0">
                <a:pos x="connsiteX5083" y="connsiteY5083"/>
              </a:cxn>
              <a:cxn ang="0">
                <a:pos x="connsiteX5084" y="connsiteY5084"/>
              </a:cxn>
              <a:cxn ang="0">
                <a:pos x="connsiteX5085" y="connsiteY5085"/>
              </a:cxn>
              <a:cxn ang="0">
                <a:pos x="connsiteX5086" y="connsiteY5086"/>
              </a:cxn>
              <a:cxn ang="0">
                <a:pos x="connsiteX5087" y="connsiteY5087"/>
              </a:cxn>
              <a:cxn ang="0">
                <a:pos x="connsiteX5088" y="connsiteY5088"/>
              </a:cxn>
              <a:cxn ang="0">
                <a:pos x="connsiteX5089" y="connsiteY5089"/>
              </a:cxn>
              <a:cxn ang="0">
                <a:pos x="connsiteX5090" y="connsiteY5090"/>
              </a:cxn>
              <a:cxn ang="0">
                <a:pos x="connsiteX5091" y="connsiteY5091"/>
              </a:cxn>
              <a:cxn ang="0">
                <a:pos x="connsiteX5092" y="connsiteY5092"/>
              </a:cxn>
              <a:cxn ang="0">
                <a:pos x="connsiteX5093" y="connsiteY5093"/>
              </a:cxn>
              <a:cxn ang="0">
                <a:pos x="connsiteX5094" y="connsiteY5094"/>
              </a:cxn>
              <a:cxn ang="0">
                <a:pos x="connsiteX5095" y="connsiteY5095"/>
              </a:cxn>
              <a:cxn ang="0">
                <a:pos x="connsiteX5096" y="connsiteY5096"/>
              </a:cxn>
              <a:cxn ang="0">
                <a:pos x="connsiteX5097" y="connsiteY5097"/>
              </a:cxn>
              <a:cxn ang="0">
                <a:pos x="connsiteX5098" y="connsiteY5098"/>
              </a:cxn>
              <a:cxn ang="0">
                <a:pos x="connsiteX5099" y="connsiteY5099"/>
              </a:cxn>
              <a:cxn ang="0">
                <a:pos x="connsiteX5100" y="connsiteY5100"/>
              </a:cxn>
              <a:cxn ang="0">
                <a:pos x="connsiteX5101" y="connsiteY5101"/>
              </a:cxn>
              <a:cxn ang="0">
                <a:pos x="connsiteX5102" y="connsiteY5102"/>
              </a:cxn>
              <a:cxn ang="0">
                <a:pos x="connsiteX5103" y="connsiteY5103"/>
              </a:cxn>
              <a:cxn ang="0">
                <a:pos x="connsiteX5104" y="connsiteY5104"/>
              </a:cxn>
              <a:cxn ang="0">
                <a:pos x="connsiteX5105" y="connsiteY5105"/>
              </a:cxn>
              <a:cxn ang="0">
                <a:pos x="connsiteX5106" y="connsiteY5106"/>
              </a:cxn>
              <a:cxn ang="0">
                <a:pos x="connsiteX5107" y="connsiteY5107"/>
              </a:cxn>
              <a:cxn ang="0">
                <a:pos x="connsiteX5108" y="connsiteY5108"/>
              </a:cxn>
              <a:cxn ang="0">
                <a:pos x="connsiteX5109" y="connsiteY5109"/>
              </a:cxn>
              <a:cxn ang="0">
                <a:pos x="connsiteX5110" y="connsiteY5110"/>
              </a:cxn>
              <a:cxn ang="0">
                <a:pos x="connsiteX5111" y="connsiteY5111"/>
              </a:cxn>
              <a:cxn ang="0">
                <a:pos x="connsiteX5112" y="connsiteY5112"/>
              </a:cxn>
              <a:cxn ang="0">
                <a:pos x="connsiteX5113" y="connsiteY5113"/>
              </a:cxn>
              <a:cxn ang="0">
                <a:pos x="connsiteX5114" y="connsiteY5114"/>
              </a:cxn>
              <a:cxn ang="0">
                <a:pos x="connsiteX5115" y="connsiteY5115"/>
              </a:cxn>
              <a:cxn ang="0">
                <a:pos x="connsiteX5116" y="connsiteY5116"/>
              </a:cxn>
              <a:cxn ang="0">
                <a:pos x="connsiteX5117" y="connsiteY5117"/>
              </a:cxn>
              <a:cxn ang="0">
                <a:pos x="connsiteX5118" y="connsiteY5118"/>
              </a:cxn>
              <a:cxn ang="0">
                <a:pos x="connsiteX5119" y="connsiteY5119"/>
              </a:cxn>
              <a:cxn ang="0">
                <a:pos x="connsiteX5120" y="connsiteY5120"/>
              </a:cxn>
              <a:cxn ang="0">
                <a:pos x="connsiteX5121" y="connsiteY5121"/>
              </a:cxn>
              <a:cxn ang="0">
                <a:pos x="connsiteX5122" y="connsiteY5122"/>
              </a:cxn>
              <a:cxn ang="0">
                <a:pos x="connsiteX5123" y="connsiteY5123"/>
              </a:cxn>
              <a:cxn ang="0">
                <a:pos x="connsiteX5124" y="connsiteY5124"/>
              </a:cxn>
              <a:cxn ang="0">
                <a:pos x="connsiteX5125" y="connsiteY5125"/>
              </a:cxn>
              <a:cxn ang="0">
                <a:pos x="connsiteX5126" y="connsiteY5126"/>
              </a:cxn>
              <a:cxn ang="0">
                <a:pos x="connsiteX5127" y="connsiteY5127"/>
              </a:cxn>
              <a:cxn ang="0">
                <a:pos x="connsiteX5128" y="connsiteY5128"/>
              </a:cxn>
              <a:cxn ang="0">
                <a:pos x="connsiteX5129" y="connsiteY5129"/>
              </a:cxn>
              <a:cxn ang="0">
                <a:pos x="connsiteX5130" y="connsiteY5130"/>
              </a:cxn>
              <a:cxn ang="0">
                <a:pos x="connsiteX5131" y="connsiteY5131"/>
              </a:cxn>
              <a:cxn ang="0">
                <a:pos x="connsiteX5132" y="connsiteY5132"/>
              </a:cxn>
              <a:cxn ang="0">
                <a:pos x="connsiteX5133" y="connsiteY5133"/>
              </a:cxn>
              <a:cxn ang="0">
                <a:pos x="connsiteX5134" y="connsiteY5134"/>
              </a:cxn>
              <a:cxn ang="0">
                <a:pos x="connsiteX5135" y="connsiteY5135"/>
              </a:cxn>
              <a:cxn ang="0">
                <a:pos x="connsiteX5136" y="connsiteY5136"/>
              </a:cxn>
              <a:cxn ang="0">
                <a:pos x="connsiteX5137" y="connsiteY5137"/>
              </a:cxn>
              <a:cxn ang="0">
                <a:pos x="connsiteX5138" y="connsiteY5138"/>
              </a:cxn>
              <a:cxn ang="0">
                <a:pos x="connsiteX5139" y="connsiteY5139"/>
              </a:cxn>
              <a:cxn ang="0">
                <a:pos x="connsiteX5140" y="connsiteY5140"/>
              </a:cxn>
              <a:cxn ang="0">
                <a:pos x="connsiteX5141" y="connsiteY5141"/>
              </a:cxn>
              <a:cxn ang="0">
                <a:pos x="connsiteX5142" y="connsiteY5142"/>
              </a:cxn>
              <a:cxn ang="0">
                <a:pos x="connsiteX5143" y="connsiteY5143"/>
              </a:cxn>
              <a:cxn ang="0">
                <a:pos x="connsiteX5144" y="connsiteY5144"/>
              </a:cxn>
              <a:cxn ang="0">
                <a:pos x="connsiteX5145" y="connsiteY5145"/>
              </a:cxn>
              <a:cxn ang="0">
                <a:pos x="connsiteX5146" y="connsiteY5146"/>
              </a:cxn>
              <a:cxn ang="0">
                <a:pos x="connsiteX5147" y="connsiteY5147"/>
              </a:cxn>
              <a:cxn ang="0">
                <a:pos x="connsiteX5148" y="connsiteY5148"/>
              </a:cxn>
              <a:cxn ang="0">
                <a:pos x="connsiteX5149" y="connsiteY5149"/>
              </a:cxn>
              <a:cxn ang="0">
                <a:pos x="connsiteX5150" y="connsiteY5150"/>
              </a:cxn>
              <a:cxn ang="0">
                <a:pos x="connsiteX5151" y="connsiteY5151"/>
              </a:cxn>
              <a:cxn ang="0">
                <a:pos x="connsiteX5152" y="connsiteY5152"/>
              </a:cxn>
              <a:cxn ang="0">
                <a:pos x="connsiteX5153" y="connsiteY5153"/>
              </a:cxn>
              <a:cxn ang="0">
                <a:pos x="connsiteX5154" y="connsiteY5154"/>
              </a:cxn>
              <a:cxn ang="0">
                <a:pos x="connsiteX5155" y="connsiteY5155"/>
              </a:cxn>
              <a:cxn ang="0">
                <a:pos x="connsiteX5156" y="connsiteY5156"/>
              </a:cxn>
              <a:cxn ang="0">
                <a:pos x="connsiteX5157" y="connsiteY5157"/>
              </a:cxn>
              <a:cxn ang="0">
                <a:pos x="connsiteX5158" y="connsiteY5158"/>
              </a:cxn>
              <a:cxn ang="0">
                <a:pos x="connsiteX5159" y="connsiteY5159"/>
              </a:cxn>
              <a:cxn ang="0">
                <a:pos x="connsiteX5160" y="connsiteY5160"/>
              </a:cxn>
              <a:cxn ang="0">
                <a:pos x="connsiteX5161" y="connsiteY5161"/>
              </a:cxn>
              <a:cxn ang="0">
                <a:pos x="connsiteX5162" y="connsiteY5162"/>
              </a:cxn>
              <a:cxn ang="0">
                <a:pos x="connsiteX5163" y="connsiteY5163"/>
              </a:cxn>
              <a:cxn ang="0">
                <a:pos x="connsiteX5164" y="connsiteY5164"/>
              </a:cxn>
              <a:cxn ang="0">
                <a:pos x="connsiteX5165" y="connsiteY5165"/>
              </a:cxn>
              <a:cxn ang="0">
                <a:pos x="connsiteX5166" y="connsiteY5166"/>
              </a:cxn>
              <a:cxn ang="0">
                <a:pos x="connsiteX5167" y="connsiteY5167"/>
              </a:cxn>
              <a:cxn ang="0">
                <a:pos x="connsiteX5168" y="connsiteY5168"/>
              </a:cxn>
              <a:cxn ang="0">
                <a:pos x="connsiteX5169" y="connsiteY5169"/>
              </a:cxn>
              <a:cxn ang="0">
                <a:pos x="connsiteX5170" y="connsiteY5170"/>
              </a:cxn>
              <a:cxn ang="0">
                <a:pos x="connsiteX5171" y="connsiteY5171"/>
              </a:cxn>
              <a:cxn ang="0">
                <a:pos x="connsiteX5172" y="connsiteY5172"/>
              </a:cxn>
              <a:cxn ang="0">
                <a:pos x="connsiteX5173" y="connsiteY5173"/>
              </a:cxn>
              <a:cxn ang="0">
                <a:pos x="connsiteX5174" y="connsiteY5174"/>
              </a:cxn>
              <a:cxn ang="0">
                <a:pos x="connsiteX5175" y="connsiteY5175"/>
              </a:cxn>
              <a:cxn ang="0">
                <a:pos x="connsiteX5176" y="connsiteY5176"/>
              </a:cxn>
              <a:cxn ang="0">
                <a:pos x="connsiteX5177" y="connsiteY5177"/>
              </a:cxn>
              <a:cxn ang="0">
                <a:pos x="connsiteX5178" y="connsiteY5178"/>
              </a:cxn>
              <a:cxn ang="0">
                <a:pos x="connsiteX5179" y="connsiteY5179"/>
              </a:cxn>
              <a:cxn ang="0">
                <a:pos x="connsiteX5180" y="connsiteY5180"/>
              </a:cxn>
              <a:cxn ang="0">
                <a:pos x="connsiteX5181" y="connsiteY5181"/>
              </a:cxn>
              <a:cxn ang="0">
                <a:pos x="connsiteX5182" y="connsiteY5182"/>
              </a:cxn>
              <a:cxn ang="0">
                <a:pos x="connsiteX5183" y="connsiteY5183"/>
              </a:cxn>
              <a:cxn ang="0">
                <a:pos x="connsiteX5184" y="connsiteY5184"/>
              </a:cxn>
              <a:cxn ang="0">
                <a:pos x="connsiteX5185" y="connsiteY5185"/>
              </a:cxn>
              <a:cxn ang="0">
                <a:pos x="connsiteX5186" y="connsiteY5186"/>
              </a:cxn>
              <a:cxn ang="0">
                <a:pos x="connsiteX5187" y="connsiteY5187"/>
              </a:cxn>
              <a:cxn ang="0">
                <a:pos x="connsiteX5188" y="connsiteY5188"/>
              </a:cxn>
              <a:cxn ang="0">
                <a:pos x="connsiteX5189" y="connsiteY5189"/>
              </a:cxn>
              <a:cxn ang="0">
                <a:pos x="connsiteX5190" y="connsiteY5190"/>
              </a:cxn>
              <a:cxn ang="0">
                <a:pos x="connsiteX5191" y="connsiteY5191"/>
              </a:cxn>
              <a:cxn ang="0">
                <a:pos x="connsiteX5192" y="connsiteY5192"/>
              </a:cxn>
              <a:cxn ang="0">
                <a:pos x="connsiteX5193" y="connsiteY5193"/>
              </a:cxn>
              <a:cxn ang="0">
                <a:pos x="connsiteX5194" y="connsiteY5194"/>
              </a:cxn>
              <a:cxn ang="0">
                <a:pos x="connsiteX5195" y="connsiteY5195"/>
              </a:cxn>
              <a:cxn ang="0">
                <a:pos x="connsiteX5196" y="connsiteY5196"/>
              </a:cxn>
              <a:cxn ang="0">
                <a:pos x="connsiteX5197" y="connsiteY5197"/>
              </a:cxn>
              <a:cxn ang="0">
                <a:pos x="connsiteX5198" y="connsiteY5198"/>
              </a:cxn>
              <a:cxn ang="0">
                <a:pos x="connsiteX5199" y="connsiteY5199"/>
              </a:cxn>
              <a:cxn ang="0">
                <a:pos x="connsiteX5200" y="connsiteY5200"/>
              </a:cxn>
              <a:cxn ang="0">
                <a:pos x="connsiteX5201" y="connsiteY5201"/>
              </a:cxn>
              <a:cxn ang="0">
                <a:pos x="connsiteX5202" y="connsiteY5202"/>
              </a:cxn>
              <a:cxn ang="0">
                <a:pos x="connsiteX5203" y="connsiteY5203"/>
              </a:cxn>
              <a:cxn ang="0">
                <a:pos x="connsiteX5204" y="connsiteY5204"/>
              </a:cxn>
              <a:cxn ang="0">
                <a:pos x="connsiteX5205" y="connsiteY5205"/>
              </a:cxn>
              <a:cxn ang="0">
                <a:pos x="connsiteX5206" y="connsiteY5206"/>
              </a:cxn>
              <a:cxn ang="0">
                <a:pos x="connsiteX5207" y="connsiteY5207"/>
              </a:cxn>
              <a:cxn ang="0">
                <a:pos x="connsiteX5208" y="connsiteY5208"/>
              </a:cxn>
              <a:cxn ang="0">
                <a:pos x="connsiteX5209" y="connsiteY5209"/>
              </a:cxn>
              <a:cxn ang="0">
                <a:pos x="connsiteX5210" y="connsiteY5210"/>
              </a:cxn>
              <a:cxn ang="0">
                <a:pos x="connsiteX5211" y="connsiteY5211"/>
              </a:cxn>
              <a:cxn ang="0">
                <a:pos x="connsiteX5212" y="connsiteY5212"/>
              </a:cxn>
              <a:cxn ang="0">
                <a:pos x="connsiteX5213" y="connsiteY5213"/>
              </a:cxn>
              <a:cxn ang="0">
                <a:pos x="connsiteX5214" y="connsiteY5214"/>
              </a:cxn>
              <a:cxn ang="0">
                <a:pos x="connsiteX5215" y="connsiteY5215"/>
              </a:cxn>
              <a:cxn ang="0">
                <a:pos x="connsiteX5216" y="connsiteY5216"/>
              </a:cxn>
              <a:cxn ang="0">
                <a:pos x="connsiteX5217" y="connsiteY5217"/>
              </a:cxn>
              <a:cxn ang="0">
                <a:pos x="connsiteX5218" y="connsiteY5218"/>
              </a:cxn>
              <a:cxn ang="0">
                <a:pos x="connsiteX5219" y="connsiteY5219"/>
              </a:cxn>
              <a:cxn ang="0">
                <a:pos x="connsiteX5220" y="connsiteY5220"/>
              </a:cxn>
              <a:cxn ang="0">
                <a:pos x="connsiteX5221" y="connsiteY5221"/>
              </a:cxn>
              <a:cxn ang="0">
                <a:pos x="connsiteX5222" y="connsiteY5222"/>
              </a:cxn>
              <a:cxn ang="0">
                <a:pos x="connsiteX5223" y="connsiteY5223"/>
              </a:cxn>
              <a:cxn ang="0">
                <a:pos x="connsiteX5224" y="connsiteY5224"/>
              </a:cxn>
              <a:cxn ang="0">
                <a:pos x="connsiteX5225" y="connsiteY5225"/>
              </a:cxn>
              <a:cxn ang="0">
                <a:pos x="connsiteX5226" y="connsiteY5226"/>
              </a:cxn>
              <a:cxn ang="0">
                <a:pos x="connsiteX5227" y="connsiteY5227"/>
              </a:cxn>
              <a:cxn ang="0">
                <a:pos x="connsiteX5228" y="connsiteY5228"/>
              </a:cxn>
              <a:cxn ang="0">
                <a:pos x="connsiteX5229" y="connsiteY5229"/>
              </a:cxn>
              <a:cxn ang="0">
                <a:pos x="connsiteX5230" y="connsiteY5230"/>
              </a:cxn>
              <a:cxn ang="0">
                <a:pos x="connsiteX5231" y="connsiteY5231"/>
              </a:cxn>
              <a:cxn ang="0">
                <a:pos x="connsiteX5232" y="connsiteY5232"/>
              </a:cxn>
              <a:cxn ang="0">
                <a:pos x="connsiteX5233" y="connsiteY5233"/>
              </a:cxn>
              <a:cxn ang="0">
                <a:pos x="connsiteX5234" y="connsiteY5234"/>
              </a:cxn>
              <a:cxn ang="0">
                <a:pos x="connsiteX5235" y="connsiteY5235"/>
              </a:cxn>
              <a:cxn ang="0">
                <a:pos x="connsiteX5236" y="connsiteY5236"/>
              </a:cxn>
              <a:cxn ang="0">
                <a:pos x="connsiteX5237" y="connsiteY5237"/>
              </a:cxn>
              <a:cxn ang="0">
                <a:pos x="connsiteX5238" y="connsiteY5238"/>
              </a:cxn>
              <a:cxn ang="0">
                <a:pos x="connsiteX5239" y="connsiteY5239"/>
              </a:cxn>
              <a:cxn ang="0">
                <a:pos x="connsiteX5240" y="connsiteY5240"/>
              </a:cxn>
              <a:cxn ang="0">
                <a:pos x="connsiteX5241" y="connsiteY5241"/>
              </a:cxn>
              <a:cxn ang="0">
                <a:pos x="connsiteX5242" y="connsiteY5242"/>
              </a:cxn>
              <a:cxn ang="0">
                <a:pos x="connsiteX5243" y="connsiteY5243"/>
              </a:cxn>
              <a:cxn ang="0">
                <a:pos x="connsiteX5244" y="connsiteY5244"/>
              </a:cxn>
              <a:cxn ang="0">
                <a:pos x="connsiteX5245" y="connsiteY5245"/>
              </a:cxn>
              <a:cxn ang="0">
                <a:pos x="connsiteX5246" y="connsiteY5246"/>
              </a:cxn>
              <a:cxn ang="0">
                <a:pos x="connsiteX5247" y="connsiteY5247"/>
              </a:cxn>
              <a:cxn ang="0">
                <a:pos x="connsiteX5248" y="connsiteY5248"/>
              </a:cxn>
              <a:cxn ang="0">
                <a:pos x="connsiteX5249" y="connsiteY5249"/>
              </a:cxn>
              <a:cxn ang="0">
                <a:pos x="connsiteX5250" y="connsiteY5250"/>
              </a:cxn>
              <a:cxn ang="0">
                <a:pos x="connsiteX5251" y="connsiteY5251"/>
              </a:cxn>
              <a:cxn ang="0">
                <a:pos x="connsiteX5252" y="connsiteY5252"/>
              </a:cxn>
              <a:cxn ang="0">
                <a:pos x="connsiteX5253" y="connsiteY5253"/>
              </a:cxn>
              <a:cxn ang="0">
                <a:pos x="connsiteX5254" y="connsiteY5254"/>
              </a:cxn>
              <a:cxn ang="0">
                <a:pos x="connsiteX5255" y="connsiteY5255"/>
              </a:cxn>
              <a:cxn ang="0">
                <a:pos x="connsiteX5256" y="connsiteY5256"/>
              </a:cxn>
              <a:cxn ang="0">
                <a:pos x="connsiteX5257" y="connsiteY5257"/>
              </a:cxn>
              <a:cxn ang="0">
                <a:pos x="connsiteX5258" y="connsiteY5258"/>
              </a:cxn>
              <a:cxn ang="0">
                <a:pos x="connsiteX5259" y="connsiteY5259"/>
              </a:cxn>
              <a:cxn ang="0">
                <a:pos x="connsiteX5260" y="connsiteY5260"/>
              </a:cxn>
              <a:cxn ang="0">
                <a:pos x="connsiteX5261" y="connsiteY5261"/>
              </a:cxn>
              <a:cxn ang="0">
                <a:pos x="connsiteX5262" y="connsiteY5262"/>
              </a:cxn>
              <a:cxn ang="0">
                <a:pos x="connsiteX5263" y="connsiteY5263"/>
              </a:cxn>
              <a:cxn ang="0">
                <a:pos x="connsiteX5264" y="connsiteY5264"/>
              </a:cxn>
              <a:cxn ang="0">
                <a:pos x="connsiteX5265" y="connsiteY5265"/>
              </a:cxn>
              <a:cxn ang="0">
                <a:pos x="connsiteX5266" y="connsiteY5266"/>
              </a:cxn>
              <a:cxn ang="0">
                <a:pos x="connsiteX5267" y="connsiteY5267"/>
              </a:cxn>
              <a:cxn ang="0">
                <a:pos x="connsiteX5268" y="connsiteY5268"/>
              </a:cxn>
              <a:cxn ang="0">
                <a:pos x="connsiteX5269" y="connsiteY5269"/>
              </a:cxn>
              <a:cxn ang="0">
                <a:pos x="connsiteX5270" y="connsiteY5270"/>
              </a:cxn>
              <a:cxn ang="0">
                <a:pos x="connsiteX5271" y="connsiteY5271"/>
              </a:cxn>
              <a:cxn ang="0">
                <a:pos x="connsiteX5272" y="connsiteY5272"/>
              </a:cxn>
              <a:cxn ang="0">
                <a:pos x="connsiteX5273" y="connsiteY5273"/>
              </a:cxn>
              <a:cxn ang="0">
                <a:pos x="connsiteX5274" y="connsiteY5274"/>
              </a:cxn>
              <a:cxn ang="0">
                <a:pos x="connsiteX5275" y="connsiteY5275"/>
              </a:cxn>
              <a:cxn ang="0">
                <a:pos x="connsiteX5276" y="connsiteY5276"/>
              </a:cxn>
              <a:cxn ang="0">
                <a:pos x="connsiteX5277" y="connsiteY5277"/>
              </a:cxn>
              <a:cxn ang="0">
                <a:pos x="connsiteX5278" y="connsiteY5278"/>
              </a:cxn>
              <a:cxn ang="0">
                <a:pos x="connsiteX5279" y="connsiteY5279"/>
              </a:cxn>
              <a:cxn ang="0">
                <a:pos x="connsiteX5280" y="connsiteY5280"/>
              </a:cxn>
              <a:cxn ang="0">
                <a:pos x="connsiteX5281" y="connsiteY5281"/>
              </a:cxn>
              <a:cxn ang="0">
                <a:pos x="connsiteX5282" y="connsiteY5282"/>
              </a:cxn>
              <a:cxn ang="0">
                <a:pos x="connsiteX5283" y="connsiteY5283"/>
              </a:cxn>
              <a:cxn ang="0">
                <a:pos x="connsiteX5284" y="connsiteY5284"/>
              </a:cxn>
              <a:cxn ang="0">
                <a:pos x="connsiteX5285" y="connsiteY5285"/>
              </a:cxn>
              <a:cxn ang="0">
                <a:pos x="connsiteX5286" y="connsiteY5286"/>
              </a:cxn>
              <a:cxn ang="0">
                <a:pos x="connsiteX5287" y="connsiteY5287"/>
              </a:cxn>
              <a:cxn ang="0">
                <a:pos x="connsiteX5288" y="connsiteY5288"/>
              </a:cxn>
              <a:cxn ang="0">
                <a:pos x="connsiteX5289" y="connsiteY5289"/>
              </a:cxn>
              <a:cxn ang="0">
                <a:pos x="connsiteX5290" y="connsiteY5290"/>
              </a:cxn>
              <a:cxn ang="0">
                <a:pos x="connsiteX5291" y="connsiteY5291"/>
              </a:cxn>
              <a:cxn ang="0">
                <a:pos x="connsiteX5292" y="connsiteY5292"/>
              </a:cxn>
              <a:cxn ang="0">
                <a:pos x="connsiteX5293" y="connsiteY5293"/>
              </a:cxn>
              <a:cxn ang="0">
                <a:pos x="connsiteX5294" y="connsiteY5294"/>
              </a:cxn>
              <a:cxn ang="0">
                <a:pos x="connsiteX5295" y="connsiteY5295"/>
              </a:cxn>
              <a:cxn ang="0">
                <a:pos x="connsiteX5296" y="connsiteY5296"/>
              </a:cxn>
              <a:cxn ang="0">
                <a:pos x="connsiteX5297" y="connsiteY5297"/>
              </a:cxn>
              <a:cxn ang="0">
                <a:pos x="connsiteX5298" y="connsiteY5298"/>
              </a:cxn>
              <a:cxn ang="0">
                <a:pos x="connsiteX5299" y="connsiteY5299"/>
              </a:cxn>
              <a:cxn ang="0">
                <a:pos x="connsiteX5300" y="connsiteY5300"/>
              </a:cxn>
              <a:cxn ang="0">
                <a:pos x="connsiteX5301" y="connsiteY5301"/>
              </a:cxn>
              <a:cxn ang="0">
                <a:pos x="connsiteX5302" y="connsiteY5302"/>
              </a:cxn>
              <a:cxn ang="0">
                <a:pos x="connsiteX5303" y="connsiteY5303"/>
              </a:cxn>
              <a:cxn ang="0">
                <a:pos x="connsiteX5304" y="connsiteY5304"/>
              </a:cxn>
              <a:cxn ang="0">
                <a:pos x="connsiteX5305" y="connsiteY5305"/>
              </a:cxn>
              <a:cxn ang="0">
                <a:pos x="connsiteX5306" y="connsiteY5306"/>
              </a:cxn>
              <a:cxn ang="0">
                <a:pos x="connsiteX5307" y="connsiteY5307"/>
              </a:cxn>
              <a:cxn ang="0">
                <a:pos x="connsiteX5308" y="connsiteY5308"/>
              </a:cxn>
              <a:cxn ang="0">
                <a:pos x="connsiteX5309" y="connsiteY5309"/>
              </a:cxn>
              <a:cxn ang="0">
                <a:pos x="connsiteX5310" y="connsiteY5310"/>
              </a:cxn>
              <a:cxn ang="0">
                <a:pos x="connsiteX5311" y="connsiteY5311"/>
              </a:cxn>
              <a:cxn ang="0">
                <a:pos x="connsiteX5312" y="connsiteY5312"/>
              </a:cxn>
              <a:cxn ang="0">
                <a:pos x="connsiteX5313" y="connsiteY5313"/>
              </a:cxn>
              <a:cxn ang="0">
                <a:pos x="connsiteX5314" y="connsiteY5314"/>
              </a:cxn>
              <a:cxn ang="0">
                <a:pos x="connsiteX5315" y="connsiteY5315"/>
              </a:cxn>
              <a:cxn ang="0">
                <a:pos x="connsiteX5316" y="connsiteY5316"/>
              </a:cxn>
              <a:cxn ang="0">
                <a:pos x="connsiteX5317" y="connsiteY5317"/>
              </a:cxn>
              <a:cxn ang="0">
                <a:pos x="connsiteX5318" y="connsiteY5318"/>
              </a:cxn>
              <a:cxn ang="0">
                <a:pos x="connsiteX5319" y="connsiteY5319"/>
              </a:cxn>
              <a:cxn ang="0">
                <a:pos x="connsiteX5320" y="connsiteY5320"/>
              </a:cxn>
              <a:cxn ang="0">
                <a:pos x="connsiteX5321" y="connsiteY5321"/>
              </a:cxn>
              <a:cxn ang="0">
                <a:pos x="connsiteX5322" y="connsiteY5322"/>
              </a:cxn>
              <a:cxn ang="0">
                <a:pos x="connsiteX5323" y="connsiteY5323"/>
              </a:cxn>
              <a:cxn ang="0">
                <a:pos x="connsiteX5324" y="connsiteY5324"/>
              </a:cxn>
              <a:cxn ang="0">
                <a:pos x="connsiteX5325" y="connsiteY5325"/>
              </a:cxn>
              <a:cxn ang="0">
                <a:pos x="connsiteX5326" y="connsiteY5326"/>
              </a:cxn>
              <a:cxn ang="0">
                <a:pos x="connsiteX5327" y="connsiteY5327"/>
              </a:cxn>
              <a:cxn ang="0">
                <a:pos x="connsiteX5328" y="connsiteY5328"/>
              </a:cxn>
              <a:cxn ang="0">
                <a:pos x="connsiteX5329" y="connsiteY5329"/>
              </a:cxn>
              <a:cxn ang="0">
                <a:pos x="connsiteX5330" y="connsiteY5330"/>
              </a:cxn>
              <a:cxn ang="0">
                <a:pos x="connsiteX5331" y="connsiteY5331"/>
              </a:cxn>
              <a:cxn ang="0">
                <a:pos x="connsiteX5332" y="connsiteY5332"/>
              </a:cxn>
              <a:cxn ang="0">
                <a:pos x="connsiteX5333" y="connsiteY5333"/>
              </a:cxn>
              <a:cxn ang="0">
                <a:pos x="connsiteX5334" y="connsiteY5334"/>
              </a:cxn>
              <a:cxn ang="0">
                <a:pos x="connsiteX5335" y="connsiteY5335"/>
              </a:cxn>
              <a:cxn ang="0">
                <a:pos x="connsiteX5336" y="connsiteY5336"/>
              </a:cxn>
              <a:cxn ang="0">
                <a:pos x="connsiteX5337" y="connsiteY5337"/>
              </a:cxn>
              <a:cxn ang="0">
                <a:pos x="connsiteX5338" y="connsiteY5338"/>
              </a:cxn>
              <a:cxn ang="0">
                <a:pos x="connsiteX5339" y="connsiteY5339"/>
              </a:cxn>
              <a:cxn ang="0">
                <a:pos x="connsiteX5340" y="connsiteY5340"/>
              </a:cxn>
              <a:cxn ang="0">
                <a:pos x="connsiteX5341" y="connsiteY5341"/>
              </a:cxn>
              <a:cxn ang="0">
                <a:pos x="connsiteX5342" y="connsiteY5342"/>
              </a:cxn>
              <a:cxn ang="0">
                <a:pos x="connsiteX5343" y="connsiteY5343"/>
              </a:cxn>
              <a:cxn ang="0">
                <a:pos x="connsiteX5344" y="connsiteY5344"/>
              </a:cxn>
              <a:cxn ang="0">
                <a:pos x="connsiteX5345" y="connsiteY5345"/>
              </a:cxn>
              <a:cxn ang="0">
                <a:pos x="connsiteX5346" y="connsiteY5346"/>
              </a:cxn>
              <a:cxn ang="0">
                <a:pos x="connsiteX5347" y="connsiteY5347"/>
              </a:cxn>
              <a:cxn ang="0">
                <a:pos x="connsiteX5348" y="connsiteY5348"/>
              </a:cxn>
              <a:cxn ang="0">
                <a:pos x="connsiteX5349" y="connsiteY5349"/>
              </a:cxn>
              <a:cxn ang="0">
                <a:pos x="connsiteX5350" y="connsiteY5350"/>
              </a:cxn>
              <a:cxn ang="0">
                <a:pos x="connsiteX5351" y="connsiteY5351"/>
              </a:cxn>
              <a:cxn ang="0">
                <a:pos x="connsiteX5352" y="connsiteY5352"/>
              </a:cxn>
              <a:cxn ang="0">
                <a:pos x="connsiteX5353" y="connsiteY5353"/>
              </a:cxn>
              <a:cxn ang="0">
                <a:pos x="connsiteX5354" y="connsiteY5354"/>
              </a:cxn>
              <a:cxn ang="0">
                <a:pos x="connsiteX5355" y="connsiteY5355"/>
              </a:cxn>
              <a:cxn ang="0">
                <a:pos x="connsiteX5356" y="connsiteY5356"/>
              </a:cxn>
              <a:cxn ang="0">
                <a:pos x="connsiteX5357" y="connsiteY5357"/>
              </a:cxn>
              <a:cxn ang="0">
                <a:pos x="connsiteX5358" y="connsiteY5358"/>
              </a:cxn>
              <a:cxn ang="0">
                <a:pos x="connsiteX5359" y="connsiteY5359"/>
              </a:cxn>
              <a:cxn ang="0">
                <a:pos x="connsiteX5360" y="connsiteY5360"/>
              </a:cxn>
              <a:cxn ang="0">
                <a:pos x="connsiteX5361" y="connsiteY5361"/>
              </a:cxn>
              <a:cxn ang="0">
                <a:pos x="connsiteX5362" y="connsiteY5362"/>
              </a:cxn>
              <a:cxn ang="0">
                <a:pos x="connsiteX5363" y="connsiteY5363"/>
              </a:cxn>
              <a:cxn ang="0">
                <a:pos x="connsiteX5364" y="connsiteY5364"/>
              </a:cxn>
              <a:cxn ang="0">
                <a:pos x="connsiteX5365" y="connsiteY5365"/>
              </a:cxn>
              <a:cxn ang="0">
                <a:pos x="connsiteX5366" y="connsiteY5366"/>
              </a:cxn>
              <a:cxn ang="0">
                <a:pos x="connsiteX5367" y="connsiteY5367"/>
              </a:cxn>
              <a:cxn ang="0">
                <a:pos x="connsiteX5368" y="connsiteY5368"/>
              </a:cxn>
              <a:cxn ang="0">
                <a:pos x="connsiteX5369" y="connsiteY5369"/>
              </a:cxn>
              <a:cxn ang="0">
                <a:pos x="connsiteX5370" y="connsiteY5370"/>
              </a:cxn>
              <a:cxn ang="0">
                <a:pos x="connsiteX5371" y="connsiteY5371"/>
              </a:cxn>
              <a:cxn ang="0">
                <a:pos x="connsiteX5372" y="connsiteY5372"/>
              </a:cxn>
              <a:cxn ang="0">
                <a:pos x="connsiteX5373" y="connsiteY5373"/>
              </a:cxn>
              <a:cxn ang="0">
                <a:pos x="connsiteX5374" y="connsiteY5374"/>
              </a:cxn>
              <a:cxn ang="0">
                <a:pos x="connsiteX5375" y="connsiteY5375"/>
              </a:cxn>
              <a:cxn ang="0">
                <a:pos x="connsiteX5376" y="connsiteY5376"/>
              </a:cxn>
              <a:cxn ang="0">
                <a:pos x="connsiteX5377" y="connsiteY5377"/>
              </a:cxn>
              <a:cxn ang="0">
                <a:pos x="connsiteX5378" y="connsiteY5378"/>
              </a:cxn>
              <a:cxn ang="0">
                <a:pos x="connsiteX5379" y="connsiteY5379"/>
              </a:cxn>
              <a:cxn ang="0">
                <a:pos x="connsiteX5380" y="connsiteY5380"/>
              </a:cxn>
              <a:cxn ang="0">
                <a:pos x="connsiteX5381" y="connsiteY5381"/>
              </a:cxn>
              <a:cxn ang="0">
                <a:pos x="connsiteX5382" y="connsiteY5382"/>
              </a:cxn>
              <a:cxn ang="0">
                <a:pos x="connsiteX5383" y="connsiteY5383"/>
              </a:cxn>
              <a:cxn ang="0">
                <a:pos x="connsiteX5384" y="connsiteY5384"/>
              </a:cxn>
              <a:cxn ang="0">
                <a:pos x="connsiteX5385" y="connsiteY5385"/>
              </a:cxn>
              <a:cxn ang="0">
                <a:pos x="connsiteX5386" y="connsiteY5386"/>
              </a:cxn>
              <a:cxn ang="0">
                <a:pos x="connsiteX5387" y="connsiteY5387"/>
              </a:cxn>
              <a:cxn ang="0">
                <a:pos x="connsiteX5388" y="connsiteY5388"/>
              </a:cxn>
              <a:cxn ang="0">
                <a:pos x="connsiteX5389" y="connsiteY5389"/>
              </a:cxn>
              <a:cxn ang="0">
                <a:pos x="connsiteX5390" y="connsiteY5390"/>
              </a:cxn>
              <a:cxn ang="0">
                <a:pos x="connsiteX5391" y="connsiteY5391"/>
              </a:cxn>
              <a:cxn ang="0">
                <a:pos x="connsiteX5392" y="connsiteY5392"/>
              </a:cxn>
              <a:cxn ang="0">
                <a:pos x="connsiteX5393" y="connsiteY5393"/>
              </a:cxn>
              <a:cxn ang="0">
                <a:pos x="connsiteX5394" y="connsiteY5394"/>
              </a:cxn>
              <a:cxn ang="0">
                <a:pos x="connsiteX5395" y="connsiteY5395"/>
              </a:cxn>
              <a:cxn ang="0">
                <a:pos x="connsiteX5396" y="connsiteY5396"/>
              </a:cxn>
              <a:cxn ang="0">
                <a:pos x="connsiteX5397" y="connsiteY5397"/>
              </a:cxn>
              <a:cxn ang="0">
                <a:pos x="connsiteX5398" y="connsiteY5398"/>
              </a:cxn>
              <a:cxn ang="0">
                <a:pos x="connsiteX5399" y="connsiteY5399"/>
              </a:cxn>
              <a:cxn ang="0">
                <a:pos x="connsiteX5400" y="connsiteY5400"/>
              </a:cxn>
              <a:cxn ang="0">
                <a:pos x="connsiteX5401" y="connsiteY5401"/>
              </a:cxn>
              <a:cxn ang="0">
                <a:pos x="connsiteX5402" y="connsiteY5402"/>
              </a:cxn>
              <a:cxn ang="0">
                <a:pos x="connsiteX5403" y="connsiteY5403"/>
              </a:cxn>
              <a:cxn ang="0">
                <a:pos x="connsiteX5404" y="connsiteY5404"/>
              </a:cxn>
              <a:cxn ang="0">
                <a:pos x="connsiteX5405" y="connsiteY5405"/>
              </a:cxn>
              <a:cxn ang="0">
                <a:pos x="connsiteX5406" y="connsiteY5406"/>
              </a:cxn>
              <a:cxn ang="0">
                <a:pos x="connsiteX5407" y="connsiteY5407"/>
              </a:cxn>
              <a:cxn ang="0">
                <a:pos x="connsiteX5408" y="connsiteY5408"/>
              </a:cxn>
              <a:cxn ang="0">
                <a:pos x="connsiteX5409" y="connsiteY5409"/>
              </a:cxn>
              <a:cxn ang="0">
                <a:pos x="connsiteX5410" y="connsiteY5410"/>
              </a:cxn>
              <a:cxn ang="0">
                <a:pos x="connsiteX5411" y="connsiteY5411"/>
              </a:cxn>
              <a:cxn ang="0">
                <a:pos x="connsiteX5412" y="connsiteY5412"/>
              </a:cxn>
              <a:cxn ang="0">
                <a:pos x="connsiteX5413" y="connsiteY5413"/>
              </a:cxn>
              <a:cxn ang="0">
                <a:pos x="connsiteX5414" y="connsiteY5414"/>
              </a:cxn>
              <a:cxn ang="0">
                <a:pos x="connsiteX5415" y="connsiteY5415"/>
              </a:cxn>
              <a:cxn ang="0">
                <a:pos x="connsiteX5416" y="connsiteY5416"/>
              </a:cxn>
              <a:cxn ang="0">
                <a:pos x="connsiteX5417" y="connsiteY5417"/>
              </a:cxn>
              <a:cxn ang="0">
                <a:pos x="connsiteX5418" y="connsiteY5418"/>
              </a:cxn>
              <a:cxn ang="0">
                <a:pos x="connsiteX5419" y="connsiteY5419"/>
              </a:cxn>
              <a:cxn ang="0">
                <a:pos x="connsiteX5420" y="connsiteY5420"/>
              </a:cxn>
              <a:cxn ang="0">
                <a:pos x="connsiteX5421" y="connsiteY5421"/>
              </a:cxn>
              <a:cxn ang="0">
                <a:pos x="connsiteX5422" y="connsiteY5422"/>
              </a:cxn>
              <a:cxn ang="0">
                <a:pos x="connsiteX5423" y="connsiteY5423"/>
              </a:cxn>
              <a:cxn ang="0">
                <a:pos x="connsiteX5424" y="connsiteY5424"/>
              </a:cxn>
              <a:cxn ang="0">
                <a:pos x="connsiteX5425" y="connsiteY5425"/>
              </a:cxn>
              <a:cxn ang="0">
                <a:pos x="connsiteX5426" y="connsiteY5426"/>
              </a:cxn>
              <a:cxn ang="0">
                <a:pos x="connsiteX5427" y="connsiteY5427"/>
              </a:cxn>
              <a:cxn ang="0">
                <a:pos x="connsiteX5428" y="connsiteY5428"/>
              </a:cxn>
              <a:cxn ang="0">
                <a:pos x="connsiteX5429" y="connsiteY5429"/>
              </a:cxn>
              <a:cxn ang="0">
                <a:pos x="connsiteX5430" y="connsiteY5430"/>
              </a:cxn>
              <a:cxn ang="0">
                <a:pos x="connsiteX5431" y="connsiteY5431"/>
              </a:cxn>
              <a:cxn ang="0">
                <a:pos x="connsiteX5432" y="connsiteY5432"/>
              </a:cxn>
              <a:cxn ang="0">
                <a:pos x="connsiteX5433" y="connsiteY5433"/>
              </a:cxn>
              <a:cxn ang="0">
                <a:pos x="connsiteX5434" y="connsiteY5434"/>
              </a:cxn>
              <a:cxn ang="0">
                <a:pos x="connsiteX5435" y="connsiteY5435"/>
              </a:cxn>
              <a:cxn ang="0">
                <a:pos x="connsiteX5436" y="connsiteY5436"/>
              </a:cxn>
              <a:cxn ang="0">
                <a:pos x="connsiteX5437" y="connsiteY5437"/>
              </a:cxn>
              <a:cxn ang="0">
                <a:pos x="connsiteX5438" y="connsiteY5438"/>
              </a:cxn>
              <a:cxn ang="0">
                <a:pos x="connsiteX5439" y="connsiteY5439"/>
              </a:cxn>
              <a:cxn ang="0">
                <a:pos x="connsiteX5440" y="connsiteY5440"/>
              </a:cxn>
              <a:cxn ang="0">
                <a:pos x="connsiteX5441" y="connsiteY5441"/>
              </a:cxn>
              <a:cxn ang="0">
                <a:pos x="connsiteX5442" y="connsiteY5442"/>
              </a:cxn>
              <a:cxn ang="0">
                <a:pos x="connsiteX5443" y="connsiteY5443"/>
              </a:cxn>
              <a:cxn ang="0">
                <a:pos x="connsiteX5444" y="connsiteY5444"/>
              </a:cxn>
              <a:cxn ang="0">
                <a:pos x="connsiteX5445" y="connsiteY5445"/>
              </a:cxn>
              <a:cxn ang="0">
                <a:pos x="connsiteX5446" y="connsiteY5446"/>
              </a:cxn>
              <a:cxn ang="0">
                <a:pos x="connsiteX5447" y="connsiteY5447"/>
              </a:cxn>
              <a:cxn ang="0">
                <a:pos x="connsiteX5448" y="connsiteY5448"/>
              </a:cxn>
              <a:cxn ang="0">
                <a:pos x="connsiteX5449" y="connsiteY5449"/>
              </a:cxn>
              <a:cxn ang="0">
                <a:pos x="connsiteX5450" y="connsiteY5450"/>
              </a:cxn>
              <a:cxn ang="0">
                <a:pos x="connsiteX5451" y="connsiteY5451"/>
              </a:cxn>
              <a:cxn ang="0">
                <a:pos x="connsiteX5452" y="connsiteY5452"/>
              </a:cxn>
              <a:cxn ang="0">
                <a:pos x="connsiteX5453" y="connsiteY5453"/>
              </a:cxn>
              <a:cxn ang="0">
                <a:pos x="connsiteX5454" y="connsiteY5454"/>
              </a:cxn>
              <a:cxn ang="0">
                <a:pos x="connsiteX5455" y="connsiteY5455"/>
              </a:cxn>
              <a:cxn ang="0">
                <a:pos x="connsiteX5456" y="connsiteY5456"/>
              </a:cxn>
              <a:cxn ang="0">
                <a:pos x="connsiteX5457" y="connsiteY5457"/>
              </a:cxn>
              <a:cxn ang="0">
                <a:pos x="connsiteX5458" y="connsiteY5458"/>
              </a:cxn>
              <a:cxn ang="0">
                <a:pos x="connsiteX5459" y="connsiteY5459"/>
              </a:cxn>
              <a:cxn ang="0">
                <a:pos x="connsiteX5460" y="connsiteY5460"/>
              </a:cxn>
              <a:cxn ang="0">
                <a:pos x="connsiteX5461" y="connsiteY5461"/>
              </a:cxn>
              <a:cxn ang="0">
                <a:pos x="connsiteX5462" y="connsiteY5462"/>
              </a:cxn>
              <a:cxn ang="0">
                <a:pos x="connsiteX5463" y="connsiteY5463"/>
              </a:cxn>
              <a:cxn ang="0">
                <a:pos x="connsiteX5464" y="connsiteY5464"/>
              </a:cxn>
              <a:cxn ang="0">
                <a:pos x="connsiteX5465" y="connsiteY5465"/>
              </a:cxn>
              <a:cxn ang="0">
                <a:pos x="connsiteX5466" y="connsiteY5466"/>
              </a:cxn>
              <a:cxn ang="0">
                <a:pos x="connsiteX5467" y="connsiteY5467"/>
              </a:cxn>
              <a:cxn ang="0">
                <a:pos x="connsiteX5468" y="connsiteY5468"/>
              </a:cxn>
              <a:cxn ang="0">
                <a:pos x="connsiteX5469" y="connsiteY5469"/>
              </a:cxn>
              <a:cxn ang="0">
                <a:pos x="connsiteX5470" y="connsiteY5470"/>
              </a:cxn>
              <a:cxn ang="0">
                <a:pos x="connsiteX5471" y="connsiteY5471"/>
              </a:cxn>
              <a:cxn ang="0">
                <a:pos x="connsiteX5472" y="connsiteY5472"/>
              </a:cxn>
              <a:cxn ang="0">
                <a:pos x="connsiteX5473" y="connsiteY5473"/>
              </a:cxn>
              <a:cxn ang="0">
                <a:pos x="connsiteX5474" y="connsiteY5474"/>
              </a:cxn>
              <a:cxn ang="0">
                <a:pos x="connsiteX5475" y="connsiteY5475"/>
              </a:cxn>
              <a:cxn ang="0">
                <a:pos x="connsiteX5476" y="connsiteY5476"/>
              </a:cxn>
              <a:cxn ang="0">
                <a:pos x="connsiteX5477" y="connsiteY5477"/>
              </a:cxn>
              <a:cxn ang="0">
                <a:pos x="connsiteX5478" y="connsiteY5478"/>
              </a:cxn>
              <a:cxn ang="0">
                <a:pos x="connsiteX5479" y="connsiteY5479"/>
              </a:cxn>
              <a:cxn ang="0">
                <a:pos x="connsiteX5480" y="connsiteY5480"/>
              </a:cxn>
              <a:cxn ang="0">
                <a:pos x="connsiteX5481" y="connsiteY5481"/>
              </a:cxn>
              <a:cxn ang="0">
                <a:pos x="connsiteX5482" y="connsiteY5482"/>
              </a:cxn>
              <a:cxn ang="0">
                <a:pos x="connsiteX5483" y="connsiteY5483"/>
              </a:cxn>
              <a:cxn ang="0">
                <a:pos x="connsiteX5484" y="connsiteY5484"/>
              </a:cxn>
              <a:cxn ang="0">
                <a:pos x="connsiteX5485" y="connsiteY5485"/>
              </a:cxn>
              <a:cxn ang="0">
                <a:pos x="connsiteX5486" y="connsiteY5486"/>
              </a:cxn>
              <a:cxn ang="0">
                <a:pos x="connsiteX5487" y="connsiteY5487"/>
              </a:cxn>
              <a:cxn ang="0">
                <a:pos x="connsiteX5488" y="connsiteY5488"/>
              </a:cxn>
              <a:cxn ang="0">
                <a:pos x="connsiteX5489" y="connsiteY5489"/>
              </a:cxn>
              <a:cxn ang="0">
                <a:pos x="connsiteX5490" y="connsiteY5490"/>
              </a:cxn>
              <a:cxn ang="0">
                <a:pos x="connsiteX5491" y="connsiteY5491"/>
              </a:cxn>
              <a:cxn ang="0">
                <a:pos x="connsiteX5492" y="connsiteY5492"/>
              </a:cxn>
              <a:cxn ang="0">
                <a:pos x="connsiteX5493" y="connsiteY5493"/>
              </a:cxn>
              <a:cxn ang="0">
                <a:pos x="connsiteX5494" y="connsiteY5494"/>
              </a:cxn>
              <a:cxn ang="0">
                <a:pos x="connsiteX5495" y="connsiteY5495"/>
              </a:cxn>
              <a:cxn ang="0">
                <a:pos x="connsiteX5496" y="connsiteY5496"/>
              </a:cxn>
              <a:cxn ang="0">
                <a:pos x="connsiteX5497" y="connsiteY5497"/>
              </a:cxn>
              <a:cxn ang="0">
                <a:pos x="connsiteX5498" y="connsiteY5498"/>
              </a:cxn>
              <a:cxn ang="0">
                <a:pos x="connsiteX5499" y="connsiteY5499"/>
              </a:cxn>
              <a:cxn ang="0">
                <a:pos x="connsiteX5500" y="connsiteY5500"/>
              </a:cxn>
              <a:cxn ang="0">
                <a:pos x="connsiteX5501" y="connsiteY5501"/>
              </a:cxn>
              <a:cxn ang="0">
                <a:pos x="connsiteX5502" y="connsiteY5502"/>
              </a:cxn>
              <a:cxn ang="0">
                <a:pos x="connsiteX5503" y="connsiteY5503"/>
              </a:cxn>
              <a:cxn ang="0">
                <a:pos x="connsiteX5504" y="connsiteY5504"/>
              </a:cxn>
              <a:cxn ang="0">
                <a:pos x="connsiteX5505" y="connsiteY5505"/>
              </a:cxn>
              <a:cxn ang="0">
                <a:pos x="connsiteX5506" y="connsiteY5506"/>
              </a:cxn>
              <a:cxn ang="0">
                <a:pos x="connsiteX5507" y="connsiteY5507"/>
              </a:cxn>
              <a:cxn ang="0">
                <a:pos x="connsiteX5508" y="connsiteY5508"/>
              </a:cxn>
              <a:cxn ang="0">
                <a:pos x="connsiteX5509" y="connsiteY5509"/>
              </a:cxn>
              <a:cxn ang="0">
                <a:pos x="connsiteX5510" y="connsiteY5510"/>
              </a:cxn>
              <a:cxn ang="0">
                <a:pos x="connsiteX5511" y="connsiteY5511"/>
              </a:cxn>
              <a:cxn ang="0">
                <a:pos x="connsiteX5512" y="connsiteY5512"/>
              </a:cxn>
              <a:cxn ang="0">
                <a:pos x="connsiteX5513" y="connsiteY5513"/>
              </a:cxn>
              <a:cxn ang="0">
                <a:pos x="connsiteX5514" y="connsiteY5514"/>
              </a:cxn>
              <a:cxn ang="0">
                <a:pos x="connsiteX5515" y="connsiteY5515"/>
              </a:cxn>
              <a:cxn ang="0">
                <a:pos x="connsiteX5516" y="connsiteY5516"/>
              </a:cxn>
              <a:cxn ang="0">
                <a:pos x="connsiteX5517" y="connsiteY5517"/>
              </a:cxn>
              <a:cxn ang="0">
                <a:pos x="connsiteX5518" y="connsiteY5518"/>
              </a:cxn>
              <a:cxn ang="0">
                <a:pos x="connsiteX5519" y="connsiteY5519"/>
              </a:cxn>
              <a:cxn ang="0">
                <a:pos x="connsiteX5520" y="connsiteY5520"/>
              </a:cxn>
              <a:cxn ang="0">
                <a:pos x="connsiteX5521" y="connsiteY5521"/>
              </a:cxn>
              <a:cxn ang="0">
                <a:pos x="connsiteX5522" y="connsiteY5522"/>
              </a:cxn>
              <a:cxn ang="0">
                <a:pos x="connsiteX5523" y="connsiteY5523"/>
              </a:cxn>
              <a:cxn ang="0">
                <a:pos x="connsiteX5524" y="connsiteY5524"/>
              </a:cxn>
              <a:cxn ang="0">
                <a:pos x="connsiteX5525" y="connsiteY5525"/>
              </a:cxn>
              <a:cxn ang="0">
                <a:pos x="connsiteX5526" y="connsiteY5526"/>
              </a:cxn>
              <a:cxn ang="0">
                <a:pos x="connsiteX5527" y="connsiteY5527"/>
              </a:cxn>
              <a:cxn ang="0">
                <a:pos x="connsiteX5528" y="connsiteY5528"/>
              </a:cxn>
              <a:cxn ang="0">
                <a:pos x="connsiteX5529" y="connsiteY5529"/>
              </a:cxn>
              <a:cxn ang="0">
                <a:pos x="connsiteX5530" y="connsiteY5530"/>
              </a:cxn>
              <a:cxn ang="0">
                <a:pos x="connsiteX5531" y="connsiteY5531"/>
              </a:cxn>
              <a:cxn ang="0">
                <a:pos x="connsiteX5532" y="connsiteY5532"/>
              </a:cxn>
              <a:cxn ang="0">
                <a:pos x="connsiteX5533" y="connsiteY5533"/>
              </a:cxn>
              <a:cxn ang="0">
                <a:pos x="connsiteX5534" y="connsiteY5534"/>
              </a:cxn>
              <a:cxn ang="0">
                <a:pos x="connsiteX5535" y="connsiteY5535"/>
              </a:cxn>
              <a:cxn ang="0">
                <a:pos x="connsiteX5536" y="connsiteY5536"/>
              </a:cxn>
              <a:cxn ang="0">
                <a:pos x="connsiteX5537" y="connsiteY5537"/>
              </a:cxn>
              <a:cxn ang="0">
                <a:pos x="connsiteX5538" y="connsiteY5538"/>
              </a:cxn>
              <a:cxn ang="0">
                <a:pos x="connsiteX5539" y="connsiteY5539"/>
              </a:cxn>
              <a:cxn ang="0">
                <a:pos x="connsiteX5540" y="connsiteY5540"/>
              </a:cxn>
              <a:cxn ang="0">
                <a:pos x="connsiteX5541" y="connsiteY5541"/>
              </a:cxn>
              <a:cxn ang="0">
                <a:pos x="connsiteX5542" y="connsiteY5542"/>
              </a:cxn>
              <a:cxn ang="0">
                <a:pos x="connsiteX5543" y="connsiteY5543"/>
              </a:cxn>
              <a:cxn ang="0">
                <a:pos x="connsiteX5544" y="connsiteY5544"/>
              </a:cxn>
              <a:cxn ang="0">
                <a:pos x="connsiteX5545" y="connsiteY5545"/>
              </a:cxn>
              <a:cxn ang="0">
                <a:pos x="connsiteX5546" y="connsiteY5546"/>
              </a:cxn>
              <a:cxn ang="0">
                <a:pos x="connsiteX5547" y="connsiteY5547"/>
              </a:cxn>
              <a:cxn ang="0">
                <a:pos x="connsiteX5548" y="connsiteY5548"/>
              </a:cxn>
              <a:cxn ang="0">
                <a:pos x="connsiteX5549" y="connsiteY5549"/>
              </a:cxn>
              <a:cxn ang="0">
                <a:pos x="connsiteX5550" y="connsiteY5550"/>
              </a:cxn>
              <a:cxn ang="0">
                <a:pos x="connsiteX5551" y="connsiteY5551"/>
              </a:cxn>
              <a:cxn ang="0">
                <a:pos x="connsiteX5552" y="connsiteY5552"/>
              </a:cxn>
              <a:cxn ang="0">
                <a:pos x="connsiteX5553" y="connsiteY5553"/>
              </a:cxn>
              <a:cxn ang="0">
                <a:pos x="connsiteX5554" y="connsiteY5554"/>
              </a:cxn>
              <a:cxn ang="0">
                <a:pos x="connsiteX5555" y="connsiteY5555"/>
              </a:cxn>
              <a:cxn ang="0">
                <a:pos x="connsiteX5556" y="connsiteY5556"/>
              </a:cxn>
              <a:cxn ang="0">
                <a:pos x="connsiteX5557" y="connsiteY5557"/>
              </a:cxn>
              <a:cxn ang="0">
                <a:pos x="connsiteX5558" y="connsiteY5558"/>
              </a:cxn>
              <a:cxn ang="0">
                <a:pos x="connsiteX5559" y="connsiteY5559"/>
              </a:cxn>
              <a:cxn ang="0">
                <a:pos x="connsiteX5560" y="connsiteY5560"/>
              </a:cxn>
              <a:cxn ang="0">
                <a:pos x="connsiteX5561" y="connsiteY5561"/>
              </a:cxn>
              <a:cxn ang="0">
                <a:pos x="connsiteX5562" y="connsiteY5562"/>
              </a:cxn>
              <a:cxn ang="0">
                <a:pos x="connsiteX5563" y="connsiteY5563"/>
              </a:cxn>
              <a:cxn ang="0">
                <a:pos x="connsiteX5564" y="connsiteY5564"/>
              </a:cxn>
              <a:cxn ang="0">
                <a:pos x="connsiteX5565" y="connsiteY5565"/>
              </a:cxn>
              <a:cxn ang="0">
                <a:pos x="connsiteX5566" y="connsiteY5566"/>
              </a:cxn>
              <a:cxn ang="0">
                <a:pos x="connsiteX5567" y="connsiteY5567"/>
              </a:cxn>
              <a:cxn ang="0">
                <a:pos x="connsiteX5568" y="connsiteY5568"/>
              </a:cxn>
              <a:cxn ang="0">
                <a:pos x="connsiteX5569" y="connsiteY5569"/>
              </a:cxn>
              <a:cxn ang="0">
                <a:pos x="connsiteX5570" y="connsiteY5570"/>
              </a:cxn>
              <a:cxn ang="0">
                <a:pos x="connsiteX5571" y="connsiteY5571"/>
              </a:cxn>
              <a:cxn ang="0">
                <a:pos x="connsiteX5572" y="connsiteY5572"/>
              </a:cxn>
              <a:cxn ang="0">
                <a:pos x="connsiteX5573" y="connsiteY5573"/>
              </a:cxn>
              <a:cxn ang="0">
                <a:pos x="connsiteX5574" y="connsiteY5574"/>
              </a:cxn>
              <a:cxn ang="0">
                <a:pos x="connsiteX5575" y="connsiteY5575"/>
              </a:cxn>
              <a:cxn ang="0">
                <a:pos x="connsiteX5576" y="connsiteY5576"/>
              </a:cxn>
              <a:cxn ang="0">
                <a:pos x="connsiteX5577" y="connsiteY5577"/>
              </a:cxn>
              <a:cxn ang="0">
                <a:pos x="connsiteX5578" y="connsiteY5578"/>
              </a:cxn>
              <a:cxn ang="0">
                <a:pos x="connsiteX5579" y="connsiteY5579"/>
              </a:cxn>
              <a:cxn ang="0">
                <a:pos x="connsiteX5580" y="connsiteY5580"/>
              </a:cxn>
              <a:cxn ang="0">
                <a:pos x="connsiteX5581" y="connsiteY5581"/>
              </a:cxn>
              <a:cxn ang="0">
                <a:pos x="connsiteX5582" y="connsiteY5582"/>
              </a:cxn>
              <a:cxn ang="0">
                <a:pos x="connsiteX5583" y="connsiteY5583"/>
              </a:cxn>
              <a:cxn ang="0">
                <a:pos x="connsiteX5584" y="connsiteY5584"/>
              </a:cxn>
              <a:cxn ang="0">
                <a:pos x="connsiteX5585" y="connsiteY5585"/>
              </a:cxn>
              <a:cxn ang="0">
                <a:pos x="connsiteX5586" y="connsiteY5586"/>
              </a:cxn>
              <a:cxn ang="0">
                <a:pos x="connsiteX5587" y="connsiteY5587"/>
              </a:cxn>
              <a:cxn ang="0">
                <a:pos x="connsiteX5588" y="connsiteY5588"/>
              </a:cxn>
              <a:cxn ang="0">
                <a:pos x="connsiteX5589" y="connsiteY5589"/>
              </a:cxn>
              <a:cxn ang="0">
                <a:pos x="connsiteX5590" y="connsiteY5590"/>
              </a:cxn>
              <a:cxn ang="0">
                <a:pos x="connsiteX5591" y="connsiteY5591"/>
              </a:cxn>
              <a:cxn ang="0">
                <a:pos x="connsiteX5592" y="connsiteY5592"/>
              </a:cxn>
              <a:cxn ang="0">
                <a:pos x="connsiteX5593" y="connsiteY5593"/>
              </a:cxn>
              <a:cxn ang="0">
                <a:pos x="connsiteX5594" y="connsiteY5594"/>
              </a:cxn>
              <a:cxn ang="0">
                <a:pos x="connsiteX5595" y="connsiteY5595"/>
              </a:cxn>
              <a:cxn ang="0">
                <a:pos x="connsiteX5596" y="connsiteY5596"/>
              </a:cxn>
              <a:cxn ang="0">
                <a:pos x="connsiteX5597" y="connsiteY5597"/>
              </a:cxn>
              <a:cxn ang="0">
                <a:pos x="connsiteX5598" y="connsiteY5598"/>
              </a:cxn>
              <a:cxn ang="0">
                <a:pos x="connsiteX5599" y="connsiteY5599"/>
              </a:cxn>
              <a:cxn ang="0">
                <a:pos x="connsiteX5600" y="connsiteY5600"/>
              </a:cxn>
              <a:cxn ang="0">
                <a:pos x="connsiteX5601" y="connsiteY5601"/>
              </a:cxn>
              <a:cxn ang="0">
                <a:pos x="connsiteX5602" y="connsiteY5602"/>
              </a:cxn>
              <a:cxn ang="0">
                <a:pos x="connsiteX5603" y="connsiteY5603"/>
              </a:cxn>
              <a:cxn ang="0">
                <a:pos x="connsiteX5604" y="connsiteY5604"/>
              </a:cxn>
              <a:cxn ang="0">
                <a:pos x="connsiteX5605" y="connsiteY5605"/>
              </a:cxn>
              <a:cxn ang="0">
                <a:pos x="connsiteX5606" y="connsiteY5606"/>
              </a:cxn>
              <a:cxn ang="0">
                <a:pos x="connsiteX5607" y="connsiteY5607"/>
              </a:cxn>
              <a:cxn ang="0">
                <a:pos x="connsiteX5608" y="connsiteY5608"/>
              </a:cxn>
              <a:cxn ang="0">
                <a:pos x="connsiteX5609" y="connsiteY5609"/>
              </a:cxn>
              <a:cxn ang="0">
                <a:pos x="connsiteX5610" y="connsiteY5610"/>
              </a:cxn>
              <a:cxn ang="0">
                <a:pos x="connsiteX5611" y="connsiteY5611"/>
              </a:cxn>
              <a:cxn ang="0">
                <a:pos x="connsiteX5612" y="connsiteY5612"/>
              </a:cxn>
              <a:cxn ang="0">
                <a:pos x="connsiteX5613" y="connsiteY5613"/>
              </a:cxn>
              <a:cxn ang="0">
                <a:pos x="connsiteX5614" y="connsiteY5614"/>
              </a:cxn>
              <a:cxn ang="0">
                <a:pos x="connsiteX5615" y="connsiteY5615"/>
              </a:cxn>
              <a:cxn ang="0">
                <a:pos x="connsiteX5616" y="connsiteY5616"/>
              </a:cxn>
              <a:cxn ang="0">
                <a:pos x="connsiteX5617" y="connsiteY5617"/>
              </a:cxn>
              <a:cxn ang="0">
                <a:pos x="connsiteX5618" y="connsiteY5618"/>
              </a:cxn>
              <a:cxn ang="0">
                <a:pos x="connsiteX5619" y="connsiteY5619"/>
              </a:cxn>
              <a:cxn ang="0">
                <a:pos x="connsiteX5620" y="connsiteY5620"/>
              </a:cxn>
              <a:cxn ang="0">
                <a:pos x="connsiteX5621" y="connsiteY5621"/>
              </a:cxn>
              <a:cxn ang="0">
                <a:pos x="connsiteX5622" y="connsiteY5622"/>
              </a:cxn>
              <a:cxn ang="0">
                <a:pos x="connsiteX5623" y="connsiteY5623"/>
              </a:cxn>
              <a:cxn ang="0">
                <a:pos x="connsiteX5624" y="connsiteY5624"/>
              </a:cxn>
              <a:cxn ang="0">
                <a:pos x="connsiteX5625" y="connsiteY5625"/>
              </a:cxn>
              <a:cxn ang="0">
                <a:pos x="connsiteX5626" y="connsiteY5626"/>
              </a:cxn>
              <a:cxn ang="0">
                <a:pos x="connsiteX5627" y="connsiteY5627"/>
              </a:cxn>
              <a:cxn ang="0">
                <a:pos x="connsiteX5628" y="connsiteY5628"/>
              </a:cxn>
              <a:cxn ang="0">
                <a:pos x="connsiteX5629" y="connsiteY5629"/>
              </a:cxn>
              <a:cxn ang="0">
                <a:pos x="connsiteX5630" y="connsiteY5630"/>
              </a:cxn>
              <a:cxn ang="0">
                <a:pos x="connsiteX5631" y="connsiteY5631"/>
              </a:cxn>
              <a:cxn ang="0">
                <a:pos x="connsiteX5632" y="connsiteY5632"/>
              </a:cxn>
              <a:cxn ang="0">
                <a:pos x="connsiteX5633" y="connsiteY5633"/>
              </a:cxn>
              <a:cxn ang="0">
                <a:pos x="connsiteX5634" y="connsiteY5634"/>
              </a:cxn>
              <a:cxn ang="0">
                <a:pos x="connsiteX5635" y="connsiteY5635"/>
              </a:cxn>
              <a:cxn ang="0">
                <a:pos x="connsiteX5636" y="connsiteY5636"/>
              </a:cxn>
              <a:cxn ang="0">
                <a:pos x="connsiteX5637" y="connsiteY5637"/>
              </a:cxn>
              <a:cxn ang="0">
                <a:pos x="connsiteX5638" y="connsiteY5638"/>
              </a:cxn>
              <a:cxn ang="0">
                <a:pos x="connsiteX5639" y="connsiteY5639"/>
              </a:cxn>
              <a:cxn ang="0">
                <a:pos x="connsiteX5640" y="connsiteY5640"/>
              </a:cxn>
              <a:cxn ang="0">
                <a:pos x="connsiteX5641" y="connsiteY5641"/>
              </a:cxn>
              <a:cxn ang="0">
                <a:pos x="connsiteX5642" y="connsiteY5642"/>
              </a:cxn>
              <a:cxn ang="0">
                <a:pos x="connsiteX5643" y="connsiteY5643"/>
              </a:cxn>
              <a:cxn ang="0">
                <a:pos x="connsiteX5644" y="connsiteY5644"/>
              </a:cxn>
              <a:cxn ang="0">
                <a:pos x="connsiteX5645" y="connsiteY5645"/>
              </a:cxn>
              <a:cxn ang="0">
                <a:pos x="connsiteX5646" y="connsiteY5646"/>
              </a:cxn>
              <a:cxn ang="0">
                <a:pos x="connsiteX5647" y="connsiteY5647"/>
              </a:cxn>
              <a:cxn ang="0">
                <a:pos x="connsiteX5648" y="connsiteY5648"/>
              </a:cxn>
              <a:cxn ang="0">
                <a:pos x="connsiteX5649" y="connsiteY5649"/>
              </a:cxn>
              <a:cxn ang="0">
                <a:pos x="connsiteX5650" y="connsiteY5650"/>
              </a:cxn>
              <a:cxn ang="0">
                <a:pos x="connsiteX5651" y="connsiteY5651"/>
              </a:cxn>
              <a:cxn ang="0">
                <a:pos x="connsiteX5652" y="connsiteY5652"/>
              </a:cxn>
              <a:cxn ang="0">
                <a:pos x="connsiteX5653" y="connsiteY5653"/>
              </a:cxn>
              <a:cxn ang="0">
                <a:pos x="connsiteX5654" y="connsiteY5654"/>
              </a:cxn>
              <a:cxn ang="0">
                <a:pos x="connsiteX5655" y="connsiteY5655"/>
              </a:cxn>
              <a:cxn ang="0">
                <a:pos x="connsiteX5656" y="connsiteY5656"/>
              </a:cxn>
              <a:cxn ang="0">
                <a:pos x="connsiteX5657" y="connsiteY5657"/>
              </a:cxn>
              <a:cxn ang="0">
                <a:pos x="connsiteX5658" y="connsiteY5658"/>
              </a:cxn>
              <a:cxn ang="0">
                <a:pos x="connsiteX5659" y="connsiteY5659"/>
              </a:cxn>
              <a:cxn ang="0">
                <a:pos x="connsiteX5660" y="connsiteY5660"/>
              </a:cxn>
              <a:cxn ang="0">
                <a:pos x="connsiteX5661" y="connsiteY5661"/>
              </a:cxn>
              <a:cxn ang="0">
                <a:pos x="connsiteX5662" y="connsiteY5662"/>
              </a:cxn>
              <a:cxn ang="0">
                <a:pos x="connsiteX5663" y="connsiteY5663"/>
              </a:cxn>
              <a:cxn ang="0">
                <a:pos x="connsiteX5664" y="connsiteY5664"/>
              </a:cxn>
              <a:cxn ang="0">
                <a:pos x="connsiteX5665" y="connsiteY5665"/>
              </a:cxn>
              <a:cxn ang="0">
                <a:pos x="connsiteX5666" y="connsiteY5666"/>
              </a:cxn>
              <a:cxn ang="0">
                <a:pos x="connsiteX5667" y="connsiteY5667"/>
              </a:cxn>
              <a:cxn ang="0">
                <a:pos x="connsiteX5668" y="connsiteY5668"/>
              </a:cxn>
              <a:cxn ang="0">
                <a:pos x="connsiteX5669" y="connsiteY5669"/>
              </a:cxn>
              <a:cxn ang="0">
                <a:pos x="connsiteX5670" y="connsiteY5670"/>
              </a:cxn>
              <a:cxn ang="0">
                <a:pos x="connsiteX5671" y="connsiteY5671"/>
              </a:cxn>
              <a:cxn ang="0">
                <a:pos x="connsiteX5672" y="connsiteY5672"/>
              </a:cxn>
              <a:cxn ang="0">
                <a:pos x="connsiteX5673" y="connsiteY5673"/>
              </a:cxn>
              <a:cxn ang="0">
                <a:pos x="connsiteX5674" y="connsiteY5674"/>
              </a:cxn>
              <a:cxn ang="0">
                <a:pos x="connsiteX5675" y="connsiteY5675"/>
              </a:cxn>
              <a:cxn ang="0">
                <a:pos x="connsiteX5676" y="connsiteY5676"/>
              </a:cxn>
              <a:cxn ang="0">
                <a:pos x="connsiteX5677" y="connsiteY5677"/>
              </a:cxn>
              <a:cxn ang="0">
                <a:pos x="connsiteX5678" y="connsiteY5678"/>
              </a:cxn>
              <a:cxn ang="0">
                <a:pos x="connsiteX5679" y="connsiteY5679"/>
              </a:cxn>
              <a:cxn ang="0">
                <a:pos x="connsiteX5680" y="connsiteY5680"/>
              </a:cxn>
              <a:cxn ang="0">
                <a:pos x="connsiteX5681" y="connsiteY5681"/>
              </a:cxn>
              <a:cxn ang="0">
                <a:pos x="connsiteX5682" y="connsiteY5682"/>
              </a:cxn>
              <a:cxn ang="0">
                <a:pos x="connsiteX5683" y="connsiteY5683"/>
              </a:cxn>
              <a:cxn ang="0">
                <a:pos x="connsiteX5684" y="connsiteY5684"/>
              </a:cxn>
              <a:cxn ang="0">
                <a:pos x="connsiteX5685" y="connsiteY5685"/>
              </a:cxn>
              <a:cxn ang="0">
                <a:pos x="connsiteX5686" y="connsiteY5686"/>
              </a:cxn>
              <a:cxn ang="0">
                <a:pos x="connsiteX5687" y="connsiteY5687"/>
              </a:cxn>
              <a:cxn ang="0">
                <a:pos x="connsiteX5688" y="connsiteY5688"/>
              </a:cxn>
              <a:cxn ang="0">
                <a:pos x="connsiteX5689" y="connsiteY5689"/>
              </a:cxn>
              <a:cxn ang="0">
                <a:pos x="connsiteX5690" y="connsiteY5690"/>
              </a:cxn>
              <a:cxn ang="0">
                <a:pos x="connsiteX5691" y="connsiteY5691"/>
              </a:cxn>
              <a:cxn ang="0">
                <a:pos x="connsiteX5692" y="connsiteY5692"/>
              </a:cxn>
              <a:cxn ang="0">
                <a:pos x="connsiteX5693" y="connsiteY5693"/>
              </a:cxn>
              <a:cxn ang="0">
                <a:pos x="connsiteX5694" y="connsiteY5694"/>
              </a:cxn>
              <a:cxn ang="0">
                <a:pos x="connsiteX5695" y="connsiteY5695"/>
              </a:cxn>
              <a:cxn ang="0">
                <a:pos x="connsiteX5696" y="connsiteY5696"/>
              </a:cxn>
              <a:cxn ang="0">
                <a:pos x="connsiteX5697" y="connsiteY5697"/>
              </a:cxn>
              <a:cxn ang="0">
                <a:pos x="connsiteX5698" y="connsiteY5698"/>
              </a:cxn>
              <a:cxn ang="0">
                <a:pos x="connsiteX5699" y="connsiteY5699"/>
              </a:cxn>
              <a:cxn ang="0">
                <a:pos x="connsiteX5700" y="connsiteY5700"/>
              </a:cxn>
              <a:cxn ang="0">
                <a:pos x="connsiteX5701" y="connsiteY5701"/>
              </a:cxn>
              <a:cxn ang="0">
                <a:pos x="connsiteX5702" y="connsiteY5702"/>
              </a:cxn>
              <a:cxn ang="0">
                <a:pos x="connsiteX5703" y="connsiteY5703"/>
              </a:cxn>
              <a:cxn ang="0">
                <a:pos x="connsiteX5704" y="connsiteY5704"/>
              </a:cxn>
              <a:cxn ang="0">
                <a:pos x="connsiteX5705" y="connsiteY5705"/>
              </a:cxn>
              <a:cxn ang="0">
                <a:pos x="connsiteX5706" y="connsiteY5706"/>
              </a:cxn>
              <a:cxn ang="0">
                <a:pos x="connsiteX5707" y="connsiteY5707"/>
              </a:cxn>
              <a:cxn ang="0">
                <a:pos x="connsiteX5708" y="connsiteY5708"/>
              </a:cxn>
              <a:cxn ang="0">
                <a:pos x="connsiteX5709" y="connsiteY5709"/>
              </a:cxn>
              <a:cxn ang="0">
                <a:pos x="connsiteX5710" y="connsiteY5710"/>
              </a:cxn>
              <a:cxn ang="0">
                <a:pos x="connsiteX5711" y="connsiteY5711"/>
              </a:cxn>
              <a:cxn ang="0">
                <a:pos x="connsiteX5712" y="connsiteY5712"/>
              </a:cxn>
              <a:cxn ang="0">
                <a:pos x="connsiteX5713" y="connsiteY5713"/>
              </a:cxn>
              <a:cxn ang="0">
                <a:pos x="connsiteX5714" y="connsiteY5714"/>
              </a:cxn>
              <a:cxn ang="0">
                <a:pos x="connsiteX5715" y="connsiteY5715"/>
              </a:cxn>
              <a:cxn ang="0">
                <a:pos x="connsiteX5716" y="connsiteY5716"/>
              </a:cxn>
              <a:cxn ang="0">
                <a:pos x="connsiteX5717" y="connsiteY5717"/>
              </a:cxn>
              <a:cxn ang="0">
                <a:pos x="connsiteX5718" y="connsiteY5718"/>
              </a:cxn>
              <a:cxn ang="0">
                <a:pos x="connsiteX5719" y="connsiteY5719"/>
              </a:cxn>
              <a:cxn ang="0">
                <a:pos x="connsiteX5720" y="connsiteY5720"/>
              </a:cxn>
              <a:cxn ang="0">
                <a:pos x="connsiteX5721" y="connsiteY5721"/>
              </a:cxn>
              <a:cxn ang="0">
                <a:pos x="connsiteX5722" y="connsiteY5722"/>
              </a:cxn>
              <a:cxn ang="0">
                <a:pos x="connsiteX5723" y="connsiteY5723"/>
              </a:cxn>
              <a:cxn ang="0">
                <a:pos x="connsiteX5724" y="connsiteY5724"/>
              </a:cxn>
              <a:cxn ang="0">
                <a:pos x="connsiteX5725" y="connsiteY5725"/>
              </a:cxn>
              <a:cxn ang="0">
                <a:pos x="connsiteX5726" y="connsiteY5726"/>
              </a:cxn>
              <a:cxn ang="0">
                <a:pos x="connsiteX5727" y="connsiteY5727"/>
              </a:cxn>
              <a:cxn ang="0">
                <a:pos x="connsiteX5728" y="connsiteY5728"/>
              </a:cxn>
              <a:cxn ang="0">
                <a:pos x="connsiteX5729" y="connsiteY5729"/>
              </a:cxn>
              <a:cxn ang="0">
                <a:pos x="connsiteX5730" y="connsiteY5730"/>
              </a:cxn>
              <a:cxn ang="0">
                <a:pos x="connsiteX5731" y="connsiteY5731"/>
              </a:cxn>
              <a:cxn ang="0">
                <a:pos x="connsiteX5732" y="connsiteY5732"/>
              </a:cxn>
              <a:cxn ang="0">
                <a:pos x="connsiteX5733" y="connsiteY5733"/>
              </a:cxn>
              <a:cxn ang="0">
                <a:pos x="connsiteX5734" y="connsiteY5734"/>
              </a:cxn>
              <a:cxn ang="0">
                <a:pos x="connsiteX5735" y="connsiteY5735"/>
              </a:cxn>
              <a:cxn ang="0">
                <a:pos x="connsiteX5736" y="connsiteY5736"/>
              </a:cxn>
              <a:cxn ang="0">
                <a:pos x="connsiteX5737" y="connsiteY5737"/>
              </a:cxn>
              <a:cxn ang="0">
                <a:pos x="connsiteX5738" y="connsiteY5738"/>
              </a:cxn>
              <a:cxn ang="0">
                <a:pos x="connsiteX5739" y="connsiteY5739"/>
              </a:cxn>
              <a:cxn ang="0">
                <a:pos x="connsiteX5740" y="connsiteY5740"/>
              </a:cxn>
              <a:cxn ang="0">
                <a:pos x="connsiteX5741" y="connsiteY5741"/>
              </a:cxn>
              <a:cxn ang="0">
                <a:pos x="connsiteX5742" y="connsiteY5742"/>
              </a:cxn>
              <a:cxn ang="0">
                <a:pos x="connsiteX5743" y="connsiteY5743"/>
              </a:cxn>
              <a:cxn ang="0">
                <a:pos x="connsiteX5744" y="connsiteY5744"/>
              </a:cxn>
              <a:cxn ang="0">
                <a:pos x="connsiteX5745" y="connsiteY5745"/>
              </a:cxn>
              <a:cxn ang="0">
                <a:pos x="connsiteX5746" y="connsiteY5746"/>
              </a:cxn>
              <a:cxn ang="0">
                <a:pos x="connsiteX5747" y="connsiteY5747"/>
              </a:cxn>
              <a:cxn ang="0">
                <a:pos x="connsiteX5748" y="connsiteY5748"/>
              </a:cxn>
              <a:cxn ang="0">
                <a:pos x="connsiteX5749" y="connsiteY5749"/>
              </a:cxn>
              <a:cxn ang="0">
                <a:pos x="connsiteX5750" y="connsiteY5750"/>
              </a:cxn>
              <a:cxn ang="0">
                <a:pos x="connsiteX5751" y="connsiteY5751"/>
              </a:cxn>
              <a:cxn ang="0">
                <a:pos x="connsiteX5752" y="connsiteY5752"/>
              </a:cxn>
              <a:cxn ang="0">
                <a:pos x="connsiteX5753" y="connsiteY5753"/>
              </a:cxn>
              <a:cxn ang="0">
                <a:pos x="connsiteX5754" y="connsiteY5754"/>
              </a:cxn>
              <a:cxn ang="0">
                <a:pos x="connsiteX5755" y="connsiteY5755"/>
              </a:cxn>
              <a:cxn ang="0">
                <a:pos x="connsiteX5756" y="connsiteY5756"/>
              </a:cxn>
              <a:cxn ang="0">
                <a:pos x="connsiteX5757" y="connsiteY5757"/>
              </a:cxn>
              <a:cxn ang="0">
                <a:pos x="connsiteX5758" y="connsiteY5758"/>
              </a:cxn>
              <a:cxn ang="0">
                <a:pos x="connsiteX5759" y="connsiteY5759"/>
              </a:cxn>
              <a:cxn ang="0">
                <a:pos x="connsiteX5760" y="connsiteY5760"/>
              </a:cxn>
              <a:cxn ang="0">
                <a:pos x="connsiteX5761" y="connsiteY5761"/>
              </a:cxn>
              <a:cxn ang="0">
                <a:pos x="connsiteX5762" y="connsiteY5762"/>
              </a:cxn>
              <a:cxn ang="0">
                <a:pos x="connsiteX5763" y="connsiteY5763"/>
              </a:cxn>
              <a:cxn ang="0">
                <a:pos x="connsiteX5764" y="connsiteY5764"/>
              </a:cxn>
              <a:cxn ang="0">
                <a:pos x="connsiteX5765" y="connsiteY5765"/>
              </a:cxn>
              <a:cxn ang="0">
                <a:pos x="connsiteX5766" y="connsiteY5766"/>
              </a:cxn>
              <a:cxn ang="0">
                <a:pos x="connsiteX5767" y="connsiteY5767"/>
              </a:cxn>
              <a:cxn ang="0">
                <a:pos x="connsiteX5768" y="connsiteY5768"/>
              </a:cxn>
              <a:cxn ang="0">
                <a:pos x="connsiteX5769" y="connsiteY5769"/>
              </a:cxn>
              <a:cxn ang="0">
                <a:pos x="connsiteX5770" y="connsiteY5770"/>
              </a:cxn>
              <a:cxn ang="0">
                <a:pos x="connsiteX5771" y="connsiteY5771"/>
              </a:cxn>
              <a:cxn ang="0">
                <a:pos x="connsiteX5772" y="connsiteY5772"/>
              </a:cxn>
              <a:cxn ang="0">
                <a:pos x="connsiteX5773" y="connsiteY5773"/>
              </a:cxn>
              <a:cxn ang="0">
                <a:pos x="connsiteX5774" y="connsiteY5774"/>
              </a:cxn>
              <a:cxn ang="0">
                <a:pos x="connsiteX5775" y="connsiteY5775"/>
              </a:cxn>
              <a:cxn ang="0">
                <a:pos x="connsiteX5776" y="connsiteY5776"/>
              </a:cxn>
              <a:cxn ang="0">
                <a:pos x="connsiteX5777" y="connsiteY5777"/>
              </a:cxn>
              <a:cxn ang="0">
                <a:pos x="connsiteX5778" y="connsiteY5778"/>
              </a:cxn>
              <a:cxn ang="0">
                <a:pos x="connsiteX5779" y="connsiteY5779"/>
              </a:cxn>
              <a:cxn ang="0">
                <a:pos x="connsiteX5780" y="connsiteY5780"/>
              </a:cxn>
              <a:cxn ang="0">
                <a:pos x="connsiteX5781" y="connsiteY5781"/>
              </a:cxn>
              <a:cxn ang="0">
                <a:pos x="connsiteX5782" y="connsiteY5782"/>
              </a:cxn>
              <a:cxn ang="0">
                <a:pos x="connsiteX5783" y="connsiteY5783"/>
              </a:cxn>
              <a:cxn ang="0">
                <a:pos x="connsiteX5784" y="connsiteY5784"/>
              </a:cxn>
              <a:cxn ang="0">
                <a:pos x="connsiteX5785" y="connsiteY5785"/>
              </a:cxn>
              <a:cxn ang="0">
                <a:pos x="connsiteX5786" y="connsiteY5786"/>
              </a:cxn>
              <a:cxn ang="0">
                <a:pos x="connsiteX5787" y="connsiteY5787"/>
              </a:cxn>
              <a:cxn ang="0">
                <a:pos x="connsiteX5788" y="connsiteY5788"/>
              </a:cxn>
              <a:cxn ang="0">
                <a:pos x="connsiteX5789" y="connsiteY5789"/>
              </a:cxn>
              <a:cxn ang="0">
                <a:pos x="connsiteX5790" y="connsiteY5790"/>
              </a:cxn>
              <a:cxn ang="0">
                <a:pos x="connsiteX5791" y="connsiteY5791"/>
              </a:cxn>
              <a:cxn ang="0">
                <a:pos x="connsiteX5792" y="connsiteY5792"/>
              </a:cxn>
              <a:cxn ang="0">
                <a:pos x="connsiteX5793" y="connsiteY5793"/>
              </a:cxn>
              <a:cxn ang="0">
                <a:pos x="connsiteX5794" y="connsiteY5794"/>
              </a:cxn>
              <a:cxn ang="0">
                <a:pos x="connsiteX5795" y="connsiteY5795"/>
              </a:cxn>
              <a:cxn ang="0">
                <a:pos x="connsiteX5796" y="connsiteY5796"/>
              </a:cxn>
              <a:cxn ang="0">
                <a:pos x="connsiteX5797" y="connsiteY5797"/>
              </a:cxn>
              <a:cxn ang="0">
                <a:pos x="connsiteX5798" y="connsiteY5798"/>
              </a:cxn>
              <a:cxn ang="0">
                <a:pos x="connsiteX5799" y="connsiteY5799"/>
              </a:cxn>
              <a:cxn ang="0">
                <a:pos x="connsiteX5800" y="connsiteY5800"/>
              </a:cxn>
              <a:cxn ang="0">
                <a:pos x="connsiteX5801" y="connsiteY5801"/>
              </a:cxn>
              <a:cxn ang="0">
                <a:pos x="connsiteX5802" y="connsiteY5802"/>
              </a:cxn>
              <a:cxn ang="0">
                <a:pos x="connsiteX5803" y="connsiteY5803"/>
              </a:cxn>
              <a:cxn ang="0">
                <a:pos x="connsiteX5804" y="connsiteY5804"/>
              </a:cxn>
              <a:cxn ang="0">
                <a:pos x="connsiteX5805" y="connsiteY5805"/>
              </a:cxn>
              <a:cxn ang="0">
                <a:pos x="connsiteX5806" y="connsiteY5806"/>
              </a:cxn>
              <a:cxn ang="0">
                <a:pos x="connsiteX5807" y="connsiteY5807"/>
              </a:cxn>
              <a:cxn ang="0">
                <a:pos x="connsiteX5808" y="connsiteY5808"/>
              </a:cxn>
              <a:cxn ang="0">
                <a:pos x="connsiteX5809" y="connsiteY5809"/>
              </a:cxn>
              <a:cxn ang="0">
                <a:pos x="connsiteX5810" y="connsiteY5810"/>
              </a:cxn>
              <a:cxn ang="0">
                <a:pos x="connsiteX5811" y="connsiteY5811"/>
              </a:cxn>
              <a:cxn ang="0">
                <a:pos x="connsiteX5812" y="connsiteY5812"/>
              </a:cxn>
              <a:cxn ang="0">
                <a:pos x="connsiteX5813" y="connsiteY5813"/>
              </a:cxn>
              <a:cxn ang="0">
                <a:pos x="connsiteX5814" y="connsiteY5814"/>
              </a:cxn>
              <a:cxn ang="0">
                <a:pos x="connsiteX5815" y="connsiteY5815"/>
              </a:cxn>
              <a:cxn ang="0">
                <a:pos x="connsiteX5816" y="connsiteY5816"/>
              </a:cxn>
              <a:cxn ang="0">
                <a:pos x="connsiteX5817" y="connsiteY5817"/>
              </a:cxn>
              <a:cxn ang="0">
                <a:pos x="connsiteX5818" y="connsiteY5818"/>
              </a:cxn>
              <a:cxn ang="0">
                <a:pos x="connsiteX5819" y="connsiteY5819"/>
              </a:cxn>
              <a:cxn ang="0">
                <a:pos x="connsiteX5820" y="connsiteY5820"/>
              </a:cxn>
              <a:cxn ang="0">
                <a:pos x="connsiteX5821" y="connsiteY5821"/>
              </a:cxn>
              <a:cxn ang="0">
                <a:pos x="connsiteX5822" y="connsiteY5822"/>
              </a:cxn>
              <a:cxn ang="0">
                <a:pos x="connsiteX5823" y="connsiteY5823"/>
              </a:cxn>
              <a:cxn ang="0">
                <a:pos x="connsiteX5824" y="connsiteY5824"/>
              </a:cxn>
              <a:cxn ang="0">
                <a:pos x="connsiteX5825" y="connsiteY5825"/>
              </a:cxn>
              <a:cxn ang="0">
                <a:pos x="connsiteX5826" y="connsiteY5826"/>
              </a:cxn>
              <a:cxn ang="0">
                <a:pos x="connsiteX5827" y="connsiteY5827"/>
              </a:cxn>
              <a:cxn ang="0">
                <a:pos x="connsiteX5828" y="connsiteY5828"/>
              </a:cxn>
              <a:cxn ang="0">
                <a:pos x="connsiteX5829" y="connsiteY5829"/>
              </a:cxn>
              <a:cxn ang="0">
                <a:pos x="connsiteX5830" y="connsiteY5830"/>
              </a:cxn>
              <a:cxn ang="0">
                <a:pos x="connsiteX5831" y="connsiteY5831"/>
              </a:cxn>
              <a:cxn ang="0">
                <a:pos x="connsiteX5832" y="connsiteY5832"/>
              </a:cxn>
              <a:cxn ang="0">
                <a:pos x="connsiteX5833" y="connsiteY5833"/>
              </a:cxn>
              <a:cxn ang="0">
                <a:pos x="connsiteX5834" y="connsiteY5834"/>
              </a:cxn>
              <a:cxn ang="0">
                <a:pos x="connsiteX5835" y="connsiteY5835"/>
              </a:cxn>
              <a:cxn ang="0">
                <a:pos x="connsiteX5836" y="connsiteY5836"/>
              </a:cxn>
              <a:cxn ang="0">
                <a:pos x="connsiteX5837" y="connsiteY5837"/>
              </a:cxn>
              <a:cxn ang="0">
                <a:pos x="connsiteX5838" y="connsiteY5838"/>
              </a:cxn>
              <a:cxn ang="0">
                <a:pos x="connsiteX5839" y="connsiteY5839"/>
              </a:cxn>
              <a:cxn ang="0">
                <a:pos x="connsiteX5840" y="connsiteY5840"/>
              </a:cxn>
              <a:cxn ang="0">
                <a:pos x="connsiteX5841" y="connsiteY5841"/>
              </a:cxn>
              <a:cxn ang="0">
                <a:pos x="connsiteX5842" y="connsiteY5842"/>
              </a:cxn>
              <a:cxn ang="0">
                <a:pos x="connsiteX5843" y="connsiteY5843"/>
              </a:cxn>
              <a:cxn ang="0">
                <a:pos x="connsiteX5844" y="connsiteY5844"/>
              </a:cxn>
              <a:cxn ang="0">
                <a:pos x="connsiteX5845" y="connsiteY5845"/>
              </a:cxn>
              <a:cxn ang="0">
                <a:pos x="connsiteX5846" y="connsiteY5846"/>
              </a:cxn>
              <a:cxn ang="0">
                <a:pos x="connsiteX5847" y="connsiteY5847"/>
              </a:cxn>
              <a:cxn ang="0">
                <a:pos x="connsiteX5848" y="connsiteY5848"/>
              </a:cxn>
              <a:cxn ang="0">
                <a:pos x="connsiteX5849" y="connsiteY5849"/>
              </a:cxn>
              <a:cxn ang="0">
                <a:pos x="connsiteX5850" y="connsiteY5850"/>
              </a:cxn>
              <a:cxn ang="0">
                <a:pos x="connsiteX5851" y="connsiteY5851"/>
              </a:cxn>
              <a:cxn ang="0">
                <a:pos x="connsiteX5852" y="connsiteY5852"/>
              </a:cxn>
              <a:cxn ang="0">
                <a:pos x="connsiteX5853" y="connsiteY5853"/>
              </a:cxn>
              <a:cxn ang="0">
                <a:pos x="connsiteX5854" y="connsiteY5854"/>
              </a:cxn>
              <a:cxn ang="0">
                <a:pos x="connsiteX5855" y="connsiteY5855"/>
              </a:cxn>
              <a:cxn ang="0">
                <a:pos x="connsiteX5856" y="connsiteY5856"/>
              </a:cxn>
              <a:cxn ang="0">
                <a:pos x="connsiteX5857" y="connsiteY5857"/>
              </a:cxn>
              <a:cxn ang="0">
                <a:pos x="connsiteX5858" y="connsiteY5858"/>
              </a:cxn>
              <a:cxn ang="0">
                <a:pos x="connsiteX5859" y="connsiteY5859"/>
              </a:cxn>
              <a:cxn ang="0">
                <a:pos x="connsiteX5860" y="connsiteY5860"/>
              </a:cxn>
              <a:cxn ang="0">
                <a:pos x="connsiteX5861" y="connsiteY5861"/>
              </a:cxn>
              <a:cxn ang="0">
                <a:pos x="connsiteX5862" y="connsiteY5862"/>
              </a:cxn>
              <a:cxn ang="0">
                <a:pos x="connsiteX5863" y="connsiteY5863"/>
              </a:cxn>
              <a:cxn ang="0">
                <a:pos x="connsiteX5864" y="connsiteY5864"/>
              </a:cxn>
              <a:cxn ang="0">
                <a:pos x="connsiteX5865" y="connsiteY5865"/>
              </a:cxn>
              <a:cxn ang="0">
                <a:pos x="connsiteX5866" y="connsiteY5866"/>
              </a:cxn>
              <a:cxn ang="0">
                <a:pos x="connsiteX5867" y="connsiteY5867"/>
              </a:cxn>
              <a:cxn ang="0">
                <a:pos x="connsiteX5868" y="connsiteY5868"/>
              </a:cxn>
              <a:cxn ang="0">
                <a:pos x="connsiteX5869" y="connsiteY5869"/>
              </a:cxn>
              <a:cxn ang="0">
                <a:pos x="connsiteX5870" y="connsiteY5870"/>
              </a:cxn>
              <a:cxn ang="0">
                <a:pos x="connsiteX5871" y="connsiteY5871"/>
              </a:cxn>
              <a:cxn ang="0">
                <a:pos x="connsiteX5872" y="connsiteY5872"/>
              </a:cxn>
              <a:cxn ang="0">
                <a:pos x="connsiteX5873" y="connsiteY5873"/>
              </a:cxn>
              <a:cxn ang="0">
                <a:pos x="connsiteX5874" y="connsiteY5874"/>
              </a:cxn>
              <a:cxn ang="0">
                <a:pos x="connsiteX5875" y="connsiteY5875"/>
              </a:cxn>
              <a:cxn ang="0">
                <a:pos x="connsiteX5876" y="connsiteY5876"/>
              </a:cxn>
              <a:cxn ang="0">
                <a:pos x="connsiteX5877" y="connsiteY5877"/>
              </a:cxn>
              <a:cxn ang="0">
                <a:pos x="connsiteX5878" y="connsiteY5878"/>
              </a:cxn>
              <a:cxn ang="0">
                <a:pos x="connsiteX5879" y="connsiteY5879"/>
              </a:cxn>
              <a:cxn ang="0">
                <a:pos x="connsiteX5880" y="connsiteY5880"/>
              </a:cxn>
              <a:cxn ang="0">
                <a:pos x="connsiteX5881" y="connsiteY5881"/>
              </a:cxn>
              <a:cxn ang="0">
                <a:pos x="connsiteX5882" y="connsiteY5882"/>
              </a:cxn>
              <a:cxn ang="0">
                <a:pos x="connsiteX5883" y="connsiteY5883"/>
              </a:cxn>
              <a:cxn ang="0">
                <a:pos x="connsiteX5884" y="connsiteY5884"/>
              </a:cxn>
              <a:cxn ang="0">
                <a:pos x="connsiteX5885" y="connsiteY5885"/>
              </a:cxn>
              <a:cxn ang="0">
                <a:pos x="connsiteX5886" y="connsiteY5886"/>
              </a:cxn>
              <a:cxn ang="0">
                <a:pos x="connsiteX5887" y="connsiteY5887"/>
              </a:cxn>
              <a:cxn ang="0">
                <a:pos x="connsiteX5888" y="connsiteY5888"/>
              </a:cxn>
              <a:cxn ang="0">
                <a:pos x="connsiteX5889" y="connsiteY5889"/>
              </a:cxn>
              <a:cxn ang="0">
                <a:pos x="connsiteX5890" y="connsiteY5890"/>
              </a:cxn>
              <a:cxn ang="0">
                <a:pos x="connsiteX5891" y="connsiteY5891"/>
              </a:cxn>
              <a:cxn ang="0">
                <a:pos x="connsiteX5892" y="connsiteY5892"/>
              </a:cxn>
              <a:cxn ang="0">
                <a:pos x="connsiteX5893" y="connsiteY5893"/>
              </a:cxn>
              <a:cxn ang="0">
                <a:pos x="connsiteX5894" y="connsiteY5894"/>
              </a:cxn>
              <a:cxn ang="0">
                <a:pos x="connsiteX5895" y="connsiteY5895"/>
              </a:cxn>
              <a:cxn ang="0">
                <a:pos x="connsiteX5896" y="connsiteY5896"/>
              </a:cxn>
              <a:cxn ang="0">
                <a:pos x="connsiteX5897" y="connsiteY5897"/>
              </a:cxn>
              <a:cxn ang="0">
                <a:pos x="connsiteX5898" y="connsiteY5898"/>
              </a:cxn>
              <a:cxn ang="0">
                <a:pos x="connsiteX5899" y="connsiteY5899"/>
              </a:cxn>
              <a:cxn ang="0">
                <a:pos x="connsiteX5900" y="connsiteY5900"/>
              </a:cxn>
              <a:cxn ang="0">
                <a:pos x="connsiteX5901" y="connsiteY5901"/>
              </a:cxn>
              <a:cxn ang="0">
                <a:pos x="connsiteX5902" y="connsiteY5902"/>
              </a:cxn>
              <a:cxn ang="0">
                <a:pos x="connsiteX5903" y="connsiteY5903"/>
              </a:cxn>
              <a:cxn ang="0">
                <a:pos x="connsiteX5904" y="connsiteY5904"/>
              </a:cxn>
              <a:cxn ang="0">
                <a:pos x="connsiteX5905" y="connsiteY5905"/>
              </a:cxn>
              <a:cxn ang="0">
                <a:pos x="connsiteX5906" y="connsiteY5906"/>
              </a:cxn>
              <a:cxn ang="0">
                <a:pos x="connsiteX5907" y="connsiteY5907"/>
              </a:cxn>
              <a:cxn ang="0">
                <a:pos x="connsiteX5908" y="connsiteY5908"/>
              </a:cxn>
              <a:cxn ang="0">
                <a:pos x="connsiteX5909" y="connsiteY5909"/>
              </a:cxn>
              <a:cxn ang="0">
                <a:pos x="connsiteX5910" y="connsiteY5910"/>
              </a:cxn>
              <a:cxn ang="0">
                <a:pos x="connsiteX5911" y="connsiteY5911"/>
              </a:cxn>
              <a:cxn ang="0">
                <a:pos x="connsiteX5912" y="connsiteY5912"/>
              </a:cxn>
              <a:cxn ang="0">
                <a:pos x="connsiteX5913" y="connsiteY5913"/>
              </a:cxn>
              <a:cxn ang="0">
                <a:pos x="connsiteX5914" y="connsiteY5914"/>
              </a:cxn>
              <a:cxn ang="0">
                <a:pos x="connsiteX5915" y="connsiteY5915"/>
              </a:cxn>
              <a:cxn ang="0">
                <a:pos x="connsiteX5916" y="connsiteY5916"/>
              </a:cxn>
              <a:cxn ang="0">
                <a:pos x="connsiteX5917" y="connsiteY5917"/>
              </a:cxn>
              <a:cxn ang="0">
                <a:pos x="connsiteX5918" y="connsiteY5918"/>
              </a:cxn>
              <a:cxn ang="0">
                <a:pos x="connsiteX5919" y="connsiteY5919"/>
              </a:cxn>
              <a:cxn ang="0">
                <a:pos x="connsiteX5920" y="connsiteY5920"/>
              </a:cxn>
              <a:cxn ang="0">
                <a:pos x="connsiteX5921" y="connsiteY5921"/>
              </a:cxn>
              <a:cxn ang="0">
                <a:pos x="connsiteX5922" y="connsiteY5922"/>
              </a:cxn>
              <a:cxn ang="0">
                <a:pos x="connsiteX5923" y="connsiteY5923"/>
              </a:cxn>
              <a:cxn ang="0">
                <a:pos x="connsiteX5924" y="connsiteY5924"/>
              </a:cxn>
              <a:cxn ang="0">
                <a:pos x="connsiteX5925" y="connsiteY5925"/>
              </a:cxn>
              <a:cxn ang="0">
                <a:pos x="connsiteX5926" y="connsiteY5926"/>
              </a:cxn>
              <a:cxn ang="0">
                <a:pos x="connsiteX5927" y="connsiteY5927"/>
              </a:cxn>
              <a:cxn ang="0">
                <a:pos x="connsiteX5928" y="connsiteY5928"/>
              </a:cxn>
              <a:cxn ang="0">
                <a:pos x="connsiteX5929" y="connsiteY5929"/>
              </a:cxn>
              <a:cxn ang="0">
                <a:pos x="connsiteX5930" y="connsiteY5930"/>
              </a:cxn>
              <a:cxn ang="0">
                <a:pos x="connsiteX5931" y="connsiteY5931"/>
              </a:cxn>
              <a:cxn ang="0">
                <a:pos x="connsiteX5932" y="connsiteY5932"/>
              </a:cxn>
              <a:cxn ang="0">
                <a:pos x="connsiteX5933" y="connsiteY5933"/>
              </a:cxn>
              <a:cxn ang="0">
                <a:pos x="connsiteX5934" y="connsiteY5934"/>
              </a:cxn>
              <a:cxn ang="0">
                <a:pos x="connsiteX5935" y="connsiteY5935"/>
              </a:cxn>
              <a:cxn ang="0">
                <a:pos x="connsiteX5936" y="connsiteY5936"/>
              </a:cxn>
              <a:cxn ang="0">
                <a:pos x="connsiteX5937" y="connsiteY5937"/>
              </a:cxn>
              <a:cxn ang="0">
                <a:pos x="connsiteX5938" y="connsiteY5938"/>
              </a:cxn>
              <a:cxn ang="0">
                <a:pos x="connsiteX5939" y="connsiteY5939"/>
              </a:cxn>
              <a:cxn ang="0">
                <a:pos x="connsiteX5940" y="connsiteY5940"/>
              </a:cxn>
              <a:cxn ang="0">
                <a:pos x="connsiteX5941" y="connsiteY5941"/>
              </a:cxn>
              <a:cxn ang="0">
                <a:pos x="connsiteX5942" y="connsiteY5942"/>
              </a:cxn>
              <a:cxn ang="0">
                <a:pos x="connsiteX5943" y="connsiteY5943"/>
              </a:cxn>
              <a:cxn ang="0">
                <a:pos x="connsiteX5944" y="connsiteY5944"/>
              </a:cxn>
              <a:cxn ang="0">
                <a:pos x="connsiteX5945" y="connsiteY5945"/>
              </a:cxn>
              <a:cxn ang="0">
                <a:pos x="connsiteX5946" y="connsiteY5946"/>
              </a:cxn>
              <a:cxn ang="0">
                <a:pos x="connsiteX5947" y="connsiteY5947"/>
              </a:cxn>
              <a:cxn ang="0">
                <a:pos x="connsiteX5948" y="connsiteY5948"/>
              </a:cxn>
              <a:cxn ang="0">
                <a:pos x="connsiteX5949" y="connsiteY5949"/>
              </a:cxn>
              <a:cxn ang="0">
                <a:pos x="connsiteX5950" y="connsiteY5950"/>
              </a:cxn>
              <a:cxn ang="0">
                <a:pos x="connsiteX5951" y="connsiteY5951"/>
              </a:cxn>
              <a:cxn ang="0">
                <a:pos x="connsiteX5952" y="connsiteY5952"/>
              </a:cxn>
              <a:cxn ang="0">
                <a:pos x="connsiteX5953" y="connsiteY5953"/>
              </a:cxn>
              <a:cxn ang="0">
                <a:pos x="connsiteX5954" y="connsiteY5954"/>
              </a:cxn>
              <a:cxn ang="0">
                <a:pos x="connsiteX5955" y="connsiteY5955"/>
              </a:cxn>
              <a:cxn ang="0">
                <a:pos x="connsiteX5956" y="connsiteY5956"/>
              </a:cxn>
              <a:cxn ang="0">
                <a:pos x="connsiteX5957" y="connsiteY5957"/>
              </a:cxn>
              <a:cxn ang="0">
                <a:pos x="connsiteX5958" y="connsiteY5958"/>
              </a:cxn>
              <a:cxn ang="0">
                <a:pos x="connsiteX5959" y="connsiteY5959"/>
              </a:cxn>
              <a:cxn ang="0">
                <a:pos x="connsiteX5960" y="connsiteY5960"/>
              </a:cxn>
              <a:cxn ang="0">
                <a:pos x="connsiteX5961" y="connsiteY5961"/>
              </a:cxn>
              <a:cxn ang="0">
                <a:pos x="connsiteX5962" y="connsiteY5962"/>
              </a:cxn>
              <a:cxn ang="0">
                <a:pos x="connsiteX5963" y="connsiteY5963"/>
              </a:cxn>
              <a:cxn ang="0">
                <a:pos x="connsiteX5964" y="connsiteY5964"/>
              </a:cxn>
              <a:cxn ang="0">
                <a:pos x="connsiteX5965" y="connsiteY5965"/>
              </a:cxn>
              <a:cxn ang="0">
                <a:pos x="connsiteX5966" y="connsiteY5966"/>
              </a:cxn>
              <a:cxn ang="0">
                <a:pos x="connsiteX5967" y="connsiteY5967"/>
              </a:cxn>
              <a:cxn ang="0">
                <a:pos x="connsiteX5968" y="connsiteY5968"/>
              </a:cxn>
              <a:cxn ang="0">
                <a:pos x="connsiteX5969" y="connsiteY5969"/>
              </a:cxn>
              <a:cxn ang="0">
                <a:pos x="connsiteX5970" y="connsiteY5970"/>
              </a:cxn>
              <a:cxn ang="0">
                <a:pos x="connsiteX5971" y="connsiteY5971"/>
              </a:cxn>
              <a:cxn ang="0">
                <a:pos x="connsiteX5972" y="connsiteY5972"/>
              </a:cxn>
              <a:cxn ang="0">
                <a:pos x="connsiteX5973" y="connsiteY5973"/>
              </a:cxn>
              <a:cxn ang="0">
                <a:pos x="connsiteX5974" y="connsiteY5974"/>
              </a:cxn>
              <a:cxn ang="0">
                <a:pos x="connsiteX5975" y="connsiteY5975"/>
              </a:cxn>
              <a:cxn ang="0">
                <a:pos x="connsiteX5976" y="connsiteY5976"/>
              </a:cxn>
              <a:cxn ang="0">
                <a:pos x="connsiteX5977" y="connsiteY5977"/>
              </a:cxn>
              <a:cxn ang="0">
                <a:pos x="connsiteX5978" y="connsiteY5978"/>
              </a:cxn>
              <a:cxn ang="0">
                <a:pos x="connsiteX5979" y="connsiteY5979"/>
              </a:cxn>
              <a:cxn ang="0">
                <a:pos x="connsiteX5980" y="connsiteY5980"/>
              </a:cxn>
              <a:cxn ang="0">
                <a:pos x="connsiteX5981" y="connsiteY5981"/>
              </a:cxn>
              <a:cxn ang="0">
                <a:pos x="connsiteX5982" y="connsiteY5982"/>
              </a:cxn>
              <a:cxn ang="0">
                <a:pos x="connsiteX5983" y="connsiteY5983"/>
              </a:cxn>
              <a:cxn ang="0">
                <a:pos x="connsiteX5984" y="connsiteY5984"/>
              </a:cxn>
              <a:cxn ang="0">
                <a:pos x="connsiteX5985" y="connsiteY5985"/>
              </a:cxn>
              <a:cxn ang="0">
                <a:pos x="connsiteX5986" y="connsiteY5986"/>
              </a:cxn>
              <a:cxn ang="0">
                <a:pos x="connsiteX5987" y="connsiteY5987"/>
              </a:cxn>
              <a:cxn ang="0">
                <a:pos x="connsiteX5988" y="connsiteY5988"/>
              </a:cxn>
              <a:cxn ang="0">
                <a:pos x="connsiteX5989" y="connsiteY5989"/>
              </a:cxn>
              <a:cxn ang="0">
                <a:pos x="connsiteX5990" y="connsiteY5990"/>
              </a:cxn>
              <a:cxn ang="0">
                <a:pos x="connsiteX5991" y="connsiteY5991"/>
              </a:cxn>
              <a:cxn ang="0">
                <a:pos x="connsiteX5992" y="connsiteY5992"/>
              </a:cxn>
              <a:cxn ang="0">
                <a:pos x="connsiteX5993" y="connsiteY5993"/>
              </a:cxn>
              <a:cxn ang="0">
                <a:pos x="connsiteX5994" y="connsiteY5994"/>
              </a:cxn>
              <a:cxn ang="0">
                <a:pos x="connsiteX5995" y="connsiteY5995"/>
              </a:cxn>
              <a:cxn ang="0">
                <a:pos x="connsiteX5996" y="connsiteY5996"/>
              </a:cxn>
              <a:cxn ang="0">
                <a:pos x="connsiteX5997" y="connsiteY5997"/>
              </a:cxn>
              <a:cxn ang="0">
                <a:pos x="connsiteX5998" y="connsiteY5998"/>
              </a:cxn>
              <a:cxn ang="0">
                <a:pos x="connsiteX5999" y="connsiteY5999"/>
              </a:cxn>
              <a:cxn ang="0">
                <a:pos x="connsiteX6000" y="connsiteY6000"/>
              </a:cxn>
              <a:cxn ang="0">
                <a:pos x="connsiteX6001" y="connsiteY6001"/>
              </a:cxn>
              <a:cxn ang="0">
                <a:pos x="connsiteX6002" y="connsiteY6002"/>
              </a:cxn>
              <a:cxn ang="0">
                <a:pos x="connsiteX6003" y="connsiteY6003"/>
              </a:cxn>
              <a:cxn ang="0">
                <a:pos x="connsiteX6004" y="connsiteY6004"/>
              </a:cxn>
              <a:cxn ang="0">
                <a:pos x="connsiteX6005" y="connsiteY6005"/>
              </a:cxn>
              <a:cxn ang="0">
                <a:pos x="connsiteX6006" y="connsiteY6006"/>
              </a:cxn>
              <a:cxn ang="0">
                <a:pos x="connsiteX6007" y="connsiteY6007"/>
              </a:cxn>
              <a:cxn ang="0">
                <a:pos x="connsiteX6008" y="connsiteY6008"/>
              </a:cxn>
              <a:cxn ang="0">
                <a:pos x="connsiteX6009" y="connsiteY6009"/>
              </a:cxn>
              <a:cxn ang="0">
                <a:pos x="connsiteX6010" y="connsiteY6010"/>
              </a:cxn>
              <a:cxn ang="0">
                <a:pos x="connsiteX6011" y="connsiteY6011"/>
              </a:cxn>
              <a:cxn ang="0">
                <a:pos x="connsiteX6012" y="connsiteY6012"/>
              </a:cxn>
              <a:cxn ang="0">
                <a:pos x="connsiteX6013" y="connsiteY6013"/>
              </a:cxn>
              <a:cxn ang="0">
                <a:pos x="connsiteX6014" y="connsiteY6014"/>
              </a:cxn>
              <a:cxn ang="0">
                <a:pos x="connsiteX6015" y="connsiteY6015"/>
              </a:cxn>
              <a:cxn ang="0">
                <a:pos x="connsiteX6016" y="connsiteY6016"/>
              </a:cxn>
              <a:cxn ang="0">
                <a:pos x="connsiteX6017" y="connsiteY6017"/>
              </a:cxn>
              <a:cxn ang="0">
                <a:pos x="connsiteX6018" y="connsiteY6018"/>
              </a:cxn>
              <a:cxn ang="0">
                <a:pos x="connsiteX6019" y="connsiteY6019"/>
              </a:cxn>
              <a:cxn ang="0">
                <a:pos x="connsiteX6020" y="connsiteY6020"/>
              </a:cxn>
              <a:cxn ang="0">
                <a:pos x="connsiteX6021" y="connsiteY6021"/>
              </a:cxn>
              <a:cxn ang="0">
                <a:pos x="connsiteX6022" y="connsiteY6022"/>
              </a:cxn>
              <a:cxn ang="0">
                <a:pos x="connsiteX6023" y="connsiteY6023"/>
              </a:cxn>
              <a:cxn ang="0">
                <a:pos x="connsiteX6024" y="connsiteY6024"/>
              </a:cxn>
              <a:cxn ang="0">
                <a:pos x="connsiteX6025" y="connsiteY6025"/>
              </a:cxn>
              <a:cxn ang="0">
                <a:pos x="connsiteX6026" y="connsiteY6026"/>
              </a:cxn>
              <a:cxn ang="0">
                <a:pos x="connsiteX6027" y="connsiteY6027"/>
              </a:cxn>
              <a:cxn ang="0">
                <a:pos x="connsiteX6028" y="connsiteY6028"/>
              </a:cxn>
              <a:cxn ang="0">
                <a:pos x="connsiteX6029" y="connsiteY6029"/>
              </a:cxn>
              <a:cxn ang="0">
                <a:pos x="connsiteX6030" y="connsiteY6030"/>
              </a:cxn>
              <a:cxn ang="0">
                <a:pos x="connsiteX6031" y="connsiteY6031"/>
              </a:cxn>
              <a:cxn ang="0">
                <a:pos x="connsiteX6032" y="connsiteY6032"/>
              </a:cxn>
              <a:cxn ang="0">
                <a:pos x="connsiteX6033" y="connsiteY6033"/>
              </a:cxn>
              <a:cxn ang="0">
                <a:pos x="connsiteX6034" y="connsiteY6034"/>
              </a:cxn>
              <a:cxn ang="0">
                <a:pos x="connsiteX6035" y="connsiteY6035"/>
              </a:cxn>
              <a:cxn ang="0">
                <a:pos x="connsiteX6036" y="connsiteY6036"/>
              </a:cxn>
              <a:cxn ang="0">
                <a:pos x="connsiteX6037" y="connsiteY6037"/>
              </a:cxn>
              <a:cxn ang="0">
                <a:pos x="connsiteX6038" y="connsiteY6038"/>
              </a:cxn>
              <a:cxn ang="0">
                <a:pos x="connsiteX6039" y="connsiteY6039"/>
              </a:cxn>
              <a:cxn ang="0">
                <a:pos x="connsiteX6040" y="connsiteY6040"/>
              </a:cxn>
              <a:cxn ang="0">
                <a:pos x="connsiteX6041" y="connsiteY6041"/>
              </a:cxn>
              <a:cxn ang="0">
                <a:pos x="connsiteX6042" y="connsiteY6042"/>
              </a:cxn>
              <a:cxn ang="0">
                <a:pos x="connsiteX6043" y="connsiteY6043"/>
              </a:cxn>
              <a:cxn ang="0">
                <a:pos x="connsiteX6044" y="connsiteY6044"/>
              </a:cxn>
              <a:cxn ang="0">
                <a:pos x="connsiteX6045" y="connsiteY6045"/>
              </a:cxn>
              <a:cxn ang="0">
                <a:pos x="connsiteX6046" y="connsiteY6046"/>
              </a:cxn>
              <a:cxn ang="0">
                <a:pos x="connsiteX6047" y="connsiteY6047"/>
              </a:cxn>
              <a:cxn ang="0">
                <a:pos x="connsiteX6048" y="connsiteY6048"/>
              </a:cxn>
              <a:cxn ang="0">
                <a:pos x="connsiteX6049" y="connsiteY6049"/>
              </a:cxn>
              <a:cxn ang="0">
                <a:pos x="connsiteX6050" y="connsiteY6050"/>
              </a:cxn>
              <a:cxn ang="0">
                <a:pos x="connsiteX6051" y="connsiteY6051"/>
              </a:cxn>
              <a:cxn ang="0">
                <a:pos x="connsiteX6052" y="connsiteY6052"/>
              </a:cxn>
              <a:cxn ang="0">
                <a:pos x="connsiteX6053" y="connsiteY6053"/>
              </a:cxn>
              <a:cxn ang="0">
                <a:pos x="connsiteX6054" y="connsiteY6054"/>
              </a:cxn>
              <a:cxn ang="0">
                <a:pos x="connsiteX6055" y="connsiteY6055"/>
              </a:cxn>
              <a:cxn ang="0">
                <a:pos x="connsiteX6056" y="connsiteY6056"/>
              </a:cxn>
              <a:cxn ang="0">
                <a:pos x="connsiteX6057" y="connsiteY6057"/>
              </a:cxn>
              <a:cxn ang="0">
                <a:pos x="connsiteX6058" y="connsiteY6058"/>
              </a:cxn>
              <a:cxn ang="0">
                <a:pos x="connsiteX6059" y="connsiteY6059"/>
              </a:cxn>
              <a:cxn ang="0">
                <a:pos x="connsiteX6060" y="connsiteY6060"/>
              </a:cxn>
              <a:cxn ang="0">
                <a:pos x="connsiteX6061" y="connsiteY6061"/>
              </a:cxn>
              <a:cxn ang="0">
                <a:pos x="connsiteX6062" y="connsiteY6062"/>
              </a:cxn>
              <a:cxn ang="0">
                <a:pos x="connsiteX6063" y="connsiteY6063"/>
              </a:cxn>
              <a:cxn ang="0">
                <a:pos x="connsiteX6064" y="connsiteY6064"/>
              </a:cxn>
              <a:cxn ang="0">
                <a:pos x="connsiteX6065" y="connsiteY6065"/>
              </a:cxn>
              <a:cxn ang="0">
                <a:pos x="connsiteX6066" y="connsiteY6066"/>
              </a:cxn>
              <a:cxn ang="0">
                <a:pos x="connsiteX6067" y="connsiteY6067"/>
              </a:cxn>
              <a:cxn ang="0">
                <a:pos x="connsiteX6068" y="connsiteY6068"/>
              </a:cxn>
              <a:cxn ang="0">
                <a:pos x="connsiteX6069" y="connsiteY6069"/>
              </a:cxn>
              <a:cxn ang="0">
                <a:pos x="connsiteX6070" y="connsiteY6070"/>
              </a:cxn>
              <a:cxn ang="0">
                <a:pos x="connsiteX6071" y="connsiteY6071"/>
              </a:cxn>
              <a:cxn ang="0">
                <a:pos x="connsiteX6072" y="connsiteY6072"/>
              </a:cxn>
              <a:cxn ang="0">
                <a:pos x="connsiteX6073" y="connsiteY6073"/>
              </a:cxn>
              <a:cxn ang="0">
                <a:pos x="connsiteX6074" y="connsiteY6074"/>
              </a:cxn>
              <a:cxn ang="0">
                <a:pos x="connsiteX6075" y="connsiteY6075"/>
              </a:cxn>
              <a:cxn ang="0">
                <a:pos x="connsiteX6076" y="connsiteY6076"/>
              </a:cxn>
              <a:cxn ang="0">
                <a:pos x="connsiteX6077" y="connsiteY6077"/>
              </a:cxn>
              <a:cxn ang="0">
                <a:pos x="connsiteX6078" y="connsiteY6078"/>
              </a:cxn>
              <a:cxn ang="0">
                <a:pos x="connsiteX6079" y="connsiteY6079"/>
              </a:cxn>
              <a:cxn ang="0">
                <a:pos x="connsiteX6080" y="connsiteY6080"/>
              </a:cxn>
              <a:cxn ang="0">
                <a:pos x="connsiteX6081" y="connsiteY6081"/>
              </a:cxn>
              <a:cxn ang="0">
                <a:pos x="connsiteX6082" y="connsiteY6082"/>
              </a:cxn>
              <a:cxn ang="0">
                <a:pos x="connsiteX6083" y="connsiteY6083"/>
              </a:cxn>
              <a:cxn ang="0">
                <a:pos x="connsiteX6084" y="connsiteY6084"/>
              </a:cxn>
              <a:cxn ang="0">
                <a:pos x="connsiteX6085" y="connsiteY6085"/>
              </a:cxn>
              <a:cxn ang="0">
                <a:pos x="connsiteX6086" y="connsiteY6086"/>
              </a:cxn>
              <a:cxn ang="0">
                <a:pos x="connsiteX6087" y="connsiteY6087"/>
              </a:cxn>
              <a:cxn ang="0">
                <a:pos x="connsiteX6088" y="connsiteY6088"/>
              </a:cxn>
              <a:cxn ang="0">
                <a:pos x="connsiteX6089" y="connsiteY6089"/>
              </a:cxn>
              <a:cxn ang="0">
                <a:pos x="connsiteX6090" y="connsiteY6090"/>
              </a:cxn>
              <a:cxn ang="0">
                <a:pos x="connsiteX6091" y="connsiteY6091"/>
              </a:cxn>
              <a:cxn ang="0">
                <a:pos x="connsiteX6092" y="connsiteY6092"/>
              </a:cxn>
              <a:cxn ang="0">
                <a:pos x="connsiteX6093" y="connsiteY6093"/>
              </a:cxn>
              <a:cxn ang="0">
                <a:pos x="connsiteX6094" y="connsiteY6094"/>
              </a:cxn>
              <a:cxn ang="0">
                <a:pos x="connsiteX6095" y="connsiteY6095"/>
              </a:cxn>
              <a:cxn ang="0">
                <a:pos x="connsiteX6096" y="connsiteY6096"/>
              </a:cxn>
              <a:cxn ang="0">
                <a:pos x="connsiteX6097" y="connsiteY6097"/>
              </a:cxn>
              <a:cxn ang="0">
                <a:pos x="connsiteX6098" y="connsiteY6098"/>
              </a:cxn>
              <a:cxn ang="0">
                <a:pos x="connsiteX6099" y="connsiteY6099"/>
              </a:cxn>
              <a:cxn ang="0">
                <a:pos x="connsiteX6100" y="connsiteY6100"/>
              </a:cxn>
              <a:cxn ang="0">
                <a:pos x="connsiteX6101" y="connsiteY6101"/>
              </a:cxn>
              <a:cxn ang="0">
                <a:pos x="connsiteX6102" y="connsiteY6102"/>
              </a:cxn>
              <a:cxn ang="0">
                <a:pos x="connsiteX6103" y="connsiteY6103"/>
              </a:cxn>
              <a:cxn ang="0">
                <a:pos x="connsiteX6104" y="connsiteY6104"/>
              </a:cxn>
              <a:cxn ang="0">
                <a:pos x="connsiteX6105" y="connsiteY6105"/>
              </a:cxn>
              <a:cxn ang="0">
                <a:pos x="connsiteX6106" y="connsiteY6106"/>
              </a:cxn>
              <a:cxn ang="0">
                <a:pos x="connsiteX6107" y="connsiteY6107"/>
              </a:cxn>
              <a:cxn ang="0">
                <a:pos x="connsiteX6108" y="connsiteY6108"/>
              </a:cxn>
              <a:cxn ang="0">
                <a:pos x="connsiteX6109" y="connsiteY6109"/>
              </a:cxn>
              <a:cxn ang="0">
                <a:pos x="connsiteX6110" y="connsiteY6110"/>
              </a:cxn>
              <a:cxn ang="0">
                <a:pos x="connsiteX6111" y="connsiteY6111"/>
              </a:cxn>
              <a:cxn ang="0">
                <a:pos x="connsiteX6112" y="connsiteY6112"/>
              </a:cxn>
              <a:cxn ang="0">
                <a:pos x="connsiteX6113" y="connsiteY6113"/>
              </a:cxn>
              <a:cxn ang="0">
                <a:pos x="connsiteX6114" y="connsiteY6114"/>
              </a:cxn>
              <a:cxn ang="0">
                <a:pos x="connsiteX6115" y="connsiteY6115"/>
              </a:cxn>
              <a:cxn ang="0">
                <a:pos x="connsiteX6116" y="connsiteY6116"/>
              </a:cxn>
              <a:cxn ang="0">
                <a:pos x="connsiteX6117" y="connsiteY6117"/>
              </a:cxn>
              <a:cxn ang="0">
                <a:pos x="connsiteX6118" y="connsiteY6118"/>
              </a:cxn>
              <a:cxn ang="0">
                <a:pos x="connsiteX6119" y="connsiteY6119"/>
              </a:cxn>
              <a:cxn ang="0">
                <a:pos x="connsiteX6120" y="connsiteY6120"/>
              </a:cxn>
              <a:cxn ang="0">
                <a:pos x="connsiteX6121" y="connsiteY6121"/>
              </a:cxn>
              <a:cxn ang="0">
                <a:pos x="connsiteX6122" y="connsiteY6122"/>
              </a:cxn>
              <a:cxn ang="0">
                <a:pos x="connsiteX6123" y="connsiteY6123"/>
              </a:cxn>
              <a:cxn ang="0">
                <a:pos x="connsiteX6124" y="connsiteY6124"/>
              </a:cxn>
              <a:cxn ang="0">
                <a:pos x="connsiteX6125" y="connsiteY6125"/>
              </a:cxn>
              <a:cxn ang="0">
                <a:pos x="connsiteX6126" y="connsiteY6126"/>
              </a:cxn>
              <a:cxn ang="0">
                <a:pos x="connsiteX6127" y="connsiteY6127"/>
              </a:cxn>
              <a:cxn ang="0">
                <a:pos x="connsiteX6128" y="connsiteY6128"/>
              </a:cxn>
              <a:cxn ang="0">
                <a:pos x="connsiteX6129" y="connsiteY6129"/>
              </a:cxn>
              <a:cxn ang="0">
                <a:pos x="connsiteX6130" y="connsiteY6130"/>
              </a:cxn>
              <a:cxn ang="0">
                <a:pos x="connsiteX6131" y="connsiteY6131"/>
              </a:cxn>
              <a:cxn ang="0">
                <a:pos x="connsiteX6132" y="connsiteY6132"/>
              </a:cxn>
              <a:cxn ang="0">
                <a:pos x="connsiteX6133" y="connsiteY6133"/>
              </a:cxn>
              <a:cxn ang="0">
                <a:pos x="connsiteX6134" y="connsiteY6134"/>
              </a:cxn>
              <a:cxn ang="0">
                <a:pos x="connsiteX6135" y="connsiteY6135"/>
              </a:cxn>
              <a:cxn ang="0">
                <a:pos x="connsiteX6136" y="connsiteY6136"/>
              </a:cxn>
              <a:cxn ang="0">
                <a:pos x="connsiteX6137" y="connsiteY6137"/>
              </a:cxn>
              <a:cxn ang="0">
                <a:pos x="connsiteX6138" y="connsiteY6138"/>
              </a:cxn>
              <a:cxn ang="0">
                <a:pos x="connsiteX6139" y="connsiteY6139"/>
              </a:cxn>
              <a:cxn ang="0">
                <a:pos x="connsiteX6140" y="connsiteY6140"/>
              </a:cxn>
              <a:cxn ang="0">
                <a:pos x="connsiteX6141" y="connsiteY6141"/>
              </a:cxn>
              <a:cxn ang="0">
                <a:pos x="connsiteX6142" y="connsiteY6142"/>
              </a:cxn>
              <a:cxn ang="0">
                <a:pos x="connsiteX6143" y="connsiteY6143"/>
              </a:cxn>
              <a:cxn ang="0">
                <a:pos x="connsiteX6144" y="connsiteY6144"/>
              </a:cxn>
              <a:cxn ang="0">
                <a:pos x="connsiteX6145" y="connsiteY6145"/>
              </a:cxn>
              <a:cxn ang="0">
                <a:pos x="connsiteX6146" y="connsiteY6146"/>
              </a:cxn>
              <a:cxn ang="0">
                <a:pos x="connsiteX6147" y="connsiteY6147"/>
              </a:cxn>
              <a:cxn ang="0">
                <a:pos x="connsiteX6148" y="connsiteY6148"/>
              </a:cxn>
              <a:cxn ang="0">
                <a:pos x="connsiteX6149" y="connsiteY6149"/>
              </a:cxn>
              <a:cxn ang="0">
                <a:pos x="connsiteX6150" y="connsiteY6150"/>
              </a:cxn>
              <a:cxn ang="0">
                <a:pos x="connsiteX6151" y="connsiteY6151"/>
              </a:cxn>
              <a:cxn ang="0">
                <a:pos x="connsiteX6152" y="connsiteY6152"/>
              </a:cxn>
              <a:cxn ang="0">
                <a:pos x="connsiteX6153" y="connsiteY6153"/>
              </a:cxn>
              <a:cxn ang="0">
                <a:pos x="connsiteX6154" y="connsiteY6154"/>
              </a:cxn>
              <a:cxn ang="0">
                <a:pos x="connsiteX6155" y="connsiteY6155"/>
              </a:cxn>
              <a:cxn ang="0">
                <a:pos x="connsiteX6156" y="connsiteY6156"/>
              </a:cxn>
              <a:cxn ang="0">
                <a:pos x="connsiteX6157" y="connsiteY6157"/>
              </a:cxn>
              <a:cxn ang="0">
                <a:pos x="connsiteX6158" y="connsiteY6158"/>
              </a:cxn>
              <a:cxn ang="0">
                <a:pos x="connsiteX6159" y="connsiteY6159"/>
              </a:cxn>
              <a:cxn ang="0">
                <a:pos x="connsiteX6160" y="connsiteY6160"/>
              </a:cxn>
              <a:cxn ang="0">
                <a:pos x="connsiteX6161" y="connsiteY6161"/>
              </a:cxn>
              <a:cxn ang="0">
                <a:pos x="connsiteX6162" y="connsiteY6162"/>
              </a:cxn>
              <a:cxn ang="0">
                <a:pos x="connsiteX6163" y="connsiteY6163"/>
              </a:cxn>
              <a:cxn ang="0">
                <a:pos x="connsiteX6164" y="connsiteY6164"/>
              </a:cxn>
              <a:cxn ang="0">
                <a:pos x="connsiteX6165" y="connsiteY6165"/>
              </a:cxn>
              <a:cxn ang="0">
                <a:pos x="connsiteX6166" y="connsiteY6166"/>
              </a:cxn>
              <a:cxn ang="0">
                <a:pos x="connsiteX6167" y="connsiteY6167"/>
              </a:cxn>
              <a:cxn ang="0">
                <a:pos x="connsiteX6168" y="connsiteY6168"/>
              </a:cxn>
              <a:cxn ang="0">
                <a:pos x="connsiteX6169" y="connsiteY6169"/>
              </a:cxn>
              <a:cxn ang="0">
                <a:pos x="connsiteX6170" y="connsiteY6170"/>
              </a:cxn>
              <a:cxn ang="0">
                <a:pos x="connsiteX6171" y="connsiteY6171"/>
              </a:cxn>
              <a:cxn ang="0">
                <a:pos x="connsiteX6172" y="connsiteY6172"/>
              </a:cxn>
              <a:cxn ang="0">
                <a:pos x="connsiteX6173" y="connsiteY6173"/>
              </a:cxn>
              <a:cxn ang="0">
                <a:pos x="connsiteX6174" y="connsiteY6174"/>
              </a:cxn>
              <a:cxn ang="0">
                <a:pos x="connsiteX6175" y="connsiteY6175"/>
              </a:cxn>
              <a:cxn ang="0">
                <a:pos x="connsiteX6176" y="connsiteY6176"/>
              </a:cxn>
              <a:cxn ang="0">
                <a:pos x="connsiteX6177" y="connsiteY6177"/>
              </a:cxn>
              <a:cxn ang="0">
                <a:pos x="connsiteX6178" y="connsiteY6178"/>
              </a:cxn>
              <a:cxn ang="0">
                <a:pos x="connsiteX6179" y="connsiteY6179"/>
              </a:cxn>
              <a:cxn ang="0">
                <a:pos x="connsiteX6180" y="connsiteY6180"/>
              </a:cxn>
              <a:cxn ang="0">
                <a:pos x="connsiteX6181" y="connsiteY6181"/>
              </a:cxn>
              <a:cxn ang="0">
                <a:pos x="connsiteX6182" y="connsiteY6182"/>
              </a:cxn>
              <a:cxn ang="0">
                <a:pos x="connsiteX6183" y="connsiteY6183"/>
              </a:cxn>
              <a:cxn ang="0">
                <a:pos x="connsiteX6184" y="connsiteY6184"/>
              </a:cxn>
              <a:cxn ang="0">
                <a:pos x="connsiteX6185" y="connsiteY6185"/>
              </a:cxn>
              <a:cxn ang="0">
                <a:pos x="connsiteX6186" y="connsiteY6186"/>
              </a:cxn>
              <a:cxn ang="0">
                <a:pos x="connsiteX6187" y="connsiteY6187"/>
              </a:cxn>
              <a:cxn ang="0">
                <a:pos x="connsiteX6188" y="connsiteY6188"/>
              </a:cxn>
              <a:cxn ang="0">
                <a:pos x="connsiteX6189" y="connsiteY6189"/>
              </a:cxn>
              <a:cxn ang="0">
                <a:pos x="connsiteX6190" y="connsiteY6190"/>
              </a:cxn>
              <a:cxn ang="0">
                <a:pos x="connsiteX6191" y="connsiteY6191"/>
              </a:cxn>
              <a:cxn ang="0">
                <a:pos x="connsiteX6192" y="connsiteY6192"/>
              </a:cxn>
              <a:cxn ang="0">
                <a:pos x="connsiteX6193" y="connsiteY6193"/>
              </a:cxn>
              <a:cxn ang="0">
                <a:pos x="connsiteX6194" y="connsiteY6194"/>
              </a:cxn>
              <a:cxn ang="0">
                <a:pos x="connsiteX6195" y="connsiteY6195"/>
              </a:cxn>
              <a:cxn ang="0">
                <a:pos x="connsiteX6196" y="connsiteY6196"/>
              </a:cxn>
              <a:cxn ang="0">
                <a:pos x="connsiteX6197" y="connsiteY6197"/>
              </a:cxn>
              <a:cxn ang="0">
                <a:pos x="connsiteX6198" y="connsiteY6198"/>
              </a:cxn>
              <a:cxn ang="0">
                <a:pos x="connsiteX6199" y="connsiteY6199"/>
              </a:cxn>
              <a:cxn ang="0">
                <a:pos x="connsiteX6200" y="connsiteY6200"/>
              </a:cxn>
              <a:cxn ang="0">
                <a:pos x="connsiteX6201" y="connsiteY6201"/>
              </a:cxn>
              <a:cxn ang="0">
                <a:pos x="connsiteX6202" y="connsiteY6202"/>
              </a:cxn>
              <a:cxn ang="0">
                <a:pos x="connsiteX6203" y="connsiteY6203"/>
              </a:cxn>
              <a:cxn ang="0">
                <a:pos x="connsiteX6204" y="connsiteY6204"/>
              </a:cxn>
              <a:cxn ang="0">
                <a:pos x="connsiteX6205" y="connsiteY6205"/>
              </a:cxn>
              <a:cxn ang="0">
                <a:pos x="connsiteX6206" y="connsiteY6206"/>
              </a:cxn>
              <a:cxn ang="0">
                <a:pos x="connsiteX6207" y="connsiteY6207"/>
              </a:cxn>
              <a:cxn ang="0">
                <a:pos x="connsiteX6208" y="connsiteY6208"/>
              </a:cxn>
              <a:cxn ang="0">
                <a:pos x="connsiteX6209" y="connsiteY6209"/>
              </a:cxn>
              <a:cxn ang="0">
                <a:pos x="connsiteX6210" y="connsiteY6210"/>
              </a:cxn>
              <a:cxn ang="0">
                <a:pos x="connsiteX6211" y="connsiteY6211"/>
              </a:cxn>
              <a:cxn ang="0">
                <a:pos x="connsiteX6212" y="connsiteY6212"/>
              </a:cxn>
              <a:cxn ang="0">
                <a:pos x="connsiteX6213" y="connsiteY6213"/>
              </a:cxn>
              <a:cxn ang="0">
                <a:pos x="connsiteX6214" y="connsiteY6214"/>
              </a:cxn>
              <a:cxn ang="0">
                <a:pos x="connsiteX6215" y="connsiteY6215"/>
              </a:cxn>
              <a:cxn ang="0">
                <a:pos x="connsiteX6216" y="connsiteY6216"/>
              </a:cxn>
              <a:cxn ang="0">
                <a:pos x="connsiteX6217" y="connsiteY6217"/>
              </a:cxn>
              <a:cxn ang="0">
                <a:pos x="connsiteX6218" y="connsiteY6218"/>
              </a:cxn>
              <a:cxn ang="0">
                <a:pos x="connsiteX6219" y="connsiteY6219"/>
              </a:cxn>
              <a:cxn ang="0">
                <a:pos x="connsiteX6220" y="connsiteY6220"/>
              </a:cxn>
              <a:cxn ang="0">
                <a:pos x="connsiteX6221" y="connsiteY6221"/>
              </a:cxn>
              <a:cxn ang="0">
                <a:pos x="connsiteX6222" y="connsiteY6222"/>
              </a:cxn>
              <a:cxn ang="0">
                <a:pos x="connsiteX6223" y="connsiteY6223"/>
              </a:cxn>
              <a:cxn ang="0">
                <a:pos x="connsiteX6224" y="connsiteY6224"/>
              </a:cxn>
              <a:cxn ang="0">
                <a:pos x="connsiteX6225" y="connsiteY6225"/>
              </a:cxn>
              <a:cxn ang="0">
                <a:pos x="connsiteX6226" y="connsiteY6226"/>
              </a:cxn>
              <a:cxn ang="0">
                <a:pos x="connsiteX6227" y="connsiteY6227"/>
              </a:cxn>
              <a:cxn ang="0">
                <a:pos x="connsiteX6228" y="connsiteY6228"/>
              </a:cxn>
              <a:cxn ang="0">
                <a:pos x="connsiteX6229" y="connsiteY6229"/>
              </a:cxn>
              <a:cxn ang="0">
                <a:pos x="connsiteX6230" y="connsiteY6230"/>
              </a:cxn>
              <a:cxn ang="0">
                <a:pos x="connsiteX6231" y="connsiteY6231"/>
              </a:cxn>
              <a:cxn ang="0">
                <a:pos x="connsiteX6232" y="connsiteY6232"/>
              </a:cxn>
              <a:cxn ang="0">
                <a:pos x="connsiteX6233" y="connsiteY6233"/>
              </a:cxn>
              <a:cxn ang="0">
                <a:pos x="connsiteX6234" y="connsiteY6234"/>
              </a:cxn>
              <a:cxn ang="0">
                <a:pos x="connsiteX6235" y="connsiteY6235"/>
              </a:cxn>
              <a:cxn ang="0">
                <a:pos x="connsiteX6236" y="connsiteY6236"/>
              </a:cxn>
              <a:cxn ang="0">
                <a:pos x="connsiteX6237" y="connsiteY6237"/>
              </a:cxn>
              <a:cxn ang="0">
                <a:pos x="connsiteX6238" y="connsiteY6238"/>
              </a:cxn>
              <a:cxn ang="0">
                <a:pos x="connsiteX6239" y="connsiteY6239"/>
              </a:cxn>
              <a:cxn ang="0">
                <a:pos x="connsiteX6240" y="connsiteY6240"/>
              </a:cxn>
              <a:cxn ang="0">
                <a:pos x="connsiteX6241" y="connsiteY6241"/>
              </a:cxn>
              <a:cxn ang="0">
                <a:pos x="connsiteX6242" y="connsiteY6242"/>
              </a:cxn>
              <a:cxn ang="0">
                <a:pos x="connsiteX6243" y="connsiteY6243"/>
              </a:cxn>
              <a:cxn ang="0">
                <a:pos x="connsiteX6244" y="connsiteY6244"/>
              </a:cxn>
              <a:cxn ang="0">
                <a:pos x="connsiteX6245" y="connsiteY6245"/>
              </a:cxn>
              <a:cxn ang="0">
                <a:pos x="connsiteX6246" y="connsiteY6246"/>
              </a:cxn>
              <a:cxn ang="0">
                <a:pos x="connsiteX6247" y="connsiteY6247"/>
              </a:cxn>
              <a:cxn ang="0">
                <a:pos x="connsiteX6248" y="connsiteY6248"/>
              </a:cxn>
              <a:cxn ang="0">
                <a:pos x="connsiteX6249" y="connsiteY6249"/>
              </a:cxn>
              <a:cxn ang="0">
                <a:pos x="connsiteX6250" y="connsiteY6250"/>
              </a:cxn>
              <a:cxn ang="0">
                <a:pos x="connsiteX6251" y="connsiteY6251"/>
              </a:cxn>
              <a:cxn ang="0">
                <a:pos x="connsiteX6252" y="connsiteY6252"/>
              </a:cxn>
              <a:cxn ang="0">
                <a:pos x="connsiteX6253" y="connsiteY6253"/>
              </a:cxn>
              <a:cxn ang="0">
                <a:pos x="connsiteX6254" y="connsiteY6254"/>
              </a:cxn>
              <a:cxn ang="0">
                <a:pos x="connsiteX6255" y="connsiteY6255"/>
              </a:cxn>
              <a:cxn ang="0">
                <a:pos x="connsiteX6256" y="connsiteY6256"/>
              </a:cxn>
              <a:cxn ang="0">
                <a:pos x="connsiteX6257" y="connsiteY6257"/>
              </a:cxn>
              <a:cxn ang="0">
                <a:pos x="connsiteX6258" y="connsiteY6258"/>
              </a:cxn>
              <a:cxn ang="0">
                <a:pos x="connsiteX6259" y="connsiteY6259"/>
              </a:cxn>
              <a:cxn ang="0">
                <a:pos x="connsiteX6260" y="connsiteY6260"/>
              </a:cxn>
              <a:cxn ang="0">
                <a:pos x="connsiteX6261" y="connsiteY6261"/>
              </a:cxn>
              <a:cxn ang="0">
                <a:pos x="connsiteX6262" y="connsiteY6262"/>
              </a:cxn>
              <a:cxn ang="0">
                <a:pos x="connsiteX6263" y="connsiteY6263"/>
              </a:cxn>
              <a:cxn ang="0">
                <a:pos x="connsiteX6264" y="connsiteY6264"/>
              </a:cxn>
              <a:cxn ang="0">
                <a:pos x="connsiteX6265" y="connsiteY6265"/>
              </a:cxn>
              <a:cxn ang="0">
                <a:pos x="connsiteX6266" y="connsiteY6266"/>
              </a:cxn>
              <a:cxn ang="0">
                <a:pos x="connsiteX6267" y="connsiteY6267"/>
              </a:cxn>
              <a:cxn ang="0">
                <a:pos x="connsiteX6268" y="connsiteY6268"/>
              </a:cxn>
              <a:cxn ang="0">
                <a:pos x="connsiteX6269" y="connsiteY6269"/>
              </a:cxn>
              <a:cxn ang="0">
                <a:pos x="connsiteX6270" y="connsiteY6270"/>
              </a:cxn>
              <a:cxn ang="0">
                <a:pos x="connsiteX6271" y="connsiteY6271"/>
              </a:cxn>
              <a:cxn ang="0">
                <a:pos x="connsiteX6272" y="connsiteY6272"/>
              </a:cxn>
              <a:cxn ang="0">
                <a:pos x="connsiteX6273" y="connsiteY6273"/>
              </a:cxn>
              <a:cxn ang="0">
                <a:pos x="connsiteX6274" y="connsiteY6274"/>
              </a:cxn>
              <a:cxn ang="0">
                <a:pos x="connsiteX6275" y="connsiteY6275"/>
              </a:cxn>
              <a:cxn ang="0">
                <a:pos x="connsiteX6276" y="connsiteY6276"/>
              </a:cxn>
              <a:cxn ang="0">
                <a:pos x="connsiteX6277" y="connsiteY6277"/>
              </a:cxn>
              <a:cxn ang="0">
                <a:pos x="connsiteX6278" y="connsiteY6278"/>
              </a:cxn>
              <a:cxn ang="0">
                <a:pos x="connsiteX6279" y="connsiteY6279"/>
              </a:cxn>
              <a:cxn ang="0">
                <a:pos x="connsiteX6280" y="connsiteY6280"/>
              </a:cxn>
              <a:cxn ang="0">
                <a:pos x="connsiteX6281" y="connsiteY6281"/>
              </a:cxn>
              <a:cxn ang="0">
                <a:pos x="connsiteX6282" y="connsiteY6282"/>
              </a:cxn>
              <a:cxn ang="0">
                <a:pos x="connsiteX6283" y="connsiteY6283"/>
              </a:cxn>
              <a:cxn ang="0">
                <a:pos x="connsiteX6284" y="connsiteY6284"/>
              </a:cxn>
              <a:cxn ang="0">
                <a:pos x="connsiteX6285" y="connsiteY6285"/>
              </a:cxn>
              <a:cxn ang="0">
                <a:pos x="connsiteX6286" y="connsiteY6286"/>
              </a:cxn>
              <a:cxn ang="0">
                <a:pos x="connsiteX6287" y="connsiteY6287"/>
              </a:cxn>
              <a:cxn ang="0">
                <a:pos x="connsiteX6288" y="connsiteY6288"/>
              </a:cxn>
              <a:cxn ang="0">
                <a:pos x="connsiteX6289" y="connsiteY6289"/>
              </a:cxn>
              <a:cxn ang="0">
                <a:pos x="connsiteX6290" y="connsiteY6290"/>
              </a:cxn>
              <a:cxn ang="0">
                <a:pos x="connsiteX6291" y="connsiteY6291"/>
              </a:cxn>
              <a:cxn ang="0">
                <a:pos x="connsiteX6292" y="connsiteY6292"/>
              </a:cxn>
              <a:cxn ang="0">
                <a:pos x="connsiteX6293" y="connsiteY6293"/>
              </a:cxn>
              <a:cxn ang="0">
                <a:pos x="connsiteX6294" y="connsiteY6294"/>
              </a:cxn>
              <a:cxn ang="0">
                <a:pos x="connsiteX6295" y="connsiteY6295"/>
              </a:cxn>
              <a:cxn ang="0">
                <a:pos x="connsiteX6296" y="connsiteY6296"/>
              </a:cxn>
              <a:cxn ang="0">
                <a:pos x="connsiteX6297" y="connsiteY6297"/>
              </a:cxn>
              <a:cxn ang="0">
                <a:pos x="connsiteX6298" y="connsiteY6298"/>
              </a:cxn>
              <a:cxn ang="0">
                <a:pos x="connsiteX6299" y="connsiteY6299"/>
              </a:cxn>
              <a:cxn ang="0">
                <a:pos x="connsiteX6300" y="connsiteY6300"/>
              </a:cxn>
              <a:cxn ang="0">
                <a:pos x="connsiteX6301" y="connsiteY6301"/>
              </a:cxn>
              <a:cxn ang="0">
                <a:pos x="connsiteX6302" y="connsiteY6302"/>
              </a:cxn>
              <a:cxn ang="0">
                <a:pos x="connsiteX6303" y="connsiteY6303"/>
              </a:cxn>
              <a:cxn ang="0">
                <a:pos x="connsiteX6304" y="connsiteY6304"/>
              </a:cxn>
              <a:cxn ang="0">
                <a:pos x="connsiteX6305" y="connsiteY6305"/>
              </a:cxn>
              <a:cxn ang="0">
                <a:pos x="connsiteX6306" y="connsiteY6306"/>
              </a:cxn>
              <a:cxn ang="0">
                <a:pos x="connsiteX6307" y="connsiteY6307"/>
              </a:cxn>
              <a:cxn ang="0">
                <a:pos x="connsiteX6308" y="connsiteY6308"/>
              </a:cxn>
              <a:cxn ang="0">
                <a:pos x="connsiteX6309" y="connsiteY6309"/>
              </a:cxn>
              <a:cxn ang="0">
                <a:pos x="connsiteX6310" y="connsiteY6310"/>
              </a:cxn>
              <a:cxn ang="0">
                <a:pos x="connsiteX6311" y="connsiteY6311"/>
              </a:cxn>
              <a:cxn ang="0">
                <a:pos x="connsiteX6312" y="connsiteY6312"/>
              </a:cxn>
              <a:cxn ang="0">
                <a:pos x="connsiteX6313" y="connsiteY6313"/>
              </a:cxn>
              <a:cxn ang="0">
                <a:pos x="connsiteX6314" y="connsiteY6314"/>
              </a:cxn>
              <a:cxn ang="0">
                <a:pos x="connsiteX6315" y="connsiteY6315"/>
              </a:cxn>
              <a:cxn ang="0">
                <a:pos x="connsiteX6316" y="connsiteY6316"/>
              </a:cxn>
              <a:cxn ang="0">
                <a:pos x="connsiteX6317" y="connsiteY6317"/>
              </a:cxn>
              <a:cxn ang="0">
                <a:pos x="connsiteX6318" y="connsiteY6318"/>
              </a:cxn>
              <a:cxn ang="0">
                <a:pos x="connsiteX6319" y="connsiteY6319"/>
              </a:cxn>
              <a:cxn ang="0">
                <a:pos x="connsiteX6320" y="connsiteY6320"/>
              </a:cxn>
              <a:cxn ang="0">
                <a:pos x="connsiteX6321" y="connsiteY6321"/>
              </a:cxn>
              <a:cxn ang="0">
                <a:pos x="connsiteX6322" y="connsiteY6322"/>
              </a:cxn>
              <a:cxn ang="0">
                <a:pos x="connsiteX6323" y="connsiteY6323"/>
              </a:cxn>
              <a:cxn ang="0">
                <a:pos x="connsiteX6324" y="connsiteY6324"/>
              </a:cxn>
              <a:cxn ang="0">
                <a:pos x="connsiteX6325" y="connsiteY6325"/>
              </a:cxn>
              <a:cxn ang="0">
                <a:pos x="connsiteX6326" y="connsiteY6326"/>
              </a:cxn>
              <a:cxn ang="0">
                <a:pos x="connsiteX6327" y="connsiteY6327"/>
              </a:cxn>
              <a:cxn ang="0">
                <a:pos x="connsiteX6328" y="connsiteY6328"/>
              </a:cxn>
              <a:cxn ang="0">
                <a:pos x="connsiteX6329" y="connsiteY6329"/>
              </a:cxn>
              <a:cxn ang="0">
                <a:pos x="connsiteX6330" y="connsiteY6330"/>
              </a:cxn>
              <a:cxn ang="0">
                <a:pos x="connsiteX6331" y="connsiteY6331"/>
              </a:cxn>
              <a:cxn ang="0">
                <a:pos x="connsiteX6332" y="connsiteY6332"/>
              </a:cxn>
              <a:cxn ang="0">
                <a:pos x="connsiteX6333" y="connsiteY6333"/>
              </a:cxn>
              <a:cxn ang="0">
                <a:pos x="connsiteX6334" y="connsiteY6334"/>
              </a:cxn>
              <a:cxn ang="0">
                <a:pos x="connsiteX6335" y="connsiteY6335"/>
              </a:cxn>
              <a:cxn ang="0">
                <a:pos x="connsiteX6336" y="connsiteY6336"/>
              </a:cxn>
              <a:cxn ang="0">
                <a:pos x="connsiteX6337" y="connsiteY6337"/>
              </a:cxn>
              <a:cxn ang="0">
                <a:pos x="connsiteX6338" y="connsiteY6338"/>
              </a:cxn>
              <a:cxn ang="0">
                <a:pos x="connsiteX6339" y="connsiteY6339"/>
              </a:cxn>
              <a:cxn ang="0">
                <a:pos x="connsiteX6340" y="connsiteY6340"/>
              </a:cxn>
              <a:cxn ang="0">
                <a:pos x="connsiteX6341" y="connsiteY6341"/>
              </a:cxn>
              <a:cxn ang="0">
                <a:pos x="connsiteX6342" y="connsiteY6342"/>
              </a:cxn>
              <a:cxn ang="0">
                <a:pos x="connsiteX6343" y="connsiteY6343"/>
              </a:cxn>
              <a:cxn ang="0">
                <a:pos x="connsiteX6344" y="connsiteY6344"/>
              </a:cxn>
              <a:cxn ang="0">
                <a:pos x="connsiteX6345" y="connsiteY6345"/>
              </a:cxn>
              <a:cxn ang="0">
                <a:pos x="connsiteX6346" y="connsiteY6346"/>
              </a:cxn>
              <a:cxn ang="0">
                <a:pos x="connsiteX6347" y="connsiteY6347"/>
              </a:cxn>
              <a:cxn ang="0">
                <a:pos x="connsiteX6348" y="connsiteY6348"/>
              </a:cxn>
              <a:cxn ang="0">
                <a:pos x="connsiteX6349" y="connsiteY6349"/>
              </a:cxn>
              <a:cxn ang="0">
                <a:pos x="connsiteX6350" y="connsiteY6350"/>
              </a:cxn>
              <a:cxn ang="0">
                <a:pos x="connsiteX6351" y="connsiteY6351"/>
              </a:cxn>
              <a:cxn ang="0">
                <a:pos x="connsiteX6352" y="connsiteY6352"/>
              </a:cxn>
              <a:cxn ang="0">
                <a:pos x="connsiteX6353" y="connsiteY6353"/>
              </a:cxn>
              <a:cxn ang="0">
                <a:pos x="connsiteX6354" y="connsiteY6354"/>
              </a:cxn>
              <a:cxn ang="0">
                <a:pos x="connsiteX6355" y="connsiteY6355"/>
              </a:cxn>
              <a:cxn ang="0">
                <a:pos x="connsiteX6356" y="connsiteY6356"/>
              </a:cxn>
              <a:cxn ang="0">
                <a:pos x="connsiteX6357" y="connsiteY6357"/>
              </a:cxn>
              <a:cxn ang="0">
                <a:pos x="connsiteX6358" y="connsiteY6358"/>
              </a:cxn>
              <a:cxn ang="0">
                <a:pos x="connsiteX6359" y="connsiteY6359"/>
              </a:cxn>
              <a:cxn ang="0">
                <a:pos x="connsiteX6360" y="connsiteY6360"/>
              </a:cxn>
              <a:cxn ang="0">
                <a:pos x="connsiteX6361" y="connsiteY6361"/>
              </a:cxn>
              <a:cxn ang="0">
                <a:pos x="connsiteX6362" y="connsiteY6362"/>
              </a:cxn>
              <a:cxn ang="0">
                <a:pos x="connsiteX6363" y="connsiteY6363"/>
              </a:cxn>
              <a:cxn ang="0">
                <a:pos x="connsiteX6364" y="connsiteY6364"/>
              </a:cxn>
              <a:cxn ang="0">
                <a:pos x="connsiteX6365" y="connsiteY6365"/>
              </a:cxn>
              <a:cxn ang="0">
                <a:pos x="connsiteX6366" y="connsiteY6366"/>
              </a:cxn>
              <a:cxn ang="0">
                <a:pos x="connsiteX6367" y="connsiteY6367"/>
              </a:cxn>
              <a:cxn ang="0">
                <a:pos x="connsiteX6368" y="connsiteY6368"/>
              </a:cxn>
              <a:cxn ang="0">
                <a:pos x="connsiteX6369" y="connsiteY6369"/>
              </a:cxn>
              <a:cxn ang="0">
                <a:pos x="connsiteX6370" y="connsiteY6370"/>
              </a:cxn>
              <a:cxn ang="0">
                <a:pos x="connsiteX6371" y="connsiteY6371"/>
              </a:cxn>
              <a:cxn ang="0">
                <a:pos x="connsiteX6372" y="connsiteY6372"/>
              </a:cxn>
              <a:cxn ang="0">
                <a:pos x="connsiteX6373" y="connsiteY6373"/>
              </a:cxn>
              <a:cxn ang="0">
                <a:pos x="connsiteX6374" y="connsiteY6374"/>
              </a:cxn>
              <a:cxn ang="0">
                <a:pos x="connsiteX6375" y="connsiteY6375"/>
              </a:cxn>
              <a:cxn ang="0">
                <a:pos x="connsiteX6376" y="connsiteY6376"/>
              </a:cxn>
              <a:cxn ang="0">
                <a:pos x="connsiteX6377" y="connsiteY6377"/>
              </a:cxn>
              <a:cxn ang="0">
                <a:pos x="connsiteX6378" y="connsiteY6378"/>
              </a:cxn>
              <a:cxn ang="0">
                <a:pos x="connsiteX6379" y="connsiteY6379"/>
              </a:cxn>
              <a:cxn ang="0">
                <a:pos x="connsiteX6380" y="connsiteY6380"/>
              </a:cxn>
              <a:cxn ang="0">
                <a:pos x="connsiteX6381" y="connsiteY6381"/>
              </a:cxn>
              <a:cxn ang="0">
                <a:pos x="connsiteX6382" y="connsiteY6382"/>
              </a:cxn>
              <a:cxn ang="0">
                <a:pos x="connsiteX6383" y="connsiteY6383"/>
              </a:cxn>
              <a:cxn ang="0">
                <a:pos x="connsiteX6384" y="connsiteY6384"/>
              </a:cxn>
              <a:cxn ang="0">
                <a:pos x="connsiteX6385" y="connsiteY6385"/>
              </a:cxn>
              <a:cxn ang="0">
                <a:pos x="connsiteX6386" y="connsiteY6386"/>
              </a:cxn>
              <a:cxn ang="0">
                <a:pos x="connsiteX6387" y="connsiteY6387"/>
              </a:cxn>
              <a:cxn ang="0">
                <a:pos x="connsiteX6388" y="connsiteY6388"/>
              </a:cxn>
              <a:cxn ang="0">
                <a:pos x="connsiteX6389" y="connsiteY6389"/>
              </a:cxn>
              <a:cxn ang="0">
                <a:pos x="connsiteX6390" y="connsiteY6390"/>
              </a:cxn>
              <a:cxn ang="0">
                <a:pos x="connsiteX6391" y="connsiteY6391"/>
              </a:cxn>
              <a:cxn ang="0">
                <a:pos x="connsiteX6392" y="connsiteY6392"/>
              </a:cxn>
              <a:cxn ang="0">
                <a:pos x="connsiteX6393" y="connsiteY6393"/>
              </a:cxn>
              <a:cxn ang="0">
                <a:pos x="connsiteX6394" y="connsiteY6394"/>
              </a:cxn>
              <a:cxn ang="0">
                <a:pos x="connsiteX6395" y="connsiteY6395"/>
              </a:cxn>
              <a:cxn ang="0">
                <a:pos x="connsiteX6396" y="connsiteY6396"/>
              </a:cxn>
              <a:cxn ang="0">
                <a:pos x="connsiteX6397" y="connsiteY6397"/>
              </a:cxn>
              <a:cxn ang="0">
                <a:pos x="connsiteX6398" y="connsiteY6398"/>
              </a:cxn>
              <a:cxn ang="0">
                <a:pos x="connsiteX6399" y="connsiteY6399"/>
              </a:cxn>
              <a:cxn ang="0">
                <a:pos x="connsiteX6400" y="connsiteY6400"/>
              </a:cxn>
              <a:cxn ang="0">
                <a:pos x="connsiteX6401" y="connsiteY6401"/>
              </a:cxn>
              <a:cxn ang="0">
                <a:pos x="connsiteX6402" y="connsiteY6402"/>
              </a:cxn>
              <a:cxn ang="0">
                <a:pos x="connsiteX6403" y="connsiteY6403"/>
              </a:cxn>
              <a:cxn ang="0">
                <a:pos x="connsiteX6404" y="connsiteY6404"/>
              </a:cxn>
              <a:cxn ang="0">
                <a:pos x="connsiteX6405" y="connsiteY6405"/>
              </a:cxn>
              <a:cxn ang="0">
                <a:pos x="connsiteX6406" y="connsiteY6406"/>
              </a:cxn>
              <a:cxn ang="0">
                <a:pos x="connsiteX6407" y="connsiteY6407"/>
              </a:cxn>
              <a:cxn ang="0">
                <a:pos x="connsiteX6408" y="connsiteY6408"/>
              </a:cxn>
              <a:cxn ang="0">
                <a:pos x="connsiteX6409" y="connsiteY6409"/>
              </a:cxn>
              <a:cxn ang="0">
                <a:pos x="connsiteX6410" y="connsiteY6410"/>
              </a:cxn>
              <a:cxn ang="0">
                <a:pos x="connsiteX6411" y="connsiteY6411"/>
              </a:cxn>
              <a:cxn ang="0">
                <a:pos x="connsiteX6412" y="connsiteY6412"/>
              </a:cxn>
              <a:cxn ang="0">
                <a:pos x="connsiteX6413" y="connsiteY6413"/>
              </a:cxn>
              <a:cxn ang="0">
                <a:pos x="connsiteX6414" y="connsiteY6414"/>
              </a:cxn>
              <a:cxn ang="0">
                <a:pos x="connsiteX6415" y="connsiteY6415"/>
              </a:cxn>
              <a:cxn ang="0">
                <a:pos x="connsiteX6416" y="connsiteY6416"/>
              </a:cxn>
              <a:cxn ang="0">
                <a:pos x="connsiteX6417" y="connsiteY6417"/>
              </a:cxn>
              <a:cxn ang="0">
                <a:pos x="connsiteX6418" y="connsiteY6418"/>
              </a:cxn>
              <a:cxn ang="0">
                <a:pos x="connsiteX6419" y="connsiteY6419"/>
              </a:cxn>
              <a:cxn ang="0">
                <a:pos x="connsiteX6420" y="connsiteY6420"/>
              </a:cxn>
              <a:cxn ang="0">
                <a:pos x="connsiteX6421" y="connsiteY6421"/>
              </a:cxn>
              <a:cxn ang="0">
                <a:pos x="connsiteX6422" y="connsiteY6422"/>
              </a:cxn>
              <a:cxn ang="0">
                <a:pos x="connsiteX6423" y="connsiteY6423"/>
              </a:cxn>
              <a:cxn ang="0">
                <a:pos x="connsiteX6424" y="connsiteY6424"/>
              </a:cxn>
              <a:cxn ang="0">
                <a:pos x="connsiteX6425" y="connsiteY6425"/>
              </a:cxn>
              <a:cxn ang="0">
                <a:pos x="connsiteX6426" y="connsiteY6426"/>
              </a:cxn>
              <a:cxn ang="0">
                <a:pos x="connsiteX6427" y="connsiteY6427"/>
              </a:cxn>
              <a:cxn ang="0">
                <a:pos x="connsiteX6428" y="connsiteY6428"/>
              </a:cxn>
              <a:cxn ang="0">
                <a:pos x="connsiteX6429" y="connsiteY6429"/>
              </a:cxn>
              <a:cxn ang="0">
                <a:pos x="connsiteX6430" y="connsiteY6430"/>
              </a:cxn>
              <a:cxn ang="0">
                <a:pos x="connsiteX6431" y="connsiteY6431"/>
              </a:cxn>
              <a:cxn ang="0">
                <a:pos x="connsiteX6432" y="connsiteY6432"/>
              </a:cxn>
              <a:cxn ang="0">
                <a:pos x="connsiteX6433" y="connsiteY6433"/>
              </a:cxn>
              <a:cxn ang="0">
                <a:pos x="connsiteX6434" y="connsiteY6434"/>
              </a:cxn>
              <a:cxn ang="0">
                <a:pos x="connsiteX6435" y="connsiteY6435"/>
              </a:cxn>
              <a:cxn ang="0">
                <a:pos x="connsiteX6436" y="connsiteY6436"/>
              </a:cxn>
              <a:cxn ang="0">
                <a:pos x="connsiteX6437" y="connsiteY6437"/>
              </a:cxn>
              <a:cxn ang="0">
                <a:pos x="connsiteX6438" y="connsiteY6438"/>
              </a:cxn>
              <a:cxn ang="0">
                <a:pos x="connsiteX6439" y="connsiteY6439"/>
              </a:cxn>
              <a:cxn ang="0">
                <a:pos x="connsiteX6440" y="connsiteY6440"/>
              </a:cxn>
              <a:cxn ang="0">
                <a:pos x="connsiteX6441" y="connsiteY6441"/>
              </a:cxn>
              <a:cxn ang="0">
                <a:pos x="connsiteX6442" y="connsiteY6442"/>
              </a:cxn>
              <a:cxn ang="0">
                <a:pos x="connsiteX6443" y="connsiteY6443"/>
              </a:cxn>
              <a:cxn ang="0">
                <a:pos x="connsiteX6444" y="connsiteY6444"/>
              </a:cxn>
              <a:cxn ang="0">
                <a:pos x="connsiteX6445" y="connsiteY6445"/>
              </a:cxn>
              <a:cxn ang="0">
                <a:pos x="connsiteX6446" y="connsiteY6446"/>
              </a:cxn>
              <a:cxn ang="0">
                <a:pos x="connsiteX6447" y="connsiteY6447"/>
              </a:cxn>
              <a:cxn ang="0">
                <a:pos x="connsiteX6448" y="connsiteY6448"/>
              </a:cxn>
              <a:cxn ang="0">
                <a:pos x="connsiteX6449" y="connsiteY6449"/>
              </a:cxn>
              <a:cxn ang="0">
                <a:pos x="connsiteX6450" y="connsiteY6450"/>
              </a:cxn>
              <a:cxn ang="0">
                <a:pos x="connsiteX6451" y="connsiteY6451"/>
              </a:cxn>
              <a:cxn ang="0">
                <a:pos x="connsiteX6452" y="connsiteY6452"/>
              </a:cxn>
              <a:cxn ang="0">
                <a:pos x="connsiteX6453" y="connsiteY6453"/>
              </a:cxn>
              <a:cxn ang="0">
                <a:pos x="connsiteX6454" y="connsiteY6454"/>
              </a:cxn>
              <a:cxn ang="0">
                <a:pos x="connsiteX6455" y="connsiteY6455"/>
              </a:cxn>
              <a:cxn ang="0">
                <a:pos x="connsiteX6456" y="connsiteY6456"/>
              </a:cxn>
              <a:cxn ang="0">
                <a:pos x="connsiteX6457" y="connsiteY6457"/>
              </a:cxn>
              <a:cxn ang="0">
                <a:pos x="connsiteX6458" y="connsiteY6458"/>
              </a:cxn>
              <a:cxn ang="0">
                <a:pos x="connsiteX6459" y="connsiteY6459"/>
              </a:cxn>
              <a:cxn ang="0">
                <a:pos x="connsiteX6460" y="connsiteY6460"/>
              </a:cxn>
              <a:cxn ang="0">
                <a:pos x="connsiteX6461" y="connsiteY6461"/>
              </a:cxn>
              <a:cxn ang="0">
                <a:pos x="connsiteX6462" y="connsiteY6462"/>
              </a:cxn>
              <a:cxn ang="0">
                <a:pos x="connsiteX6463" y="connsiteY6463"/>
              </a:cxn>
              <a:cxn ang="0">
                <a:pos x="connsiteX6464" y="connsiteY6464"/>
              </a:cxn>
              <a:cxn ang="0">
                <a:pos x="connsiteX6465" y="connsiteY6465"/>
              </a:cxn>
              <a:cxn ang="0">
                <a:pos x="connsiteX6466" y="connsiteY6466"/>
              </a:cxn>
              <a:cxn ang="0">
                <a:pos x="connsiteX6467" y="connsiteY6467"/>
              </a:cxn>
              <a:cxn ang="0">
                <a:pos x="connsiteX6468" y="connsiteY6468"/>
              </a:cxn>
              <a:cxn ang="0">
                <a:pos x="connsiteX6469" y="connsiteY6469"/>
              </a:cxn>
              <a:cxn ang="0">
                <a:pos x="connsiteX6470" y="connsiteY6470"/>
              </a:cxn>
              <a:cxn ang="0">
                <a:pos x="connsiteX6471" y="connsiteY6471"/>
              </a:cxn>
              <a:cxn ang="0">
                <a:pos x="connsiteX6472" y="connsiteY6472"/>
              </a:cxn>
              <a:cxn ang="0">
                <a:pos x="connsiteX6473" y="connsiteY6473"/>
              </a:cxn>
              <a:cxn ang="0">
                <a:pos x="connsiteX6474" y="connsiteY6474"/>
              </a:cxn>
              <a:cxn ang="0">
                <a:pos x="connsiteX6475" y="connsiteY6475"/>
              </a:cxn>
              <a:cxn ang="0">
                <a:pos x="connsiteX6476" y="connsiteY6476"/>
              </a:cxn>
              <a:cxn ang="0">
                <a:pos x="connsiteX6477" y="connsiteY6477"/>
              </a:cxn>
              <a:cxn ang="0">
                <a:pos x="connsiteX6478" y="connsiteY6478"/>
              </a:cxn>
              <a:cxn ang="0">
                <a:pos x="connsiteX6479" y="connsiteY6479"/>
              </a:cxn>
              <a:cxn ang="0">
                <a:pos x="connsiteX6480" y="connsiteY6480"/>
              </a:cxn>
              <a:cxn ang="0">
                <a:pos x="connsiteX6481" y="connsiteY6481"/>
              </a:cxn>
              <a:cxn ang="0">
                <a:pos x="connsiteX6482" y="connsiteY6482"/>
              </a:cxn>
              <a:cxn ang="0">
                <a:pos x="connsiteX6483" y="connsiteY6483"/>
              </a:cxn>
              <a:cxn ang="0">
                <a:pos x="connsiteX6484" y="connsiteY6484"/>
              </a:cxn>
              <a:cxn ang="0">
                <a:pos x="connsiteX6485" y="connsiteY6485"/>
              </a:cxn>
              <a:cxn ang="0">
                <a:pos x="connsiteX6486" y="connsiteY6486"/>
              </a:cxn>
              <a:cxn ang="0">
                <a:pos x="connsiteX6487" y="connsiteY6487"/>
              </a:cxn>
              <a:cxn ang="0">
                <a:pos x="connsiteX6488" y="connsiteY6488"/>
              </a:cxn>
              <a:cxn ang="0">
                <a:pos x="connsiteX6489" y="connsiteY6489"/>
              </a:cxn>
              <a:cxn ang="0">
                <a:pos x="connsiteX6490" y="connsiteY6490"/>
              </a:cxn>
              <a:cxn ang="0">
                <a:pos x="connsiteX6491" y="connsiteY6491"/>
              </a:cxn>
              <a:cxn ang="0">
                <a:pos x="connsiteX6492" y="connsiteY6492"/>
              </a:cxn>
              <a:cxn ang="0">
                <a:pos x="connsiteX6493" y="connsiteY6493"/>
              </a:cxn>
              <a:cxn ang="0">
                <a:pos x="connsiteX6494" y="connsiteY6494"/>
              </a:cxn>
              <a:cxn ang="0">
                <a:pos x="connsiteX6495" y="connsiteY6495"/>
              </a:cxn>
              <a:cxn ang="0">
                <a:pos x="connsiteX6496" y="connsiteY6496"/>
              </a:cxn>
              <a:cxn ang="0">
                <a:pos x="connsiteX6497" y="connsiteY6497"/>
              </a:cxn>
              <a:cxn ang="0">
                <a:pos x="connsiteX6498" y="connsiteY6498"/>
              </a:cxn>
              <a:cxn ang="0">
                <a:pos x="connsiteX6499" y="connsiteY6499"/>
              </a:cxn>
              <a:cxn ang="0">
                <a:pos x="connsiteX6500" y="connsiteY6500"/>
              </a:cxn>
              <a:cxn ang="0">
                <a:pos x="connsiteX6501" y="connsiteY6501"/>
              </a:cxn>
              <a:cxn ang="0">
                <a:pos x="connsiteX6502" y="connsiteY6502"/>
              </a:cxn>
              <a:cxn ang="0">
                <a:pos x="connsiteX6503" y="connsiteY6503"/>
              </a:cxn>
              <a:cxn ang="0">
                <a:pos x="connsiteX6504" y="connsiteY6504"/>
              </a:cxn>
              <a:cxn ang="0">
                <a:pos x="connsiteX6505" y="connsiteY6505"/>
              </a:cxn>
              <a:cxn ang="0">
                <a:pos x="connsiteX6506" y="connsiteY6506"/>
              </a:cxn>
              <a:cxn ang="0">
                <a:pos x="connsiteX6507" y="connsiteY6507"/>
              </a:cxn>
              <a:cxn ang="0">
                <a:pos x="connsiteX6508" y="connsiteY6508"/>
              </a:cxn>
              <a:cxn ang="0">
                <a:pos x="connsiteX6509" y="connsiteY6509"/>
              </a:cxn>
              <a:cxn ang="0">
                <a:pos x="connsiteX6510" y="connsiteY6510"/>
              </a:cxn>
              <a:cxn ang="0">
                <a:pos x="connsiteX6511" y="connsiteY6511"/>
              </a:cxn>
              <a:cxn ang="0">
                <a:pos x="connsiteX6512" y="connsiteY6512"/>
              </a:cxn>
              <a:cxn ang="0">
                <a:pos x="connsiteX6513" y="connsiteY6513"/>
              </a:cxn>
              <a:cxn ang="0">
                <a:pos x="connsiteX6514" y="connsiteY6514"/>
              </a:cxn>
              <a:cxn ang="0">
                <a:pos x="connsiteX6515" y="connsiteY6515"/>
              </a:cxn>
              <a:cxn ang="0">
                <a:pos x="connsiteX6516" y="connsiteY6516"/>
              </a:cxn>
              <a:cxn ang="0">
                <a:pos x="connsiteX6517" y="connsiteY6517"/>
              </a:cxn>
              <a:cxn ang="0">
                <a:pos x="connsiteX6518" y="connsiteY6518"/>
              </a:cxn>
              <a:cxn ang="0">
                <a:pos x="connsiteX6519" y="connsiteY6519"/>
              </a:cxn>
              <a:cxn ang="0">
                <a:pos x="connsiteX6520" y="connsiteY6520"/>
              </a:cxn>
              <a:cxn ang="0">
                <a:pos x="connsiteX6521" y="connsiteY6521"/>
              </a:cxn>
              <a:cxn ang="0">
                <a:pos x="connsiteX6522" y="connsiteY6522"/>
              </a:cxn>
              <a:cxn ang="0">
                <a:pos x="connsiteX6523" y="connsiteY6523"/>
              </a:cxn>
              <a:cxn ang="0">
                <a:pos x="connsiteX6524" y="connsiteY6524"/>
              </a:cxn>
              <a:cxn ang="0">
                <a:pos x="connsiteX6525" y="connsiteY6525"/>
              </a:cxn>
              <a:cxn ang="0">
                <a:pos x="connsiteX6526" y="connsiteY6526"/>
              </a:cxn>
              <a:cxn ang="0">
                <a:pos x="connsiteX6527" y="connsiteY6527"/>
              </a:cxn>
              <a:cxn ang="0">
                <a:pos x="connsiteX6528" y="connsiteY6528"/>
              </a:cxn>
              <a:cxn ang="0">
                <a:pos x="connsiteX6529" y="connsiteY6529"/>
              </a:cxn>
              <a:cxn ang="0">
                <a:pos x="connsiteX6530" y="connsiteY6530"/>
              </a:cxn>
              <a:cxn ang="0">
                <a:pos x="connsiteX6531" y="connsiteY6531"/>
              </a:cxn>
              <a:cxn ang="0">
                <a:pos x="connsiteX6532" y="connsiteY6532"/>
              </a:cxn>
              <a:cxn ang="0">
                <a:pos x="connsiteX6533" y="connsiteY6533"/>
              </a:cxn>
              <a:cxn ang="0">
                <a:pos x="connsiteX6534" y="connsiteY6534"/>
              </a:cxn>
              <a:cxn ang="0">
                <a:pos x="connsiteX6535" y="connsiteY6535"/>
              </a:cxn>
              <a:cxn ang="0">
                <a:pos x="connsiteX6536" y="connsiteY6536"/>
              </a:cxn>
              <a:cxn ang="0">
                <a:pos x="connsiteX6537" y="connsiteY6537"/>
              </a:cxn>
              <a:cxn ang="0">
                <a:pos x="connsiteX6538" y="connsiteY6538"/>
              </a:cxn>
              <a:cxn ang="0">
                <a:pos x="connsiteX6539" y="connsiteY6539"/>
              </a:cxn>
              <a:cxn ang="0">
                <a:pos x="connsiteX6540" y="connsiteY6540"/>
              </a:cxn>
              <a:cxn ang="0">
                <a:pos x="connsiteX6541" y="connsiteY6541"/>
              </a:cxn>
              <a:cxn ang="0">
                <a:pos x="connsiteX6542" y="connsiteY6542"/>
              </a:cxn>
              <a:cxn ang="0">
                <a:pos x="connsiteX6543" y="connsiteY6543"/>
              </a:cxn>
              <a:cxn ang="0">
                <a:pos x="connsiteX6544" y="connsiteY6544"/>
              </a:cxn>
              <a:cxn ang="0">
                <a:pos x="connsiteX6545" y="connsiteY6545"/>
              </a:cxn>
              <a:cxn ang="0">
                <a:pos x="connsiteX6546" y="connsiteY6546"/>
              </a:cxn>
              <a:cxn ang="0">
                <a:pos x="connsiteX6547" y="connsiteY6547"/>
              </a:cxn>
              <a:cxn ang="0">
                <a:pos x="connsiteX6548" y="connsiteY6548"/>
              </a:cxn>
              <a:cxn ang="0">
                <a:pos x="connsiteX6549" y="connsiteY6549"/>
              </a:cxn>
              <a:cxn ang="0">
                <a:pos x="connsiteX6550" y="connsiteY6550"/>
              </a:cxn>
              <a:cxn ang="0">
                <a:pos x="connsiteX6551" y="connsiteY6551"/>
              </a:cxn>
              <a:cxn ang="0">
                <a:pos x="connsiteX6552" y="connsiteY6552"/>
              </a:cxn>
              <a:cxn ang="0">
                <a:pos x="connsiteX6553" y="connsiteY6553"/>
              </a:cxn>
              <a:cxn ang="0">
                <a:pos x="connsiteX6554" y="connsiteY6554"/>
              </a:cxn>
              <a:cxn ang="0">
                <a:pos x="connsiteX6555" y="connsiteY6555"/>
              </a:cxn>
              <a:cxn ang="0">
                <a:pos x="connsiteX6556" y="connsiteY6556"/>
              </a:cxn>
              <a:cxn ang="0">
                <a:pos x="connsiteX6557" y="connsiteY6557"/>
              </a:cxn>
              <a:cxn ang="0">
                <a:pos x="connsiteX6558" y="connsiteY6558"/>
              </a:cxn>
              <a:cxn ang="0">
                <a:pos x="connsiteX6559" y="connsiteY6559"/>
              </a:cxn>
              <a:cxn ang="0">
                <a:pos x="connsiteX6560" y="connsiteY6560"/>
              </a:cxn>
              <a:cxn ang="0">
                <a:pos x="connsiteX6561" y="connsiteY6561"/>
              </a:cxn>
              <a:cxn ang="0">
                <a:pos x="connsiteX6562" y="connsiteY6562"/>
              </a:cxn>
              <a:cxn ang="0">
                <a:pos x="connsiteX6563" y="connsiteY6563"/>
              </a:cxn>
              <a:cxn ang="0">
                <a:pos x="connsiteX6564" y="connsiteY6564"/>
              </a:cxn>
              <a:cxn ang="0">
                <a:pos x="connsiteX6565" y="connsiteY6565"/>
              </a:cxn>
              <a:cxn ang="0">
                <a:pos x="connsiteX6566" y="connsiteY6566"/>
              </a:cxn>
              <a:cxn ang="0">
                <a:pos x="connsiteX6567" y="connsiteY6567"/>
              </a:cxn>
              <a:cxn ang="0">
                <a:pos x="connsiteX6568" y="connsiteY6568"/>
              </a:cxn>
              <a:cxn ang="0">
                <a:pos x="connsiteX6569" y="connsiteY6569"/>
              </a:cxn>
              <a:cxn ang="0">
                <a:pos x="connsiteX6570" y="connsiteY6570"/>
              </a:cxn>
              <a:cxn ang="0">
                <a:pos x="connsiteX6571" y="connsiteY6571"/>
              </a:cxn>
              <a:cxn ang="0">
                <a:pos x="connsiteX6572" y="connsiteY6572"/>
              </a:cxn>
              <a:cxn ang="0">
                <a:pos x="connsiteX6573" y="connsiteY6573"/>
              </a:cxn>
              <a:cxn ang="0">
                <a:pos x="connsiteX6574" y="connsiteY6574"/>
              </a:cxn>
              <a:cxn ang="0">
                <a:pos x="connsiteX6575" y="connsiteY6575"/>
              </a:cxn>
              <a:cxn ang="0">
                <a:pos x="connsiteX6576" y="connsiteY6576"/>
              </a:cxn>
              <a:cxn ang="0">
                <a:pos x="connsiteX6577" y="connsiteY6577"/>
              </a:cxn>
              <a:cxn ang="0">
                <a:pos x="connsiteX6578" y="connsiteY6578"/>
              </a:cxn>
              <a:cxn ang="0">
                <a:pos x="connsiteX6579" y="connsiteY6579"/>
              </a:cxn>
              <a:cxn ang="0">
                <a:pos x="connsiteX6580" y="connsiteY6580"/>
              </a:cxn>
              <a:cxn ang="0">
                <a:pos x="connsiteX6581" y="connsiteY6581"/>
              </a:cxn>
              <a:cxn ang="0">
                <a:pos x="connsiteX6582" y="connsiteY6582"/>
              </a:cxn>
              <a:cxn ang="0">
                <a:pos x="connsiteX6583" y="connsiteY6583"/>
              </a:cxn>
              <a:cxn ang="0">
                <a:pos x="connsiteX6584" y="connsiteY6584"/>
              </a:cxn>
              <a:cxn ang="0">
                <a:pos x="connsiteX6585" y="connsiteY6585"/>
              </a:cxn>
              <a:cxn ang="0">
                <a:pos x="connsiteX6586" y="connsiteY6586"/>
              </a:cxn>
              <a:cxn ang="0">
                <a:pos x="connsiteX6587" y="connsiteY6587"/>
              </a:cxn>
              <a:cxn ang="0">
                <a:pos x="connsiteX6588" y="connsiteY6588"/>
              </a:cxn>
              <a:cxn ang="0">
                <a:pos x="connsiteX6589" y="connsiteY6589"/>
              </a:cxn>
              <a:cxn ang="0">
                <a:pos x="connsiteX6590" y="connsiteY6590"/>
              </a:cxn>
              <a:cxn ang="0">
                <a:pos x="connsiteX6591" y="connsiteY6591"/>
              </a:cxn>
              <a:cxn ang="0">
                <a:pos x="connsiteX6592" y="connsiteY6592"/>
              </a:cxn>
              <a:cxn ang="0">
                <a:pos x="connsiteX6593" y="connsiteY6593"/>
              </a:cxn>
              <a:cxn ang="0">
                <a:pos x="connsiteX6594" y="connsiteY6594"/>
              </a:cxn>
              <a:cxn ang="0">
                <a:pos x="connsiteX6595" y="connsiteY6595"/>
              </a:cxn>
              <a:cxn ang="0">
                <a:pos x="connsiteX6596" y="connsiteY6596"/>
              </a:cxn>
              <a:cxn ang="0">
                <a:pos x="connsiteX6597" y="connsiteY6597"/>
              </a:cxn>
              <a:cxn ang="0">
                <a:pos x="connsiteX6598" y="connsiteY6598"/>
              </a:cxn>
              <a:cxn ang="0">
                <a:pos x="connsiteX6599" y="connsiteY6599"/>
              </a:cxn>
              <a:cxn ang="0">
                <a:pos x="connsiteX6600" y="connsiteY6600"/>
              </a:cxn>
              <a:cxn ang="0">
                <a:pos x="connsiteX6601" y="connsiteY6601"/>
              </a:cxn>
              <a:cxn ang="0">
                <a:pos x="connsiteX6602" y="connsiteY6602"/>
              </a:cxn>
              <a:cxn ang="0">
                <a:pos x="connsiteX6603" y="connsiteY6603"/>
              </a:cxn>
              <a:cxn ang="0">
                <a:pos x="connsiteX6604" y="connsiteY6604"/>
              </a:cxn>
              <a:cxn ang="0">
                <a:pos x="connsiteX6605" y="connsiteY6605"/>
              </a:cxn>
              <a:cxn ang="0">
                <a:pos x="connsiteX6606" y="connsiteY6606"/>
              </a:cxn>
              <a:cxn ang="0">
                <a:pos x="connsiteX6607" y="connsiteY6607"/>
              </a:cxn>
              <a:cxn ang="0">
                <a:pos x="connsiteX6608" y="connsiteY6608"/>
              </a:cxn>
              <a:cxn ang="0">
                <a:pos x="connsiteX6609" y="connsiteY6609"/>
              </a:cxn>
              <a:cxn ang="0">
                <a:pos x="connsiteX6610" y="connsiteY6610"/>
              </a:cxn>
              <a:cxn ang="0">
                <a:pos x="connsiteX6611" y="connsiteY6611"/>
              </a:cxn>
              <a:cxn ang="0">
                <a:pos x="connsiteX6612" y="connsiteY6612"/>
              </a:cxn>
              <a:cxn ang="0">
                <a:pos x="connsiteX6613" y="connsiteY6613"/>
              </a:cxn>
              <a:cxn ang="0">
                <a:pos x="connsiteX6614" y="connsiteY6614"/>
              </a:cxn>
              <a:cxn ang="0">
                <a:pos x="connsiteX6615" y="connsiteY6615"/>
              </a:cxn>
              <a:cxn ang="0">
                <a:pos x="connsiteX6616" y="connsiteY6616"/>
              </a:cxn>
              <a:cxn ang="0">
                <a:pos x="connsiteX6617" y="connsiteY6617"/>
              </a:cxn>
              <a:cxn ang="0">
                <a:pos x="connsiteX6618" y="connsiteY6618"/>
              </a:cxn>
              <a:cxn ang="0">
                <a:pos x="connsiteX6619" y="connsiteY6619"/>
              </a:cxn>
              <a:cxn ang="0">
                <a:pos x="connsiteX6620" y="connsiteY6620"/>
              </a:cxn>
              <a:cxn ang="0">
                <a:pos x="connsiteX6621" y="connsiteY6621"/>
              </a:cxn>
              <a:cxn ang="0">
                <a:pos x="connsiteX6622" y="connsiteY6622"/>
              </a:cxn>
              <a:cxn ang="0">
                <a:pos x="connsiteX6623" y="connsiteY6623"/>
              </a:cxn>
              <a:cxn ang="0">
                <a:pos x="connsiteX6624" y="connsiteY6624"/>
              </a:cxn>
              <a:cxn ang="0">
                <a:pos x="connsiteX6625" y="connsiteY6625"/>
              </a:cxn>
              <a:cxn ang="0">
                <a:pos x="connsiteX6626" y="connsiteY6626"/>
              </a:cxn>
              <a:cxn ang="0">
                <a:pos x="connsiteX6627" y="connsiteY6627"/>
              </a:cxn>
              <a:cxn ang="0">
                <a:pos x="connsiteX6628" y="connsiteY6628"/>
              </a:cxn>
              <a:cxn ang="0">
                <a:pos x="connsiteX6629" y="connsiteY6629"/>
              </a:cxn>
              <a:cxn ang="0">
                <a:pos x="connsiteX6630" y="connsiteY6630"/>
              </a:cxn>
              <a:cxn ang="0">
                <a:pos x="connsiteX6631" y="connsiteY6631"/>
              </a:cxn>
              <a:cxn ang="0">
                <a:pos x="connsiteX6632" y="connsiteY6632"/>
              </a:cxn>
              <a:cxn ang="0">
                <a:pos x="connsiteX6633" y="connsiteY6633"/>
              </a:cxn>
              <a:cxn ang="0">
                <a:pos x="connsiteX6634" y="connsiteY6634"/>
              </a:cxn>
              <a:cxn ang="0">
                <a:pos x="connsiteX6635" y="connsiteY6635"/>
              </a:cxn>
              <a:cxn ang="0">
                <a:pos x="connsiteX6636" y="connsiteY6636"/>
              </a:cxn>
              <a:cxn ang="0">
                <a:pos x="connsiteX6637" y="connsiteY6637"/>
              </a:cxn>
              <a:cxn ang="0">
                <a:pos x="connsiteX6638" y="connsiteY6638"/>
              </a:cxn>
              <a:cxn ang="0">
                <a:pos x="connsiteX6639" y="connsiteY6639"/>
              </a:cxn>
              <a:cxn ang="0">
                <a:pos x="connsiteX6640" y="connsiteY6640"/>
              </a:cxn>
              <a:cxn ang="0">
                <a:pos x="connsiteX6641" y="connsiteY6641"/>
              </a:cxn>
              <a:cxn ang="0">
                <a:pos x="connsiteX6642" y="connsiteY6642"/>
              </a:cxn>
              <a:cxn ang="0">
                <a:pos x="connsiteX6643" y="connsiteY6643"/>
              </a:cxn>
              <a:cxn ang="0">
                <a:pos x="connsiteX6644" y="connsiteY6644"/>
              </a:cxn>
              <a:cxn ang="0">
                <a:pos x="connsiteX6645" y="connsiteY6645"/>
              </a:cxn>
              <a:cxn ang="0">
                <a:pos x="connsiteX6646" y="connsiteY6646"/>
              </a:cxn>
              <a:cxn ang="0">
                <a:pos x="connsiteX6647" y="connsiteY6647"/>
              </a:cxn>
              <a:cxn ang="0">
                <a:pos x="connsiteX6648" y="connsiteY6648"/>
              </a:cxn>
              <a:cxn ang="0">
                <a:pos x="connsiteX6649" y="connsiteY6649"/>
              </a:cxn>
              <a:cxn ang="0">
                <a:pos x="connsiteX6650" y="connsiteY6650"/>
              </a:cxn>
              <a:cxn ang="0">
                <a:pos x="connsiteX6651" y="connsiteY6651"/>
              </a:cxn>
              <a:cxn ang="0">
                <a:pos x="connsiteX6652" y="connsiteY6652"/>
              </a:cxn>
              <a:cxn ang="0">
                <a:pos x="connsiteX6653" y="connsiteY6653"/>
              </a:cxn>
              <a:cxn ang="0">
                <a:pos x="connsiteX6654" y="connsiteY6654"/>
              </a:cxn>
              <a:cxn ang="0">
                <a:pos x="connsiteX6655" y="connsiteY6655"/>
              </a:cxn>
              <a:cxn ang="0">
                <a:pos x="connsiteX6656" y="connsiteY6656"/>
              </a:cxn>
              <a:cxn ang="0">
                <a:pos x="connsiteX6657" y="connsiteY6657"/>
              </a:cxn>
              <a:cxn ang="0">
                <a:pos x="connsiteX6658" y="connsiteY6658"/>
              </a:cxn>
              <a:cxn ang="0">
                <a:pos x="connsiteX6659" y="connsiteY6659"/>
              </a:cxn>
              <a:cxn ang="0">
                <a:pos x="connsiteX6660" y="connsiteY6660"/>
              </a:cxn>
              <a:cxn ang="0">
                <a:pos x="connsiteX6661" y="connsiteY6661"/>
              </a:cxn>
              <a:cxn ang="0">
                <a:pos x="connsiteX6662" y="connsiteY6662"/>
              </a:cxn>
              <a:cxn ang="0">
                <a:pos x="connsiteX6663" y="connsiteY6663"/>
              </a:cxn>
              <a:cxn ang="0">
                <a:pos x="connsiteX6664" y="connsiteY6664"/>
              </a:cxn>
              <a:cxn ang="0">
                <a:pos x="connsiteX6665" y="connsiteY6665"/>
              </a:cxn>
              <a:cxn ang="0">
                <a:pos x="connsiteX6666" y="connsiteY6666"/>
              </a:cxn>
              <a:cxn ang="0">
                <a:pos x="connsiteX6667" y="connsiteY6667"/>
              </a:cxn>
              <a:cxn ang="0">
                <a:pos x="connsiteX6668" y="connsiteY6668"/>
              </a:cxn>
              <a:cxn ang="0">
                <a:pos x="connsiteX6669" y="connsiteY6669"/>
              </a:cxn>
              <a:cxn ang="0">
                <a:pos x="connsiteX6670" y="connsiteY6670"/>
              </a:cxn>
              <a:cxn ang="0">
                <a:pos x="connsiteX6671" y="connsiteY6671"/>
              </a:cxn>
              <a:cxn ang="0">
                <a:pos x="connsiteX6672" y="connsiteY6672"/>
              </a:cxn>
              <a:cxn ang="0">
                <a:pos x="connsiteX6673" y="connsiteY6673"/>
              </a:cxn>
              <a:cxn ang="0">
                <a:pos x="connsiteX6674" y="connsiteY6674"/>
              </a:cxn>
              <a:cxn ang="0">
                <a:pos x="connsiteX6675" y="connsiteY6675"/>
              </a:cxn>
              <a:cxn ang="0">
                <a:pos x="connsiteX6676" y="connsiteY6676"/>
              </a:cxn>
              <a:cxn ang="0">
                <a:pos x="connsiteX6677" y="connsiteY6677"/>
              </a:cxn>
              <a:cxn ang="0">
                <a:pos x="connsiteX6678" y="connsiteY6678"/>
              </a:cxn>
              <a:cxn ang="0">
                <a:pos x="connsiteX6679" y="connsiteY6679"/>
              </a:cxn>
              <a:cxn ang="0">
                <a:pos x="connsiteX6680" y="connsiteY6680"/>
              </a:cxn>
              <a:cxn ang="0">
                <a:pos x="connsiteX6681" y="connsiteY6681"/>
              </a:cxn>
              <a:cxn ang="0">
                <a:pos x="connsiteX6682" y="connsiteY6682"/>
              </a:cxn>
              <a:cxn ang="0">
                <a:pos x="connsiteX6683" y="connsiteY6683"/>
              </a:cxn>
              <a:cxn ang="0">
                <a:pos x="connsiteX6684" y="connsiteY6684"/>
              </a:cxn>
              <a:cxn ang="0">
                <a:pos x="connsiteX6685" y="connsiteY6685"/>
              </a:cxn>
              <a:cxn ang="0">
                <a:pos x="connsiteX6686" y="connsiteY6686"/>
              </a:cxn>
              <a:cxn ang="0">
                <a:pos x="connsiteX6687" y="connsiteY6687"/>
              </a:cxn>
              <a:cxn ang="0">
                <a:pos x="connsiteX6688" y="connsiteY6688"/>
              </a:cxn>
              <a:cxn ang="0">
                <a:pos x="connsiteX6689" y="connsiteY6689"/>
              </a:cxn>
              <a:cxn ang="0">
                <a:pos x="connsiteX6690" y="connsiteY6690"/>
              </a:cxn>
              <a:cxn ang="0">
                <a:pos x="connsiteX6691" y="connsiteY6691"/>
              </a:cxn>
              <a:cxn ang="0">
                <a:pos x="connsiteX6692" y="connsiteY6692"/>
              </a:cxn>
              <a:cxn ang="0">
                <a:pos x="connsiteX6693" y="connsiteY6693"/>
              </a:cxn>
              <a:cxn ang="0">
                <a:pos x="connsiteX6694" y="connsiteY6694"/>
              </a:cxn>
              <a:cxn ang="0">
                <a:pos x="connsiteX6695" y="connsiteY6695"/>
              </a:cxn>
              <a:cxn ang="0">
                <a:pos x="connsiteX6696" y="connsiteY6696"/>
              </a:cxn>
              <a:cxn ang="0">
                <a:pos x="connsiteX6697" y="connsiteY6697"/>
              </a:cxn>
              <a:cxn ang="0">
                <a:pos x="connsiteX6698" y="connsiteY6698"/>
              </a:cxn>
              <a:cxn ang="0">
                <a:pos x="connsiteX6699" y="connsiteY6699"/>
              </a:cxn>
              <a:cxn ang="0">
                <a:pos x="connsiteX6700" y="connsiteY6700"/>
              </a:cxn>
              <a:cxn ang="0">
                <a:pos x="connsiteX6701" y="connsiteY6701"/>
              </a:cxn>
              <a:cxn ang="0">
                <a:pos x="connsiteX6702" y="connsiteY6702"/>
              </a:cxn>
              <a:cxn ang="0">
                <a:pos x="connsiteX6703" y="connsiteY6703"/>
              </a:cxn>
              <a:cxn ang="0">
                <a:pos x="connsiteX6704" y="connsiteY6704"/>
              </a:cxn>
              <a:cxn ang="0">
                <a:pos x="connsiteX6705" y="connsiteY6705"/>
              </a:cxn>
              <a:cxn ang="0">
                <a:pos x="connsiteX6706" y="connsiteY6706"/>
              </a:cxn>
              <a:cxn ang="0">
                <a:pos x="connsiteX6707" y="connsiteY6707"/>
              </a:cxn>
              <a:cxn ang="0">
                <a:pos x="connsiteX6708" y="connsiteY6708"/>
              </a:cxn>
              <a:cxn ang="0">
                <a:pos x="connsiteX6709" y="connsiteY6709"/>
              </a:cxn>
              <a:cxn ang="0">
                <a:pos x="connsiteX6710" y="connsiteY6710"/>
              </a:cxn>
              <a:cxn ang="0">
                <a:pos x="connsiteX6711" y="connsiteY6711"/>
              </a:cxn>
              <a:cxn ang="0">
                <a:pos x="connsiteX6712" y="connsiteY6712"/>
              </a:cxn>
              <a:cxn ang="0">
                <a:pos x="connsiteX6713" y="connsiteY6713"/>
              </a:cxn>
              <a:cxn ang="0">
                <a:pos x="connsiteX6714" y="connsiteY6714"/>
              </a:cxn>
              <a:cxn ang="0">
                <a:pos x="connsiteX6715" y="connsiteY6715"/>
              </a:cxn>
              <a:cxn ang="0">
                <a:pos x="connsiteX6716" y="connsiteY6716"/>
              </a:cxn>
              <a:cxn ang="0">
                <a:pos x="connsiteX6717" y="connsiteY6717"/>
              </a:cxn>
              <a:cxn ang="0">
                <a:pos x="connsiteX6718" y="connsiteY6718"/>
              </a:cxn>
              <a:cxn ang="0">
                <a:pos x="connsiteX6719" y="connsiteY6719"/>
              </a:cxn>
              <a:cxn ang="0">
                <a:pos x="connsiteX6720" y="connsiteY6720"/>
              </a:cxn>
              <a:cxn ang="0">
                <a:pos x="connsiteX6721" y="connsiteY6721"/>
              </a:cxn>
              <a:cxn ang="0">
                <a:pos x="connsiteX6722" y="connsiteY6722"/>
              </a:cxn>
              <a:cxn ang="0">
                <a:pos x="connsiteX6723" y="connsiteY6723"/>
              </a:cxn>
              <a:cxn ang="0">
                <a:pos x="connsiteX6724" y="connsiteY6724"/>
              </a:cxn>
              <a:cxn ang="0">
                <a:pos x="connsiteX6725" y="connsiteY6725"/>
              </a:cxn>
              <a:cxn ang="0">
                <a:pos x="connsiteX6726" y="connsiteY6726"/>
              </a:cxn>
              <a:cxn ang="0">
                <a:pos x="connsiteX6727" y="connsiteY6727"/>
              </a:cxn>
              <a:cxn ang="0">
                <a:pos x="connsiteX6728" y="connsiteY6728"/>
              </a:cxn>
              <a:cxn ang="0">
                <a:pos x="connsiteX6729" y="connsiteY6729"/>
              </a:cxn>
              <a:cxn ang="0">
                <a:pos x="connsiteX6730" y="connsiteY6730"/>
              </a:cxn>
              <a:cxn ang="0">
                <a:pos x="connsiteX6731" y="connsiteY6731"/>
              </a:cxn>
              <a:cxn ang="0">
                <a:pos x="connsiteX6732" y="connsiteY6732"/>
              </a:cxn>
              <a:cxn ang="0">
                <a:pos x="connsiteX6733" y="connsiteY6733"/>
              </a:cxn>
              <a:cxn ang="0">
                <a:pos x="connsiteX6734" y="connsiteY6734"/>
              </a:cxn>
              <a:cxn ang="0">
                <a:pos x="connsiteX6735" y="connsiteY6735"/>
              </a:cxn>
              <a:cxn ang="0">
                <a:pos x="connsiteX6736" y="connsiteY6736"/>
              </a:cxn>
              <a:cxn ang="0">
                <a:pos x="connsiteX6737" y="connsiteY6737"/>
              </a:cxn>
              <a:cxn ang="0">
                <a:pos x="connsiteX6738" y="connsiteY6738"/>
              </a:cxn>
              <a:cxn ang="0">
                <a:pos x="connsiteX6739" y="connsiteY6739"/>
              </a:cxn>
              <a:cxn ang="0">
                <a:pos x="connsiteX6740" y="connsiteY6740"/>
              </a:cxn>
              <a:cxn ang="0">
                <a:pos x="connsiteX6741" y="connsiteY6741"/>
              </a:cxn>
              <a:cxn ang="0">
                <a:pos x="connsiteX6742" y="connsiteY6742"/>
              </a:cxn>
              <a:cxn ang="0">
                <a:pos x="connsiteX6743" y="connsiteY6743"/>
              </a:cxn>
              <a:cxn ang="0">
                <a:pos x="connsiteX6744" y="connsiteY6744"/>
              </a:cxn>
              <a:cxn ang="0">
                <a:pos x="connsiteX6745" y="connsiteY6745"/>
              </a:cxn>
              <a:cxn ang="0">
                <a:pos x="connsiteX6746" y="connsiteY6746"/>
              </a:cxn>
              <a:cxn ang="0">
                <a:pos x="connsiteX6747" y="connsiteY6747"/>
              </a:cxn>
              <a:cxn ang="0">
                <a:pos x="connsiteX6748" y="connsiteY6748"/>
              </a:cxn>
              <a:cxn ang="0">
                <a:pos x="connsiteX6749" y="connsiteY6749"/>
              </a:cxn>
              <a:cxn ang="0">
                <a:pos x="connsiteX6750" y="connsiteY6750"/>
              </a:cxn>
              <a:cxn ang="0">
                <a:pos x="connsiteX6751" y="connsiteY6751"/>
              </a:cxn>
              <a:cxn ang="0">
                <a:pos x="connsiteX6752" y="connsiteY6752"/>
              </a:cxn>
              <a:cxn ang="0">
                <a:pos x="connsiteX6753" y="connsiteY6753"/>
              </a:cxn>
              <a:cxn ang="0">
                <a:pos x="connsiteX6754" y="connsiteY6754"/>
              </a:cxn>
              <a:cxn ang="0">
                <a:pos x="connsiteX6755" y="connsiteY6755"/>
              </a:cxn>
              <a:cxn ang="0">
                <a:pos x="connsiteX6756" y="connsiteY6756"/>
              </a:cxn>
              <a:cxn ang="0">
                <a:pos x="connsiteX6757" y="connsiteY6757"/>
              </a:cxn>
              <a:cxn ang="0">
                <a:pos x="connsiteX6758" y="connsiteY6758"/>
              </a:cxn>
              <a:cxn ang="0">
                <a:pos x="connsiteX6759" y="connsiteY6759"/>
              </a:cxn>
              <a:cxn ang="0">
                <a:pos x="connsiteX6760" y="connsiteY6760"/>
              </a:cxn>
              <a:cxn ang="0">
                <a:pos x="connsiteX6761" y="connsiteY6761"/>
              </a:cxn>
              <a:cxn ang="0">
                <a:pos x="connsiteX6762" y="connsiteY6762"/>
              </a:cxn>
              <a:cxn ang="0">
                <a:pos x="connsiteX6763" y="connsiteY6763"/>
              </a:cxn>
              <a:cxn ang="0">
                <a:pos x="connsiteX6764" y="connsiteY6764"/>
              </a:cxn>
              <a:cxn ang="0">
                <a:pos x="connsiteX6765" y="connsiteY6765"/>
              </a:cxn>
              <a:cxn ang="0">
                <a:pos x="connsiteX6766" y="connsiteY6766"/>
              </a:cxn>
              <a:cxn ang="0">
                <a:pos x="connsiteX6767" y="connsiteY6767"/>
              </a:cxn>
              <a:cxn ang="0">
                <a:pos x="connsiteX6768" y="connsiteY6768"/>
              </a:cxn>
              <a:cxn ang="0">
                <a:pos x="connsiteX6769" y="connsiteY6769"/>
              </a:cxn>
              <a:cxn ang="0">
                <a:pos x="connsiteX6770" y="connsiteY6770"/>
              </a:cxn>
              <a:cxn ang="0">
                <a:pos x="connsiteX6771" y="connsiteY6771"/>
              </a:cxn>
              <a:cxn ang="0">
                <a:pos x="connsiteX6772" y="connsiteY6772"/>
              </a:cxn>
              <a:cxn ang="0">
                <a:pos x="connsiteX6773" y="connsiteY6773"/>
              </a:cxn>
              <a:cxn ang="0">
                <a:pos x="connsiteX6774" y="connsiteY6774"/>
              </a:cxn>
              <a:cxn ang="0">
                <a:pos x="connsiteX6775" y="connsiteY6775"/>
              </a:cxn>
              <a:cxn ang="0">
                <a:pos x="connsiteX6776" y="connsiteY6776"/>
              </a:cxn>
              <a:cxn ang="0">
                <a:pos x="connsiteX6777" y="connsiteY6777"/>
              </a:cxn>
              <a:cxn ang="0">
                <a:pos x="connsiteX6778" y="connsiteY6778"/>
              </a:cxn>
              <a:cxn ang="0">
                <a:pos x="connsiteX6779" y="connsiteY6779"/>
              </a:cxn>
              <a:cxn ang="0">
                <a:pos x="connsiteX6780" y="connsiteY6780"/>
              </a:cxn>
              <a:cxn ang="0">
                <a:pos x="connsiteX6781" y="connsiteY6781"/>
              </a:cxn>
              <a:cxn ang="0">
                <a:pos x="connsiteX6782" y="connsiteY6782"/>
              </a:cxn>
              <a:cxn ang="0">
                <a:pos x="connsiteX6783" y="connsiteY6783"/>
              </a:cxn>
              <a:cxn ang="0">
                <a:pos x="connsiteX6784" y="connsiteY6784"/>
              </a:cxn>
              <a:cxn ang="0">
                <a:pos x="connsiteX6785" y="connsiteY6785"/>
              </a:cxn>
              <a:cxn ang="0">
                <a:pos x="connsiteX6786" y="connsiteY6786"/>
              </a:cxn>
              <a:cxn ang="0">
                <a:pos x="connsiteX6787" y="connsiteY6787"/>
              </a:cxn>
              <a:cxn ang="0">
                <a:pos x="connsiteX6788" y="connsiteY6788"/>
              </a:cxn>
              <a:cxn ang="0">
                <a:pos x="connsiteX6789" y="connsiteY6789"/>
              </a:cxn>
              <a:cxn ang="0">
                <a:pos x="connsiteX6790" y="connsiteY6790"/>
              </a:cxn>
              <a:cxn ang="0">
                <a:pos x="connsiteX6791" y="connsiteY6791"/>
              </a:cxn>
              <a:cxn ang="0">
                <a:pos x="connsiteX6792" y="connsiteY6792"/>
              </a:cxn>
              <a:cxn ang="0">
                <a:pos x="connsiteX6793" y="connsiteY6793"/>
              </a:cxn>
              <a:cxn ang="0">
                <a:pos x="connsiteX6794" y="connsiteY6794"/>
              </a:cxn>
              <a:cxn ang="0">
                <a:pos x="connsiteX6795" y="connsiteY6795"/>
              </a:cxn>
              <a:cxn ang="0">
                <a:pos x="connsiteX6796" y="connsiteY6796"/>
              </a:cxn>
              <a:cxn ang="0">
                <a:pos x="connsiteX6797" y="connsiteY6797"/>
              </a:cxn>
              <a:cxn ang="0">
                <a:pos x="connsiteX6798" y="connsiteY6798"/>
              </a:cxn>
              <a:cxn ang="0">
                <a:pos x="connsiteX6799" y="connsiteY6799"/>
              </a:cxn>
              <a:cxn ang="0">
                <a:pos x="connsiteX6800" y="connsiteY6800"/>
              </a:cxn>
              <a:cxn ang="0">
                <a:pos x="connsiteX6801" y="connsiteY6801"/>
              </a:cxn>
              <a:cxn ang="0">
                <a:pos x="connsiteX6802" y="connsiteY6802"/>
              </a:cxn>
              <a:cxn ang="0">
                <a:pos x="connsiteX6803" y="connsiteY6803"/>
              </a:cxn>
              <a:cxn ang="0">
                <a:pos x="connsiteX6804" y="connsiteY6804"/>
              </a:cxn>
              <a:cxn ang="0">
                <a:pos x="connsiteX6805" y="connsiteY6805"/>
              </a:cxn>
              <a:cxn ang="0">
                <a:pos x="connsiteX6806" y="connsiteY6806"/>
              </a:cxn>
              <a:cxn ang="0">
                <a:pos x="connsiteX6807" y="connsiteY6807"/>
              </a:cxn>
              <a:cxn ang="0">
                <a:pos x="connsiteX6808" y="connsiteY6808"/>
              </a:cxn>
              <a:cxn ang="0">
                <a:pos x="connsiteX6809" y="connsiteY6809"/>
              </a:cxn>
              <a:cxn ang="0">
                <a:pos x="connsiteX6810" y="connsiteY6810"/>
              </a:cxn>
              <a:cxn ang="0">
                <a:pos x="connsiteX6811" y="connsiteY6811"/>
              </a:cxn>
              <a:cxn ang="0">
                <a:pos x="connsiteX6812" y="connsiteY6812"/>
              </a:cxn>
              <a:cxn ang="0">
                <a:pos x="connsiteX6813" y="connsiteY6813"/>
              </a:cxn>
              <a:cxn ang="0">
                <a:pos x="connsiteX6814" y="connsiteY6814"/>
              </a:cxn>
              <a:cxn ang="0">
                <a:pos x="connsiteX6815" y="connsiteY6815"/>
              </a:cxn>
              <a:cxn ang="0">
                <a:pos x="connsiteX6816" y="connsiteY6816"/>
              </a:cxn>
              <a:cxn ang="0">
                <a:pos x="connsiteX6817" y="connsiteY6817"/>
              </a:cxn>
              <a:cxn ang="0">
                <a:pos x="connsiteX6818" y="connsiteY6818"/>
              </a:cxn>
              <a:cxn ang="0">
                <a:pos x="connsiteX6819" y="connsiteY6819"/>
              </a:cxn>
              <a:cxn ang="0">
                <a:pos x="connsiteX6820" y="connsiteY6820"/>
              </a:cxn>
              <a:cxn ang="0">
                <a:pos x="connsiteX6821" y="connsiteY6821"/>
              </a:cxn>
              <a:cxn ang="0">
                <a:pos x="connsiteX6822" y="connsiteY6822"/>
              </a:cxn>
              <a:cxn ang="0">
                <a:pos x="connsiteX6823" y="connsiteY6823"/>
              </a:cxn>
              <a:cxn ang="0">
                <a:pos x="connsiteX6824" y="connsiteY6824"/>
              </a:cxn>
              <a:cxn ang="0">
                <a:pos x="connsiteX6825" y="connsiteY6825"/>
              </a:cxn>
              <a:cxn ang="0">
                <a:pos x="connsiteX6826" y="connsiteY6826"/>
              </a:cxn>
              <a:cxn ang="0">
                <a:pos x="connsiteX6827" y="connsiteY6827"/>
              </a:cxn>
              <a:cxn ang="0">
                <a:pos x="connsiteX6828" y="connsiteY6828"/>
              </a:cxn>
              <a:cxn ang="0">
                <a:pos x="connsiteX6829" y="connsiteY6829"/>
              </a:cxn>
              <a:cxn ang="0">
                <a:pos x="connsiteX6830" y="connsiteY6830"/>
              </a:cxn>
              <a:cxn ang="0">
                <a:pos x="connsiteX6831" y="connsiteY6831"/>
              </a:cxn>
              <a:cxn ang="0">
                <a:pos x="connsiteX6832" y="connsiteY6832"/>
              </a:cxn>
              <a:cxn ang="0">
                <a:pos x="connsiteX6833" y="connsiteY6833"/>
              </a:cxn>
              <a:cxn ang="0">
                <a:pos x="connsiteX6834" y="connsiteY6834"/>
              </a:cxn>
              <a:cxn ang="0">
                <a:pos x="connsiteX6835" y="connsiteY6835"/>
              </a:cxn>
              <a:cxn ang="0">
                <a:pos x="connsiteX6836" y="connsiteY6836"/>
              </a:cxn>
              <a:cxn ang="0">
                <a:pos x="connsiteX6837" y="connsiteY6837"/>
              </a:cxn>
              <a:cxn ang="0">
                <a:pos x="connsiteX6838" y="connsiteY6838"/>
              </a:cxn>
              <a:cxn ang="0">
                <a:pos x="connsiteX6839" y="connsiteY6839"/>
              </a:cxn>
              <a:cxn ang="0">
                <a:pos x="connsiteX6840" y="connsiteY6840"/>
              </a:cxn>
              <a:cxn ang="0">
                <a:pos x="connsiteX6841" y="connsiteY6841"/>
              </a:cxn>
              <a:cxn ang="0">
                <a:pos x="connsiteX6842" y="connsiteY6842"/>
              </a:cxn>
              <a:cxn ang="0">
                <a:pos x="connsiteX6843" y="connsiteY6843"/>
              </a:cxn>
              <a:cxn ang="0">
                <a:pos x="connsiteX6844" y="connsiteY6844"/>
              </a:cxn>
              <a:cxn ang="0">
                <a:pos x="connsiteX6845" y="connsiteY6845"/>
              </a:cxn>
              <a:cxn ang="0">
                <a:pos x="connsiteX6846" y="connsiteY6846"/>
              </a:cxn>
              <a:cxn ang="0">
                <a:pos x="connsiteX6847" y="connsiteY6847"/>
              </a:cxn>
              <a:cxn ang="0">
                <a:pos x="connsiteX6848" y="connsiteY6848"/>
              </a:cxn>
              <a:cxn ang="0">
                <a:pos x="connsiteX6849" y="connsiteY6849"/>
              </a:cxn>
              <a:cxn ang="0">
                <a:pos x="connsiteX6850" y="connsiteY6850"/>
              </a:cxn>
              <a:cxn ang="0">
                <a:pos x="connsiteX6851" y="connsiteY6851"/>
              </a:cxn>
              <a:cxn ang="0">
                <a:pos x="connsiteX6852" y="connsiteY6852"/>
              </a:cxn>
              <a:cxn ang="0">
                <a:pos x="connsiteX6853" y="connsiteY6853"/>
              </a:cxn>
              <a:cxn ang="0">
                <a:pos x="connsiteX6854" y="connsiteY6854"/>
              </a:cxn>
              <a:cxn ang="0">
                <a:pos x="connsiteX6855" y="connsiteY6855"/>
              </a:cxn>
              <a:cxn ang="0">
                <a:pos x="connsiteX6856" y="connsiteY6856"/>
              </a:cxn>
              <a:cxn ang="0">
                <a:pos x="connsiteX6857" y="connsiteY6857"/>
              </a:cxn>
              <a:cxn ang="0">
                <a:pos x="connsiteX6858" y="connsiteY6858"/>
              </a:cxn>
              <a:cxn ang="0">
                <a:pos x="connsiteX6859" y="connsiteY6859"/>
              </a:cxn>
              <a:cxn ang="0">
                <a:pos x="connsiteX6860" y="connsiteY6860"/>
              </a:cxn>
              <a:cxn ang="0">
                <a:pos x="connsiteX6861" y="connsiteY6861"/>
              </a:cxn>
              <a:cxn ang="0">
                <a:pos x="connsiteX6862" y="connsiteY6862"/>
              </a:cxn>
              <a:cxn ang="0">
                <a:pos x="connsiteX6863" y="connsiteY6863"/>
              </a:cxn>
              <a:cxn ang="0">
                <a:pos x="connsiteX6864" y="connsiteY6864"/>
              </a:cxn>
              <a:cxn ang="0">
                <a:pos x="connsiteX6865" y="connsiteY6865"/>
              </a:cxn>
              <a:cxn ang="0">
                <a:pos x="connsiteX6866" y="connsiteY6866"/>
              </a:cxn>
              <a:cxn ang="0">
                <a:pos x="connsiteX6867" y="connsiteY6867"/>
              </a:cxn>
              <a:cxn ang="0">
                <a:pos x="connsiteX6868" y="connsiteY6868"/>
              </a:cxn>
              <a:cxn ang="0">
                <a:pos x="connsiteX6869" y="connsiteY6869"/>
              </a:cxn>
              <a:cxn ang="0">
                <a:pos x="connsiteX6870" y="connsiteY6870"/>
              </a:cxn>
              <a:cxn ang="0">
                <a:pos x="connsiteX6871" y="connsiteY6871"/>
              </a:cxn>
              <a:cxn ang="0">
                <a:pos x="connsiteX6872" y="connsiteY6872"/>
              </a:cxn>
              <a:cxn ang="0">
                <a:pos x="connsiteX6873" y="connsiteY6873"/>
              </a:cxn>
              <a:cxn ang="0">
                <a:pos x="connsiteX6874" y="connsiteY6874"/>
              </a:cxn>
              <a:cxn ang="0">
                <a:pos x="connsiteX6875" y="connsiteY6875"/>
              </a:cxn>
              <a:cxn ang="0">
                <a:pos x="connsiteX6876" y="connsiteY6876"/>
              </a:cxn>
              <a:cxn ang="0">
                <a:pos x="connsiteX6877" y="connsiteY6877"/>
              </a:cxn>
              <a:cxn ang="0">
                <a:pos x="connsiteX6878" y="connsiteY6878"/>
              </a:cxn>
              <a:cxn ang="0">
                <a:pos x="connsiteX6879" y="connsiteY6879"/>
              </a:cxn>
              <a:cxn ang="0">
                <a:pos x="connsiteX6880" y="connsiteY6880"/>
              </a:cxn>
              <a:cxn ang="0">
                <a:pos x="connsiteX6881" y="connsiteY6881"/>
              </a:cxn>
              <a:cxn ang="0">
                <a:pos x="connsiteX6882" y="connsiteY6882"/>
              </a:cxn>
              <a:cxn ang="0">
                <a:pos x="connsiteX6883" y="connsiteY6883"/>
              </a:cxn>
              <a:cxn ang="0">
                <a:pos x="connsiteX6884" y="connsiteY6884"/>
              </a:cxn>
              <a:cxn ang="0">
                <a:pos x="connsiteX6885" y="connsiteY6885"/>
              </a:cxn>
              <a:cxn ang="0">
                <a:pos x="connsiteX6886" y="connsiteY6886"/>
              </a:cxn>
              <a:cxn ang="0">
                <a:pos x="connsiteX6887" y="connsiteY6887"/>
              </a:cxn>
              <a:cxn ang="0">
                <a:pos x="connsiteX6888" y="connsiteY6888"/>
              </a:cxn>
              <a:cxn ang="0">
                <a:pos x="connsiteX6889" y="connsiteY6889"/>
              </a:cxn>
              <a:cxn ang="0">
                <a:pos x="connsiteX6890" y="connsiteY6890"/>
              </a:cxn>
              <a:cxn ang="0">
                <a:pos x="connsiteX6891" y="connsiteY6891"/>
              </a:cxn>
              <a:cxn ang="0">
                <a:pos x="connsiteX6892" y="connsiteY6892"/>
              </a:cxn>
              <a:cxn ang="0">
                <a:pos x="connsiteX6893" y="connsiteY6893"/>
              </a:cxn>
              <a:cxn ang="0">
                <a:pos x="connsiteX6894" y="connsiteY6894"/>
              </a:cxn>
              <a:cxn ang="0">
                <a:pos x="connsiteX6895" y="connsiteY6895"/>
              </a:cxn>
              <a:cxn ang="0">
                <a:pos x="connsiteX6896" y="connsiteY6896"/>
              </a:cxn>
              <a:cxn ang="0">
                <a:pos x="connsiteX6897" y="connsiteY6897"/>
              </a:cxn>
              <a:cxn ang="0">
                <a:pos x="connsiteX6898" y="connsiteY6898"/>
              </a:cxn>
              <a:cxn ang="0">
                <a:pos x="connsiteX6899" y="connsiteY6899"/>
              </a:cxn>
              <a:cxn ang="0">
                <a:pos x="connsiteX6900" y="connsiteY6900"/>
              </a:cxn>
              <a:cxn ang="0">
                <a:pos x="connsiteX6901" y="connsiteY6901"/>
              </a:cxn>
              <a:cxn ang="0">
                <a:pos x="connsiteX6902" y="connsiteY6902"/>
              </a:cxn>
              <a:cxn ang="0">
                <a:pos x="connsiteX6903" y="connsiteY6903"/>
              </a:cxn>
              <a:cxn ang="0">
                <a:pos x="connsiteX6904" y="connsiteY6904"/>
              </a:cxn>
              <a:cxn ang="0">
                <a:pos x="connsiteX6905" y="connsiteY6905"/>
              </a:cxn>
              <a:cxn ang="0">
                <a:pos x="connsiteX6906" y="connsiteY6906"/>
              </a:cxn>
              <a:cxn ang="0">
                <a:pos x="connsiteX6907" y="connsiteY6907"/>
              </a:cxn>
              <a:cxn ang="0">
                <a:pos x="connsiteX6908" y="connsiteY6908"/>
              </a:cxn>
              <a:cxn ang="0">
                <a:pos x="connsiteX6909" y="connsiteY6909"/>
              </a:cxn>
              <a:cxn ang="0">
                <a:pos x="connsiteX6910" y="connsiteY6910"/>
              </a:cxn>
              <a:cxn ang="0">
                <a:pos x="connsiteX6911" y="connsiteY6911"/>
              </a:cxn>
              <a:cxn ang="0">
                <a:pos x="connsiteX6912" y="connsiteY6912"/>
              </a:cxn>
              <a:cxn ang="0">
                <a:pos x="connsiteX6913" y="connsiteY6913"/>
              </a:cxn>
              <a:cxn ang="0">
                <a:pos x="connsiteX6914" y="connsiteY6914"/>
              </a:cxn>
              <a:cxn ang="0">
                <a:pos x="connsiteX6915" y="connsiteY6915"/>
              </a:cxn>
              <a:cxn ang="0">
                <a:pos x="connsiteX6916" y="connsiteY6916"/>
              </a:cxn>
              <a:cxn ang="0">
                <a:pos x="connsiteX6917" y="connsiteY6917"/>
              </a:cxn>
              <a:cxn ang="0">
                <a:pos x="connsiteX6918" y="connsiteY6918"/>
              </a:cxn>
              <a:cxn ang="0">
                <a:pos x="connsiteX6919" y="connsiteY6919"/>
              </a:cxn>
              <a:cxn ang="0">
                <a:pos x="connsiteX6920" y="connsiteY6920"/>
              </a:cxn>
              <a:cxn ang="0">
                <a:pos x="connsiteX6921" y="connsiteY6921"/>
              </a:cxn>
              <a:cxn ang="0">
                <a:pos x="connsiteX6922" y="connsiteY6922"/>
              </a:cxn>
              <a:cxn ang="0">
                <a:pos x="connsiteX6923" y="connsiteY6923"/>
              </a:cxn>
              <a:cxn ang="0">
                <a:pos x="connsiteX6924" y="connsiteY6924"/>
              </a:cxn>
              <a:cxn ang="0">
                <a:pos x="connsiteX6925" y="connsiteY6925"/>
              </a:cxn>
              <a:cxn ang="0">
                <a:pos x="connsiteX6926" y="connsiteY6926"/>
              </a:cxn>
              <a:cxn ang="0">
                <a:pos x="connsiteX6927" y="connsiteY6927"/>
              </a:cxn>
              <a:cxn ang="0">
                <a:pos x="connsiteX6928" y="connsiteY6928"/>
              </a:cxn>
              <a:cxn ang="0">
                <a:pos x="connsiteX6929" y="connsiteY6929"/>
              </a:cxn>
              <a:cxn ang="0">
                <a:pos x="connsiteX6930" y="connsiteY6930"/>
              </a:cxn>
              <a:cxn ang="0">
                <a:pos x="connsiteX6931" y="connsiteY6931"/>
              </a:cxn>
              <a:cxn ang="0">
                <a:pos x="connsiteX6932" y="connsiteY6932"/>
              </a:cxn>
              <a:cxn ang="0">
                <a:pos x="connsiteX6933" y="connsiteY6933"/>
              </a:cxn>
              <a:cxn ang="0">
                <a:pos x="connsiteX6934" y="connsiteY6934"/>
              </a:cxn>
              <a:cxn ang="0">
                <a:pos x="connsiteX6935" y="connsiteY6935"/>
              </a:cxn>
              <a:cxn ang="0">
                <a:pos x="connsiteX6936" y="connsiteY6936"/>
              </a:cxn>
              <a:cxn ang="0">
                <a:pos x="connsiteX6937" y="connsiteY6937"/>
              </a:cxn>
              <a:cxn ang="0">
                <a:pos x="connsiteX6938" y="connsiteY6938"/>
              </a:cxn>
              <a:cxn ang="0">
                <a:pos x="connsiteX6939" y="connsiteY6939"/>
              </a:cxn>
              <a:cxn ang="0">
                <a:pos x="connsiteX6940" y="connsiteY6940"/>
              </a:cxn>
              <a:cxn ang="0">
                <a:pos x="connsiteX6941" y="connsiteY6941"/>
              </a:cxn>
              <a:cxn ang="0">
                <a:pos x="connsiteX6942" y="connsiteY6942"/>
              </a:cxn>
              <a:cxn ang="0">
                <a:pos x="connsiteX6943" y="connsiteY6943"/>
              </a:cxn>
              <a:cxn ang="0">
                <a:pos x="connsiteX6944" y="connsiteY6944"/>
              </a:cxn>
              <a:cxn ang="0">
                <a:pos x="connsiteX6945" y="connsiteY6945"/>
              </a:cxn>
              <a:cxn ang="0">
                <a:pos x="connsiteX6946" y="connsiteY6946"/>
              </a:cxn>
              <a:cxn ang="0">
                <a:pos x="connsiteX6947" y="connsiteY6947"/>
              </a:cxn>
              <a:cxn ang="0">
                <a:pos x="connsiteX6948" y="connsiteY6948"/>
              </a:cxn>
              <a:cxn ang="0">
                <a:pos x="connsiteX6949" y="connsiteY6949"/>
              </a:cxn>
              <a:cxn ang="0">
                <a:pos x="connsiteX6950" y="connsiteY6950"/>
              </a:cxn>
              <a:cxn ang="0">
                <a:pos x="connsiteX6951" y="connsiteY6951"/>
              </a:cxn>
              <a:cxn ang="0">
                <a:pos x="connsiteX6952" y="connsiteY6952"/>
              </a:cxn>
              <a:cxn ang="0">
                <a:pos x="connsiteX6953" y="connsiteY6953"/>
              </a:cxn>
              <a:cxn ang="0">
                <a:pos x="connsiteX6954" y="connsiteY6954"/>
              </a:cxn>
              <a:cxn ang="0">
                <a:pos x="connsiteX6955" y="connsiteY6955"/>
              </a:cxn>
              <a:cxn ang="0">
                <a:pos x="connsiteX6956" y="connsiteY6956"/>
              </a:cxn>
              <a:cxn ang="0">
                <a:pos x="connsiteX6957" y="connsiteY6957"/>
              </a:cxn>
              <a:cxn ang="0">
                <a:pos x="connsiteX6958" y="connsiteY6958"/>
              </a:cxn>
              <a:cxn ang="0">
                <a:pos x="connsiteX6959" y="connsiteY6959"/>
              </a:cxn>
              <a:cxn ang="0">
                <a:pos x="connsiteX6960" y="connsiteY6960"/>
              </a:cxn>
              <a:cxn ang="0">
                <a:pos x="connsiteX6961" y="connsiteY6961"/>
              </a:cxn>
              <a:cxn ang="0">
                <a:pos x="connsiteX6962" y="connsiteY6962"/>
              </a:cxn>
              <a:cxn ang="0">
                <a:pos x="connsiteX6963" y="connsiteY6963"/>
              </a:cxn>
              <a:cxn ang="0">
                <a:pos x="connsiteX6964" y="connsiteY6964"/>
              </a:cxn>
              <a:cxn ang="0">
                <a:pos x="connsiteX6965" y="connsiteY6965"/>
              </a:cxn>
              <a:cxn ang="0">
                <a:pos x="connsiteX6966" y="connsiteY6966"/>
              </a:cxn>
              <a:cxn ang="0">
                <a:pos x="connsiteX6967" y="connsiteY6967"/>
              </a:cxn>
              <a:cxn ang="0">
                <a:pos x="connsiteX6968" y="connsiteY6968"/>
              </a:cxn>
              <a:cxn ang="0">
                <a:pos x="connsiteX6969" y="connsiteY6969"/>
              </a:cxn>
              <a:cxn ang="0">
                <a:pos x="connsiteX6970" y="connsiteY6970"/>
              </a:cxn>
              <a:cxn ang="0">
                <a:pos x="connsiteX6971" y="connsiteY6971"/>
              </a:cxn>
              <a:cxn ang="0">
                <a:pos x="connsiteX6972" y="connsiteY6972"/>
              </a:cxn>
              <a:cxn ang="0">
                <a:pos x="connsiteX6973" y="connsiteY6973"/>
              </a:cxn>
              <a:cxn ang="0">
                <a:pos x="connsiteX6974" y="connsiteY6974"/>
              </a:cxn>
              <a:cxn ang="0">
                <a:pos x="connsiteX6975" y="connsiteY6975"/>
              </a:cxn>
              <a:cxn ang="0">
                <a:pos x="connsiteX6976" y="connsiteY6976"/>
              </a:cxn>
              <a:cxn ang="0">
                <a:pos x="connsiteX6977" y="connsiteY6977"/>
              </a:cxn>
              <a:cxn ang="0">
                <a:pos x="connsiteX6978" y="connsiteY6978"/>
              </a:cxn>
              <a:cxn ang="0">
                <a:pos x="connsiteX6979" y="connsiteY6979"/>
              </a:cxn>
              <a:cxn ang="0">
                <a:pos x="connsiteX6980" y="connsiteY6980"/>
              </a:cxn>
              <a:cxn ang="0">
                <a:pos x="connsiteX6981" y="connsiteY6981"/>
              </a:cxn>
              <a:cxn ang="0">
                <a:pos x="connsiteX6982" y="connsiteY6982"/>
              </a:cxn>
              <a:cxn ang="0">
                <a:pos x="connsiteX6983" y="connsiteY6983"/>
              </a:cxn>
              <a:cxn ang="0">
                <a:pos x="connsiteX6984" y="connsiteY6984"/>
              </a:cxn>
              <a:cxn ang="0">
                <a:pos x="connsiteX6985" y="connsiteY6985"/>
              </a:cxn>
              <a:cxn ang="0">
                <a:pos x="connsiteX6986" y="connsiteY6986"/>
              </a:cxn>
              <a:cxn ang="0">
                <a:pos x="connsiteX6987" y="connsiteY6987"/>
              </a:cxn>
              <a:cxn ang="0">
                <a:pos x="connsiteX6988" y="connsiteY6988"/>
              </a:cxn>
              <a:cxn ang="0">
                <a:pos x="connsiteX6989" y="connsiteY6989"/>
              </a:cxn>
              <a:cxn ang="0">
                <a:pos x="connsiteX6990" y="connsiteY6990"/>
              </a:cxn>
              <a:cxn ang="0">
                <a:pos x="connsiteX6991" y="connsiteY6991"/>
              </a:cxn>
              <a:cxn ang="0">
                <a:pos x="connsiteX6992" y="connsiteY6992"/>
              </a:cxn>
              <a:cxn ang="0">
                <a:pos x="connsiteX6993" y="connsiteY6993"/>
              </a:cxn>
              <a:cxn ang="0">
                <a:pos x="connsiteX6994" y="connsiteY6994"/>
              </a:cxn>
              <a:cxn ang="0">
                <a:pos x="connsiteX6995" y="connsiteY6995"/>
              </a:cxn>
              <a:cxn ang="0">
                <a:pos x="connsiteX6996" y="connsiteY6996"/>
              </a:cxn>
              <a:cxn ang="0">
                <a:pos x="connsiteX6997" y="connsiteY6997"/>
              </a:cxn>
              <a:cxn ang="0">
                <a:pos x="connsiteX6998" y="connsiteY6998"/>
              </a:cxn>
              <a:cxn ang="0">
                <a:pos x="connsiteX6999" y="connsiteY6999"/>
              </a:cxn>
              <a:cxn ang="0">
                <a:pos x="connsiteX7000" y="connsiteY7000"/>
              </a:cxn>
              <a:cxn ang="0">
                <a:pos x="connsiteX7001" y="connsiteY7001"/>
              </a:cxn>
              <a:cxn ang="0">
                <a:pos x="connsiteX7002" y="connsiteY7002"/>
              </a:cxn>
              <a:cxn ang="0">
                <a:pos x="connsiteX7003" y="connsiteY7003"/>
              </a:cxn>
              <a:cxn ang="0">
                <a:pos x="connsiteX7004" y="connsiteY7004"/>
              </a:cxn>
              <a:cxn ang="0">
                <a:pos x="connsiteX7005" y="connsiteY7005"/>
              </a:cxn>
              <a:cxn ang="0">
                <a:pos x="connsiteX7006" y="connsiteY7006"/>
              </a:cxn>
              <a:cxn ang="0">
                <a:pos x="connsiteX7007" y="connsiteY7007"/>
              </a:cxn>
              <a:cxn ang="0">
                <a:pos x="connsiteX7008" y="connsiteY7008"/>
              </a:cxn>
              <a:cxn ang="0">
                <a:pos x="connsiteX7009" y="connsiteY7009"/>
              </a:cxn>
              <a:cxn ang="0">
                <a:pos x="connsiteX7010" y="connsiteY7010"/>
              </a:cxn>
              <a:cxn ang="0">
                <a:pos x="connsiteX7011" y="connsiteY7011"/>
              </a:cxn>
              <a:cxn ang="0">
                <a:pos x="connsiteX7012" y="connsiteY7012"/>
              </a:cxn>
              <a:cxn ang="0">
                <a:pos x="connsiteX7013" y="connsiteY7013"/>
              </a:cxn>
              <a:cxn ang="0">
                <a:pos x="connsiteX7014" y="connsiteY7014"/>
              </a:cxn>
              <a:cxn ang="0">
                <a:pos x="connsiteX7015" y="connsiteY7015"/>
              </a:cxn>
              <a:cxn ang="0">
                <a:pos x="connsiteX7016" y="connsiteY7016"/>
              </a:cxn>
              <a:cxn ang="0">
                <a:pos x="connsiteX7017" y="connsiteY7017"/>
              </a:cxn>
              <a:cxn ang="0">
                <a:pos x="connsiteX7018" y="connsiteY7018"/>
              </a:cxn>
              <a:cxn ang="0">
                <a:pos x="connsiteX7019" y="connsiteY7019"/>
              </a:cxn>
              <a:cxn ang="0">
                <a:pos x="connsiteX7020" y="connsiteY7020"/>
              </a:cxn>
              <a:cxn ang="0">
                <a:pos x="connsiteX7021" y="connsiteY7021"/>
              </a:cxn>
              <a:cxn ang="0">
                <a:pos x="connsiteX7022" y="connsiteY7022"/>
              </a:cxn>
              <a:cxn ang="0">
                <a:pos x="connsiteX7023" y="connsiteY7023"/>
              </a:cxn>
              <a:cxn ang="0">
                <a:pos x="connsiteX7024" y="connsiteY7024"/>
              </a:cxn>
              <a:cxn ang="0">
                <a:pos x="connsiteX7025" y="connsiteY7025"/>
              </a:cxn>
              <a:cxn ang="0">
                <a:pos x="connsiteX7026" y="connsiteY7026"/>
              </a:cxn>
              <a:cxn ang="0">
                <a:pos x="connsiteX7027" y="connsiteY7027"/>
              </a:cxn>
              <a:cxn ang="0">
                <a:pos x="connsiteX7028" y="connsiteY7028"/>
              </a:cxn>
              <a:cxn ang="0">
                <a:pos x="connsiteX7029" y="connsiteY7029"/>
              </a:cxn>
              <a:cxn ang="0">
                <a:pos x="connsiteX7030" y="connsiteY7030"/>
              </a:cxn>
              <a:cxn ang="0">
                <a:pos x="connsiteX7031" y="connsiteY7031"/>
              </a:cxn>
              <a:cxn ang="0">
                <a:pos x="connsiteX7032" y="connsiteY7032"/>
              </a:cxn>
              <a:cxn ang="0">
                <a:pos x="connsiteX7033" y="connsiteY7033"/>
              </a:cxn>
              <a:cxn ang="0">
                <a:pos x="connsiteX7034" y="connsiteY7034"/>
              </a:cxn>
              <a:cxn ang="0">
                <a:pos x="connsiteX7035" y="connsiteY7035"/>
              </a:cxn>
              <a:cxn ang="0">
                <a:pos x="connsiteX7036" y="connsiteY7036"/>
              </a:cxn>
              <a:cxn ang="0">
                <a:pos x="connsiteX7037" y="connsiteY7037"/>
              </a:cxn>
              <a:cxn ang="0">
                <a:pos x="connsiteX7038" y="connsiteY7038"/>
              </a:cxn>
              <a:cxn ang="0">
                <a:pos x="connsiteX7039" y="connsiteY7039"/>
              </a:cxn>
              <a:cxn ang="0">
                <a:pos x="connsiteX7040" y="connsiteY7040"/>
              </a:cxn>
              <a:cxn ang="0">
                <a:pos x="connsiteX7041" y="connsiteY7041"/>
              </a:cxn>
              <a:cxn ang="0">
                <a:pos x="connsiteX7042" y="connsiteY7042"/>
              </a:cxn>
              <a:cxn ang="0">
                <a:pos x="connsiteX7043" y="connsiteY7043"/>
              </a:cxn>
              <a:cxn ang="0">
                <a:pos x="connsiteX7044" y="connsiteY7044"/>
              </a:cxn>
              <a:cxn ang="0">
                <a:pos x="connsiteX7045" y="connsiteY7045"/>
              </a:cxn>
              <a:cxn ang="0">
                <a:pos x="connsiteX7046" y="connsiteY7046"/>
              </a:cxn>
              <a:cxn ang="0">
                <a:pos x="connsiteX7047" y="connsiteY7047"/>
              </a:cxn>
              <a:cxn ang="0">
                <a:pos x="connsiteX7048" y="connsiteY7048"/>
              </a:cxn>
              <a:cxn ang="0">
                <a:pos x="connsiteX7049" y="connsiteY7049"/>
              </a:cxn>
              <a:cxn ang="0">
                <a:pos x="connsiteX7050" y="connsiteY7050"/>
              </a:cxn>
              <a:cxn ang="0">
                <a:pos x="connsiteX7051" y="connsiteY7051"/>
              </a:cxn>
              <a:cxn ang="0">
                <a:pos x="connsiteX7052" y="connsiteY7052"/>
              </a:cxn>
              <a:cxn ang="0">
                <a:pos x="connsiteX7053" y="connsiteY7053"/>
              </a:cxn>
              <a:cxn ang="0">
                <a:pos x="connsiteX7054" y="connsiteY7054"/>
              </a:cxn>
              <a:cxn ang="0">
                <a:pos x="connsiteX7055" y="connsiteY7055"/>
              </a:cxn>
              <a:cxn ang="0">
                <a:pos x="connsiteX7056" y="connsiteY7056"/>
              </a:cxn>
              <a:cxn ang="0">
                <a:pos x="connsiteX7057" y="connsiteY7057"/>
              </a:cxn>
              <a:cxn ang="0">
                <a:pos x="connsiteX7058" y="connsiteY7058"/>
              </a:cxn>
              <a:cxn ang="0">
                <a:pos x="connsiteX7059" y="connsiteY7059"/>
              </a:cxn>
              <a:cxn ang="0">
                <a:pos x="connsiteX7060" y="connsiteY7060"/>
              </a:cxn>
              <a:cxn ang="0">
                <a:pos x="connsiteX7061" y="connsiteY7061"/>
              </a:cxn>
              <a:cxn ang="0">
                <a:pos x="connsiteX7062" y="connsiteY7062"/>
              </a:cxn>
              <a:cxn ang="0">
                <a:pos x="connsiteX7063" y="connsiteY7063"/>
              </a:cxn>
              <a:cxn ang="0">
                <a:pos x="connsiteX7064" y="connsiteY7064"/>
              </a:cxn>
              <a:cxn ang="0">
                <a:pos x="connsiteX7065" y="connsiteY7065"/>
              </a:cxn>
              <a:cxn ang="0">
                <a:pos x="connsiteX7066" y="connsiteY7066"/>
              </a:cxn>
              <a:cxn ang="0">
                <a:pos x="connsiteX7067" y="connsiteY7067"/>
              </a:cxn>
              <a:cxn ang="0">
                <a:pos x="connsiteX7068" y="connsiteY7068"/>
              </a:cxn>
              <a:cxn ang="0">
                <a:pos x="connsiteX7069" y="connsiteY7069"/>
              </a:cxn>
              <a:cxn ang="0">
                <a:pos x="connsiteX7070" y="connsiteY7070"/>
              </a:cxn>
              <a:cxn ang="0">
                <a:pos x="connsiteX7071" y="connsiteY7071"/>
              </a:cxn>
              <a:cxn ang="0">
                <a:pos x="connsiteX7072" y="connsiteY7072"/>
              </a:cxn>
              <a:cxn ang="0">
                <a:pos x="connsiteX7073" y="connsiteY7073"/>
              </a:cxn>
              <a:cxn ang="0">
                <a:pos x="connsiteX7074" y="connsiteY7074"/>
              </a:cxn>
              <a:cxn ang="0">
                <a:pos x="connsiteX7075" y="connsiteY7075"/>
              </a:cxn>
              <a:cxn ang="0">
                <a:pos x="connsiteX7076" y="connsiteY7076"/>
              </a:cxn>
              <a:cxn ang="0">
                <a:pos x="connsiteX7077" y="connsiteY7077"/>
              </a:cxn>
              <a:cxn ang="0">
                <a:pos x="connsiteX7078" y="connsiteY7078"/>
              </a:cxn>
              <a:cxn ang="0">
                <a:pos x="connsiteX7079" y="connsiteY7079"/>
              </a:cxn>
              <a:cxn ang="0">
                <a:pos x="connsiteX7080" y="connsiteY7080"/>
              </a:cxn>
              <a:cxn ang="0">
                <a:pos x="connsiteX7081" y="connsiteY7081"/>
              </a:cxn>
              <a:cxn ang="0">
                <a:pos x="connsiteX7082" y="connsiteY7082"/>
              </a:cxn>
              <a:cxn ang="0">
                <a:pos x="connsiteX7083" y="connsiteY7083"/>
              </a:cxn>
              <a:cxn ang="0">
                <a:pos x="connsiteX7084" y="connsiteY7084"/>
              </a:cxn>
              <a:cxn ang="0">
                <a:pos x="connsiteX7085" y="connsiteY7085"/>
              </a:cxn>
              <a:cxn ang="0">
                <a:pos x="connsiteX7086" y="connsiteY7086"/>
              </a:cxn>
              <a:cxn ang="0">
                <a:pos x="connsiteX7087" y="connsiteY7087"/>
              </a:cxn>
              <a:cxn ang="0">
                <a:pos x="connsiteX7088" y="connsiteY7088"/>
              </a:cxn>
              <a:cxn ang="0">
                <a:pos x="connsiteX7089" y="connsiteY7089"/>
              </a:cxn>
              <a:cxn ang="0">
                <a:pos x="connsiteX7090" y="connsiteY7090"/>
              </a:cxn>
              <a:cxn ang="0">
                <a:pos x="connsiteX7091" y="connsiteY7091"/>
              </a:cxn>
              <a:cxn ang="0">
                <a:pos x="connsiteX7092" y="connsiteY7092"/>
              </a:cxn>
              <a:cxn ang="0">
                <a:pos x="connsiteX7093" y="connsiteY7093"/>
              </a:cxn>
              <a:cxn ang="0">
                <a:pos x="connsiteX7094" y="connsiteY7094"/>
              </a:cxn>
              <a:cxn ang="0">
                <a:pos x="connsiteX7095" y="connsiteY7095"/>
              </a:cxn>
              <a:cxn ang="0">
                <a:pos x="connsiteX7096" y="connsiteY7096"/>
              </a:cxn>
              <a:cxn ang="0">
                <a:pos x="connsiteX7097" y="connsiteY7097"/>
              </a:cxn>
              <a:cxn ang="0">
                <a:pos x="connsiteX7098" y="connsiteY7098"/>
              </a:cxn>
              <a:cxn ang="0">
                <a:pos x="connsiteX7099" y="connsiteY7099"/>
              </a:cxn>
              <a:cxn ang="0">
                <a:pos x="connsiteX7100" y="connsiteY7100"/>
              </a:cxn>
              <a:cxn ang="0">
                <a:pos x="connsiteX7101" y="connsiteY7101"/>
              </a:cxn>
              <a:cxn ang="0">
                <a:pos x="connsiteX7102" y="connsiteY7102"/>
              </a:cxn>
              <a:cxn ang="0">
                <a:pos x="connsiteX7103" y="connsiteY7103"/>
              </a:cxn>
              <a:cxn ang="0">
                <a:pos x="connsiteX7104" y="connsiteY7104"/>
              </a:cxn>
              <a:cxn ang="0">
                <a:pos x="connsiteX7105" y="connsiteY7105"/>
              </a:cxn>
              <a:cxn ang="0">
                <a:pos x="connsiteX7106" y="connsiteY7106"/>
              </a:cxn>
              <a:cxn ang="0">
                <a:pos x="connsiteX7107" y="connsiteY7107"/>
              </a:cxn>
              <a:cxn ang="0">
                <a:pos x="connsiteX7108" y="connsiteY7108"/>
              </a:cxn>
              <a:cxn ang="0">
                <a:pos x="connsiteX7109" y="connsiteY7109"/>
              </a:cxn>
              <a:cxn ang="0">
                <a:pos x="connsiteX7110" y="connsiteY7110"/>
              </a:cxn>
              <a:cxn ang="0">
                <a:pos x="connsiteX7111" y="connsiteY7111"/>
              </a:cxn>
              <a:cxn ang="0">
                <a:pos x="connsiteX7112" y="connsiteY7112"/>
              </a:cxn>
              <a:cxn ang="0">
                <a:pos x="connsiteX7113" y="connsiteY7113"/>
              </a:cxn>
              <a:cxn ang="0">
                <a:pos x="connsiteX7114" y="connsiteY7114"/>
              </a:cxn>
              <a:cxn ang="0">
                <a:pos x="connsiteX7115" y="connsiteY7115"/>
              </a:cxn>
              <a:cxn ang="0">
                <a:pos x="connsiteX7116" y="connsiteY7116"/>
              </a:cxn>
              <a:cxn ang="0">
                <a:pos x="connsiteX7117" y="connsiteY7117"/>
              </a:cxn>
              <a:cxn ang="0">
                <a:pos x="connsiteX7118" y="connsiteY7118"/>
              </a:cxn>
              <a:cxn ang="0">
                <a:pos x="connsiteX7119" y="connsiteY7119"/>
              </a:cxn>
              <a:cxn ang="0">
                <a:pos x="connsiteX7120" y="connsiteY7120"/>
              </a:cxn>
              <a:cxn ang="0">
                <a:pos x="connsiteX7121" y="connsiteY7121"/>
              </a:cxn>
              <a:cxn ang="0">
                <a:pos x="connsiteX7122" y="connsiteY7122"/>
              </a:cxn>
              <a:cxn ang="0">
                <a:pos x="connsiteX7123" y="connsiteY7123"/>
              </a:cxn>
              <a:cxn ang="0">
                <a:pos x="connsiteX7124" y="connsiteY7124"/>
              </a:cxn>
              <a:cxn ang="0">
                <a:pos x="connsiteX7125" y="connsiteY7125"/>
              </a:cxn>
              <a:cxn ang="0">
                <a:pos x="connsiteX7126" y="connsiteY7126"/>
              </a:cxn>
              <a:cxn ang="0">
                <a:pos x="connsiteX7127" y="connsiteY7127"/>
              </a:cxn>
              <a:cxn ang="0">
                <a:pos x="connsiteX7128" y="connsiteY7128"/>
              </a:cxn>
              <a:cxn ang="0">
                <a:pos x="connsiteX7129" y="connsiteY7129"/>
              </a:cxn>
              <a:cxn ang="0">
                <a:pos x="connsiteX7130" y="connsiteY7130"/>
              </a:cxn>
              <a:cxn ang="0">
                <a:pos x="connsiteX7131" y="connsiteY7131"/>
              </a:cxn>
              <a:cxn ang="0">
                <a:pos x="connsiteX7132" y="connsiteY7132"/>
              </a:cxn>
              <a:cxn ang="0">
                <a:pos x="connsiteX7133" y="connsiteY7133"/>
              </a:cxn>
              <a:cxn ang="0">
                <a:pos x="connsiteX7134" y="connsiteY7134"/>
              </a:cxn>
              <a:cxn ang="0">
                <a:pos x="connsiteX7135" y="connsiteY7135"/>
              </a:cxn>
              <a:cxn ang="0">
                <a:pos x="connsiteX7136" y="connsiteY7136"/>
              </a:cxn>
              <a:cxn ang="0">
                <a:pos x="connsiteX7137" y="connsiteY7137"/>
              </a:cxn>
              <a:cxn ang="0">
                <a:pos x="connsiteX7138" y="connsiteY7138"/>
              </a:cxn>
              <a:cxn ang="0">
                <a:pos x="connsiteX7139" y="connsiteY7139"/>
              </a:cxn>
              <a:cxn ang="0">
                <a:pos x="connsiteX7140" y="connsiteY7140"/>
              </a:cxn>
              <a:cxn ang="0">
                <a:pos x="connsiteX7141" y="connsiteY7141"/>
              </a:cxn>
              <a:cxn ang="0">
                <a:pos x="connsiteX7142" y="connsiteY7142"/>
              </a:cxn>
              <a:cxn ang="0">
                <a:pos x="connsiteX7143" y="connsiteY7143"/>
              </a:cxn>
              <a:cxn ang="0">
                <a:pos x="connsiteX7144" y="connsiteY7144"/>
              </a:cxn>
              <a:cxn ang="0">
                <a:pos x="connsiteX7145" y="connsiteY7145"/>
              </a:cxn>
              <a:cxn ang="0">
                <a:pos x="connsiteX7146" y="connsiteY7146"/>
              </a:cxn>
              <a:cxn ang="0">
                <a:pos x="connsiteX7147" y="connsiteY7147"/>
              </a:cxn>
              <a:cxn ang="0">
                <a:pos x="connsiteX7148" y="connsiteY7148"/>
              </a:cxn>
              <a:cxn ang="0">
                <a:pos x="connsiteX7149" y="connsiteY7149"/>
              </a:cxn>
              <a:cxn ang="0">
                <a:pos x="connsiteX7150" y="connsiteY7150"/>
              </a:cxn>
              <a:cxn ang="0">
                <a:pos x="connsiteX7151" y="connsiteY7151"/>
              </a:cxn>
              <a:cxn ang="0">
                <a:pos x="connsiteX7152" y="connsiteY7152"/>
              </a:cxn>
              <a:cxn ang="0">
                <a:pos x="connsiteX7153" y="connsiteY7153"/>
              </a:cxn>
              <a:cxn ang="0">
                <a:pos x="connsiteX7154" y="connsiteY7154"/>
              </a:cxn>
              <a:cxn ang="0">
                <a:pos x="connsiteX7155" y="connsiteY7155"/>
              </a:cxn>
              <a:cxn ang="0">
                <a:pos x="connsiteX7156" y="connsiteY7156"/>
              </a:cxn>
              <a:cxn ang="0">
                <a:pos x="connsiteX7157" y="connsiteY7157"/>
              </a:cxn>
              <a:cxn ang="0">
                <a:pos x="connsiteX7158" y="connsiteY7158"/>
              </a:cxn>
              <a:cxn ang="0">
                <a:pos x="connsiteX7159" y="connsiteY7159"/>
              </a:cxn>
              <a:cxn ang="0">
                <a:pos x="connsiteX7160" y="connsiteY7160"/>
              </a:cxn>
              <a:cxn ang="0">
                <a:pos x="connsiteX7161" y="connsiteY7161"/>
              </a:cxn>
              <a:cxn ang="0">
                <a:pos x="connsiteX7162" y="connsiteY7162"/>
              </a:cxn>
              <a:cxn ang="0">
                <a:pos x="connsiteX7163" y="connsiteY7163"/>
              </a:cxn>
              <a:cxn ang="0">
                <a:pos x="connsiteX7164" y="connsiteY7164"/>
              </a:cxn>
              <a:cxn ang="0">
                <a:pos x="connsiteX7165" y="connsiteY7165"/>
              </a:cxn>
              <a:cxn ang="0">
                <a:pos x="connsiteX7166" y="connsiteY7166"/>
              </a:cxn>
              <a:cxn ang="0">
                <a:pos x="connsiteX7167" y="connsiteY7167"/>
              </a:cxn>
              <a:cxn ang="0">
                <a:pos x="connsiteX7168" y="connsiteY7168"/>
              </a:cxn>
              <a:cxn ang="0">
                <a:pos x="connsiteX7169" y="connsiteY7169"/>
              </a:cxn>
              <a:cxn ang="0">
                <a:pos x="connsiteX7170" y="connsiteY7170"/>
              </a:cxn>
              <a:cxn ang="0">
                <a:pos x="connsiteX7171" y="connsiteY7171"/>
              </a:cxn>
              <a:cxn ang="0">
                <a:pos x="connsiteX7172" y="connsiteY7172"/>
              </a:cxn>
              <a:cxn ang="0">
                <a:pos x="connsiteX7173" y="connsiteY7173"/>
              </a:cxn>
              <a:cxn ang="0">
                <a:pos x="connsiteX7174" y="connsiteY7174"/>
              </a:cxn>
              <a:cxn ang="0">
                <a:pos x="connsiteX7175" y="connsiteY7175"/>
              </a:cxn>
              <a:cxn ang="0">
                <a:pos x="connsiteX7176" y="connsiteY7176"/>
              </a:cxn>
              <a:cxn ang="0">
                <a:pos x="connsiteX7177" y="connsiteY7177"/>
              </a:cxn>
              <a:cxn ang="0">
                <a:pos x="connsiteX7178" y="connsiteY7178"/>
              </a:cxn>
              <a:cxn ang="0">
                <a:pos x="connsiteX7179" y="connsiteY7179"/>
              </a:cxn>
              <a:cxn ang="0">
                <a:pos x="connsiteX7180" y="connsiteY7180"/>
              </a:cxn>
              <a:cxn ang="0">
                <a:pos x="connsiteX7181" y="connsiteY7181"/>
              </a:cxn>
              <a:cxn ang="0">
                <a:pos x="connsiteX7182" y="connsiteY7182"/>
              </a:cxn>
              <a:cxn ang="0">
                <a:pos x="connsiteX7183" y="connsiteY7183"/>
              </a:cxn>
              <a:cxn ang="0">
                <a:pos x="connsiteX7184" y="connsiteY7184"/>
              </a:cxn>
              <a:cxn ang="0">
                <a:pos x="connsiteX7185" y="connsiteY7185"/>
              </a:cxn>
              <a:cxn ang="0">
                <a:pos x="connsiteX7186" y="connsiteY7186"/>
              </a:cxn>
              <a:cxn ang="0">
                <a:pos x="connsiteX7187" y="connsiteY7187"/>
              </a:cxn>
              <a:cxn ang="0">
                <a:pos x="connsiteX7188" y="connsiteY7188"/>
              </a:cxn>
              <a:cxn ang="0">
                <a:pos x="connsiteX7189" y="connsiteY7189"/>
              </a:cxn>
              <a:cxn ang="0">
                <a:pos x="connsiteX7190" y="connsiteY7190"/>
              </a:cxn>
              <a:cxn ang="0">
                <a:pos x="connsiteX7191" y="connsiteY7191"/>
              </a:cxn>
              <a:cxn ang="0">
                <a:pos x="connsiteX7192" y="connsiteY7192"/>
              </a:cxn>
              <a:cxn ang="0">
                <a:pos x="connsiteX7193" y="connsiteY7193"/>
              </a:cxn>
              <a:cxn ang="0">
                <a:pos x="connsiteX7194" y="connsiteY7194"/>
              </a:cxn>
              <a:cxn ang="0">
                <a:pos x="connsiteX7195" y="connsiteY7195"/>
              </a:cxn>
              <a:cxn ang="0">
                <a:pos x="connsiteX7196" y="connsiteY7196"/>
              </a:cxn>
              <a:cxn ang="0">
                <a:pos x="connsiteX7197" y="connsiteY7197"/>
              </a:cxn>
              <a:cxn ang="0">
                <a:pos x="connsiteX7198" y="connsiteY7198"/>
              </a:cxn>
              <a:cxn ang="0">
                <a:pos x="connsiteX7199" y="connsiteY7199"/>
              </a:cxn>
              <a:cxn ang="0">
                <a:pos x="connsiteX7200" y="connsiteY7200"/>
              </a:cxn>
              <a:cxn ang="0">
                <a:pos x="connsiteX7201" y="connsiteY7201"/>
              </a:cxn>
              <a:cxn ang="0">
                <a:pos x="connsiteX7202" y="connsiteY7202"/>
              </a:cxn>
              <a:cxn ang="0">
                <a:pos x="connsiteX7203" y="connsiteY7203"/>
              </a:cxn>
              <a:cxn ang="0">
                <a:pos x="connsiteX7204" y="connsiteY7204"/>
              </a:cxn>
              <a:cxn ang="0">
                <a:pos x="connsiteX7205" y="connsiteY7205"/>
              </a:cxn>
              <a:cxn ang="0">
                <a:pos x="connsiteX7206" y="connsiteY7206"/>
              </a:cxn>
              <a:cxn ang="0">
                <a:pos x="connsiteX7207" y="connsiteY7207"/>
              </a:cxn>
              <a:cxn ang="0">
                <a:pos x="connsiteX7208" y="connsiteY7208"/>
              </a:cxn>
              <a:cxn ang="0">
                <a:pos x="connsiteX7209" y="connsiteY7209"/>
              </a:cxn>
              <a:cxn ang="0">
                <a:pos x="connsiteX7210" y="connsiteY7210"/>
              </a:cxn>
              <a:cxn ang="0">
                <a:pos x="connsiteX7211" y="connsiteY7211"/>
              </a:cxn>
              <a:cxn ang="0">
                <a:pos x="connsiteX7212" y="connsiteY7212"/>
              </a:cxn>
              <a:cxn ang="0">
                <a:pos x="connsiteX7213" y="connsiteY7213"/>
              </a:cxn>
              <a:cxn ang="0">
                <a:pos x="connsiteX7214" y="connsiteY7214"/>
              </a:cxn>
              <a:cxn ang="0">
                <a:pos x="connsiteX7215" y="connsiteY7215"/>
              </a:cxn>
              <a:cxn ang="0">
                <a:pos x="connsiteX7216" y="connsiteY7216"/>
              </a:cxn>
              <a:cxn ang="0">
                <a:pos x="connsiteX7217" y="connsiteY7217"/>
              </a:cxn>
              <a:cxn ang="0">
                <a:pos x="connsiteX7218" y="connsiteY7218"/>
              </a:cxn>
              <a:cxn ang="0">
                <a:pos x="connsiteX7219" y="connsiteY7219"/>
              </a:cxn>
              <a:cxn ang="0">
                <a:pos x="connsiteX7220" y="connsiteY7220"/>
              </a:cxn>
              <a:cxn ang="0">
                <a:pos x="connsiteX7221" y="connsiteY7221"/>
              </a:cxn>
              <a:cxn ang="0">
                <a:pos x="connsiteX7222" y="connsiteY7222"/>
              </a:cxn>
              <a:cxn ang="0">
                <a:pos x="connsiteX7223" y="connsiteY7223"/>
              </a:cxn>
              <a:cxn ang="0">
                <a:pos x="connsiteX7224" y="connsiteY7224"/>
              </a:cxn>
              <a:cxn ang="0">
                <a:pos x="connsiteX7225" y="connsiteY7225"/>
              </a:cxn>
              <a:cxn ang="0">
                <a:pos x="connsiteX7226" y="connsiteY7226"/>
              </a:cxn>
              <a:cxn ang="0">
                <a:pos x="connsiteX7227" y="connsiteY7227"/>
              </a:cxn>
              <a:cxn ang="0">
                <a:pos x="connsiteX7228" y="connsiteY7228"/>
              </a:cxn>
              <a:cxn ang="0">
                <a:pos x="connsiteX7229" y="connsiteY7229"/>
              </a:cxn>
              <a:cxn ang="0">
                <a:pos x="connsiteX7230" y="connsiteY7230"/>
              </a:cxn>
              <a:cxn ang="0">
                <a:pos x="connsiteX7231" y="connsiteY7231"/>
              </a:cxn>
              <a:cxn ang="0">
                <a:pos x="connsiteX7232" y="connsiteY7232"/>
              </a:cxn>
              <a:cxn ang="0">
                <a:pos x="connsiteX7233" y="connsiteY7233"/>
              </a:cxn>
              <a:cxn ang="0">
                <a:pos x="connsiteX7234" y="connsiteY7234"/>
              </a:cxn>
              <a:cxn ang="0">
                <a:pos x="connsiteX7235" y="connsiteY7235"/>
              </a:cxn>
              <a:cxn ang="0">
                <a:pos x="connsiteX7236" y="connsiteY7236"/>
              </a:cxn>
              <a:cxn ang="0">
                <a:pos x="connsiteX7237" y="connsiteY7237"/>
              </a:cxn>
              <a:cxn ang="0">
                <a:pos x="connsiteX7238" y="connsiteY7238"/>
              </a:cxn>
              <a:cxn ang="0">
                <a:pos x="connsiteX7239" y="connsiteY7239"/>
              </a:cxn>
              <a:cxn ang="0">
                <a:pos x="connsiteX7240" y="connsiteY7240"/>
              </a:cxn>
              <a:cxn ang="0">
                <a:pos x="connsiteX7241" y="connsiteY7241"/>
              </a:cxn>
              <a:cxn ang="0">
                <a:pos x="connsiteX7242" y="connsiteY7242"/>
              </a:cxn>
              <a:cxn ang="0">
                <a:pos x="connsiteX7243" y="connsiteY7243"/>
              </a:cxn>
              <a:cxn ang="0">
                <a:pos x="connsiteX7244" y="connsiteY7244"/>
              </a:cxn>
              <a:cxn ang="0">
                <a:pos x="connsiteX7245" y="connsiteY7245"/>
              </a:cxn>
              <a:cxn ang="0">
                <a:pos x="connsiteX7246" y="connsiteY7246"/>
              </a:cxn>
              <a:cxn ang="0">
                <a:pos x="connsiteX7247" y="connsiteY7247"/>
              </a:cxn>
              <a:cxn ang="0">
                <a:pos x="connsiteX7248" y="connsiteY7248"/>
              </a:cxn>
              <a:cxn ang="0">
                <a:pos x="connsiteX7249" y="connsiteY7249"/>
              </a:cxn>
              <a:cxn ang="0">
                <a:pos x="connsiteX7250" y="connsiteY7250"/>
              </a:cxn>
              <a:cxn ang="0">
                <a:pos x="connsiteX7251" y="connsiteY7251"/>
              </a:cxn>
              <a:cxn ang="0">
                <a:pos x="connsiteX7252" y="connsiteY7252"/>
              </a:cxn>
              <a:cxn ang="0">
                <a:pos x="connsiteX7253" y="connsiteY7253"/>
              </a:cxn>
              <a:cxn ang="0">
                <a:pos x="connsiteX7254" y="connsiteY7254"/>
              </a:cxn>
              <a:cxn ang="0">
                <a:pos x="connsiteX7255" y="connsiteY7255"/>
              </a:cxn>
              <a:cxn ang="0">
                <a:pos x="connsiteX7256" y="connsiteY7256"/>
              </a:cxn>
              <a:cxn ang="0">
                <a:pos x="connsiteX7257" y="connsiteY7257"/>
              </a:cxn>
              <a:cxn ang="0">
                <a:pos x="connsiteX7258" y="connsiteY7258"/>
              </a:cxn>
              <a:cxn ang="0">
                <a:pos x="connsiteX7259" y="connsiteY7259"/>
              </a:cxn>
              <a:cxn ang="0">
                <a:pos x="connsiteX7260" y="connsiteY7260"/>
              </a:cxn>
              <a:cxn ang="0">
                <a:pos x="connsiteX7261" y="connsiteY7261"/>
              </a:cxn>
              <a:cxn ang="0">
                <a:pos x="connsiteX7262" y="connsiteY7262"/>
              </a:cxn>
              <a:cxn ang="0">
                <a:pos x="connsiteX7263" y="connsiteY7263"/>
              </a:cxn>
              <a:cxn ang="0">
                <a:pos x="connsiteX7264" y="connsiteY7264"/>
              </a:cxn>
              <a:cxn ang="0">
                <a:pos x="connsiteX7265" y="connsiteY7265"/>
              </a:cxn>
              <a:cxn ang="0">
                <a:pos x="connsiteX7266" y="connsiteY7266"/>
              </a:cxn>
              <a:cxn ang="0">
                <a:pos x="connsiteX7267" y="connsiteY7267"/>
              </a:cxn>
              <a:cxn ang="0">
                <a:pos x="connsiteX7268" y="connsiteY7268"/>
              </a:cxn>
              <a:cxn ang="0">
                <a:pos x="connsiteX7269" y="connsiteY7269"/>
              </a:cxn>
              <a:cxn ang="0">
                <a:pos x="connsiteX7270" y="connsiteY7270"/>
              </a:cxn>
              <a:cxn ang="0">
                <a:pos x="connsiteX7271" y="connsiteY7271"/>
              </a:cxn>
              <a:cxn ang="0">
                <a:pos x="connsiteX7272" y="connsiteY7272"/>
              </a:cxn>
              <a:cxn ang="0">
                <a:pos x="connsiteX7273" y="connsiteY7273"/>
              </a:cxn>
              <a:cxn ang="0">
                <a:pos x="connsiteX7274" y="connsiteY7274"/>
              </a:cxn>
              <a:cxn ang="0">
                <a:pos x="connsiteX7275" y="connsiteY7275"/>
              </a:cxn>
              <a:cxn ang="0">
                <a:pos x="connsiteX7276" y="connsiteY7276"/>
              </a:cxn>
              <a:cxn ang="0">
                <a:pos x="connsiteX7277" y="connsiteY7277"/>
              </a:cxn>
              <a:cxn ang="0">
                <a:pos x="connsiteX7278" y="connsiteY7278"/>
              </a:cxn>
              <a:cxn ang="0">
                <a:pos x="connsiteX7279" y="connsiteY7279"/>
              </a:cxn>
              <a:cxn ang="0">
                <a:pos x="connsiteX7280" y="connsiteY7280"/>
              </a:cxn>
              <a:cxn ang="0">
                <a:pos x="connsiteX7281" y="connsiteY7281"/>
              </a:cxn>
              <a:cxn ang="0">
                <a:pos x="connsiteX7282" y="connsiteY7282"/>
              </a:cxn>
              <a:cxn ang="0">
                <a:pos x="connsiteX7283" y="connsiteY7283"/>
              </a:cxn>
              <a:cxn ang="0">
                <a:pos x="connsiteX7284" y="connsiteY7284"/>
              </a:cxn>
              <a:cxn ang="0">
                <a:pos x="connsiteX7285" y="connsiteY7285"/>
              </a:cxn>
              <a:cxn ang="0">
                <a:pos x="connsiteX7286" y="connsiteY7286"/>
              </a:cxn>
              <a:cxn ang="0">
                <a:pos x="connsiteX7287" y="connsiteY7287"/>
              </a:cxn>
              <a:cxn ang="0">
                <a:pos x="connsiteX7288" y="connsiteY7288"/>
              </a:cxn>
              <a:cxn ang="0">
                <a:pos x="connsiteX7289" y="connsiteY7289"/>
              </a:cxn>
              <a:cxn ang="0">
                <a:pos x="connsiteX7290" y="connsiteY7290"/>
              </a:cxn>
              <a:cxn ang="0">
                <a:pos x="connsiteX7291" y="connsiteY7291"/>
              </a:cxn>
              <a:cxn ang="0">
                <a:pos x="connsiteX7292" y="connsiteY7292"/>
              </a:cxn>
              <a:cxn ang="0">
                <a:pos x="connsiteX7293" y="connsiteY7293"/>
              </a:cxn>
              <a:cxn ang="0">
                <a:pos x="connsiteX7294" y="connsiteY7294"/>
              </a:cxn>
              <a:cxn ang="0">
                <a:pos x="connsiteX7295" y="connsiteY7295"/>
              </a:cxn>
              <a:cxn ang="0">
                <a:pos x="connsiteX7296" y="connsiteY7296"/>
              </a:cxn>
              <a:cxn ang="0">
                <a:pos x="connsiteX7297" y="connsiteY7297"/>
              </a:cxn>
              <a:cxn ang="0">
                <a:pos x="connsiteX7298" y="connsiteY7298"/>
              </a:cxn>
              <a:cxn ang="0">
                <a:pos x="connsiteX7299" y="connsiteY7299"/>
              </a:cxn>
              <a:cxn ang="0">
                <a:pos x="connsiteX7300" y="connsiteY7300"/>
              </a:cxn>
              <a:cxn ang="0">
                <a:pos x="connsiteX7301" y="connsiteY7301"/>
              </a:cxn>
              <a:cxn ang="0">
                <a:pos x="connsiteX7302" y="connsiteY7302"/>
              </a:cxn>
              <a:cxn ang="0">
                <a:pos x="connsiteX7303" y="connsiteY7303"/>
              </a:cxn>
              <a:cxn ang="0">
                <a:pos x="connsiteX7304" y="connsiteY7304"/>
              </a:cxn>
              <a:cxn ang="0">
                <a:pos x="connsiteX7305" y="connsiteY7305"/>
              </a:cxn>
              <a:cxn ang="0">
                <a:pos x="connsiteX7306" y="connsiteY7306"/>
              </a:cxn>
              <a:cxn ang="0">
                <a:pos x="connsiteX7307" y="connsiteY7307"/>
              </a:cxn>
              <a:cxn ang="0">
                <a:pos x="connsiteX7308" y="connsiteY7308"/>
              </a:cxn>
              <a:cxn ang="0">
                <a:pos x="connsiteX7309" y="connsiteY7309"/>
              </a:cxn>
              <a:cxn ang="0">
                <a:pos x="connsiteX7310" y="connsiteY7310"/>
              </a:cxn>
              <a:cxn ang="0">
                <a:pos x="connsiteX7311" y="connsiteY7311"/>
              </a:cxn>
              <a:cxn ang="0">
                <a:pos x="connsiteX7312" y="connsiteY7312"/>
              </a:cxn>
              <a:cxn ang="0">
                <a:pos x="connsiteX7313" y="connsiteY7313"/>
              </a:cxn>
              <a:cxn ang="0">
                <a:pos x="connsiteX7314" y="connsiteY7314"/>
              </a:cxn>
              <a:cxn ang="0">
                <a:pos x="connsiteX7315" y="connsiteY7315"/>
              </a:cxn>
              <a:cxn ang="0">
                <a:pos x="connsiteX7316" y="connsiteY7316"/>
              </a:cxn>
              <a:cxn ang="0">
                <a:pos x="connsiteX7317" y="connsiteY7317"/>
              </a:cxn>
              <a:cxn ang="0">
                <a:pos x="connsiteX7318" y="connsiteY7318"/>
              </a:cxn>
              <a:cxn ang="0">
                <a:pos x="connsiteX7319" y="connsiteY7319"/>
              </a:cxn>
              <a:cxn ang="0">
                <a:pos x="connsiteX7320" y="connsiteY7320"/>
              </a:cxn>
              <a:cxn ang="0">
                <a:pos x="connsiteX7321" y="connsiteY7321"/>
              </a:cxn>
              <a:cxn ang="0">
                <a:pos x="connsiteX7322" y="connsiteY7322"/>
              </a:cxn>
              <a:cxn ang="0">
                <a:pos x="connsiteX7323" y="connsiteY7323"/>
              </a:cxn>
              <a:cxn ang="0">
                <a:pos x="connsiteX7324" y="connsiteY7324"/>
              </a:cxn>
              <a:cxn ang="0">
                <a:pos x="connsiteX7325" y="connsiteY7325"/>
              </a:cxn>
              <a:cxn ang="0">
                <a:pos x="connsiteX7326" y="connsiteY7326"/>
              </a:cxn>
              <a:cxn ang="0">
                <a:pos x="connsiteX7327" y="connsiteY7327"/>
              </a:cxn>
              <a:cxn ang="0">
                <a:pos x="connsiteX7328" y="connsiteY7328"/>
              </a:cxn>
              <a:cxn ang="0">
                <a:pos x="connsiteX7329" y="connsiteY7329"/>
              </a:cxn>
              <a:cxn ang="0">
                <a:pos x="connsiteX7330" y="connsiteY7330"/>
              </a:cxn>
              <a:cxn ang="0">
                <a:pos x="connsiteX7331" y="connsiteY7331"/>
              </a:cxn>
              <a:cxn ang="0">
                <a:pos x="connsiteX7332" y="connsiteY7332"/>
              </a:cxn>
              <a:cxn ang="0">
                <a:pos x="connsiteX7333" y="connsiteY7333"/>
              </a:cxn>
              <a:cxn ang="0">
                <a:pos x="connsiteX7334" y="connsiteY7334"/>
              </a:cxn>
              <a:cxn ang="0">
                <a:pos x="connsiteX7335" y="connsiteY7335"/>
              </a:cxn>
              <a:cxn ang="0">
                <a:pos x="connsiteX7336" y="connsiteY7336"/>
              </a:cxn>
              <a:cxn ang="0">
                <a:pos x="connsiteX7337" y="connsiteY7337"/>
              </a:cxn>
              <a:cxn ang="0">
                <a:pos x="connsiteX7338" y="connsiteY7338"/>
              </a:cxn>
              <a:cxn ang="0">
                <a:pos x="connsiteX7339" y="connsiteY7339"/>
              </a:cxn>
              <a:cxn ang="0">
                <a:pos x="connsiteX7340" y="connsiteY7340"/>
              </a:cxn>
              <a:cxn ang="0">
                <a:pos x="connsiteX7341" y="connsiteY7341"/>
              </a:cxn>
              <a:cxn ang="0">
                <a:pos x="connsiteX7342" y="connsiteY7342"/>
              </a:cxn>
              <a:cxn ang="0">
                <a:pos x="connsiteX7343" y="connsiteY7343"/>
              </a:cxn>
              <a:cxn ang="0">
                <a:pos x="connsiteX7344" y="connsiteY7344"/>
              </a:cxn>
              <a:cxn ang="0">
                <a:pos x="connsiteX7345" y="connsiteY7345"/>
              </a:cxn>
              <a:cxn ang="0">
                <a:pos x="connsiteX7346" y="connsiteY7346"/>
              </a:cxn>
              <a:cxn ang="0">
                <a:pos x="connsiteX7347" y="connsiteY7347"/>
              </a:cxn>
              <a:cxn ang="0">
                <a:pos x="connsiteX7348" y="connsiteY7348"/>
              </a:cxn>
              <a:cxn ang="0">
                <a:pos x="connsiteX7349" y="connsiteY7349"/>
              </a:cxn>
              <a:cxn ang="0">
                <a:pos x="connsiteX7350" y="connsiteY7350"/>
              </a:cxn>
              <a:cxn ang="0">
                <a:pos x="connsiteX7351" y="connsiteY7351"/>
              </a:cxn>
              <a:cxn ang="0">
                <a:pos x="connsiteX7352" y="connsiteY7352"/>
              </a:cxn>
              <a:cxn ang="0">
                <a:pos x="connsiteX7353" y="connsiteY7353"/>
              </a:cxn>
              <a:cxn ang="0">
                <a:pos x="connsiteX7354" y="connsiteY7354"/>
              </a:cxn>
              <a:cxn ang="0">
                <a:pos x="connsiteX7355" y="connsiteY7355"/>
              </a:cxn>
              <a:cxn ang="0">
                <a:pos x="connsiteX7356" y="connsiteY7356"/>
              </a:cxn>
              <a:cxn ang="0">
                <a:pos x="connsiteX7357" y="connsiteY7357"/>
              </a:cxn>
              <a:cxn ang="0">
                <a:pos x="connsiteX7358" y="connsiteY7358"/>
              </a:cxn>
              <a:cxn ang="0">
                <a:pos x="connsiteX7359" y="connsiteY7359"/>
              </a:cxn>
              <a:cxn ang="0">
                <a:pos x="connsiteX7360" y="connsiteY7360"/>
              </a:cxn>
              <a:cxn ang="0">
                <a:pos x="connsiteX7361" y="connsiteY7361"/>
              </a:cxn>
              <a:cxn ang="0">
                <a:pos x="connsiteX7362" y="connsiteY7362"/>
              </a:cxn>
              <a:cxn ang="0">
                <a:pos x="connsiteX7363" y="connsiteY7363"/>
              </a:cxn>
              <a:cxn ang="0">
                <a:pos x="connsiteX7364" y="connsiteY7364"/>
              </a:cxn>
              <a:cxn ang="0">
                <a:pos x="connsiteX7365" y="connsiteY7365"/>
              </a:cxn>
              <a:cxn ang="0">
                <a:pos x="connsiteX7366" y="connsiteY7366"/>
              </a:cxn>
              <a:cxn ang="0">
                <a:pos x="connsiteX7367" y="connsiteY7367"/>
              </a:cxn>
              <a:cxn ang="0">
                <a:pos x="connsiteX7368" y="connsiteY7368"/>
              </a:cxn>
              <a:cxn ang="0">
                <a:pos x="connsiteX7369" y="connsiteY7369"/>
              </a:cxn>
              <a:cxn ang="0">
                <a:pos x="connsiteX7370" y="connsiteY7370"/>
              </a:cxn>
              <a:cxn ang="0">
                <a:pos x="connsiteX7371" y="connsiteY7371"/>
              </a:cxn>
              <a:cxn ang="0">
                <a:pos x="connsiteX7372" y="connsiteY7372"/>
              </a:cxn>
              <a:cxn ang="0">
                <a:pos x="connsiteX7373" y="connsiteY7373"/>
              </a:cxn>
              <a:cxn ang="0">
                <a:pos x="connsiteX7374" y="connsiteY7374"/>
              </a:cxn>
              <a:cxn ang="0">
                <a:pos x="connsiteX7375" y="connsiteY7375"/>
              </a:cxn>
              <a:cxn ang="0">
                <a:pos x="connsiteX7376" y="connsiteY7376"/>
              </a:cxn>
              <a:cxn ang="0">
                <a:pos x="connsiteX7377" y="connsiteY7377"/>
              </a:cxn>
              <a:cxn ang="0">
                <a:pos x="connsiteX7378" y="connsiteY7378"/>
              </a:cxn>
              <a:cxn ang="0">
                <a:pos x="connsiteX7379" y="connsiteY7379"/>
              </a:cxn>
              <a:cxn ang="0">
                <a:pos x="connsiteX7380" y="connsiteY7380"/>
              </a:cxn>
              <a:cxn ang="0">
                <a:pos x="connsiteX7381" y="connsiteY7381"/>
              </a:cxn>
              <a:cxn ang="0">
                <a:pos x="connsiteX7382" y="connsiteY7382"/>
              </a:cxn>
              <a:cxn ang="0">
                <a:pos x="connsiteX7383" y="connsiteY7383"/>
              </a:cxn>
              <a:cxn ang="0">
                <a:pos x="connsiteX7384" y="connsiteY7384"/>
              </a:cxn>
              <a:cxn ang="0">
                <a:pos x="connsiteX7385" y="connsiteY7385"/>
              </a:cxn>
              <a:cxn ang="0">
                <a:pos x="connsiteX7386" y="connsiteY7386"/>
              </a:cxn>
              <a:cxn ang="0">
                <a:pos x="connsiteX7387" y="connsiteY7387"/>
              </a:cxn>
              <a:cxn ang="0">
                <a:pos x="connsiteX7388" y="connsiteY7388"/>
              </a:cxn>
              <a:cxn ang="0">
                <a:pos x="connsiteX7389" y="connsiteY7389"/>
              </a:cxn>
              <a:cxn ang="0">
                <a:pos x="connsiteX7390" y="connsiteY7390"/>
              </a:cxn>
              <a:cxn ang="0">
                <a:pos x="connsiteX7391" y="connsiteY7391"/>
              </a:cxn>
              <a:cxn ang="0">
                <a:pos x="connsiteX7392" y="connsiteY7392"/>
              </a:cxn>
              <a:cxn ang="0">
                <a:pos x="connsiteX7393" y="connsiteY7393"/>
              </a:cxn>
              <a:cxn ang="0">
                <a:pos x="connsiteX7394" y="connsiteY7394"/>
              </a:cxn>
              <a:cxn ang="0">
                <a:pos x="connsiteX7395" y="connsiteY7395"/>
              </a:cxn>
              <a:cxn ang="0">
                <a:pos x="connsiteX7396" y="connsiteY7396"/>
              </a:cxn>
              <a:cxn ang="0">
                <a:pos x="connsiteX7397" y="connsiteY7397"/>
              </a:cxn>
              <a:cxn ang="0">
                <a:pos x="connsiteX7398" y="connsiteY7398"/>
              </a:cxn>
              <a:cxn ang="0">
                <a:pos x="connsiteX7399" y="connsiteY7399"/>
              </a:cxn>
              <a:cxn ang="0">
                <a:pos x="connsiteX7400" y="connsiteY7400"/>
              </a:cxn>
              <a:cxn ang="0">
                <a:pos x="connsiteX7401" y="connsiteY7401"/>
              </a:cxn>
              <a:cxn ang="0">
                <a:pos x="connsiteX7402" y="connsiteY7402"/>
              </a:cxn>
              <a:cxn ang="0">
                <a:pos x="connsiteX7403" y="connsiteY7403"/>
              </a:cxn>
              <a:cxn ang="0">
                <a:pos x="connsiteX7404" y="connsiteY7404"/>
              </a:cxn>
              <a:cxn ang="0">
                <a:pos x="connsiteX7405" y="connsiteY7405"/>
              </a:cxn>
              <a:cxn ang="0">
                <a:pos x="connsiteX7406" y="connsiteY7406"/>
              </a:cxn>
              <a:cxn ang="0">
                <a:pos x="connsiteX7407" y="connsiteY7407"/>
              </a:cxn>
              <a:cxn ang="0">
                <a:pos x="connsiteX7408" y="connsiteY7408"/>
              </a:cxn>
              <a:cxn ang="0">
                <a:pos x="connsiteX7409" y="connsiteY7409"/>
              </a:cxn>
              <a:cxn ang="0">
                <a:pos x="connsiteX7410" y="connsiteY7410"/>
              </a:cxn>
              <a:cxn ang="0">
                <a:pos x="connsiteX7411" y="connsiteY7411"/>
              </a:cxn>
              <a:cxn ang="0">
                <a:pos x="connsiteX7412" y="connsiteY7412"/>
              </a:cxn>
              <a:cxn ang="0">
                <a:pos x="connsiteX7413" y="connsiteY7413"/>
              </a:cxn>
              <a:cxn ang="0">
                <a:pos x="connsiteX7414" y="connsiteY7414"/>
              </a:cxn>
              <a:cxn ang="0">
                <a:pos x="connsiteX7415" y="connsiteY7415"/>
              </a:cxn>
              <a:cxn ang="0">
                <a:pos x="connsiteX7416" y="connsiteY7416"/>
              </a:cxn>
              <a:cxn ang="0">
                <a:pos x="connsiteX7417" y="connsiteY7417"/>
              </a:cxn>
              <a:cxn ang="0">
                <a:pos x="connsiteX7418" y="connsiteY7418"/>
              </a:cxn>
              <a:cxn ang="0">
                <a:pos x="connsiteX7419" y="connsiteY7419"/>
              </a:cxn>
              <a:cxn ang="0">
                <a:pos x="connsiteX7420" y="connsiteY7420"/>
              </a:cxn>
              <a:cxn ang="0">
                <a:pos x="connsiteX7421" y="connsiteY7421"/>
              </a:cxn>
              <a:cxn ang="0">
                <a:pos x="connsiteX7422" y="connsiteY7422"/>
              </a:cxn>
              <a:cxn ang="0">
                <a:pos x="connsiteX7423" y="connsiteY7423"/>
              </a:cxn>
              <a:cxn ang="0">
                <a:pos x="connsiteX7424" y="connsiteY7424"/>
              </a:cxn>
              <a:cxn ang="0">
                <a:pos x="connsiteX7425" y="connsiteY7425"/>
              </a:cxn>
              <a:cxn ang="0">
                <a:pos x="connsiteX7426" y="connsiteY7426"/>
              </a:cxn>
              <a:cxn ang="0">
                <a:pos x="connsiteX7427" y="connsiteY7427"/>
              </a:cxn>
              <a:cxn ang="0">
                <a:pos x="connsiteX7428" y="connsiteY7428"/>
              </a:cxn>
              <a:cxn ang="0">
                <a:pos x="connsiteX7429" y="connsiteY7429"/>
              </a:cxn>
              <a:cxn ang="0">
                <a:pos x="connsiteX7430" y="connsiteY7430"/>
              </a:cxn>
              <a:cxn ang="0">
                <a:pos x="connsiteX7431" y="connsiteY7431"/>
              </a:cxn>
              <a:cxn ang="0">
                <a:pos x="connsiteX7432" y="connsiteY7432"/>
              </a:cxn>
              <a:cxn ang="0">
                <a:pos x="connsiteX7433" y="connsiteY7433"/>
              </a:cxn>
              <a:cxn ang="0">
                <a:pos x="connsiteX7434" y="connsiteY7434"/>
              </a:cxn>
              <a:cxn ang="0">
                <a:pos x="connsiteX7435" y="connsiteY7435"/>
              </a:cxn>
              <a:cxn ang="0">
                <a:pos x="connsiteX7436" y="connsiteY7436"/>
              </a:cxn>
              <a:cxn ang="0">
                <a:pos x="connsiteX7437" y="connsiteY7437"/>
              </a:cxn>
              <a:cxn ang="0">
                <a:pos x="connsiteX7438" y="connsiteY7438"/>
              </a:cxn>
              <a:cxn ang="0">
                <a:pos x="connsiteX7439" y="connsiteY7439"/>
              </a:cxn>
              <a:cxn ang="0">
                <a:pos x="connsiteX7440" y="connsiteY7440"/>
              </a:cxn>
              <a:cxn ang="0">
                <a:pos x="connsiteX7441" y="connsiteY7441"/>
              </a:cxn>
              <a:cxn ang="0">
                <a:pos x="connsiteX7442" y="connsiteY7442"/>
              </a:cxn>
              <a:cxn ang="0">
                <a:pos x="connsiteX7443" y="connsiteY7443"/>
              </a:cxn>
              <a:cxn ang="0">
                <a:pos x="connsiteX7444" y="connsiteY7444"/>
              </a:cxn>
              <a:cxn ang="0">
                <a:pos x="connsiteX7445" y="connsiteY7445"/>
              </a:cxn>
              <a:cxn ang="0">
                <a:pos x="connsiteX7446" y="connsiteY7446"/>
              </a:cxn>
              <a:cxn ang="0">
                <a:pos x="connsiteX7447" y="connsiteY7447"/>
              </a:cxn>
              <a:cxn ang="0">
                <a:pos x="connsiteX7448" y="connsiteY7448"/>
              </a:cxn>
              <a:cxn ang="0">
                <a:pos x="connsiteX7449" y="connsiteY7449"/>
              </a:cxn>
              <a:cxn ang="0">
                <a:pos x="connsiteX7450" y="connsiteY7450"/>
              </a:cxn>
              <a:cxn ang="0">
                <a:pos x="connsiteX7451" y="connsiteY7451"/>
              </a:cxn>
              <a:cxn ang="0">
                <a:pos x="connsiteX7452" y="connsiteY7452"/>
              </a:cxn>
              <a:cxn ang="0">
                <a:pos x="connsiteX7453" y="connsiteY7453"/>
              </a:cxn>
              <a:cxn ang="0">
                <a:pos x="connsiteX7454" y="connsiteY7454"/>
              </a:cxn>
              <a:cxn ang="0">
                <a:pos x="connsiteX7455" y="connsiteY7455"/>
              </a:cxn>
              <a:cxn ang="0">
                <a:pos x="connsiteX7456" y="connsiteY7456"/>
              </a:cxn>
              <a:cxn ang="0">
                <a:pos x="connsiteX7457" y="connsiteY7457"/>
              </a:cxn>
              <a:cxn ang="0">
                <a:pos x="connsiteX7458" y="connsiteY7458"/>
              </a:cxn>
              <a:cxn ang="0">
                <a:pos x="connsiteX7459" y="connsiteY7459"/>
              </a:cxn>
              <a:cxn ang="0">
                <a:pos x="connsiteX7460" y="connsiteY7460"/>
              </a:cxn>
              <a:cxn ang="0">
                <a:pos x="connsiteX7461" y="connsiteY7461"/>
              </a:cxn>
              <a:cxn ang="0">
                <a:pos x="connsiteX7462" y="connsiteY7462"/>
              </a:cxn>
              <a:cxn ang="0">
                <a:pos x="connsiteX7463" y="connsiteY7463"/>
              </a:cxn>
              <a:cxn ang="0">
                <a:pos x="connsiteX7464" y="connsiteY7464"/>
              </a:cxn>
              <a:cxn ang="0">
                <a:pos x="connsiteX7465" y="connsiteY7465"/>
              </a:cxn>
              <a:cxn ang="0">
                <a:pos x="connsiteX7466" y="connsiteY7466"/>
              </a:cxn>
              <a:cxn ang="0">
                <a:pos x="connsiteX7467" y="connsiteY7467"/>
              </a:cxn>
              <a:cxn ang="0">
                <a:pos x="connsiteX7468" y="connsiteY7468"/>
              </a:cxn>
              <a:cxn ang="0">
                <a:pos x="connsiteX7469" y="connsiteY7469"/>
              </a:cxn>
              <a:cxn ang="0">
                <a:pos x="connsiteX7470" y="connsiteY7470"/>
              </a:cxn>
              <a:cxn ang="0">
                <a:pos x="connsiteX7471" y="connsiteY7471"/>
              </a:cxn>
              <a:cxn ang="0">
                <a:pos x="connsiteX7472" y="connsiteY7472"/>
              </a:cxn>
              <a:cxn ang="0">
                <a:pos x="connsiteX7473" y="connsiteY7473"/>
              </a:cxn>
              <a:cxn ang="0">
                <a:pos x="connsiteX7474" y="connsiteY7474"/>
              </a:cxn>
              <a:cxn ang="0">
                <a:pos x="connsiteX7475" y="connsiteY7475"/>
              </a:cxn>
              <a:cxn ang="0">
                <a:pos x="connsiteX7476" y="connsiteY7476"/>
              </a:cxn>
              <a:cxn ang="0">
                <a:pos x="connsiteX7477" y="connsiteY7477"/>
              </a:cxn>
              <a:cxn ang="0">
                <a:pos x="connsiteX7478" y="connsiteY7478"/>
              </a:cxn>
              <a:cxn ang="0">
                <a:pos x="connsiteX7479" y="connsiteY7479"/>
              </a:cxn>
              <a:cxn ang="0">
                <a:pos x="connsiteX7480" y="connsiteY7480"/>
              </a:cxn>
              <a:cxn ang="0">
                <a:pos x="connsiteX7481" y="connsiteY7481"/>
              </a:cxn>
              <a:cxn ang="0">
                <a:pos x="connsiteX7482" y="connsiteY7482"/>
              </a:cxn>
              <a:cxn ang="0">
                <a:pos x="connsiteX7483" y="connsiteY7483"/>
              </a:cxn>
              <a:cxn ang="0">
                <a:pos x="connsiteX7484" y="connsiteY7484"/>
              </a:cxn>
              <a:cxn ang="0">
                <a:pos x="connsiteX7485" y="connsiteY7485"/>
              </a:cxn>
              <a:cxn ang="0">
                <a:pos x="connsiteX7486" y="connsiteY7486"/>
              </a:cxn>
              <a:cxn ang="0">
                <a:pos x="connsiteX7487" y="connsiteY7487"/>
              </a:cxn>
              <a:cxn ang="0">
                <a:pos x="connsiteX7488" y="connsiteY7488"/>
              </a:cxn>
              <a:cxn ang="0">
                <a:pos x="connsiteX7489" y="connsiteY7489"/>
              </a:cxn>
              <a:cxn ang="0">
                <a:pos x="connsiteX7490" y="connsiteY7490"/>
              </a:cxn>
              <a:cxn ang="0">
                <a:pos x="connsiteX7491" y="connsiteY7491"/>
              </a:cxn>
              <a:cxn ang="0">
                <a:pos x="connsiteX7492" y="connsiteY7492"/>
              </a:cxn>
              <a:cxn ang="0">
                <a:pos x="connsiteX7493" y="connsiteY7493"/>
              </a:cxn>
              <a:cxn ang="0">
                <a:pos x="connsiteX7494" y="connsiteY7494"/>
              </a:cxn>
              <a:cxn ang="0">
                <a:pos x="connsiteX7495" y="connsiteY7495"/>
              </a:cxn>
              <a:cxn ang="0">
                <a:pos x="connsiteX7496" y="connsiteY7496"/>
              </a:cxn>
              <a:cxn ang="0">
                <a:pos x="connsiteX7497" y="connsiteY7497"/>
              </a:cxn>
              <a:cxn ang="0">
                <a:pos x="connsiteX7498" y="connsiteY7498"/>
              </a:cxn>
              <a:cxn ang="0">
                <a:pos x="connsiteX7499" y="connsiteY7499"/>
              </a:cxn>
              <a:cxn ang="0">
                <a:pos x="connsiteX7500" y="connsiteY7500"/>
              </a:cxn>
              <a:cxn ang="0">
                <a:pos x="connsiteX7501" y="connsiteY7501"/>
              </a:cxn>
              <a:cxn ang="0">
                <a:pos x="connsiteX7502" y="connsiteY7502"/>
              </a:cxn>
              <a:cxn ang="0">
                <a:pos x="connsiteX7503" y="connsiteY7503"/>
              </a:cxn>
              <a:cxn ang="0">
                <a:pos x="connsiteX7504" y="connsiteY7504"/>
              </a:cxn>
              <a:cxn ang="0">
                <a:pos x="connsiteX7505" y="connsiteY7505"/>
              </a:cxn>
              <a:cxn ang="0">
                <a:pos x="connsiteX7506" y="connsiteY7506"/>
              </a:cxn>
              <a:cxn ang="0">
                <a:pos x="connsiteX7507" y="connsiteY7507"/>
              </a:cxn>
              <a:cxn ang="0">
                <a:pos x="connsiteX7508" y="connsiteY7508"/>
              </a:cxn>
              <a:cxn ang="0">
                <a:pos x="connsiteX7509" y="connsiteY7509"/>
              </a:cxn>
              <a:cxn ang="0">
                <a:pos x="connsiteX7510" y="connsiteY7510"/>
              </a:cxn>
              <a:cxn ang="0">
                <a:pos x="connsiteX7511" y="connsiteY7511"/>
              </a:cxn>
              <a:cxn ang="0">
                <a:pos x="connsiteX7512" y="connsiteY7512"/>
              </a:cxn>
              <a:cxn ang="0">
                <a:pos x="connsiteX7513" y="connsiteY7513"/>
              </a:cxn>
              <a:cxn ang="0">
                <a:pos x="connsiteX7514" y="connsiteY7514"/>
              </a:cxn>
              <a:cxn ang="0">
                <a:pos x="connsiteX7515" y="connsiteY7515"/>
              </a:cxn>
              <a:cxn ang="0">
                <a:pos x="connsiteX7516" y="connsiteY7516"/>
              </a:cxn>
              <a:cxn ang="0">
                <a:pos x="connsiteX7517" y="connsiteY7517"/>
              </a:cxn>
              <a:cxn ang="0">
                <a:pos x="connsiteX7518" y="connsiteY7518"/>
              </a:cxn>
              <a:cxn ang="0">
                <a:pos x="connsiteX7519" y="connsiteY7519"/>
              </a:cxn>
              <a:cxn ang="0">
                <a:pos x="connsiteX7520" y="connsiteY7520"/>
              </a:cxn>
              <a:cxn ang="0">
                <a:pos x="connsiteX7521" y="connsiteY7521"/>
              </a:cxn>
              <a:cxn ang="0">
                <a:pos x="connsiteX7522" y="connsiteY7522"/>
              </a:cxn>
              <a:cxn ang="0">
                <a:pos x="connsiteX7523" y="connsiteY7523"/>
              </a:cxn>
              <a:cxn ang="0">
                <a:pos x="connsiteX7524" y="connsiteY7524"/>
              </a:cxn>
              <a:cxn ang="0">
                <a:pos x="connsiteX7525" y="connsiteY7525"/>
              </a:cxn>
              <a:cxn ang="0">
                <a:pos x="connsiteX7526" y="connsiteY7526"/>
              </a:cxn>
              <a:cxn ang="0">
                <a:pos x="connsiteX7527" y="connsiteY7527"/>
              </a:cxn>
              <a:cxn ang="0">
                <a:pos x="connsiteX7528" y="connsiteY7528"/>
              </a:cxn>
              <a:cxn ang="0">
                <a:pos x="connsiteX7529" y="connsiteY7529"/>
              </a:cxn>
              <a:cxn ang="0">
                <a:pos x="connsiteX7530" y="connsiteY7530"/>
              </a:cxn>
              <a:cxn ang="0">
                <a:pos x="connsiteX7531" y="connsiteY7531"/>
              </a:cxn>
              <a:cxn ang="0">
                <a:pos x="connsiteX7532" y="connsiteY7532"/>
              </a:cxn>
              <a:cxn ang="0">
                <a:pos x="connsiteX7533" y="connsiteY7533"/>
              </a:cxn>
              <a:cxn ang="0">
                <a:pos x="connsiteX7534" y="connsiteY7534"/>
              </a:cxn>
              <a:cxn ang="0">
                <a:pos x="connsiteX7535" y="connsiteY7535"/>
              </a:cxn>
              <a:cxn ang="0">
                <a:pos x="connsiteX7536" y="connsiteY7536"/>
              </a:cxn>
              <a:cxn ang="0">
                <a:pos x="connsiteX7537" y="connsiteY7537"/>
              </a:cxn>
              <a:cxn ang="0">
                <a:pos x="connsiteX7538" y="connsiteY7538"/>
              </a:cxn>
              <a:cxn ang="0">
                <a:pos x="connsiteX7539" y="connsiteY7539"/>
              </a:cxn>
              <a:cxn ang="0">
                <a:pos x="connsiteX7540" y="connsiteY7540"/>
              </a:cxn>
              <a:cxn ang="0">
                <a:pos x="connsiteX7541" y="connsiteY7541"/>
              </a:cxn>
              <a:cxn ang="0">
                <a:pos x="connsiteX7542" y="connsiteY7542"/>
              </a:cxn>
              <a:cxn ang="0">
                <a:pos x="connsiteX7543" y="connsiteY7543"/>
              </a:cxn>
              <a:cxn ang="0">
                <a:pos x="connsiteX7544" y="connsiteY7544"/>
              </a:cxn>
              <a:cxn ang="0">
                <a:pos x="connsiteX7545" y="connsiteY7545"/>
              </a:cxn>
              <a:cxn ang="0">
                <a:pos x="connsiteX7546" y="connsiteY7546"/>
              </a:cxn>
              <a:cxn ang="0">
                <a:pos x="connsiteX7547" y="connsiteY7547"/>
              </a:cxn>
              <a:cxn ang="0">
                <a:pos x="connsiteX7548" y="connsiteY7548"/>
              </a:cxn>
              <a:cxn ang="0">
                <a:pos x="connsiteX7549" y="connsiteY7549"/>
              </a:cxn>
              <a:cxn ang="0">
                <a:pos x="connsiteX7550" y="connsiteY7550"/>
              </a:cxn>
              <a:cxn ang="0">
                <a:pos x="connsiteX7551" y="connsiteY7551"/>
              </a:cxn>
              <a:cxn ang="0">
                <a:pos x="connsiteX7552" y="connsiteY7552"/>
              </a:cxn>
              <a:cxn ang="0">
                <a:pos x="connsiteX7553" y="connsiteY7553"/>
              </a:cxn>
              <a:cxn ang="0">
                <a:pos x="connsiteX7554" y="connsiteY7554"/>
              </a:cxn>
              <a:cxn ang="0">
                <a:pos x="connsiteX7555" y="connsiteY7555"/>
              </a:cxn>
              <a:cxn ang="0">
                <a:pos x="connsiteX7556" y="connsiteY7556"/>
              </a:cxn>
              <a:cxn ang="0">
                <a:pos x="connsiteX7557" y="connsiteY7557"/>
              </a:cxn>
              <a:cxn ang="0">
                <a:pos x="connsiteX7558" y="connsiteY7558"/>
              </a:cxn>
              <a:cxn ang="0">
                <a:pos x="connsiteX7559" y="connsiteY7559"/>
              </a:cxn>
              <a:cxn ang="0">
                <a:pos x="connsiteX7560" y="connsiteY7560"/>
              </a:cxn>
              <a:cxn ang="0">
                <a:pos x="connsiteX7561" y="connsiteY7561"/>
              </a:cxn>
              <a:cxn ang="0">
                <a:pos x="connsiteX7562" y="connsiteY7562"/>
              </a:cxn>
              <a:cxn ang="0">
                <a:pos x="connsiteX7563" y="connsiteY7563"/>
              </a:cxn>
              <a:cxn ang="0">
                <a:pos x="connsiteX7564" y="connsiteY7564"/>
              </a:cxn>
              <a:cxn ang="0">
                <a:pos x="connsiteX7565" y="connsiteY7565"/>
              </a:cxn>
              <a:cxn ang="0">
                <a:pos x="connsiteX7566" y="connsiteY7566"/>
              </a:cxn>
              <a:cxn ang="0">
                <a:pos x="connsiteX7567" y="connsiteY7567"/>
              </a:cxn>
              <a:cxn ang="0">
                <a:pos x="connsiteX7568" y="connsiteY7568"/>
              </a:cxn>
              <a:cxn ang="0">
                <a:pos x="connsiteX7569" y="connsiteY7569"/>
              </a:cxn>
              <a:cxn ang="0">
                <a:pos x="connsiteX7570" y="connsiteY7570"/>
              </a:cxn>
              <a:cxn ang="0">
                <a:pos x="connsiteX7571" y="connsiteY7571"/>
              </a:cxn>
              <a:cxn ang="0">
                <a:pos x="connsiteX7572" y="connsiteY7572"/>
              </a:cxn>
              <a:cxn ang="0">
                <a:pos x="connsiteX7573" y="connsiteY7573"/>
              </a:cxn>
              <a:cxn ang="0">
                <a:pos x="connsiteX7574" y="connsiteY7574"/>
              </a:cxn>
              <a:cxn ang="0">
                <a:pos x="connsiteX7575" y="connsiteY7575"/>
              </a:cxn>
              <a:cxn ang="0">
                <a:pos x="connsiteX7576" y="connsiteY7576"/>
              </a:cxn>
              <a:cxn ang="0">
                <a:pos x="connsiteX7577" y="connsiteY7577"/>
              </a:cxn>
              <a:cxn ang="0">
                <a:pos x="connsiteX7578" y="connsiteY7578"/>
              </a:cxn>
              <a:cxn ang="0">
                <a:pos x="connsiteX7579" y="connsiteY7579"/>
              </a:cxn>
              <a:cxn ang="0">
                <a:pos x="connsiteX7580" y="connsiteY7580"/>
              </a:cxn>
              <a:cxn ang="0">
                <a:pos x="connsiteX7581" y="connsiteY7581"/>
              </a:cxn>
              <a:cxn ang="0">
                <a:pos x="connsiteX7582" y="connsiteY7582"/>
              </a:cxn>
              <a:cxn ang="0">
                <a:pos x="connsiteX7583" y="connsiteY7583"/>
              </a:cxn>
              <a:cxn ang="0">
                <a:pos x="connsiteX7584" y="connsiteY7584"/>
              </a:cxn>
              <a:cxn ang="0">
                <a:pos x="connsiteX7585" y="connsiteY7585"/>
              </a:cxn>
              <a:cxn ang="0">
                <a:pos x="connsiteX7586" y="connsiteY7586"/>
              </a:cxn>
              <a:cxn ang="0">
                <a:pos x="connsiteX7587" y="connsiteY7587"/>
              </a:cxn>
              <a:cxn ang="0">
                <a:pos x="connsiteX7588" y="connsiteY7588"/>
              </a:cxn>
              <a:cxn ang="0">
                <a:pos x="connsiteX7589" y="connsiteY7589"/>
              </a:cxn>
              <a:cxn ang="0">
                <a:pos x="connsiteX7590" y="connsiteY7590"/>
              </a:cxn>
              <a:cxn ang="0">
                <a:pos x="connsiteX7591" y="connsiteY7591"/>
              </a:cxn>
              <a:cxn ang="0">
                <a:pos x="connsiteX7592" y="connsiteY7592"/>
              </a:cxn>
              <a:cxn ang="0">
                <a:pos x="connsiteX7593" y="connsiteY7593"/>
              </a:cxn>
              <a:cxn ang="0">
                <a:pos x="connsiteX7594" y="connsiteY7594"/>
              </a:cxn>
              <a:cxn ang="0">
                <a:pos x="connsiteX7595" y="connsiteY7595"/>
              </a:cxn>
              <a:cxn ang="0">
                <a:pos x="connsiteX7596" y="connsiteY7596"/>
              </a:cxn>
              <a:cxn ang="0">
                <a:pos x="connsiteX7597" y="connsiteY7597"/>
              </a:cxn>
              <a:cxn ang="0">
                <a:pos x="connsiteX7598" y="connsiteY7598"/>
              </a:cxn>
              <a:cxn ang="0">
                <a:pos x="connsiteX7599" y="connsiteY7599"/>
              </a:cxn>
              <a:cxn ang="0">
                <a:pos x="connsiteX7600" y="connsiteY7600"/>
              </a:cxn>
              <a:cxn ang="0">
                <a:pos x="connsiteX7601" y="connsiteY7601"/>
              </a:cxn>
              <a:cxn ang="0">
                <a:pos x="connsiteX7602" y="connsiteY7602"/>
              </a:cxn>
              <a:cxn ang="0">
                <a:pos x="connsiteX7603" y="connsiteY7603"/>
              </a:cxn>
              <a:cxn ang="0">
                <a:pos x="connsiteX7604" y="connsiteY7604"/>
              </a:cxn>
              <a:cxn ang="0">
                <a:pos x="connsiteX7605" y="connsiteY7605"/>
              </a:cxn>
              <a:cxn ang="0">
                <a:pos x="connsiteX7606" y="connsiteY7606"/>
              </a:cxn>
              <a:cxn ang="0">
                <a:pos x="connsiteX7607" y="connsiteY7607"/>
              </a:cxn>
              <a:cxn ang="0">
                <a:pos x="connsiteX7608" y="connsiteY7608"/>
              </a:cxn>
              <a:cxn ang="0">
                <a:pos x="connsiteX7609" y="connsiteY7609"/>
              </a:cxn>
              <a:cxn ang="0">
                <a:pos x="connsiteX7610" y="connsiteY7610"/>
              </a:cxn>
              <a:cxn ang="0">
                <a:pos x="connsiteX7611" y="connsiteY7611"/>
              </a:cxn>
              <a:cxn ang="0">
                <a:pos x="connsiteX7612" y="connsiteY7612"/>
              </a:cxn>
              <a:cxn ang="0">
                <a:pos x="connsiteX7613" y="connsiteY7613"/>
              </a:cxn>
              <a:cxn ang="0">
                <a:pos x="connsiteX7614" y="connsiteY7614"/>
              </a:cxn>
              <a:cxn ang="0">
                <a:pos x="connsiteX7615" y="connsiteY7615"/>
              </a:cxn>
              <a:cxn ang="0">
                <a:pos x="connsiteX7616" y="connsiteY7616"/>
              </a:cxn>
              <a:cxn ang="0">
                <a:pos x="connsiteX7617" y="connsiteY7617"/>
              </a:cxn>
              <a:cxn ang="0">
                <a:pos x="connsiteX7618" y="connsiteY7618"/>
              </a:cxn>
              <a:cxn ang="0">
                <a:pos x="connsiteX7619" y="connsiteY7619"/>
              </a:cxn>
              <a:cxn ang="0">
                <a:pos x="connsiteX7620" y="connsiteY7620"/>
              </a:cxn>
              <a:cxn ang="0">
                <a:pos x="connsiteX7621" y="connsiteY7621"/>
              </a:cxn>
              <a:cxn ang="0">
                <a:pos x="connsiteX7622" y="connsiteY7622"/>
              </a:cxn>
              <a:cxn ang="0">
                <a:pos x="connsiteX7623" y="connsiteY7623"/>
              </a:cxn>
              <a:cxn ang="0">
                <a:pos x="connsiteX7624" y="connsiteY7624"/>
              </a:cxn>
              <a:cxn ang="0">
                <a:pos x="connsiteX7625" y="connsiteY7625"/>
              </a:cxn>
              <a:cxn ang="0">
                <a:pos x="connsiteX7626" y="connsiteY7626"/>
              </a:cxn>
              <a:cxn ang="0">
                <a:pos x="connsiteX7627" y="connsiteY7627"/>
              </a:cxn>
              <a:cxn ang="0">
                <a:pos x="connsiteX7628" y="connsiteY7628"/>
              </a:cxn>
              <a:cxn ang="0">
                <a:pos x="connsiteX7629" y="connsiteY7629"/>
              </a:cxn>
              <a:cxn ang="0">
                <a:pos x="connsiteX7630" y="connsiteY7630"/>
              </a:cxn>
              <a:cxn ang="0">
                <a:pos x="connsiteX7631" y="connsiteY7631"/>
              </a:cxn>
              <a:cxn ang="0">
                <a:pos x="connsiteX7632" y="connsiteY7632"/>
              </a:cxn>
              <a:cxn ang="0">
                <a:pos x="connsiteX7633" y="connsiteY7633"/>
              </a:cxn>
              <a:cxn ang="0">
                <a:pos x="connsiteX7634" y="connsiteY7634"/>
              </a:cxn>
              <a:cxn ang="0">
                <a:pos x="connsiteX7635" y="connsiteY7635"/>
              </a:cxn>
              <a:cxn ang="0">
                <a:pos x="connsiteX7636" y="connsiteY7636"/>
              </a:cxn>
              <a:cxn ang="0">
                <a:pos x="connsiteX7637" y="connsiteY7637"/>
              </a:cxn>
              <a:cxn ang="0">
                <a:pos x="connsiteX7638" y="connsiteY7638"/>
              </a:cxn>
              <a:cxn ang="0">
                <a:pos x="connsiteX7639" y="connsiteY7639"/>
              </a:cxn>
              <a:cxn ang="0">
                <a:pos x="connsiteX7640" y="connsiteY7640"/>
              </a:cxn>
              <a:cxn ang="0">
                <a:pos x="connsiteX7641" y="connsiteY7641"/>
              </a:cxn>
              <a:cxn ang="0">
                <a:pos x="connsiteX7642" y="connsiteY7642"/>
              </a:cxn>
              <a:cxn ang="0">
                <a:pos x="connsiteX7643" y="connsiteY7643"/>
              </a:cxn>
              <a:cxn ang="0">
                <a:pos x="connsiteX7644" y="connsiteY7644"/>
              </a:cxn>
              <a:cxn ang="0">
                <a:pos x="connsiteX7645" y="connsiteY7645"/>
              </a:cxn>
              <a:cxn ang="0">
                <a:pos x="connsiteX7646" y="connsiteY7646"/>
              </a:cxn>
              <a:cxn ang="0">
                <a:pos x="connsiteX7647" y="connsiteY7647"/>
              </a:cxn>
              <a:cxn ang="0">
                <a:pos x="connsiteX7648" y="connsiteY7648"/>
              </a:cxn>
              <a:cxn ang="0">
                <a:pos x="connsiteX7649" y="connsiteY7649"/>
              </a:cxn>
              <a:cxn ang="0">
                <a:pos x="connsiteX7650" y="connsiteY7650"/>
              </a:cxn>
              <a:cxn ang="0">
                <a:pos x="connsiteX7651" y="connsiteY7651"/>
              </a:cxn>
              <a:cxn ang="0">
                <a:pos x="connsiteX7652" y="connsiteY7652"/>
              </a:cxn>
              <a:cxn ang="0">
                <a:pos x="connsiteX7653" y="connsiteY7653"/>
              </a:cxn>
              <a:cxn ang="0">
                <a:pos x="connsiteX7654" y="connsiteY7654"/>
              </a:cxn>
              <a:cxn ang="0">
                <a:pos x="connsiteX7655" y="connsiteY7655"/>
              </a:cxn>
              <a:cxn ang="0">
                <a:pos x="connsiteX7656" y="connsiteY7656"/>
              </a:cxn>
              <a:cxn ang="0">
                <a:pos x="connsiteX7657" y="connsiteY7657"/>
              </a:cxn>
              <a:cxn ang="0">
                <a:pos x="connsiteX7658" y="connsiteY7658"/>
              </a:cxn>
              <a:cxn ang="0">
                <a:pos x="connsiteX7659" y="connsiteY7659"/>
              </a:cxn>
              <a:cxn ang="0">
                <a:pos x="connsiteX7660" y="connsiteY7660"/>
              </a:cxn>
              <a:cxn ang="0">
                <a:pos x="connsiteX7661" y="connsiteY7661"/>
              </a:cxn>
              <a:cxn ang="0">
                <a:pos x="connsiteX7662" y="connsiteY7662"/>
              </a:cxn>
              <a:cxn ang="0">
                <a:pos x="connsiteX7663" y="connsiteY7663"/>
              </a:cxn>
              <a:cxn ang="0">
                <a:pos x="connsiteX7664" y="connsiteY7664"/>
              </a:cxn>
              <a:cxn ang="0">
                <a:pos x="connsiteX7665" y="connsiteY7665"/>
              </a:cxn>
              <a:cxn ang="0">
                <a:pos x="connsiteX7666" y="connsiteY7666"/>
              </a:cxn>
              <a:cxn ang="0">
                <a:pos x="connsiteX7667" y="connsiteY7667"/>
              </a:cxn>
              <a:cxn ang="0">
                <a:pos x="connsiteX7668" y="connsiteY7668"/>
              </a:cxn>
              <a:cxn ang="0">
                <a:pos x="connsiteX7669" y="connsiteY7669"/>
              </a:cxn>
              <a:cxn ang="0">
                <a:pos x="connsiteX7670" y="connsiteY7670"/>
              </a:cxn>
              <a:cxn ang="0">
                <a:pos x="connsiteX7671" y="connsiteY7671"/>
              </a:cxn>
              <a:cxn ang="0">
                <a:pos x="connsiteX7672" y="connsiteY7672"/>
              </a:cxn>
              <a:cxn ang="0">
                <a:pos x="connsiteX7673" y="connsiteY7673"/>
              </a:cxn>
              <a:cxn ang="0">
                <a:pos x="connsiteX7674" y="connsiteY7674"/>
              </a:cxn>
              <a:cxn ang="0">
                <a:pos x="connsiteX7675" y="connsiteY7675"/>
              </a:cxn>
              <a:cxn ang="0">
                <a:pos x="connsiteX7676" y="connsiteY7676"/>
              </a:cxn>
              <a:cxn ang="0">
                <a:pos x="connsiteX7677" y="connsiteY7677"/>
              </a:cxn>
              <a:cxn ang="0">
                <a:pos x="connsiteX7678" y="connsiteY7678"/>
              </a:cxn>
              <a:cxn ang="0">
                <a:pos x="connsiteX7679" y="connsiteY7679"/>
              </a:cxn>
              <a:cxn ang="0">
                <a:pos x="connsiteX7680" y="connsiteY7680"/>
              </a:cxn>
              <a:cxn ang="0">
                <a:pos x="connsiteX7681" y="connsiteY7681"/>
              </a:cxn>
              <a:cxn ang="0">
                <a:pos x="connsiteX7682" y="connsiteY7682"/>
              </a:cxn>
              <a:cxn ang="0">
                <a:pos x="connsiteX7683" y="connsiteY7683"/>
              </a:cxn>
              <a:cxn ang="0">
                <a:pos x="connsiteX7684" y="connsiteY7684"/>
              </a:cxn>
              <a:cxn ang="0">
                <a:pos x="connsiteX7685" y="connsiteY7685"/>
              </a:cxn>
              <a:cxn ang="0">
                <a:pos x="connsiteX7686" y="connsiteY7686"/>
              </a:cxn>
              <a:cxn ang="0">
                <a:pos x="connsiteX7687" y="connsiteY7687"/>
              </a:cxn>
              <a:cxn ang="0">
                <a:pos x="connsiteX7688" y="connsiteY7688"/>
              </a:cxn>
              <a:cxn ang="0">
                <a:pos x="connsiteX7689" y="connsiteY7689"/>
              </a:cxn>
              <a:cxn ang="0">
                <a:pos x="connsiteX7690" y="connsiteY7690"/>
              </a:cxn>
              <a:cxn ang="0">
                <a:pos x="connsiteX7691" y="connsiteY7691"/>
              </a:cxn>
              <a:cxn ang="0">
                <a:pos x="connsiteX7692" y="connsiteY7692"/>
              </a:cxn>
              <a:cxn ang="0">
                <a:pos x="connsiteX7693" y="connsiteY7693"/>
              </a:cxn>
              <a:cxn ang="0">
                <a:pos x="connsiteX7694" y="connsiteY7694"/>
              </a:cxn>
              <a:cxn ang="0">
                <a:pos x="connsiteX7695" y="connsiteY7695"/>
              </a:cxn>
              <a:cxn ang="0">
                <a:pos x="connsiteX7696" y="connsiteY7696"/>
              </a:cxn>
              <a:cxn ang="0">
                <a:pos x="connsiteX7697" y="connsiteY7697"/>
              </a:cxn>
              <a:cxn ang="0">
                <a:pos x="connsiteX7698" y="connsiteY7698"/>
              </a:cxn>
              <a:cxn ang="0">
                <a:pos x="connsiteX7699" y="connsiteY7699"/>
              </a:cxn>
              <a:cxn ang="0">
                <a:pos x="connsiteX7700" y="connsiteY7700"/>
              </a:cxn>
              <a:cxn ang="0">
                <a:pos x="connsiteX7701" y="connsiteY7701"/>
              </a:cxn>
              <a:cxn ang="0">
                <a:pos x="connsiteX7702" y="connsiteY7702"/>
              </a:cxn>
              <a:cxn ang="0">
                <a:pos x="connsiteX7703" y="connsiteY7703"/>
              </a:cxn>
              <a:cxn ang="0">
                <a:pos x="connsiteX7704" y="connsiteY7704"/>
              </a:cxn>
              <a:cxn ang="0">
                <a:pos x="connsiteX7705" y="connsiteY7705"/>
              </a:cxn>
              <a:cxn ang="0">
                <a:pos x="connsiteX7706" y="connsiteY7706"/>
              </a:cxn>
              <a:cxn ang="0">
                <a:pos x="connsiteX7707" y="connsiteY7707"/>
              </a:cxn>
              <a:cxn ang="0">
                <a:pos x="connsiteX7708" y="connsiteY7708"/>
              </a:cxn>
              <a:cxn ang="0">
                <a:pos x="connsiteX7709" y="connsiteY7709"/>
              </a:cxn>
              <a:cxn ang="0">
                <a:pos x="connsiteX7710" y="connsiteY7710"/>
              </a:cxn>
              <a:cxn ang="0">
                <a:pos x="connsiteX7711" y="connsiteY7711"/>
              </a:cxn>
              <a:cxn ang="0">
                <a:pos x="connsiteX7712" y="connsiteY7712"/>
              </a:cxn>
              <a:cxn ang="0">
                <a:pos x="connsiteX7713" y="connsiteY7713"/>
              </a:cxn>
              <a:cxn ang="0">
                <a:pos x="connsiteX7714" y="connsiteY7714"/>
              </a:cxn>
              <a:cxn ang="0">
                <a:pos x="connsiteX7715" y="connsiteY7715"/>
              </a:cxn>
              <a:cxn ang="0">
                <a:pos x="connsiteX7716" y="connsiteY7716"/>
              </a:cxn>
              <a:cxn ang="0">
                <a:pos x="connsiteX7717" y="connsiteY7717"/>
              </a:cxn>
              <a:cxn ang="0">
                <a:pos x="connsiteX7718" y="connsiteY7718"/>
              </a:cxn>
              <a:cxn ang="0">
                <a:pos x="connsiteX7719" y="connsiteY7719"/>
              </a:cxn>
              <a:cxn ang="0">
                <a:pos x="connsiteX7720" y="connsiteY7720"/>
              </a:cxn>
              <a:cxn ang="0">
                <a:pos x="connsiteX7721" y="connsiteY7721"/>
              </a:cxn>
              <a:cxn ang="0">
                <a:pos x="connsiteX7722" y="connsiteY7722"/>
              </a:cxn>
              <a:cxn ang="0">
                <a:pos x="connsiteX7723" y="connsiteY7723"/>
              </a:cxn>
              <a:cxn ang="0">
                <a:pos x="connsiteX7724" y="connsiteY7724"/>
              </a:cxn>
              <a:cxn ang="0">
                <a:pos x="connsiteX7725" y="connsiteY7725"/>
              </a:cxn>
              <a:cxn ang="0">
                <a:pos x="connsiteX7726" y="connsiteY7726"/>
              </a:cxn>
              <a:cxn ang="0">
                <a:pos x="connsiteX7727" y="connsiteY7727"/>
              </a:cxn>
              <a:cxn ang="0">
                <a:pos x="connsiteX7728" y="connsiteY7728"/>
              </a:cxn>
              <a:cxn ang="0">
                <a:pos x="connsiteX7729" y="connsiteY7729"/>
              </a:cxn>
              <a:cxn ang="0">
                <a:pos x="connsiteX7730" y="connsiteY7730"/>
              </a:cxn>
              <a:cxn ang="0">
                <a:pos x="connsiteX7731" y="connsiteY7731"/>
              </a:cxn>
              <a:cxn ang="0">
                <a:pos x="connsiteX7732" y="connsiteY7732"/>
              </a:cxn>
              <a:cxn ang="0">
                <a:pos x="connsiteX7733" y="connsiteY7733"/>
              </a:cxn>
              <a:cxn ang="0">
                <a:pos x="connsiteX7734" y="connsiteY7734"/>
              </a:cxn>
              <a:cxn ang="0">
                <a:pos x="connsiteX7735" y="connsiteY7735"/>
              </a:cxn>
              <a:cxn ang="0">
                <a:pos x="connsiteX7736" y="connsiteY7736"/>
              </a:cxn>
              <a:cxn ang="0">
                <a:pos x="connsiteX7737" y="connsiteY7737"/>
              </a:cxn>
              <a:cxn ang="0">
                <a:pos x="connsiteX7738" y="connsiteY7738"/>
              </a:cxn>
              <a:cxn ang="0">
                <a:pos x="connsiteX7739" y="connsiteY7739"/>
              </a:cxn>
              <a:cxn ang="0">
                <a:pos x="connsiteX7740" y="connsiteY7740"/>
              </a:cxn>
              <a:cxn ang="0">
                <a:pos x="connsiteX7741" y="connsiteY7741"/>
              </a:cxn>
              <a:cxn ang="0">
                <a:pos x="connsiteX7742" y="connsiteY7742"/>
              </a:cxn>
              <a:cxn ang="0">
                <a:pos x="connsiteX7743" y="connsiteY7743"/>
              </a:cxn>
              <a:cxn ang="0">
                <a:pos x="connsiteX7744" y="connsiteY7744"/>
              </a:cxn>
              <a:cxn ang="0">
                <a:pos x="connsiteX7745" y="connsiteY7745"/>
              </a:cxn>
              <a:cxn ang="0">
                <a:pos x="connsiteX7746" y="connsiteY7746"/>
              </a:cxn>
              <a:cxn ang="0">
                <a:pos x="connsiteX7747" y="connsiteY7747"/>
              </a:cxn>
              <a:cxn ang="0">
                <a:pos x="connsiteX7748" y="connsiteY7748"/>
              </a:cxn>
              <a:cxn ang="0">
                <a:pos x="connsiteX7749" y="connsiteY7749"/>
              </a:cxn>
              <a:cxn ang="0">
                <a:pos x="connsiteX7750" y="connsiteY7750"/>
              </a:cxn>
              <a:cxn ang="0">
                <a:pos x="connsiteX7751" y="connsiteY7751"/>
              </a:cxn>
              <a:cxn ang="0">
                <a:pos x="connsiteX7752" y="connsiteY7752"/>
              </a:cxn>
              <a:cxn ang="0">
                <a:pos x="connsiteX7753" y="connsiteY7753"/>
              </a:cxn>
              <a:cxn ang="0">
                <a:pos x="connsiteX7754" y="connsiteY7754"/>
              </a:cxn>
              <a:cxn ang="0">
                <a:pos x="connsiteX7755" y="connsiteY7755"/>
              </a:cxn>
              <a:cxn ang="0">
                <a:pos x="connsiteX7756" y="connsiteY7756"/>
              </a:cxn>
              <a:cxn ang="0">
                <a:pos x="connsiteX7757" y="connsiteY7757"/>
              </a:cxn>
              <a:cxn ang="0">
                <a:pos x="connsiteX7758" y="connsiteY7758"/>
              </a:cxn>
              <a:cxn ang="0">
                <a:pos x="connsiteX7759" y="connsiteY7759"/>
              </a:cxn>
              <a:cxn ang="0">
                <a:pos x="connsiteX7760" y="connsiteY7760"/>
              </a:cxn>
              <a:cxn ang="0">
                <a:pos x="connsiteX7761" y="connsiteY7761"/>
              </a:cxn>
              <a:cxn ang="0">
                <a:pos x="connsiteX7762" y="connsiteY7762"/>
              </a:cxn>
              <a:cxn ang="0">
                <a:pos x="connsiteX7763" y="connsiteY7763"/>
              </a:cxn>
              <a:cxn ang="0">
                <a:pos x="connsiteX7764" y="connsiteY7764"/>
              </a:cxn>
              <a:cxn ang="0">
                <a:pos x="connsiteX7765" y="connsiteY7765"/>
              </a:cxn>
              <a:cxn ang="0">
                <a:pos x="connsiteX7766" y="connsiteY7766"/>
              </a:cxn>
              <a:cxn ang="0">
                <a:pos x="connsiteX7767" y="connsiteY7767"/>
              </a:cxn>
              <a:cxn ang="0">
                <a:pos x="connsiteX7768" y="connsiteY7768"/>
              </a:cxn>
              <a:cxn ang="0">
                <a:pos x="connsiteX7769" y="connsiteY7769"/>
              </a:cxn>
              <a:cxn ang="0">
                <a:pos x="connsiteX7770" y="connsiteY7770"/>
              </a:cxn>
              <a:cxn ang="0">
                <a:pos x="connsiteX7771" y="connsiteY7771"/>
              </a:cxn>
              <a:cxn ang="0">
                <a:pos x="connsiteX7772" y="connsiteY7772"/>
              </a:cxn>
              <a:cxn ang="0">
                <a:pos x="connsiteX7773" y="connsiteY7773"/>
              </a:cxn>
              <a:cxn ang="0">
                <a:pos x="connsiteX7774" y="connsiteY7774"/>
              </a:cxn>
              <a:cxn ang="0">
                <a:pos x="connsiteX7775" y="connsiteY7775"/>
              </a:cxn>
              <a:cxn ang="0">
                <a:pos x="connsiteX7776" y="connsiteY7776"/>
              </a:cxn>
              <a:cxn ang="0">
                <a:pos x="connsiteX7777" y="connsiteY7777"/>
              </a:cxn>
              <a:cxn ang="0">
                <a:pos x="connsiteX7778" y="connsiteY7778"/>
              </a:cxn>
              <a:cxn ang="0">
                <a:pos x="connsiteX7779" y="connsiteY7779"/>
              </a:cxn>
              <a:cxn ang="0">
                <a:pos x="connsiteX7780" y="connsiteY7780"/>
              </a:cxn>
              <a:cxn ang="0">
                <a:pos x="connsiteX7781" y="connsiteY7781"/>
              </a:cxn>
              <a:cxn ang="0">
                <a:pos x="connsiteX7782" y="connsiteY7782"/>
              </a:cxn>
              <a:cxn ang="0">
                <a:pos x="connsiteX7783" y="connsiteY7783"/>
              </a:cxn>
              <a:cxn ang="0">
                <a:pos x="connsiteX7784" y="connsiteY7784"/>
              </a:cxn>
              <a:cxn ang="0">
                <a:pos x="connsiteX7785" y="connsiteY7785"/>
              </a:cxn>
              <a:cxn ang="0">
                <a:pos x="connsiteX7786" y="connsiteY7786"/>
              </a:cxn>
              <a:cxn ang="0">
                <a:pos x="connsiteX7787" y="connsiteY7787"/>
              </a:cxn>
              <a:cxn ang="0">
                <a:pos x="connsiteX7788" y="connsiteY7788"/>
              </a:cxn>
              <a:cxn ang="0">
                <a:pos x="connsiteX7789" y="connsiteY7789"/>
              </a:cxn>
              <a:cxn ang="0">
                <a:pos x="connsiteX7790" y="connsiteY7790"/>
              </a:cxn>
              <a:cxn ang="0">
                <a:pos x="connsiteX7791" y="connsiteY7791"/>
              </a:cxn>
              <a:cxn ang="0">
                <a:pos x="connsiteX7792" y="connsiteY7792"/>
              </a:cxn>
              <a:cxn ang="0">
                <a:pos x="connsiteX7793" y="connsiteY7793"/>
              </a:cxn>
              <a:cxn ang="0">
                <a:pos x="connsiteX7794" y="connsiteY7794"/>
              </a:cxn>
              <a:cxn ang="0">
                <a:pos x="connsiteX7795" y="connsiteY7795"/>
              </a:cxn>
              <a:cxn ang="0">
                <a:pos x="connsiteX7796" y="connsiteY7796"/>
              </a:cxn>
              <a:cxn ang="0">
                <a:pos x="connsiteX7797" y="connsiteY7797"/>
              </a:cxn>
              <a:cxn ang="0">
                <a:pos x="connsiteX7798" y="connsiteY7798"/>
              </a:cxn>
              <a:cxn ang="0">
                <a:pos x="connsiteX7799" y="connsiteY7799"/>
              </a:cxn>
              <a:cxn ang="0">
                <a:pos x="connsiteX7800" y="connsiteY7800"/>
              </a:cxn>
              <a:cxn ang="0">
                <a:pos x="connsiteX7801" y="connsiteY7801"/>
              </a:cxn>
              <a:cxn ang="0">
                <a:pos x="connsiteX7802" y="connsiteY7802"/>
              </a:cxn>
              <a:cxn ang="0">
                <a:pos x="connsiteX7803" y="connsiteY7803"/>
              </a:cxn>
              <a:cxn ang="0">
                <a:pos x="connsiteX7804" y="connsiteY7804"/>
              </a:cxn>
              <a:cxn ang="0">
                <a:pos x="connsiteX7805" y="connsiteY7805"/>
              </a:cxn>
              <a:cxn ang="0">
                <a:pos x="connsiteX7806" y="connsiteY7806"/>
              </a:cxn>
              <a:cxn ang="0">
                <a:pos x="connsiteX7807" y="connsiteY7807"/>
              </a:cxn>
              <a:cxn ang="0">
                <a:pos x="connsiteX7808" y="connsiteY7808"/>
              </a:cxn>
              <a:cxn ang="0">
                <a:pos x="connsiteX7809" y="connsiteY7809"/>
              </a:cxn>
              <a:cxn ang="0">
                <a:pos x="connsiteX7810" y="connsiteY7810"/>
              </a:cxn>
              <a:cxn ang="0">
                <a:pos x="connsiteX7811" y="connsiteY7811"/>
              </a:cxn>
              <a:cxn ang="0">
                <a:pos x="connsiteX7812" y="connsiteY7812"/>
              </a:cxn>
              <a:cxn ang="0">
                <a:pos x="connsiteX7813" y="connsiteY7813"/>
              </a:cxn>
              <a:cxn ang="0">
                <a:pos x="connsiteX7814" y="connsiteY7814"/>
              </a:cxn>
              <a:cxn ang="0">
                <a:pos x="connsiteX7815" y="connsiteY7815"/>
              </a:cxn>
              <a:cxn ang="0">
                <a:pos x="connsiteX7816" y="connsiteY7816"/>
              </a:cxn>
              <a:cxn ang="0">
                <a:pos x="connsiteX7817" y="connsiteY7817"/>
              </a:cxn>
              <a:cxn ang="0">
                <a:pos x="connsiteX7818" y="connsiteY7818"/>
              </a:cxn>
              <a:cxn ang="0">
                <a:pos x="connsiteX7819" y="connsiteY7819"/>
              </a:cxn>
              <a:cxn ang="0">
                <a:pos x="connsiteX7820" y="connsiteY7820"/>
              </a:cxn>
              <a:cxn ang="0">
                <a:pos x="connsiteX7821" y="connsiteY7821"/>
              </a:cxn>
              <a:cxn ang="0">
                <a:pos x="connsiteX7822" y="connsiteY7822"/>
              </a:cxn>
              <a:cxn ang="0">
                <a:pos x="connsiteX7823" y="connsiteY7823"/>
              </a:cxn>
              <a:cxn ang="0">
                <a:pos x="connsiteX7824" y="connsiteY7824"/>
              </a:cxn>
              <a:cxn ang="0">
                <a:pos x="connsiteX7825" y="connsiteY7825"/>
              </a:cxn>
              <a:cxn ang="0">
                <a:pos x="connsiteX7826" y="connsiteY7826"/>
              </a:cxn>
              <a:cxn ang="0">
                <a:pos x="connsiteX7827" y="connsiteY7827"/>
              </a:cxn>
              <a:cxn ang="0">
                <a:pos x="connsiteX7828" y="connsiteY7828"/>
              </a:cxn>
              <a:cxn ang="0">
                <a:pos x="connsiteX7829" y="connsiteY7829"/>
              </a:cxn>
              <a:cxn ang="0">
                <a:pos x="connsiteX7830" y="connsiteY7830"/>
              </a:cxn>
              <a:cxn ang="0">
                <a:pos x="connsiteX7831" y="connsiteY7831"/>
              </a:cxn>
              <a:cxn ang="0">
                <a:pos x="connsiteX7832" y="connsiteY7832"/>
              </a:cxn>
              <a:cxn ang="0">
                <a:pos x="connsiteX7833" y="connsiteY7833"/>
              </a:cxn>
              <a:cxn ang="0">
                <a:pos x="connsiteX7834" y="connsiteY7834"/>
              </a:cxn>
              <a:cxn ang="0">
                <a:pos x="connsiteX7835" y="connsiteY7835"/>
              </a:cxn>
              <a:cxn ang="0">
                <a:pos x="connsiteX7836" y="connsiteY7836"/>
              </a:cxn>
              <a:cxn ang="0">
                <a:pos x="connsiteX7837" y="connsiteY7837"/>
              </a:cxn>
              <a:cxn ang="0">
                <a:pos x="connsiteX7838" y="connsiteY7838"/>
              </a:cxn>
              <a:cxn ang="0">
                <a:pos x="connsiteX7839" y="connsiteY7839"/>
              </a:cxn>
              <a:cxn ang="0">
                <a:pos x="connsiteX7840" y="connsiteY7840"/>
              </a:cxn>
              <a:cxn ang="0">
                <a:pos x="connsiteX7841" y="connsiteY7841"/>
              </a:cxn>
              <a:cxn ang="0">
                <a:pos x="connsiteX7842" y="connsiteY7842"/>
              </a:cxn>
              <a:cxn ang="0">
                <a:pos x="connsiteX7843" y="connsiteY7843"/>
              </a:cxn>
              <a:cxn ang="0">
                <a:pos x="connsiteX7844" y="connsiteY7844"/>
              </a:cxn>
              <a:cxn ang="0">
                <a:pos x="connsiteX7845" y="connsiteY7845"/>
              </a:cxn>
              <a:cxn ang="0">
                <a:pos x="connsiteX7846" y="connsiteY7846"/>
              </a:cxn>
              <a:cxn ang="0">
                <a:pos x="connsiteX7847" y="connsiteY7847"/>
              </a:cxn>
              <a:cxn ang="0">
                <a:pos x="connsiteX7848" y="connsiteY7848"/>
              </a:cxn>
              <a:cxn ang="0">
                <a:pos x="connsiteX7849" y="connsiteY7849"/>
              </a:cxn>
              <a:cxn ang="0">
                <a:pos x="connsiteX7850" y="connsiteY7850"/>
              </a:cxn>
              <a:cxn ang="0">
                <a:pos x="connsiteX7851" y="connsiteY7851"/>
              </a:cxn>
              <a:cxn ang="0">
                <a:pos x="connsiteX7852" y="connsiteY7852"/>
              </a:cxn>
              <a:cxn ang="0">
                <a:pos x="connsiteX7853" y="connsiteY7853"/>
              </a:cxn>
              <a:cxn ang="0">
                <a:pos x="connsiteX7854" y="connsiteY7854"/>
              </a:cxn>
              <a:cxn ang="0">
                <a:pos x="connsiteX7855" y="connsiteY7855"/>
              </a:cxn>
              <a:cxn ang="0">
                <a:pos x="connsiteX7856" y="connsiteY7856"/>
              </a:cxn>
              <a:cxn ang="0">
                <a:pos x="connsiteX7857" y="connsiteY7857"/>
              </a:cxn>
              <a:cxn ang="0">
                <a:pos x="connsiteX7858" y="connsiteY7858"/>
              </a:cxn>
              <a:cxn ang="0">
                <a:pos x="connsiteX7859" y="connsiteY7859"/>
              </a:cxn>
              <a:cxn ang="0">
                <a:pos x="connsiteX7860" y="connsiteY7860"/>
              </a:cxn>
              <a:cxn ang="0">
                <a:pos x="connsiteX7861" y="connsiteY7861"/>
              </a:cxn>
              <a:cxn ang="0">
                <a:pos x="connsiteX7862" y="connsiteY7862"/>
              </a:cxn>
              <a:cxn ang="0">
                <a:pos x="connsiteX7863" y="connsiteY7863"/>
              </a:cxn>
              <a:cxn ang="0">
                <a:pos x="connsiteX7864" y="connsiteY7864"/>
              </a:cxn>
              <a:cxn ang="0">
                <a:pos x="connsiteX7865" y="connsiteY7865"/>
              </a:cxn>
              <a:cxn ang="0">
                <a:pos x="connsiteX7866" y="connsiteY7866"/>
              </a:cxn>
              <a:cxn ang="0">
                <a:pos x="connsiteX7867" y="connsiteY7867"/>
              </a:cxn>
              <a:cxn ang="0">
                <a:pos x="connsiteX7868" y="connsiteY7868"/>
              </a:cxn>
              <a:cxn ang="0">
                <a:pos x="connsiteX7869" y="connsiteY7869"/>
              </a:cxn>
              <a:cxn ang="0">
                <a:pos x="connsiteX7870" y="connsiteY7870"/>
              </a:cxn>
              <a:cxn ang="0">
                <a:pos x="connsiteX7871" y="connsiteY7871"/>
              </a:cxn>
              <a:cxn ang="0">
                <a:pos x="connsiteX7872" y="connsiteY7872"/>
              </a:cxn>
              <a:cxn ang="0">
                <a:pos x="connsiteX7873" y="connsiteY7873"/>
              </a:cxn>
              <a:cxn ang="0">
                <a:pos x="connsiteX7874" y="connsiteY7874"/>
              </a:cxn>
              <a:cxn ang="0">
                <a:pos x="connsiteX7875" y="connsiteY7875"/>
              </a:cxn>
              <a:cxn ang="0">
                <a:pos x="connsiteX7876" y="connsiteY7876"/>
              </a:cxn>
              <a:cxn ang="0">
                <a:pos x="connsiteX7877" y="connsiteY7877"/>
              </a:cxn>
              <a:cxn ang="0">
                <a:pos x="connsiteX7878" y="connsiteY7878"/>
              </a:cxn>
              <a:cxn ang="0">
                <a:pos x="connsiteX7879" y="connsiteY7879"/>
              </a:cxn>
              <a:cxn ang="0">
                <a:pos x="connsiteX7880" y="connsiteY7880"/>
              </a:cxn>
              <a:cxn ang="0">
                <a:pos x="connsiteX7881" y="connsiteY7881"/>
              </a:cxn>
              <a:cxn ang="0">
                <a:pos x="connsiteX7882" y="connsiteY7882"/>
              </a:cxn>
              <a:cxn ang="0">
                <a:pos x="connsiteX7883" y="connsiteY7883"/>
              </a:cxn>
              <a:cxn ang="0">
                <a:pos x="connsiteX7884" y="connsiteY7884"/>
              </a:cxn>
              <a:cxn ang="0">
                <a:pos x="connsiteX7885" y="connsiteY7885"/>
              </a:cxn>
              <a:cxn ang="0">
                <a:pos x="connsiteX7886" y="connsiteY7886"/>
              </a:cxn>
              <a:cxn ang="0">
                <a:pos x="connsiteX7887" y="connsiteY7887"/>
              </a:cxn>
              <a:cxn ang="0">
                <a:pos x="connsiteX7888" y="connsiteY7888"/>
              </a:cxn>
              <a:cxn ang="0">
                <a:pos x="connsiteX7889" y="connsiteY7889"/>
              </a:cxn>
              <a:cxn ang="0">
                <a:pos x="connsiteX7890" y="connsiteY7890"/>
              </a:cxn>
              <a:cxn ang="0">
                <a:pos x="connsiteX7891" y="connsiteY7891"/>
              </a:cxn>
              <a:cxn ang="0">
                <a:pos x="connsiteX7892" y="connsiteY7892"/>
              </a:cxn>
              <a:cxn ang="0">
                <a:pos x="connsiteX7893" y="connsiteY7893"/>
              </a:cxn>
              <a:cxn ang="0">
                <a:pos x="connsiteX7894" y="connsiteY7894"/>
              </a:cxn>
              <a:cxn ang="0">
                <a:pos x="connsiteX7895" y="connsiteY7895"/>
              </a:cxn>
              <a:cxn ang="0">
                <a:pos x="connsiteX7896" y="connsiteY7896"/>
              </a:cxn>
              <a:cxn ang="0">
                <a:pos x="connsiteX7897" y="connsiteY7897"/>
              </a:cxn>
              <a:cxn ang="0">
                <a:pos x="connsiteX7898" y="connsiteY7898"/>
              </a:cxn>
              <a:cxn ang="0">
                <a:pos x="connsiteX7899" y="connsiteY7899"/>
              </a:cxn>
              <a:cxn ang="0">
                <a:pos x="connsiteX7900" y="connsiteY7900"/>
              </a:cxn>
              <a:cxn ang="0">
                <a:pos x="connsiteX7901" y="connsiteY7901"/>
              </a:cxn>
              <a:cxn ang="0">
                <a:pos x="connsiteX7902" y="connsiteY7902"/>
              </a:cxn>
              <a:cxn ang="0">
                <a:pos x="connsiteX7903" y="connsiteY7903"/>
              </a:cxn>
              <a:cxn ang="0">
                <a:pos x="connsiteX7904" y="connsiteY7904"/>
              </a:cxn>
              <a:cxn ang="0">
                <a:pos x="connsiteX7905" y="connsiteY7905"/>
              </a:cxn>
              <a:cxn ang="0">
                <a:pos x="connsiteX7906" y="connsiteY7906"/>
              </a:cxn>
              <a:cxn ang="0">
                <a:pos x="connsiteX7907" y="connsiteY7907"/>
              </a:cxn>
              <a:cxn ang="0">
                <a:pos x="connsiteX7908" y="connsiteY7908"/>
              </a:cxn>
              <a:cxn ang="0">
                <a:pos x="connsiteX7909" y="connsiteY7909"/>
              </a:cxn>
              <a:cxn ang="0">
                <a:pos x="connsiteX7910" y="connsiteY7910"/>
              </a:cxn>
              <a:cxn ang="0">
                <a:pos x="connsiteX7911" y="connsiteY7911"/>
              </a:cxn>
              <a:cxn ang="0">
                <a:pos x="connsiteX7912" y="connsiteY7912"/>
              </a:cxn>
              <a:cxn ang="0">
                <a:pos x="connsiteX7913" y="connsiteY7913"/>
              </a:cxn>
              <a:cxn ang="0">
                <a:pos x="connsiteX7914" y="connsiteY7914"/>
              </a:cxn>
              <a:cxn ang="0">
                <a:pos x="connsiteX7915" y="connsiteY7915"/>
              </a:cxn>
              <a:cxn ang="0">
                <a:pos x="connsiteX7916" y="connsiteY7916"/>
              </a:cxn>
              <a:cxn ang="0">
                <a:pos x="connsiteX7917" y="connsiteY7917"/>
              </a:cxn>
              <a:cxn ang="0">
                <a:pos x="connsiteX7918" y="connsiteY7918"/>
              </a:cxn>
              <a:cxn ang="0">
                <a:pos x="connsiteX7919" y="connsiteY7919"/>
              </a:cxn>
              <a:cxn ang="0">
                <a:pos x="connsiteX7920" y="connsiteY7920"/>
              </a:cxn>
              <a:cxn ang="0">
                <a:pos x="connsiteX7921" y="connsiteY7921"/>
              </a:cxn>
              <a:cxn ang="0">
                <a:pos x="connsiteX7922" y="connsiteY7922"/>
              </a:cxn>
              <a:cxn ang="0">
                <a:pos x="connsiteX7923" y="connsiteY7923"/>
              </a:cxn>
              <a:cxn ang="0">
                <a:pos x="connsiteX7924" y="connsiteY7924"/>
              </a:cxn>
              <a:cxn ang="0">
                <a:pos x="connsiteX7925" y="connsiteY7925"/>
              </a:cxn>
              <a:cxn ang="0">
                <a:pos x="connsiteX7926" y="connsiteY7926"/>
              </a:cxn>
              <a:cxn ang="0">
                <a:pos x="connsiteX7927" y="connsiteY7927"/>
              </a:cxn>
              <a:cxn ang="0">
                <a:pos x="connsiteX7928" y="connsiteY7928"/>
              </a:cxn>
              <a:cxn ang="0">
                <a:pos x="connsiteX7929" y="connsiteY7929"/>
              </a:cxn>
              <a:cxn ang="0">
                <a:pos x="connsiteX7930" y="connsiteY7930"/>
              </a:cxn>
              <a:cxn ang="0">
                <a:pos x="connsiteX7931" y="connsiteY7931"/>
              </a:cxn>
              <a:cxn ang="0">
                <a:pos x="connsiteX7932" y="connsiteY7932"/>
              </a:cxn>
              <a:cxn ang="0">
                <a:pos x="connsiteX7933" y="connsiteY7933"/>
              </a:cxn>
              <a:cxn ang="0">
                <a:pos x="connsiteX7934" y="connsiteY7934"/>
              </a:cxn>
              <a:cxn ang="0">
                <a:pos x="connsiteX7935" y="connsiteY7935"/>
              </a:cxn>
              <a:cxn ang="0">
                <a:pos x="connsiteX7936" y="connsiteY7936"/>
              </a:cxn>
              <a:cxn ang="0">
                <a:pos x="connsiteX7937" y="connsiteY7937"/>
              </a:cxn>
              <a:cxn ang="0">
                <a:pos x="connsiteX7938" y="connsiteY7938"/>
              </a:cxn>
              <a:cxn ang="0">
                <a:pos x="connsiteX7939" y="connsiteY7939"/>
              </a:cxn>
              <a:cxn ang="0">
                <a:pos x="connsiteX7940" y="connsiteY7940"/>
              </a:cxn>
              <a:cxn ang="0">
                <a:pos x="connsiteX7941" y="connsiteY7941"/>
              </a:cxn>
              <a:cxn ang="0">
                <a:pos x="connsiteX7942" y="connsiteY7942"/>
              </a:cxn>
              <a:cxn ang="0">
                <a:pos x="connsiteX7943" y="connsiteY7943"/>
              </a:cxn>
              <a:cxn ang="0">
                <a:pos x="connsiteX7944" y="connsiteY7944"/>
              </a:cxn>
              <a:cxn ang="0">
                <a:pos x="connsiteX7945" y="connsiteY7945"/>
              </a:cxn>
              <a:cxn ang="0">
                <a:pos x="connsiteX7946" y="connsiteY7946"/>
              </a:cxn>
              <a:cxn ang="0">
                <a:pos x="connsiteX7947" y="connsiteY7947"/>
              </a:cxn>
              <a:cxn ang="0">
                <a:pos x="connsiteX7948" y="connsiteY7948"/>
              </a:cxn>
              <a:cxn ang="0">
                <a:pos x="connsiteX7949" y="connsiteY7949"/>
              </a:cxn>
              <a:cxn ang="0">
                <a:pos x="connsiteX7950" y="connsiteY7950"/>
              </a:cxn>
              <a:cxn ang="0">
                <a:pos x="connsiteX7951" y="connsiteY7951"/>
              </a:cxn>
              <a:cxn ang="0">
                <a:pos x="connsiteX7952" y="connsiteY7952"/>
              </a:cxn>
              <a:cxn ang="0">
                <a:pos x="connsiteX7953" y="connsiteY7953"/>
              </a:cxn>
              <a:cxn ang="0">
                <a:pos x="connsiteX7954" y="connsiteY7954"/>
              </a:cxn>
              <a:cxn ang="0">
                <a:pos x="connsiteX7955" y="connsiteY7955"/>
              </a:cxn>
              <a:cxn ang="0">
                <a:pos x="connsiteX7956" y="connsiteY7956"/>
              </a:cxn>
              <a:cxn ang="0">
                <a:pos x="connsiteX7957" y="connsiteY7957"/>
              </a:cxn>
              <a:cxn ang="0">
                <a:pos x="connsiteX7958" y="connsiteY7958"/>
              </a:cxn>
              <a:cxn ang="0">
                <a:pos x="connsiteX7959" y="connsiteY7959"/>
              </a:cxn>
              <a:cxn ang="0">
                <a:pos x="connsiteX7960" y="connsiteY7960"/>
              </a:cxn>
              <a:cxn ang="0">
                <a:pos x="connsiteX7961" y="connsiteY7961"/>
              </a:cxn>
              <a:cxn ang="0">
                <a:pos x="connsiteX7962" y="connsiteY7962"/>
              </a:cxn>
              <a:cxn ang="0">
                <a:pos x="connsiteX7963" y="connsiteY7963"/>
              </a:cxn>
              <a:cxn ang="0">
                <a:pos x="connsiteX7964" y="connsiteY7964"/>
              </a:cxn>
              <a:cxn ang="0">
                <a:pos x="connsiteX7965" y="connsiteY7965"/>
              </a:cxn>
              <a:cxn ang="0">
                <a:pos x="connsiteX7966" y="connsiteY7966"/>
              </a:cxn>
              <a:cxn ang="0">
                <a:pos x="connsiteX7967" y="connsiteY7967"/>
              </a:cxn>
              <a:cxn ang="0">
                <a:pos x="connsiteX7968" y="connsiteY7968"/>
              </a:cxn>
              <a:cxn ang="0">
                <a:pos x="connsiteX7969" y="connsiteY7969"/>
              </a:cxn>
              <a:cxn ang="0">
                <a:pos x="connsiteX7970" y="connsiteY7970"/>
              </a:cxn>
              <a:cxn ang="0">
                <a:pos x="connsiteX7971" y="connsiteY7971"/>
              </a:cxn>
              <a:cxn ang="0">
                <a:pos x="connsiteX7972" y="connsiteY7972"/>
              </a:cxn>
              <a:cxn ang="0">
                <a:pos x="connsiteX7973" y="connsiteY7973"/>
              </a:cxn>
              <a:cxn ang="0">
                <a:pos x="connsiteX7974" y="connsiteY7974"/>
              </a:cxn>
              <a:cxn ang="0">
                <a:pos x="connsiteX7975" y="connsiteY7975"/>
              </a:cxn>
              <a:cxn ang="0">
                <a:pos x="connsiteX7976" y="connsiteY7976"/>
              </a:cxn>
              <a:cxn ang="0">
                <a:pos x="connsiteX7977" y="connsiteY7977"/>
              </a:cxn>
              <a:cxn ang="0">
                <a:pos x="connsiteX7978" y="connsiteY7978"/>
              </a:cxn>
              <a:cxn ang="0">
                <a:pos x="connsiteX7979" y="connsiteY7979"/>
              </a:cxn>
              <a:cxn ang="0">
                <a:pos x="connsiteX7980" y="connsiteY7980"/>
              </a:cxn>
              <a:cxn ang="0">
                <a:pos x="connsiteX7981" y="connsiteY7981"/>
              </a:cxn>
              <a:cxn ang="0">
                <a:pos x="connsiteX7982" y="connsiteY7982"/>
              </a:cxn>
              <a:cxn ang="0">
                <a:pos x="connsiteX7983" y="connsiteY7983"/>
              </a:cxn>
              <a:cxn ang="0">
                <a:pos x="connsiteX7984" y="connsiteY7984"/>
              </a:cxn>
              <a:cxn ang="0">
                <a:pos x="connsiteX7985" y="connsiteY7985"/>
              </a:cxn>
              <a:cxn ang="0">
                <a:pos x="connsiteX7986" y="connsiteY7986"/>
              </a:cxn>
              <a:cxn ang="0">
                <a:pos x="connsiteX7987" y="connsiteY7987"/>
              </a:cxn>
              <a:cxn ang="0">
                <a:pos x="connsiteX7988" y="connsiteY7988"/>
              </a:cxn>
              <a:cxn ang="0">
                <a:pos x="connsiteX7989" y="connsiteY7989"/>
              </a:cxn>
              <a:cxn ang="0">
                <a:pos x="connsiteX7990" y="connsiteY7990"/>
              </a:cxn>
              <a:cxn ang="0">
                <a:pos x="connsiteX7991" y="connsiteY7991"/>
              </a:cxn>
              <a:cxn ang="0">
                <a:pos x="connsiteX7992" y="connsiteY7992"/>
              </a:cxn>
              <a:cxn ang="0">
                <a:pos x="connsiteX7993" y="connsiteY7993"/>
              </a:cxn>
              <a:cxn ang="0">
                <a:pos x="connsiteX7994" y="connsiteY7994"/>
              </a:cxn>
              <a:cxn ang="0">
                <a:pos x="connsiteX7995" y="connsiteY7995"/>
              </a:cxn>
              <a:cxn ang="0">
                <a:pos x="connsiteX7996" y="connsiteY7996"/>
              </a:cxn>
              <a:cxn ang="0">
                <a:pos x="connsiteX7997" y="connsiteY7997"/>
              </a:cxn>
              <a:cxn ang="0">
                <a:pos x="connsiteX7998" y="connsiteY7998"/>
              </a:cxn>
              <a:cxn ang="0">
                <a:pos x="connsiteX7999" y="connsiteY7999"/>
              </a:cxn>
              <a:cxn ang="0">
                <a:pos x="connsiteX8000" y="connsiteY8000"/>
              </a:cxn>
              <a:cxn ang="0">
                <a:pos x="connsiteX8001" y="connsiteY8001"/>
              </a:cxn>
              <a:cxn ang="0">
                <a:pos x="connsiteX8002" y="connsiteY8002"/>
              </a:cxn>
              <a:cxn ang="0">
                <a:pos x="connsiteX8003" y="connsiteY8003"/>
              </a:cxn>
              <a:cxn ang="0">
                <a:pos x="connsiteX8004" y="connsiteY8004"/>
              </a:cxn>
              <a:cxn ang="0">
                <a:pos x="connsiteX8005" y="connsiteY8005"/>
              </a:cxn>
              <a:cxn ang="0">
                <a:pos x="connsiteX8006" y="connsiteY8006"/>
              </a:cxn>
              <a:cxn ang="0">
                <a:pos x="connsiteX8007" y="connsiteY8007"/>
              </a:cxn>
              <a:cxn ang="0">
                <a:pos x="connsiteX8008" y="connsiteY8008"/>
              </a:cxn>
              <a:cxn ang="0">
                <a:pos x="connsiteX8009" y="connsiteY8009"/>
              </a:cxn>
              <a:cxn ang="0">
                <a:pos x="connsiteX8010" y="connsiteY8010"/>
              </a:cxn>
              <a:cxn ang="0">
                <a:pos x="connsiteX8011" y="connsiteY8011"/>
              </a:cxn>
              <a:cxn ang="0">
                <a:pos x="connsiteX8012" y="connsiteY8012"/>
              </a:cxn>
              <a:cxn ang="0">
                <a:pos x="connsiteX8013" y="connsiteY8013"/>
              </a:cxn>
              <a:cxn ang="0">
                <a:pos x="connsiteX8014" y="connsiteY8014"/>
              </a:cxn>
              <a:cxn ang="0">
                <a:pos x="connsiteX8015" y="connsiteY8015"/>
              </a:cxn>
              <a:cxn ang="0">
                <a:pos x="connsiteX8016" y="connsiteY8016"/>
              </a:cxn>
              <a:cxn ang="0">
                <a:pos x="connsiteX8017" y="connsiteY8017"/>
              </a:cxn>
              <a:cxn ang="0">
                <a:pos x="connsiteX8018" y="connsiteY8018"/>
              </a:cxn>
              <a:cxn ang="0">
                <a:pos x="connsiteX8019" y="connsiteY8019"/>
              </a:cxn>
              <a:cxn ang="0">
                <a:pos x="connsiteX8020" y="connsiteY8020"/>
              </a:cxn>
              <a:cxn ang="0">
                <a:pos x="connsiteX8021" y="connsiteY8021"/>
              </a:cxn>
              <a:cxn ang="0">
                <a:pos x="connsiteX8022" y="connsiteY8022"/>
              </a:cxn>
              <a:cxn ang="0">
                <a:pos x="connsiteX8023" y="connsiteY8023"/>
              </a:cxn>
              <a:cxn ang="0">
                <a:pos x="connsiteX8024" y="connsiteY8024"/>
              </a:cxn>
              <a:cxn ang="0">
                <a:pos x="connsiteX8025" y="connsiteY8025"/>
              </a:cxn>
              <a:cxn ang="0">
                <a:pos x="connsiteX8026" y="connsiteY8026"/>
              </a:cxn>
              <a:cxn ang="0">
                <a:pos x="connsiteX8027" y="connsiteY8027"/>
              </a:cxn>
              <a:cxn ang="0">
                <a:pos x="connsiteX8028" y="connsiteY8028"/>
              </a:cxn>
              <a:cxn ang="0">
                <a:pos x="connsiteX8029" y="connsiteY8029"/>
              </a:cxn>
              <a:cxn ang="0">
                <a:pos x="connsiteX8030" y="connsiteY8030"/>
              </a:cxn>
              <a:cxn ang="0">
                <a:pos x="connsiteX8031" y="connsiteY8031"/>
              </a:cxn>
              <a:cxn ang="0">
                <a:pos x="connsiteX8032" y="connsiteY8032"/>
              </a:cxn>
              <a:cxn ang="0">
                <a:pos x="connsiteX8033" y="connsiteY8033"/>
              </a:cxn>
              <a:cxn ang="0">
                <a:pos x="connsiteX8034" y="connsiteY8034"/>
              </a:cxn>
              <a:cxn ang="0">
                <a:pos x="connsiteX8035" y="connsiteY8035"/>
              </a:cxn>
              <a:cxn ang="0">
                <a:pos x="connsiteX8036" y="connsiteY8036"/>
              </a:cxn>
              <a:cxn ang="0">
                <a:pos x="connsiteX8037" y="connsiteY8037"/>
              </a:cxn>
              <a:cxn ang="0">
                <a:pos x="connsiteX8038" y="connsiteY8038"/>
              </a:cxn>
              <a:cxn ang="0">
                <a:pos x="connsiteX8039" y="connsiteY8039"/>
              </a:cxn>
              <a:cxn ang="0">
                <a:pos x="connsiteX8040" y="connsiteY8040"/>
              </a:cxn>
              <a:cxn ang="0">
                <a:pos x="connsiteX8041" y="connsiteY8041"/>
              </a:cxn>
              <a:cxn ang="0">
                <a:pos x="connsiteX8042" y="connsiteY8042"/>
              </a:cxn>
              <a:cxn ang="0">
                <a:pos x="connsiteX8043" y="connsiteY8043"/>
              </a:cxn>
              <a:cxn ang="0">
                <a:pos x="connsiteX8044" y="connsiteY8044"/>
              </a:cxn>
              <a:cxn ang="0">
                <a:pos x="connsiteX8045" y="connsiteY8045"/>
              </a:cxn>
              <a:cxn ang="0">
                <a:pos x="connsiteX8046" y="connsiteY8046"/>
              </a:cxn>
              <a:cxn ang="0">
                <a:pos x="connsiteX8047" y="connsiteY8047"/>
              </a:cxn>
              <a:cxn ang="0">
                <a:pos x="connsiteX8048" y="connsiteY8048"/>
              </a:cxn>
              <a:cxn ang="0">
                <a:pos x="connsiteX8049" y="connsiteY8049"/>
              </a:cxn>
              <a:cxn ang="0">
                <a:pos x="connsiteX8050" y="connsiteY8050"/>
              </a:cxn>
              <a:cxn ang="0">
                <a:pos x="connsiteX8051" y="connsiteY8051"/>
              </a:cxn>
              <a:cxn ang="0">
                <a:pos x="connsiteX8052" y="connsiteY8052"/>
              </a:cxn>
              <a:cxn ang="0">
                <a:pos x="connsiteX8053" y="connsiteY8053"/>
              </a:cxn>
              <a:cxn ang="0">
                <a:pos x="connsiteX8054" y="connsiteY8054"/>
              </a:cxn>
              <a:cxn ang="0">
                <a:pos x="connsiteX8055" y="connsiteY8055"/>
              </a:cxn>
              <a:cxn ang="0">
                <a:pos x="connsiteX8056" y="connsiteY8056"/>
              </a:cxn>
              <a:cxn ang="0">
                <a:pos x="connsiteX8057" y="connsiteY8057"/>
              </a:cxn>
              <a:cxn ang="0">
                <a:pos x="connsiteX8058" y="connsiteY8058"/>
              </a:cxn>
              <a:cxn ang="0">
                <a:pos x="connsiteX8059" y="connsiteY8059"/>
              </a:cxn>
              <a:cxn ang="0">
                <a:pos x="connsiteX8060" y="connsiteY8060"/>
              </a:cxn>
              <a:cxn ang="0">
                <a:pos x="connsiteX8061" y="connsiteY8061"/>
              </a:cxn>
              <a:cxn ang="0">
                <a:pos x="connsiteX8062" y="connsiteY8062"/>
              </a:cxn>
              <a:cxn ang="0">
                <a:pos x="connsiteX8063" y="connsiteY8063"/>
              </a:cxn>
              <a:cxn ang="0">
                <a:pos x="connsiteX8064" y="connsiteY8064"/>
              </a:cxn>
              <a:cxn ang="0">
                <a:pos x="connsiteX8065" y="connsiteY8065"/>
              </a:cxn>
              <a:cxn ang="0">
                <a:pos x="connsiteX8066" y="connsiteY8066"/>
              </a:cxn>
              <a:cxn ang="0">
                <a:pos x="connsiteX8067" y="connsiteY8067"/>
              </a:cxn>
              <a:cxn ang="0">
                <a:pos x="connsiteX8068" y="connsiteY8068"/>
              </a:cxn>
              <a:cxn ang="0">
                <a:pos x="connsiteX8069" y="connsiteY8069"/>
              </a:cxn>
              <a:cxn ang="0">
                <a:pos x="connsiteX8070" y="connsiteY8070"/>
              </a:cxn>
              <a:cxn ang="0">
                <a:pos x="connsiteX8071" y="connsiteY8071"/>
              </a:cxn>
              <a:cxn ang="0">
                <a:pos x="connsiteX8072" y="connsiteY8072"/>
              </a:cxn>
              <a:cxn ang="0">
                <a:pos x="connsiteX8073" y="connsiteY8073"/>
              </a:cxn>
              <a:cxn ang="0">
                <a:pos x="connsiteX8074" y="connsiteY8074"/>
              </a:cxn>
              <a:cxn ang="0">
                <a:pos x="connsiteX8075" y="connsiteY8075"/>
              </a:cxn>
              <a:cxn ang="0">
                <a:pos x="connsiteX8076" y="connsiteY8076"/>
              </a:cxn>
              <a:cxn ang="0">
                <a:pos x="connsiteX8077" y="connsiteY8077"/>
              </a:cxn>
              <a:cxn ang="0">
                <a:pos x="connsiteX8078" y="connsiteY8078"/>
              </a:cxn>
              <a:cxn ang="0">
                <a:pos x="connsiteX8079" y="connsiteY8079"/>
              </a:cxn>
              <a:cxn ang="0">
                <a:pos x="connsiteX8080" y="connsiteY8080"/>
              </a:cxn>
              <a:cxn ang="0">
                <a:pos x="connsiteX8081" y="connsiteY8081"/>
              </a:cxn>
              <a:cxn ang="0">
                <a:pos x="connsiteX8082" y="connsiteY8082"/>
              </a:cxn>
              <a:cxn ang="0">
                <a:pos x="connsiteX8083" y="connsiteY8083"/>
              </a:cxn>
              <a:cxn ang="0">
                <a:pos x="connsiteX8084" y="connsiteY8084"/>
              </a:cxn>
              <a:cxn ang="0">
                <a:pos x="connsiteX8085" y="connsiteY8085"/>
              </a:cxn>
              <a:cxn ang="0">
                <a:pos x="connsiteX8086" y="connsiteY8086"/>
              </a:cxn>
              <a:cxn ang="0">
                <a:pos x="connsiteX8087" y="connsiteY8087"/>
              </a:cxn>
              <a:cxn ang="0">
                <a:pos x="connsiteX8088" y="connsiteY8088"/>
              </a:cxn>
              <a:cxn ang="0">
                <a:pos x="connsiteX8089" y="connsiteY8089"/>
              </a:cxn>
              <a:cxn ang="0">
                <a:pos x="connsiteX8090" y="connsiteY8090"/>
              </a:cxn>
              <a:cxn ang="0">
                <a:pos x="connsiteX8091" y="connsiteY8091"/>
              </a:cxn>
              <a:cxn ang="0">
                <a:pos x="connsiteX8092" y="connsiteY8092"/>
              </a:cxn>
              <a:cxn ang="0">
                <a:pos x="connsiteX8093" y="connsiteY8093"/>
              </a:cxn>
              <a:cxn ang="0">
                <a:pos x="connsiteX8094" y="connsiteY8094"/>
              </a:cxn>
              <a:cxn ang="0">
                <a:pos x="connsiteX8095" y="connsiteY8095"/>
              </a:cxn>
              <a:cxn ang="0">
                <a:pos x="connsiteX8096" y="connsiteY8096"/>
              </a:cxn>
              <a:cxn ang="0">
                <a:pos x="connsiteX8097" y="connsiteY8097"/>
              </a:cxn>
              <a:cxn ang="0">
                <a:pos x="connsiteX8098" y="connsiteY8098"/>
              </a:cxn>
              <a:cxn ang="0">
                <a:pos x="connsiteX8099" y="connsiteY8099"/>
              </a:cxn>
              <a:cxn ang="0">
                <a:pos x="connsiteX8100" y="connsiteY8100"/>
              </a:cxn>
              <a:cxn ang="0">
                <a:pos x="connsiteX8101" y="connsiteY8101"/>
              </a:cxn>
              <a:cxn ang="0">
                <a:pos x="connsiteX8102" y="connsiteY8102"/>
              </a:cxn>
              <a:cxn ang="0">
                <a:pos x="connsiteX8103" y="connsiteY8103"/>
              </a:cxn>
              <a:cxn ang="0">
                <a:pos x="connsiteX8104" y="connsiteY8104"/>
              </a:cxn>
              <a:cxn ang="0">
                <a:pos x="connsiteX8105" y="connsiteY8105"/>
              </a:cxn>
              <a:cxn ang="0">
                <a:pos x="connsiteX8106" y="connsiteY8106"/>
              </a:cxn>
              <a:cxn ang="0">
                <a:pos x="connsiteX8107" y="connsiteY8107"/>
              </a:cxn>
              <a:cxn ang="0">
                <a:pos x="connsiteX8108" y="connsiteY8108"/>
              </a:cxn>
              <a:cxn ang="0">
                <a:pos x="connsiteX8109" y="connsiteY8109"/>
              </a:cxn>
              <a:cxn ang="0">
                <a:pos x="connsiteX8110" y="connsiteY8110"/>
              </a:cxn>
              <a:cxn ang="0">
                <a:pos x="connsiteX8111" y="connsiteY8111"/>
              </a:cxn>
              <a:cxn ang="0">
                <a:pos x="connsiteX8112" y="connsiteY8112"/>
              </a:cxn>
              <a:cxn ang="0">
                <a:pos x="connsiteX8113" y="connsiteY8113"/>
              </a:cxn>
              <a:cxn ang="0">
                <a:pos x="connsiteX8114" y="connsiteY8114"/>
              </a:cxn>
              <a:cxn ang="0">
                <a:pos x="connsiteX8115" y="connsiteY8115"/>
              </a:cxn>
              <a:cxn ang="0">
                <a:pos x="connsiteX8116" y="connsiteY8116"/>
              </a:cxn>
              <a:cxn ang="0">
                <a:pos x="connsiteX8117" y="connsiteY8117"/>
              </a:cxn>
              <a:cxn ang="0">
                <a:pos x="connsiteX8118" y="connsiteY8118"/>
              </a:cxn>
              <a:cxn ang="0">
                <a:pos x="connsiteX8119" y="connsiteY8119"/>
              </a:cxn>
              <a:cxn ang="0">
                <a:pos x="connsiteX8120" y="connsiteY8120"/>
              </a:cxn>
              <a:cxn ang="0">
                <a:pos x="connsiteX8121" y="connsiteY8121"/>
              </a:cxn>
              <a:cxn ang="0">
                <a:pos x="connsiteX8122" y="connsiteY8122"/>
              </a:cxn>
              <a:cxn ang="0">
                <a:pos x="connsiteX8123" y="connsiteY8123"/>
              </a:cxn>
              <a:cxn ang="0">
                <a:pos x="connsiteX8124" y="connsiteY8124"/>
              </a:cxn>
              <a:cxn ang="0">
                <a:pos x="connsiteX8125" y="connsiteY8125"/>
              </a:cxn>
              <a:cxn ang="0">
                <a:pos x="connsiteX8126" y="connsiteY8126"/>
              </a:cxn>
              <a:cxn ang="0">
                <a:pos x="connsiteX8127" y="connsiteY8127"/>
              </a:cxn>
              <a:cxn ang="0">
                <a:pos x="connsiteX8128" y="connsiteY8128"/>
              </a:cxn>
              <a:cxn ang="0">
                <a:pos x="connsiteX8129" y="connsiteY8129"/>
              </a:cxn>
              <a:cxn ang="0">
                <a:pos x="connsiteX8130" y="connsiteY8130"/>
              </a:cxn>
              <a:cxn ang="0">
                <a:pos x="connsiteX8131" y="connsiteY8131"/>
              </a:cxn>
              <a:cxn ang="0">
                <a:pos x="connsiteX8132" y="connsiteY8132"/>
              </a:cxn>
              <a:cxn ang="0">
                <a:pos x="connsiteX8133" y="connsiteY8133"/>
              </a:cxn>
              <a:cxn ang="0">
                <a:pos x="connsiteX8134" y="connsiteY8134"/>
              </a:cxn>
              <a:cxn ang="0">
                <a:pos x="connsiteX8135" y="connsiteY8135"/>
              </a:cxn>
              <a:cxn ang="0">
                <a:pos x="connsiteX8136" y="connsiteY8136"/>
              </a:cxn>
              <a:cxn ang="0">
                <a:pos x="connsiteX8137" y="connsiteY8137"/>
              </a:cxn>
              <a:cxn ang="0">
                <a:pos x="connsiteX8138" y="connsiteY8138"/>
              </a:cxn>
              <a:cxn ang="0">
                <a:pos x="connsiteX8139" y="connsiteY8139"/>
              </a:cxn>
              <a:cxn ang="0">
                <a:pos x="connsiteX8140" y="connsiteY8140"/>
              </a:cxn>
              <a:cxn ang="0">
                <a:pos x="connsiteX8141" y="connsiteY8141"/>
              </a:cxn>
              <a:cxn ang="0">
                <a:pos x="connsiteX8142" y="connsiteY8142"/>
              </a:cxn>
              <a:cxn ang="0">
                <a:pos x="connsiteX8143" y="connsiteY8143"/>
              </a:cxn>
              <a:cxn ang="0">
                <a:pos x="connsiteX8144" y="connsiteY8144"/>
              </a:cxn>
              <a:cxn ang="0">
                <a:pos x="connsiteX8145" y="connsiteY8145"/>
              </a:cxn>
              <a:cxn ang="0">
                <a:pos x="connsiteX8146" y="connsiteY8146"/>
              </a:cxn>
              <a:cxn ang="0">
                <a:pos x="connsiteX8147" y="connsiteY8147"/>
              </a:cxn>
              <a:cxn ang="0">
                <a:pos x="connsiteX8148" y="connsiteY8148"/>
              </a:cxn>
              <a:cxn ang="0">
                <a:pos x="connsiteX8149" y="connsiteY8149"/>
              </a:cxn>
              <a:cxn ang="0">
                <a:pos x="connsiteX8150" y="connsiteY8150"/>
              </a:cxn>
              <a:cxn ang="0">
                <a:pos x="connsiteX8151" y="connsiteY8151"/>
              </a:cxn>
              <a:cxn ang="0">
                <a:pos x="connsiteX8152" y="connsiteY8152"/>
              </a:cxn>
              <a:cxn ang="0">
                <a:pos x="connsiteX8153" y="connsiteY8153"/>
              </a:cxn>
              <a:cxn ang="0">
                <a:pos x="connsiteX8154" y="connsiteY8154"/>
              </a:cxn>
              <a:cxn ang="0">
                <a:pos x="connsiteX8155" y="connsiteY8155"/>
              </a:cxn>
              <a:cxn ang="0">
                <a:pos x="connsiteX8156" y="connsiteY8156"/>
              </a:cxn>
              <a:cxn ang="0">
                <a:pos x="connsiteX8157" y="connsiteY8157"/>
              </a:cxn>
              <a:cxn ang="0">
                <a:pos x="connsiteX8158" y="connsiteY8158"/>
              </a:cxn>
              <a:cxn ang="0">
                <a:pos x="connsiteX8159" y="connsiteY8159"/>
              </a:cxn>
              <a:cxn ang="0">
                <a:pos x="connsiteX8160" y="connsiteY8160"/>
              </a:cxn>
              <a:cxn ang="0">
                <a:pos x="connsiteX8161" y="connsiteY8161"/>
              </a:cxn>
              <a:cxn ang="0">
                <a:pos x="connsiteX8162" y="connsiteY8162"/>
              </a:cxn>
              <a:cxn ang="0">
                <a:pos x="connsiteX8163" y="connsiteY8163"/>
              </a:cxn>
              <a:cxn ang="0">
                <a:pos x="connsiteX8164" y="connsiteY8164"/>
              </a:cxn>
              <a:cxn ang="0">
                <a:pos x="connsiteX8165" y="connsiteY8165"/>
              </a:cxn>
              <a:cxn ang="0">
                <a:pos x="connsiteX8166" y="connsiteY8166"/>
              </a:cxn>
              <a:cxn ang="0">
                <a:pos x="connsiteX8167" y="connsiteY8167"/>
              </a:cxn>
              <a:cxn ang="0">
                <a:pos x="connsiteX8168" y="connsiteY8168"/>
              </a:cxn>
              <a:cxn ang="0">
                <a:pos x="connsiteX8169" y="connsiteY8169"/>
              </a:cxn>
              <a:cxn ang="0">
                <a:pos x="connsiteX8170" y="connsiteY8170"/>
              </a:cxn>
              <a:cxn ang="0">
                <a:pos x="connsiteX8171" y="connsiteY8171"/>
              </a:cxn>
              <a:cxn ang="0">
                <a:pos x="connsiteX8172" y="connsiteY8172"/>
              </a:cxn>
              <a:cxn ang="0">
                <a:pos x="connsiteX8173" y="connsiteY8173"/>
              </a:cxn>
              <a:cxn ang="0">
                <a:pos x="connsiteX8174" y="connsiteY8174"/>
              </a:cxn>
              <a:cxn ang="0">
                <a:pos x="connsiteX8175" y="connsiteY8175"/>
              </a:cxn>
              <a:cxn ang="0">
                <a:pos x="connsiteX8176" y="connsiteY8176"/>
              </a:cxn>
              <a:cxn ang="0">
                <a:pos x="connsiteX8177" y="connsiteY8177"/>
              </a:cxn>
              <a:cxn ang="0">
                <a:pos x="connsiteX8178" y="connsiteY8178"/>
              </a:cxn>
              <a:cxn ang="0">
                <a:pos x="connsiteX8179" y="connsiteY8179"/>
              </a:cxn>
              <a:cxn ang="0">
                <a:pos x="connsiteX8180" y="connsiteY8180"/>
              </a:cxn>
              <a:cxn ang="0">
                <a:pos x="connsiteX8181" y="connsiteY8181"/>
              </a:cxn>
              <a:cxn ang="0">
                <a:pos x="connsiteX8182" y="connsiteY8182"/>
              </a:cxn>
              <a:cxn ang="0">
                <a:pos x="connsiteX8183" y="connsiteY8183"/>
              </a:cxn>
              <a:cxn ang="0">
                <a:pos x="connsiteX8184" y="connsiteY8184"/>
              </a:cxn>
              <a:cxn ang="0">
                <a:pos x="connsiteX8185" y="connsiteY8185"/>
              </a:cxn>
              <a:cxn ang="0">
                <a:pos x="connsiteX8186" y="connsiteY8186"/>
              </a:cxn>
              <a:cxn ang="0">
                <a:pos x="connsiteX8187" y="connsiteY8187"/>
              </a:cxn>
              <a:cxn ang="0">
                <a:pos x="connsiteX8188" y="connsiteY8188"/>
              </a:cxn>
              <a:cxn ang="0">
                <a:pos x="connsiteX8189" y="connsiteY8189"/>
              </a:cxn>
              <a:cxn ang="0">
                <a:pos x="connsiteX8190" y="connsiteY8190"/>
              </a:cxn>
              <a:cxn ang="0">
                <a:pos x="connsiteX8191" y="connsiteY8191"/>
              </a:cxn>
              <a:cxn ang="0">
                <a:pos x="connsiteX8192" y="connsiteY8192"/>
              </a:cxn>
              <a:cxn ang="0">
                <a:pos x="connsiteX8193" y="connsiteY8193"/>
              </a:cxn>
              <a:cxn ang="0">
                <a:pos x="connsiteX8194" y="connsiteY8194"/>
              </a:cxn>
              <a:cxn ang="0">
                <a:pos x="connsiteX8195" y="connsiteY8195"/>
              </a:cxn>
              <a:cxn ang="0">
                <a:pos x="connsiteX8196" y="connsiteY8196"/>
              </a:cxn>
              <a:cxn ang="0">
                <a:pos x="connsiteX8197" y="connsiteY8197"/>
              </a:cxn>
              <a:cxn ang="0">
                <a:pos x="connsiteX8198" y="connsiteY8198"/>
              </a:cxn>
              <a:cxn ang="0">
                <a:pos x="connsiteX8199" y="connsiteY8199"/>
              </a:cxn>
              <a:cxn ang="0">
                <a:pos x="connsiteX8200" y="connsiteY8200"/>
              </a:cxn>
              <a:cxn ang="0">
                <a:pos x="connsiteX8201" y="connsiteY8201"/>
              </a:cxn>
              <a:cxn ang="0">
                <a:pos x="connsiteX8202" y="connsiteY8202"/>
              </a:cxn>
              <a:cxn ang="0">
                <a:pos x="connsiteX8203" y="connsiteY8203"/>
              </a:cxn>
              <a:cxn ang="0">
                <a:pos x="connsiteX8204" y="connsiteY8204"/>
              </a:cxn>
              <a:cxn ang="0">
                <a:pos x="connsiteX8205" y="connsiteY8205"/>
              </a:cxn>
              <a:cxn ang="0">
                <a:pos x="connsiteX8206" y="connsiteY8206"/>
              </a:cxn>
              <a:cxn ang="0">
                <a:pos x="connsiteX8207" y="connsiteY8207"/>
              </a:cxn>
              <a:cxn ang="0">
                <a:pos x="connsiteX8208" y="connsiteY8208"/>
              </a:cxn>
              <a:cxn ang="0">
                <a:pos x="connsiteX8209" y="connsiteY8209"/>
              </a:cxn>
              <a:cxn ang="0">
                <a:pos x="connsiteX8210" y="connsiteY8210"/>
              </a:cxn>
              <a:cxn ang="0">
                <a:pos x="connsiteX8211" y="connsiteY8211"/>
              </a:cxn>
              <a:cxn ang="0">
                <a:pos x="connsiteX8212" y="connsiteY8212"/>
              </a:cxn>
              <a:cxn ang="0">
                <a:pos x="connsiteX8213" y="connsiteY8213"/>
              </a:cxn>
              <a:cxn ang="0">
                <a:pos x="connsiteX8214" y="connsiteY8214"/>
              </a:cxn>
              <a:cxn ang="0">
                <a:pos x="connsiteX8215" y="connsiteY8215"/>
              </a:cxn>
              <a:cxn ang="0">
                <a:pos x="connsiteX8216" y="connsiteY8216"/>
              </a:cxn>
              <a:cxn ang="0">
                <a:pos x="connsiteX8217" y="connsiteY8217"/>
              </a:cxn>
              <a:cxn ang="0">
                <a:pos x="connsiteX8218" y="connsiteY8218"/>
              </a:cxn>
              <a:cxn ang="0">
                <a:pos x="connsiteX8219" y="connsiteY8219"/>
              </a:cxn>
              <a:cxn ang="0">
                <a:pos x="connsiteX8220" y="connsiteY8220"/>
              </a:cxn>
              <a:cxn ang="0">
                <a:pos x="connsiteX8221" y="connsiteY8221"/>
              </a:cxn>
              <a:cxn ang="0">
                <a:pos x="connsiteX8222" y="connsiteY8222"/>
              </a:cxn>
              <a:cxn ang="0">
                <a:pos x="connsiteX8223" y="connsiteY8223"/>
              </a:cxn>
              <a:cxn ang="0">
                <a:pos x="connsiteX8224" y="connsiteY8224"/>
              </a:cxn>
              <a:cxn ang="0">
                <a:pos x="connsiteX8225" y="connsiteY8225"/>
              </a:cxn>
              <a:cxn ang="0">
                <a:pos x="connsiteX8226" y="connsiteY8226"/>
              </a:cxn>
              <a:cxn ang="0">
                <a:pos x="connsiteX8227" y="connsiteY8227"/>
              </a:cxn>
              <a:cxn ang="0">
                <a:pos x="connsiteX8228" y="connsiteY8228"/>
              </a:cxn>
              <a:cxn ang="0">
                <a:pos x="connsiteX8229" y="connsiteY8229"/>
              </a:cxn>
              <a:cxn ang="0">
                <a:pos x="connsiteX8230" y="connsiteY8230"/>
              </a:cxn>
              <a:cxn ang="0">
                <a:pos x="connsiteX8231" y="connsiteY8231"/>
              </a:cxn>
              <a:cxn ang="0">
                <a:pos x="connsiteX8232" y="connsiteY8232"/>
              </a:cxn>
              <a:cxn ang="0">
                <a:pos x="connsiteX8233" y="connsiteY8233"/>
              </a:cxn>
              <a:cxn ang="0">
                <a:pos x="connsiteX8234" y="connsiteY8234"/>
              </a:cxn>
              <a:cxn ang="0">
                <a:pos x="connsiteX8235" y="connsiteY8235"/>
              </a:cxn>
              <a:cxn ang="0">
                <a:pos x="connsiteX8236" y="connsiteY8236"/>
              </a:cxn>
              <a:cxn ang="0">
                <a:pos x="connsiteX8237" y="connsiteY8237"/>
              </a:cxn>
              <a:cxn ang="0">
                <a:pos x="connsiteX8238" y="connsiteY8238"/>
              </a:cxn>
              <a:cxn ang="0">
                <a:pos x="connsiteX8239" y="connsiteY8239"/>
              </a:cxn>
              <a:cxn ang="0">
                <a:pos x="connsiteX8240" y="connsiteY8240"/>
              </a:cxn>
              <a:cxn ang="0">
                <a:pos x="connsiteX8241" y="connsiteY8241"/>
              </a:cxn>
              <a:cxn ang="0">
                <a:pos x="connsiteX8242" y="connsiteY8242"/>
              </a:cxn>
              <a:cxn ang="0">
                <a:pos x="connsiteX8243" y="connsiteY8243"/>
              </a:cxn>
              <a:cxn ang="0">
                <a:pos x="connsiteX8244" y="connsiteY8244"/>
              </a:cxn>
              <a:cxn ang="0">
                <a:pos x="connsiteX8245" y="connsiteY8245"/>
              </a:cxn>
              <a:cxn ang="0">
                <a:pos x="connsiteX8246" y="connsiteY8246"/>
              </a:cxn>
              <a:cxn ang="0">
                <a:pos x="connsiteX8247" y="connsiteY8247"/>
              </a:cxn>
              <a:cxn ang="0">
                <a:pos x="connsiteX8248" y="connsiteY8248"/>
              </a:cxn>
              <a:cxn ang="0">
                <a:pos x="connsiteX8249" y="connsiteY8249"/>
              </a:cxn>
              <a:cxn ang="0">
                <a:pos x="connsiteX8250" y="connsiteY8250"/>
              </a:cxn>
              <a:cxn ang="0">
                <a:pos x="connsiteX8251" y="connsiteY8251"/>
              </a:cxn>
              <a:cxn ang="0">
                <a:pos x="connsiteX8252" y="connsiteY8252"/>
              </a:cxn>
              <a:cxn ang="0">
                <a:pos x="connsiteX8253" y="connsiteY8253"/>
              </a:cxn>
              <a:cxn ang="0">
                <a:pos x="connsiteX8254" y="connsiteY8254"/>
              </a:cxn>
              <a:cxn ang="0">
                <a:pos x="connsiteX8255" y="connsiteY8255"/>
              </a:cxn>
              <a:cxn ang="0">
                <a:pos x="connsiteX8256" y="connsiteY8256"/>
              </a:cxn>
              <a:cxn ang="0">
                <a:pos x="connsiteX8257" y="connsiteY8257"/>
              </a:cxn>
              <a:cxn ang="0">
                <a:pos x="connsiteX8258" y="connsiteY8258"/>
              </a:cxn>
              <a:cxn ang="0">
                <a:pos x="connsiteX8259" y="connsiteY8259"/>
              </a:cxn>
              <a:cxn ang="0">
                <a:pos x="connsiteX8260" y="connsiteY8260"/>
              </a:cxn>
              <a:cxn ang="0">
                <a:pos x="connsiteX8261" y="connsiteY8261"/>
              </a:cxn>
              <a:cxn ang="0">
                <a:pos x="connsiteX8262" y="connsiteY8262"/>
              </a:cxn>
              <a:cxn ang="0">
                <a:pos x="connsiteX8263" y="connsiteY8263"/>
              </a:cxn>
              <a:cxn ang="0">
                <a:pos x="connsiteX8264" y="connsiteY8264"/>
              </a:cxn>
              <a:cxn ang="0">
                <a:pos x="connsiteX8265" y="connsiteY8265"/>
              </a:cxn>
              <a:cxn ang="0">
                <a:pos x="connsiteX8266" y="connsiteY8266"/>
              </a:cxn>
              <a:cxn ang="0">
                <a:pos x="connsiteX8267" y="connsiteY8267"/>
              </a:cxn>
              <a:cxn ang="0">
                <a:pos x="connsiteX8268" y="connsiteY8268"/>
              </a:cxn>
              <a:cxn ang="0">
                <a:pos x="connsiteX8269" y="connsiteY8269"/>
              </a:cxn>
              <a:cxn ang="0">
                <a:pos x="connsiteX8270" y="connsiteY8270"/>
              </a:cxn>
              <a:cxn ang="0">
                <a:pos x="connsiteX8271" y="connsiteY8271"/>
              </a:cxn>
              <a:cxn ang="0">
                <a:pos x="connsiteX8272" y="connsiteY8272"/>
              </a:cxn>
              <a:cxn ang="0">
                <a:pos x="connsiteX8273" y="connsiteY8273"/>
              </a:cxn>
              <a:cxn ang="0">
                <a:pos x="connsiteX8274" y="connsiteY8274"/>
              </a:cxn>
              <a:cxn ang="0">
                <a:pos x="connsiteX8275" y="connsiteY8275"/>
              </a:cxn>
              <a:cxn ang="0">
                <a:pos x="connsiteX8276" y="connsiteY8276"/>
              </a:cxn>
              <a:cxn ang="0">
                <a:pos x="connsiteX8277" y="connsiteY8277"/>
              </a:cxn>
              <a:cxn ang="0">
                <a:pos x="connsiteX8278" y="connsiteY8278"/>
              </a:cxn>
              <a:cxn ang="0">
                <a:pos x="connsiteX8279" y="connsiteY8279"/>
              </a:cxn>
              <a:cxn ang="0">
                <a:pos x="connsiteX8280" y="connsiteY8280"/>
              </a:cxn>
              <a:cxn ang="0">
                <a:pos x="connsiteX8281" y="connsiteY8281"/>
              </a:cxn>
              <a:cxn ang="0">
                <a:pos x="connsiteX8282" y="connsiteY8282"/>
              </a:cxn>
              <a:cxn ang="0">
                <a:pos x="connsiteX8283" y="connsiteY8283"/>
              </a:cxn>
              <a:cxn ang="0">
                <a:pos x="connsiteX8284" y="connsiteY8284"/>
              </a:cxn>
              <a:cxn ang="0">
                <a:pos x="connsiteX8285" y="connsiteY8285"/>
              </a:cxn>
              <a:cxn ang="0">
                <a:pos x="connsiteX8286" y="connsiteY8286"/>
              </a:cxn>
              <a:cxn ang="0">
                <a:pos x="connsiteX8287" y="connsiteY8287"/>
              </a:cxn>
              <a:cxn ang="0">
                <a:pos x="connsiteX8288" y="connsiteY8288"/>
              </a:cxn>
              <a:cxn ang="0">
                <a:pos x="connsiteX8289" y="connsiteY8289"/>
              </a:cxn>
              <a:cxn ang="0">
                <a:pos x="connsiteX8290" y="connsiteY8290"/>
              </a:cxn>
              <a:cxn ang="0">
                <a:pos x="connsiteX8291" y="connsiteY8291"/>
              </a:cxn>
              <a:cxn ang="0">
                <a:pos x="connsiteX8292" y="connsiteY8292"/>
              </a:cxn>
              <a:cxn ang="0">
                <a:pos x="connsiteX8293" y="connsiteY8293"/>
              </a:cxn>
              <a:cxn ang="0">
                <a:pos x="connsiteX8294" y="connsiteY8294"/>
              </a:cxn>
              <a:cxn ang="0">
                <a:pos x="connsiteX8295" y="connsiteY8295"/>
              </a:cxn>
              <a:cxn ang="0">
                <a:pos x="connsiteX8296" y="connsiteY8296"/>
              </a:cxn>
              <a:cxn ang="0">
                <a:pos x="connsiteX8297" y="connsiteY8297"/>
              </a:cxn>
              <a:cxn ang="0">
                <a:pos x="connsiteX8298" y="connsiteY8298"/>
              </a:cxn>
              <a:cxn ang="0">
                <a:pos x="connsiteX8299" y="connsiteY8299"/>
              </a:cxn>
              <a:cxn ang="0">
                <a:pos x="connsiteX8300" y="connsiteY8300"/>
              </a:cxn>
              <a:cxn ang="0">
                <a:pos x="connsiteX8301" y="connsiteY8301"/>
              </a:cxn>
              <a:cxn ang="0">
                <a:pos x="connsiteX8302" y="connsiteY8302"/>
              </a:cxn>
              <a:cxn ang="0">
                <a:pos x="connsiteX8303" y="connsiteY8303"/>
              </a:cxn>
              <a:cxn ang="0">
                <a:pos x="connsiteX8304" y="connsiteY8304"/>
              </a:cxn>
              <a:cxn ang="0">
                <a:pos x="connsiteX8305" y="connsiteY8305"/>
              </a:cxn>
              <a:cxn ang="0">
                <a:pos x="connsiteX8306" y="connsiteY8306"/>
              </a:cxn>
              <a:cxn ang="0">
                <a:pos x="connsiteX8307" y="connsiteY8307"/>
              </a:cxn>
              <a:cxn ang="0">
                <a:pos x="connsiteX8308" y="connsiteY8308"/>
              </a:cxn>
              <a:cxn ang="0">
                <a:pos x="connsiteX8309" y="connsiteY8309"/>
              </a:cxn>
              <a:cxn ang="0">
                <a:pos x="connsiteX8310" y="connsiteY8310"/>
              </a:cxn>
              <a:cxn ang="0">
                <a:pos x="connsiteX8311" y="connsiteY8311"/>
              </a:cxn>
              <a:cxn ang="0">
                <a:pos x="connsiteX8312" y="connsiteY8312"/>
              </a:cxn>
              <a:cxn ang="0">
                <a:pos x="connsiteX8313" y="connsiteY8313"/>
              </a:cxn>
              <a:cxn ang="0">
                <a:pos x="connsiteX8314" y="connsiteY8314"/>
              </a:cxn>
              <a:cxn ang="0">
                <a:pos x="connsiteX8315" y="connsiteY8315"/>
              </a:cxn>
              <a:cxn ang="0">
                <a:pos x="connsiteX8316" y="connsiteY8316"/>
              </a:cxn>
              <a:cxn ang="0">
                <a:pos x="connsiteX8317" y="connsiteY8317"/>
              </a:cxn>
              <a:cxn ang="0">
                <a:pos x="connsiteX8318" y="connsiteY8318"/>
              </a:cxn>
              <a:cxn ang="0">
                <a:pos x="connsiteX8319" y="connsiteY8319"/>
              </a:cxn>
              <a:cxn ang="0">
                <a:pos x="connsiteX8320" y="connsiteY8320"/>
              </a:cxn>
              <a:cxn ang="0">
                <a:pos x="connsiteX8321" y="connsiteY8321"/>
              </a:cxn>
              <a:cxn ang="0">
                <a:pos x="connsiteX8322" y="connsiteY8322"/>
              </a:cxn>
              <a:cxn ang="0">
                <a:pos x="connsiteX8323" y="connsiteY8323"/>
              </a:cxn>
              <a:cxn ang="0">
                <a:pos x="connsiteX8324" y="connsiteY8324"/>
              </a:cxn>
              <a:cxn ang="0">
                <a:pos x="connsiteX8325" y="connsiteY8325"/>
              </a:cxn>
              <a:cxn ang="0">
                <a:pos x="connsiteX8326" y="connsiteY8326"/>
              </a:cxn>
              <a:cxn ang="0">
                <a:pos x="connsiteX8327" y="connsiteY8327"/>
              </a:cxn>
              <a:cxn ang="0">
                <a:pos x="connsiteX8328" y="connsiteY8328"/>
              </a:cxn>
              <a:cxn ang="0">
                <a:pos x="connsiteX8329" y="connsiteY8329"/>
              </a:cxn>
              <a:cxn ang="0">
                <a:pos x="connsiteX8330" y="connsiteY8330"/>
              </a:cxn>
              <a:cxn ang="0">
                <a:pos x="connsiteX8331" y="connsiteY8331"/>
              </a:cxn>
              <a:cxn ang="0">
                <a:pos x="connsiteX8332" y="connsiteY8332"/>
              </a:cxn>
              <a:cxn ang="0">
                <a:pos x="connsiteX8333" y="connsiteY8333"/>
              </a:cxn>
              <a:cxn ang="0">
                <a:pos x="connsiteX8334" y="connsiteY8334"/>
              </a:cxn>
              <a:cxn ang="0">
                <a:pos x="connsiteX8335" y="connsiteY8335"/>
              </a:cxn>
              <a:cxn ang="0">
                <a:pos x="connsiteX8336" y="connsiteY8336"/>
              </a:cxn>
              <a:cxn ang="0">
                <a:pos x="connsiteX8337" y="connsiteY8337"/>
              </a:cxn>
              <a:cxn ang="0">
                <a:pos x="connsiteX8338" y="connsiteY8338"/>
              </a:cxn>
              <a:cxn ang="0">
                <a:pos x="connsiteX8339" y="connsiteY8339"/>
              </a:cxn>
              <a:cxn ang="0">
                <a:pos x="connsiteX8340" y="connsiteY8340"/>
              </a:cxn>
              <a:cxn ang="0">
                <a:pos x="connsiteX8341" y="connsiteY8341"/>
              </a:cxn>
              <a:cxn ang="0">
                <a:pos x="connsiteX8342" y="connsiteY8342"/>
              </a:cxn>
              <a:cxn ang="0">
                <a:pos x="connsiteX8343" y="connsiteY8343"/>
              </a:cxn>
              <a:cxn ang="0">
                <a:pos x="connsiteX8344" y="connsiteY8344"/>
              </a:cxn>
              <a:cxn ang="0">
                <a:pos x="connsiteX8345" y="connsiteY8345"/>
              </a:cxn>
              <a:cxn ang="0">
                <a:pos x="connsiteX8346" y="connsiteY8346"/>
              </a:cxn>
              <a:cxn ang="0">
                <a:pos x="connsiteX8347" y="connsiteY8347"/>
              </a:cxn>
              <a:cxn ang="0">
                <a:pos x="connsiteX8348" y="connsiteY8348"/>
              </a:cxn>
              <a:cxn ang="0">
                <a:pos x="connsiteX8349" y="connsiteY8349"/>
              </a:cxn>
              <a:cxn ang="0">
                <a:pos x="connsiteX8350" y="connsiteY8350"/>
              </a:cxn>
              <a:cxn ang="0">
                <a:pos x="connsiteX8351" y="connsiteY8351"/>
              </a:cxn>
              <a:cxn ang="0">
                <a:pos x="connsiteX8352" y="connsiteY8352"/>
              </a:cxn>
              <a:cxn ang="0">
                <a:pos x="connsiteX8353" y="connsiteY8353"/>
              </a:cxn>
              <a:cxn ang="0">
                <a:pos x="connsiteX8354" y="connsiteY8354"/>
              </a:cxn>
              <a:cxn ang="0">
                <a:pos x="connsiteX8355" y="connsiteY8355"/>
              </a:cxn>
              <a:cxn ang="0">
                <a:pos x="connsiteX8356" y="connsiteY8356"/>
              </a:cxn>
              <a:cxn ang="0">
                <a:pos x="connsiteX8357" y="connsiteY8357"/>
              </a:cxn>
              <a:cxn ang="0">
                <a:pos x="connsiteX8358" y="connsiteY8358"/>
              </a:cxn>
              <a:cxn ang="0">
                <a:pos x="connsiteX8359" y="connsiteY8359"/>
              </a:cxn>
              <a:cxn ang="0">
                <a:pos x="connsiteX8360" y="connsiteY8360"/>
              </a:cxn>
              <a:cxn ang="0">
                <a:pos x="connsiteX8361" y="connsiteY8361"/>
              </a:cxn>
              <a:cxn ang="0">
                <a:pos x="connsiteX8362" y="connsiteY8362"/>
              </a:cxn>
              <a:cxn ang="0">
                <a:pos x="connsiteX8363" y="connsiteY8363"/>
              </a:cxn>
              <a:cxn ang="0">
                <a:pos x="connsiteX8364" y="connsiteY8364"/>
              </a:cxn>
              <a:cxn ang="0">
                <a:pos x="connsiteX8365" y="connsiteY8365"/>
              </a:cxn>
              <a:cxn ang="0">
                <a:pos x="connsiteX8366" y="connsiteY8366"/>
              </a:cxn>
              <a:cxn ang="0">
                <a:pos x="connsiteX8367" y="connsiteY8367"/>
              </a:cxn>
              <a:cxn ang="0">
                <a:pos x="connsiteX8368" y="connsiteY8368"/>
              </a:cxn>
              <a:cxn ang="0">
                <a:pos x="connsiteX8369" y="connsiteY8369"/>
              </a:cxn>
              <a:cxn ang="0">
                <a:pos x="connsiteX8370" y="connsiteY8370"/>
              </a:cxn>
              <a:cxn ang="0">
                <a:pos x="connsiteX8371" y="connsiteY8371"/>
              </a:cxn>
              <a:cxn ang="0">
                <a:pos x="connsiteX8372" y="connsiteY8372"/>
              </a:cxn>
              <a:cxn ang="0">
                <a:pos x="connsiteX8373" y="connsiteY8373"/>
              </a:cxn>
              <a:cxn ang="0">
                <a:pos x="connsiteX8374" y="connsiteY8374"/>
              </a:cxn>
              <a:cxn ang="0">
                <a:pos x="connsiteX8375" y="connsiteY8375"/>
              </a:cxn>
              <a:cxn ang="0">
                <a:pos x="connsiteX8376" y="connsiteY8376"/>
              </a:cxn>
              <a:cxn ang="0">
                <a:pos x="connsiteX8377" y="connsiteY8377"/>
              </a:cxn>
              <a:cxn ang="0">
                <a:pos x="connsiteX8378" y="connsiteY8378"/>
              </a:cxn>
              <a:cxn ang="0">
                <a:pos x="connsiteX8379" y="connsiteY8379"/>
              </a:cxn>
              <a:cxn ang="0">
                <a:pos x="connsiteX8380" y="connsiteY8380"/>
              </a:cxn>
              <a:cxn ang="0">
                <a:pos x="connsiteX8381" y="connsiteY8381"/>
              </a:cxn>
              <a:cxn ang="0">
                <a:pos x="connsiteX8382" y="connsiteY8382"/>
              </a:cxn>
              <a:cxn ang="0">
                <a:pos x="connsiteX8383" y="connsiteY8383"/>
              </a:cxn>
              <a:cxn ang="0">
                <a:pos x="connsiteX8384" y="connsiteY8384"/>
              </a:cxn>
              <a:cxn ang="0">
                <a:pos x="connsiteX8385" y="connsiteY8385"/>
              </a:cxn>
              <a:cxn ang="0">
                <a:pos x="connsiteX8386" y="connsiteY8386"/>
              </a:cxn>
              <a:cxn ang="0">
                <a:pos x="connsiteX8387" y="connsiteY8387"/>
              </a:cxn>
              <a:cxn ang="0">
                <a:pos x="connsiteX8388" y="connsiteY8388"/>
              </a:cxn>
              <a:cxn ang="0">
                <a:pos x="connsiteX8389" y="connsiteY8389"/>
              </a:cxn>
              <a:cxn ang="0">
                <a:pos x="connsiteX8390" y="connsiteY8390"/>
              </a:cxn>
              <a:cxn ang="0">
                <a:pos x="connsiteX8391" y="connsiteY8391"/>
              </a:cxn>
              <a:cxn ang="0">
                <a:pos x="connsiteX8392" y="connsiteY8392"/>
              </a:cxn>
              <a:cxn ang="0">
                <a:pos x="connsiteX8393" y="connsiteY8393"/>
              </a:cxn>
              <a:cxn ang="0">
                <a:pos x="connsiteX8394" y="connsiteY8394"/>
              </a:cxn>
              <a:cxn ang="0">
                <a:pos x="connsiteX8395" y="connsiteY8395"/>
              </a:cxn>
              <a:cxn ang="0">
                <a:pos x="connsiteX8396" y="connsiteY8396"/>
              </a:cxn>
              <a:cxn ang="0">
                <a:pos x="connsiteX8397" y="connsiteY8397"/>
              </a:cxn>
              <a:cxn ang="0">
                <a:pos x="connsiteX8398" y="connsiteY8398"/>
              </a:cxn>
              <a:cxn ang="0">
                <a:pos x="connsiteX8399" y="connsiteY8399"/>
              </a:cxn>
              <a:cxn ang="0">
                <a:pos x="connsiteX8400" y="connsiteY8400"/>
              </a:cxn>
              <a:cxn ang="0">
                <a:pos x="connsiteX8401" y="connsiteY8401"/>
              </a:cxn>
              <a:cxn ang="0">
                <a:pos x="connsiteX8402" y="connsiteY8402"/>
              </a:cxn>
              <a:cxn ang="0">
                <a:pos x="connsiteX8403" y="connsiteY8403"/>
              </a:cxn>
              <a:cxn ang="0">
                <a:pos x="connsiteX8404" y="connsiteY8404"/>
              </a:cxn>
              <a:cxn ang="0">
                <a:pos x="connsiteX8405" y="connsiteY8405"/>
              </a:cxn>
              <a:cxn ang="0">
                <a:pos x="connsiteX8406" y="connsiteY8406"/>
              </a:cxn>
              <a:cxn ang="0">
                <a:pos x="connsiteX8407" y="connsiteY8407"/>
              </a:cxn>
              <a:cxn ang="0">
                <a:pos x="connsiteX8408" y="connsiteY8408"/>
              </a:cxn>
              <a:cxn ang="0">
                <a:pos x="connsiteX8409" y="connsiteY8409"/>
              </a:cxn>
              <a:cxn ang="0">
                <a:pos x="connsiteX8410" y="connsiteY8410"/>
              </a:cxn>
              <a:cxn ang="0">
                <a:pos x="connsiteX8411" y="connsiteY8411"/>
              </a:cxn>
              <a:cxn ang="0">
                <a:pos x="connsiteX8412" y="connsiteY8412"/>
              </a:cxn>
              <a:cxn ang="0">
                <a:pos x="connsiteX8413" y="connsiteY8413"/>
              </a:cxn>
              <a:cxn ang="0">
                <a:pos x="connsiteX8414" y="connsiteY8414"/>
              </a:cxn>
              <a:cxn ang="0">
                <a:pos x="connsiteX8415" y="connsiteY8415"/>
              </a:cxn>
              <a:cxn ang="0">
                <a:pos x="connsiteX8416" y="connsiteY8416"/>
              </a:cxn>
              <a:cxn ang="0">
                <a:pos x="connsiteX8417" y="connsiteY8417"/>
              </a:cxn>
              <a:cxn ang="0">
                <a:pos x="connsiteX8418" y="connsiteY8418"/>
              </a:cxn>
              <a:cxn ang="0">
                <a:pos x="connsiteX8419" y="connsiteY8419"/>
              </a:cxn>
              <a:cxn ang="0">
                <a:pos x="connsiteX8420" y="connsiteY8420"/>
              </a:cxn>
              <a:cxn ang="0">
                <a:pos x="connsiteX8421" y="connsiteY8421"/>
              </a:cxn>
              <a:cxn ang="0">
                <a:pos x="connsiteX8422" y="connsiteY8422"/>
              </a:cxn>
              <a:cxn ang="0">
                <a:pos x="connsiteX8423" y="connsiteY8423"/>
              </a:cxn>
              <a:cxn ang="0">
                <a:pos x="connsiteX8424" y="connsiteY8424"/>
              </a:cxn>
              <a:cxn ang="0">
                <a:pos x="connsiteX8425" y="connsiteY8425"/>
              </a:cxn>
              <a:cxn ang="0">
                <a:pos x="connsiteX8426" y="connsiteY8426"/>
              </a:cxn>
              <a:cxn ang="0">
                <a:pos x="connsiteX8427" y="connsiteY8427"/>
              </a:cxn>
              <a:cxn ang="0">
                <a:pos x="connsiteX8428" y="connsiteY8428"/>
              </a:cxn>
              <a:cxn ang="0">
                <a:pos x="connsiteX8429" y="connsiteY8429"/>
              </a:cxn>
              <a:cxn ang="0">
                <a:pos x="connsiteX8430" y="connsiteY8430"/>
              </a:cxn>
              <a:cxn ang="0">
                <a:pos x="connsiteX8431" y="connsiteY8431"/>
              </a:cxn>
              <a:cxn ang="0">
                <a:pos x="connsiteX8432" y="connsiteY8432"/>
              </a:cxn>
              <a:cxn ang="0">
                <a:pos x="connsiteX8433" y="connsiteY8433"/>
              </a:cxn>
              <a:cxn ang="0">
                <a:pos x="connsiteX8434" y="connsiteY8434"/>
              </a:cxn>
              <a:cxn ang="0">
                <a:pos x="connsiteX8435" y="connsiteY8435"/>
              </a:cxn>
              <a:cxn ang="0">
                <a:pos x="connsiteX8436" y="connsiteY8436"/>
              </a:cxn>
              <a:cxn ang="0">
                <a:pos x="connsiteX8437" y="connsiteY8437"/>
              </a:cxn>
              <a:cxn ang="0">
                <a:pos x="connsiteX8438" y="connsiteY8438"/>
              </a:cxn>
              <a:cxn ang="0">
                <a:pos x="connsiteX8439" y="connsiteY8439"/>
              </a:cxn>
              <a:cxn ang="0">
                <a:pos x="connsiteX8440" y="connsiteY8440"/>
              </a:cxn>
              <a:cxn ang="0">
                <a:pos x="connsiteX8441" y="connsiteY8441"/>
              </a:cxn>
              <a:cxn ang="0">
                <a:pos x="connsiteX8442" y="connsiteY8442"/>
              </a:cxn>
              <a:cxn ang="0">
                <a:pos x="connsiteX8443" y="connsiteY8443"/>
              </a:cxn>
              <a:cxn ang="0">
                <a:pos x="connsiteX8444" y="connsiteY8444"/>
              </a:cxn>
              <a:cxn ang="0">
                <a:pos x="connsiteX8445" y="connsiteY8445"/>
              </a:cxn>
              <a:cxn ang="0">
                <a:pos x="connsiteX8446" y="connsiteY8446"/>
              </a:cxn>
              <a:cxn ang="0">
                <a:pos x="connsiteX8447" y="connsiteY8447"/>
              </a:cxn>
              <a:cxn ang="0">
                <a:pos x="connsiteX8448" y="connsiteY8448"/>
              </a:cxn>
              <a:cxn ang="0">
                <a:pos x="connsiteX8449" y="connsiteY8449"/>
              </a:cxn>
              <a:cxn ang="0">
                <a:pos x="connsiteX8450" y="connsiteY8450"/>
              </a:cxn>
              <a:cxn ang="0">
                <a:pos x="connsiteX8451" y="connsiteY8451"/>
              </a:cxn>
              <a:cxn ang="0">
                <a:pos x="connsiteX8452" y="connsiteY8452"/>
              </a:cxn>
              <a:cxn ang="0">
                <a:pos x="connsiteX8453" y="connsiteY8453"/>
              </a:cxn>
              <a:cxn ang="0">
                <a:pos x="connsiteX8454" y="connsiteY8454"/>
              </a:cxn>
              <a:cxn ang="0">
                <a:pos x="connsiteX8455" y="connsiteY8455"/>
              </a:cxn>
              <a:cxn ang="0">
                <a:pos x="connsiteX8456" y="connsiteY8456"/>
              </a:cxn>
              <a:cxn ang="0">
                <a:pos x="connsiteX8457" y="connsiteY8457"/>
              </a:cxn>
              <a:cxn ang="0">
                <a:pos x="connsiteX8458" y="connsiteY8458"/>
              </a:cxn>
              <a:cxn ang="0">
                <a:pos x="connsiteX8459" y="connsiteY8459"/>
              </a:cxn>
              <a:cxn ang="0">
                <a:pos x="connsiteX8460" y="connsiteY8460"/>
              </a:cxn>
              <a:cxn ang="0">
                <a:pos x="connsiteX8461" y="connsiteY8461"/>
              </a:cxn>
              <a:cxn ang="0">
                <a:pos x="connsiteX8462" y="connsiteY8462"/>
              </a:cxn>
              <a:cxn ang="0">
                <a:pos x="connsiteX8463" y="connsiteY8463"/>
              </a:cxn>
              <a:cxn ang="0">
                <a:pos x="connsiteX8464" y="connsiteY8464"/>
              </a:cxn>
              <a:cxn ang="0">
                <a:pos x="connsiteX8465" y="connsiteY8465"/>
              </a:cxn>
              <a:cxn ang="0">
                <a:pos x="connsiteX8466" y="connsiteY8466"/>
              </a:cxn>
              <a:cxn ang="0">
                <a:pos x="connsiteX8467" y="connsiteY8467"/>
              </a:cxn>
              <a:cxn ang="0">
                <a:pos x="connsiteX8468" y="connsiteY8468"/>
              </a:cxn>
              <a:cxn ang="0">
                <a:pos x="connsiteX8469" y="connsiteY8469"/>
              </a:cxn>
              <a:cxn ang="0">
                <a:pos x="connsiteX8470" y="connsiteY8470"/>
              </a:cxn>
              <a:cxn ang="0">
                <a:pos x="connsiteX8471" y="connsiteY8471"/>
              </a:cxn>
              <a:cxn ang="0">
                <a:pos x="connsiteX8472" y="connsiteY8472"/>
              </a:cxn>
              <a:cxn ang="0">
                <a:pos x="connsiteX8473" y="connsiteY8473"/>
              </a:cxn>
              <a:cxn ang="0">
                <a:pos x="connsiteX8474" y="connsiteY8474"/>
              </a:cxn>
              <a:cxn ang="0">
                <a:pos x="connsiteX8475" y="connsiteY8475"/>
              </a:cxn>
              <a:cxn ang="0">
                <a:pos x="connsiteX8476" y="connsiteY8476"/>
              </a:cxn>
              <a:cxn ang="0">
                <a:pos x="connsiteX8477" y="connsiteY8477"/>
              </a:cxn>
              <a:cxn ang="0">
                <a:pos x="connsiteX8478" y="connsiteY8478"/>
              </a:cxn>
              <a:cxn ang="0">
                <a:pos x="connsiteX8479" y="connsiteY8479"/>
              </a:cxn>
              <a:cxn ang="0">
                <a:pos x="connsiteX8480" y="connsiteY8480"/>
              </a:cxn>
              <a:cxn ang="0">
                <a:pos x="connsiteX8481" y="connsiteY8481"/>
              </a:cxn>
              <a:cxn ang="0">
                <a:pos x="connsiteX8482" y="connsiteY8482"/>
              </a:cxn>
              <a:cxn ang="0">
                <a:pos x="connsiteX8483" y="connsiteY8483"/>
              </a:cxn>
              <a:cxn ang="0">
                <a:pos x="connsiteX8484" y="connsiteY8484"/>
              </a:cxn>
              <a:cxn ang="0">
                <a:pos x="connsiteX8485" y="connsiteY8485"/>
              </a:cxn>
              <a:cxn ang="0">
                <a:pos x="connsiteX8486" y="connsiteY8486"/>
              </a:cxn>
              <a:cxn ang="0">
                <a:pos x="connsiteX8487" y="connsiteY8487"/>
              </a:cxn>
              <a:cxn ang="0">
                <a:pos x="connsiteX8488" y="connsiteY8488"/>
              </a:cxn>
              <a:cxn ang="0">
                <a:pos x="connsiteX8489" y="connsiteY8489"/>
              </a:cxn>
              <a:cxn ang="0">
                <a:pos x="connsiteX8490" y="connsiteY8490"/>
              </a:cxn>
              <a:cxn ang="0">
                <a:pos x="connsiteX8491" y="connsiteY8491"/>
              </a:cxn>
              <a:cxn ang="0">
                <a:pos x="connsiteX8492" y="connsiteY8492"/>
              </a:cxn>
              <a:cxn ang="0">
                <a:pos x="connsiteX8493" y="connsiteY8493"/>
              </a:cxn>
              <a:cxn ang="0">
                <a:pos x="connsiteX8494" y="connsiteY8494"/>
              </a:cxn>
              <a:cxn ang="0">
                <a:pos x="connsiteX8495" y="connsiteY8495"/>
              </a:cxn>
              <a:cxn ang="0">
                <a:pos x="connsiteX8496" y="connsiteY8496"/>
              </a:cxn>
              <a:cxn ang="0">
                <a:pos x="connsiteX8497" y="connsiteY8497"/>
              </a:cxn>
              <a:cxn ang="0">
                <a:pos x="connsiteX8498" y="connsiteY8498"/>
              </a:cxn>
              <a:cxn ang="0">
                <a:pos x="connsiteX8499" y="connsiteY8499"/>
              </a:cxn>
              <a:cxn ang="0">
                <a:pos x="connsiteX8500" y="connsiteY8500"/>
              </a:cxn>
              <a:cxn ang="0">
                <a:pos x="connsiteX8501" y="connsiteY8501"/>
              </a:cxn>
              <a:cxn ang="0">
                <a:pos x="connsiteX8502" y="connsiteY8502"/>
              </a:cxn>
              <a:cxn ang="0">
                <a:pos x="connsiteX8503" y="connsiteY8503"/>
              </a:cxn>
              <a:cxn ang="0">
                <a:pos x="connsiteX8504" y="connsiteY8504"/>
              </a:cxn>
              <a:cxn ang="0">
                <a:pos x="connsiteX8505" y="connsiteY8505"/>
              </a:cxn>
              <a:cxn ang="0">
                <a:pos x="connsiteX8506" y="connsiteY8506"/>
              </a:cxn>
              <a:cxn ang="0">
                <a:pos x="connsiteX8507" y="connsiteY8507"/>
              </a:cxn>
              <a:cxn ang="0">
                <a:pos x="connsiteX8508" y="connsiteY8508"/>
              </a:cxn>
              <a:cxn ang="0">
                <a:pos x="connsiteX8509" y="connsiteY8509"/>
              </a:cxn>
              <a:cxn ang="0">
                <a:pos x="connsiteX8510" y="connsiteY8510"/>
              </a:cxn>
              <a:cxn ang="0">
                <a:pos x="connsiteX8511" y="connsiteY8511"/>
              </a:cxn>
              <a:cxn ang="0">
                <a:pos x="connsiteX8512" y="connsiteY8512"/>
              </a:cxn>
              <a:cxn ang="0">
                <a:pos x="connsiteX8513" y="connsiteY8513"/>
              </a:cxn>
              <a:cxn ang="0">
                <a:pos x="connsiteX8514" y="connsiteY8514"/>
              </a:cxn>
              <a:cxn ang="0">
                <a:pos x="connsiteX8515" y="connsiteY8515"/>
              </a:cxn>
              <a:cxn ang="0">
                <a:pos x="connsiteX8516" y="connsiteY8516"/>
              </a:cxn>
              <a:cxn ang="0">
                <a:pos x="connsiteX8517" y="connsiteY8517"/>
              </a:cxn>
              <a:cxn ang="0">
                <a:pos x="connsiteX8518" y="connsiteY8518"/>
              </a:cxn>
              <a:cxn ang="0">
                <a:pos x="connsiteX8519" y="connsiteY8519"/>
              </a:cxn>
              <a:cxn ang="0">
                <a:pos x="connsiteX8520" y="connsiteY8520"/>
              </a:cxn>
              <a:cxn ang="0">
                <a:pos x="connsiteX8521" y="connsiteY8521"/>
              </a:cxn>
              <a:cxn ang="0">
                <a:pos x="connsiteX8522" y="connsiteY8522"/>
              </a:cxn>
              <a:cxn ang="0">
                <a:pos x="connsiteX8523" y="connsiteY8523"/>
              </a:cxn>
              <a:cxn ang="0">
                <a:pos x="connsiteX8524" y="connsiteY8524"/>
              </a:cxn>
              <a:cxn ang="0">
                <a:pos x="connsiteX8525" y="connsiteY8525"/>
              </a:cxn>
              <a:cxn ang="0">
                <a:pos x="connsiteX8526" y="connsiteY8526"/>
              </a:cxn>
              <a:cxn ang="0">
                <a:pos x="connsiteX8527" y="connsiteY8527"/>
              </a:cxn>
              <a:cxn ang="0">
                <a:pos x="connsiteX8528" y="connsiteY8528"/>
              </a:cxn>
              <a:cxn ang="0">
                <a:pos x="connsiteX8529" y="connsiteY8529"/>
              </a:cxn>
              <a:cxn ang="0">
                <a:pos x="connsiteX8530" y="connsiteY8530"/>
              </a:cxn>
              <a:cxn ang="0">
                <a:pos x="connsiteX8531" y="connsiteY8531"/>
              </a:cxn>
              <a:cxn ang="0">
                <a:pos x="connsiteX8532" y="connsiteY8532"/>
              </a:cxn>
              <a:cxn ang="0">
                <a:pos x="connsiteX8533" y="connsiteY8533"/>
              </a:cxn>
              <a:cxn ang="0">
                <a:pos x="connsiteX8534" y="connsiteY8534"/>
              </a:cxn>
              <a:cxn ang="0">
                <a:pos x="connsiteX8535" y="connsiteY8535"/>
              </a:cxn>
              <a:cxn ang="0">
                <a:pos x="connsiteX8536" y="connsiteY8536"/>
              </a:cxn>
              <a:cxn ang="0">
                <a:pos x="connsiteX8537" y="connsiteY8537"/>
              </a:cxn>
              <a:cxn ang="0">
                <a:pos x="connsiteX8538" y="connsiteY8538"/>
              </a:cxn>
              <a:cxn ang="0">
                <a:pos x="connsiteX8539" y="connsiteY8539"/>
              </a:cxn>
              <a:cxn ang="0">
                <a:pos x="connsiteX8540" y="connsiteY8540"/>
              </a:cxn>
              <a:cxn ang="0">
                <a:pos x="connsiteX8541" y="connsiteY8541"/>
              </a:cxn>
              <a:cxn ang="0">
                <a:pos x="connsiteX8542" y="connsiteY8542"/>
              </a:cxn>
              <a:cxn ang="0">
                <a:pos x="connsiteX8543" y="connsiteY8543"/>
              </a:cxn>
              <a:cxn ang="0">
                <a:pos x="connsiteX8544" y="connsiteY8544"/>
              </a:cxn>
              <a:cxn ang="0">
                <a:pos x="connsiteX8545" y="connsiteY8545"/>
              </a:cxn>
              <a:cxn ang="0">
                <a:pos x="connsiteX8546" y="connsiteY8546"/>
              </a:cxn>
              <a:cxn ang="0">
                <a:pos x="connsiteX8547" y="connsiteY8547"/>
              </a:cxn>
              <a:cxn ang="0">
                <a:pos x="connsiteX8548" y="connsiteY8548"/>
              </a:cxn>
              <a:cxn ang="0">
                <a:pos x="connsiteX8549" y="connsiteY8549"/>
              </a:cxn>
              <a:cxn ang="0">
                <a:pos x="connsiteX8550" y="connsiteY8550"/>
              </a:cxn>
              <a:cxn ang="0">
                <a:pos x="connsiteX8551" y="connsiteY8551"/>
              </a:cxn>
              <a:cxn ang="0">
                <a:pos x="connsiteX8552" y="connsiteY8552"/>
              </a:cxn>
              <a:cxn ang="0">
                <a:pos x="connsiteX8553" y="connsiteY8553"/>
              </a:cxn>
              <a:cxn ang="0">
                <a:pos x="connsiteX8554" y="connsiteY8554"/>
              </a:cxn>
              <a:cxn ang="0">
                <a:pos x="connsiteX8555" y="connsiteY8555"/>
              </a:cxn>
              <a:cxn ang="0">
                <a:pos x="connsiteX8556" y="connsiteY8556"/>
              </a:cxn>
              <a:cxn ang="0">
                <a:pos x="connsiteX8557" y="connsiteY8557"/>
              </a:cxn>
              <a:cxn ang="0">
                <a:pos x="connsiteX8558" y="connsiteY8558"/>
              </a:cxn>
              <a:cxn ang="0">
                <a:pos x="connsiteX8559" y="connsiteY8559"/>
              </a:cxn>
              <a:cxn ang="0">
                <a:pos x="connsiteX8560" y="connsiteY8560"/>
              </a:cxn>
              <a:cxn ang="0">
                <a:pos x="connsiteX8561" y="connsiteY8561"/>
              </a:cxn>
              <a:cxn ang="0">
                <a:pos x="connsiteX8562" y="connsiteY8562"/>
              </a:cxn>
              <a:cxn ang="0">
                <a:pos x="connsiteX8563" y="connsiteY8563"/>
              </a:cxn>
              <a:cxn ang="0">
                <a:pos x="connsiteX8564" y="connsiteY8564"/>
              </a:cxn>
              <a:cxn ang="0">
                <a:pos x="connsiteX8565" y="connsiteY8565"/>
              </a:cxn>
              <a:cxn ang="0">
                <a:pos x="connsiteX8566" y="connsiteY8566"/>
              </a:cxn>
              <a:cxn ang="0">
                <a:pos x="connsiteX8567" y="connsiteY8567"/>
              </a:cxn>
              <a:cxn ang="0">
                <a:pos x="connsiteX8568" y="connsiteY8568"/>
              </a:cxn>
              <a:cxn ang="0">
                <a:pos x="connsiteX8569" y="connsiteY8569"/>
              </a:cxn>
              <a:cxn ang="0">
                <a:pos x="connsiteX8570" y="connsiteY8570"/>
              </a:cxn>
              <a:cxn ang="0">
                <a:pos x="connsiteX8571" y="connsiteY8571"/>
              </a:cxn>
              <a:cxn ang="0">
                <a:pos x="connsiteX8572" y="connsiteY8572"/>
              </a:cxn>
              <a:cxn ang="0">
                <a:pos x="connsiteX8573" y="connsiteY8573"/>
              </a:cxn>
              <a:cxn ang="0">
                <a:pos x="connsiteX8574" y="connsiteY8574"/>
              </a:cxn>
              <a:cxn ang="0">
                <a:pos x="connsiteX8575" y="connsiteY8575"/>
              </a:cxn>
              <a:cxn ang="0">
                <a:pos x="connsiteX8576" y="connsiteY8576"/>
              </a:cxn>
              <a:cxn ang="0">
                <a:pos x="connsiteX8577" y="connsiteY8577"/>
              </a:cxn>
              <a:cxn ang="0">
                <a:pos x="connsiteX8578" y="connsiteY8578"/>
              </a:cxn>
              <a:cxn ang="0">
                <a:pos x="connsiteX8579" y="connsiteY8579"/>
              </a:cxn>
              <a:cxn ang="0">
                <a:pos x="connsiteX8580" y="connsiteY8580"/>
              </a:cxn>
              <a:cxn ang="0">
                <a:pos x="connsiteX8581" y="connsiteY8581"/>
              </a:cxn>
              <a:cxn ang="0">
                <a:pos x="connsiteX8582" y="connsiteY8582"/>
              </a:cxn>
              <a:cxn ang="0">
                <a:pos x="connsiteX8583" y="connsiteY8583"/>
              </a:cxn>
              <a:cxn ang="0">
                <a:pos x="connsiteX8584" y="connsiteY8584"/>
              </a:cxn>
              <a:cxn ang="0">
                <a:pos x="connsiteX8585" y="connsiteY8585"/>
              </a:cxn>
              <a:cxn ang="0">
                <a:pos x="connsiteX8586" y="connsiteY8586"/>
              </a:cxn>
              <a:cxn ang="0">
                <a:pos x="connsiteX8587" y="connsiteY8587"/>
              </a:cxn>
              <a:cxn ang="0">
                <a:pos x="connsiteX8588" y="connsiteY8588"/>
              </a:cxn>
              <a:cxn ang="0">
                <a:pos x="connsiteX8589" y="connsiteY8589"/>
              </a:cxn>
              <a:cxn ang="0">
                <a:pos x="connsiteX8590" y="connsiteY8590"/>
              </a:cxn>
              <a:cxn ang="0">
                <a:pos x="connsiteX8591" y="connsiteY8591"/>
              </a:cxn>
              <a:cxn ang="0">
                <a:pos x="connsiteX8592" y="connsiteY8592"/>
              </a:cxn>
              <a:cxn ang="0">
                <a:pos x="connsiteX8593" y="connsiteY8593"/>
              </a:cxn>
              <a:cxn ang="0">
                <a:pos x="connsiteX8594" y="connsiteY8594"/>
              </a:cxn>
              <a:cxn ang="0">
                <a:pos x="connsiteX8595" y="connsiteY8595"/>
              </a:cxn>
              <a:cxn ang="0">
                <a:pos x="connsiteX8596" y="connsiteY8596"/>
              </a:cxn>
              <a:cxn ang="0">
                <a:pos x="connsiteX8597" y="connsiteY8597"/>
              </a:cxn>
              <a:cxn ang="0">
                <a:pos x="connsiteX8598" y="connsiteY8598"/>
              </a:cxn>
              <a:cxn ang="0">
                <a:pos x="connsiteX8599" y="connsiteY8599"/>
              </a:cxn>
              <a:cxn ang="0">
                <a:pos x="connsiteX8600" y="connsiteY8600"/>
              </a:cxn>
              <a:cxn ang="0">
                <a:pos x="connsiteX8601" y="connsiteY8601"/>
              </a:cxn>
              <a:cxn ang="0">
                <a:pos x="connsiteX8602" y="connsiteY8602"/>
              </a:cxn>
              <a:cxn ang="0">
                <a:pos x="connsiteX8603" y="connsiteY8603"/>
              </a:cxn>
              <a:cxn ang="0">
                <a:pos x="connsiteX8604" y="connsiteY8604"/>
              </a:cxn>
              <a:cxn ang="0">
                <a:pos x="connsiteX8605" y="connsiteY8605"/>
              </a:cxn>
              <a:cxn ang="0">
                <a:pos x="connsiteX8606" y="connsiteY8606"/>
              </a:cxn>
              <a:cxn ang="0">
                <a:pos x="connsiteX8607" y="connsiteY8607"/>
              </a:cxn>
              <a:cxn ang="0">
                <a:pos x="connsiteX8608" y="connsiteY8608"/>
              </a:cxn>
              <a:cxn ang="0">
                <a:pos x="connsiteX8609" y="connsiteY8609"/>
              </a:cxn>
              <a:cxn ang="0">
                <a:pos x="connsiteX8610" y="connsiteY8610"/>
              </a:cxn>
              <a:cxn ang="0">
                <a:pos x="connsiteX8611" y="connsiteY8611"/>
              </a:cxn>
              <a:cxn ang="0">
                <a:pos x="connsiteX8612" y="connsiteY8612"/>
              </a:cxn>
              <a:cxn ang="0">
                <a:pos x="connsiteX8613" y="connsiteY8613"/>
              </a:cxn>
              <a:cxn ang="0">
                <a:pos x="connsiteX8614" y="connsiteY8614"/>
              </a:cxn>
              <a:cxn ang="0">
                <a:pos x="connsiteX8615" y="connsiteY8615"/>
              </a:cxn>
              <a:cxn ang="0">
                <a:pos x="connsiteX8616" y="connsiteY8616"/>
              </a:cxn>
              <a:cxn ang="0">
                <a:pos x="connsiteX8617" y="connsiteY8617"/>
              </a:cxn>
              <a:cxn ang="0">
                <a:pos x="connsiteX8618" y="connsiteY8618"/>
              </a:cxn>
              <a:cxn ang="0">
                <a:pos x="connsiteX8619" y="connsiteY8619"/>
              </a:cxn>
              <a:cxn ang="0">
                <a:pos x="connsiteX8620" y="connsiteY8620"/>
              </a:cxn>
              <a:cxn ang="0">
                <a:pos x="connsiteX8621" y="connsiteY8621"/>
              </a:cxn>
              <a:cxn ang="0">
                <a:pos x="connsiteX8622" y="connsiteY8622"/>
              </a:cxn>
              <a:cxn ang="0">
                <a:pos x="connsiteX8623" y="connsiteY8623"/>
              </a:cxn>
              <a:cxn ang="0">
                <a:pos x="connsiteX8624" y="connsiteY8624"/>
              </a:cxn>
              <a:cxn ang="0">
                <a:pos x="connsiteX8625" y="connsiteY8625"/>
              </a:cxn>
              <a:cxn ang="0">
                <a:pos x="connsiteX8626" y="connsiteY8626"/>
              </a:cxn>
              <a:cxn ang="0">
                <a:pos x="connsiteX8627" y="connsiteY8627"/>
              </a:cxn>
              <a:cxn ang="0">
                <a:pos x="connsiteX8628" y="connsiteY8628"/>
              </a:cxn>
              <a:cxn ang="0">
                <a:pos x="connsiteX8629" y="connsiteY8629"/>
              </a:cxn>
              <a:cxn ang="0">
                <a:pos x="connsiteX8630" y="connsiteY8630"/>
              </a:cxn>
              <a:cxn ang="0">
                <a:pos x="connsiteX8631" y="connsiteY8631"/>
              </a:cxn>
              <a:cxn ang="0">
                <a:pos x="connsiteX8632" y="connsiteY8632"/>
              </a:cxn>
              <a:cxn ang="0">
                <a:pos x="connsiteX8633" y="connsiteY8633"/>
              </a:cxn>
              <a:cxn ang="0">
                <a:pos x="connsiteX8634" y="connsiteY8634"/>
              </a:cxn>
              <a:cxn ang="0">
                <a:pos x="connsiteX8635" y="connsiteY8635"/>
              </a:cxn>
              <a:cxn ang="0">
                <a:pos x="connsiteX8636" y="connsiteY8636"/>
              </a:cxn>
              <a:cxn ang="0">
                <a:pos x="connsiteX8637" y="connsiteY8637"/>
              </a:cxn>
              <a:cxn ang="0">
                <a:pos x="connsiteX8638" y="connsiteY8638"/>
              </a:cxn>
              <a:cxn ang="0">
                <a:pos x="connsiteX8639" y="connsiteY8639"/>
              </a:cxn>
              <a:cxn ang="0">
                <a:pos x="connsiteX8640" y="connsiteY8640"/>
              </a:cxn>
              <a:cxn ang="0">
                <a:pos x="connsiteX8641" y="connsiteY8641"/>
              </a:cxn>
              <a:cxn ang="0">
                <a:pos x="connsiteX8642" y="connsiteY8642"/>
              </a:cxn>
              <a:cxn ang="0">
                <a:pos x="connsiteX8643" y="connsiteY8643"/>
              </a:cxn>
              <a:cxn ang="0">
                <a:pos x="connsiteX8644" y="connsiteY8644"/>
              </a:cxn>
              <a:cxn ang="0">
                <a:pos x="connsiteX8645" y="connsiteY8645"/>
              </a:cxn>
              <a:cxn ang="0">
                <a:pos x="connsiteX8646" y="connsiteY8646"/>
              </a:cxn>
              <a:cxn ang="0">
                <a:pos x="connsiteX8647" y="connsiteY8647"/>
              </a:cxn>
              <a:cxn ang="0">
                <a:pos x="connsiteX8648" y="connsiteY8648"/>
              </a:cxn>
              <a:cxn ang="0">
                <a:pos x="connsiteX8649" y="connsiteY8649"/>
              </a:cxn>
              <a:cxn ang="0">
                <a:pos x="connsiteX8650" y="connsiteY8650"/>
              </a:cxn>
              <a:cxn ang="0">
                <a:pos x="connsiteX8651" y="connsiteY8651"/>
              </a:cxn>
              <a:cxn ang="0">
                <a:pos x="connsiteX8652" y="connsiteY8652"/>
              </a:cxn>
              <a:cxn ang="0">
                <a:pos x="connsiteX8653" y="connsiteY8653"/>
              </a:cxn>
              <a:cxn ang="0">
                <a:pos x="connsiteX8654" y="connsiteY8654"/>
              </a:cxn>
              <a:cxn ang="0">
                <a:pos x="connsiteX8655" y="connsiteY8655"/>
              </a:cxn>
              <a:cxn ang="0">
                <a:pos x="connsiteX8656" y="connsiteY8656"/>
              </a:cxn>
              <a:cxn ang="0">
                <a:pos x="connsiteX8657" y="connsiteY8657"/>
              </a:cxn>
              <a:cxn ang="0">
                <a:pos x="connsiteX8658" y="connsiteY8658"/>
              </a:cxn>
              <a:cxn ang="0">
                <a:pos x="connsiteX8659" y="connsiteY8659"/>
              </a:cxn>
              <a:cxn ang="0">
                <a:pos x="connsiteX8660" y="connsiteY8660"/>
              </a:cxn>
              <a:cxn ang="0">
                <a:pos x="connsiteX8661" y="connsiteY8661"/>
              </a:cxn>
              <a:cxn ang="0">
                <a:pos x="connsiteX8662" y="connsiteY8662"/>
              </a:cxn>
              <a:cxn ang="0">
                <a:pos x="connsiteX8663" y="connsiteY8663"/>
              </a:cxn>
              <a:cxn ang="0">
                <a:pos x="connsiteX8664" y="connsiteY8664"/>
              </a:cxn>
              <a:cxn ang="0">
                <a:pos x="connsiteX8665" y="connsiteY8665"/>
              </a:cxn>
              <a:cxn ang="0">
                <a:pos x="connsiteX8666" y="connsiteY8666"/>
              </a:cxn>
              <a:cxn ang="0">
                <a:pos x="connsiteX8667" y="connsiteY8667"/>
              </a:cxn>
              <a:cxn ang="0">
                <a:pos x="connsiteX8668" y="connsiteY8668"/>
              </a:cxn>
              <a:cxn ang="0">
                <a:pos x="connsiteX8669" y="connsiteY8669"/>
              </a:cxn>
              <a:cxn ang="0">
                <a:pos x="connsiteX8670" y="connsiteY8670"/>
              </a:cxn>
              <a:cxn ang="0">
                <a:pos x="connsiteX8671" y="connsiteY8671"/>
              </a:cxn>
              <a:cxn ang="0">
                <a:pos x="connsiteX8672" y="connsiteY8672"/>
              </a:cxn>
              <a:cxn ang="0">
                <a:pos x="connsiteX8673" y="connsiteY8673"/>
              </a:cxn>
              <a:cxn ang="0">
                <a:pos x="connsiteX8674" y="connsiteY8674"/>
              </a:cxn>
              <a:cxn ang="0">
                <a:pos x="connsiteX8675" y="connsiteY8675"/>
              </a:cxn>
              <a:cxn ang="0">
                <a:pos x="connsiteX8676" y="connsiteY8676"/>
              </a:cxn>
              <a:cxn ang="0">
                <a:pos x="connsiteX8677" y="connsiteY8677"/>
              </a:cxn>
              <a:cxn ang="0">
                <a:pos x="connsiteX8678" y="connsiteY8678"/>
              </a:cxn>
              <a:cxn ang="0">
                <a:pos x="connsiteX8679" y="connsiteY8679"/>
              </a:cxn>
              <a:cxn ang="0">
                <a:pos x="connsiteX8680" y="connsiteY8680"/>
              </a:cxn>
              <a:cxn ang="0">
                <a:pos x="connsiteX8681" y="connsiteY8681"/>
              </a:cxn>
              <a:cxn ang="0">
                <a:pos x="connsiteX8682" y="connsiteY8682"/>
              </a:cxn>
              <a:cxn ang="0">
                <a:pos x="connsiteX8683" y="connsiteY8683"/>
              </a:cxn>
              <a:cxn ang="0">
                <a:pos x="connsiteX8684" y="connsiteY8684"/>
              </a:cxn>
              <a:cxn ang="0">
                <a:pos x="connsiteX8685" y="connsiteY8685"/>
              </a:cxn>
              <a:cxn ang="0">
                <a:pos x="connsiteX8686" y="connsiteY8686"/>
              </a:cxn>
              <a:cxn ang="0">
                <a:pos x="connsiteX8687" y="connsiteY8687"/>
              </a:cxn>
              <a:cxn ang="0">
                <a:pos x="connsiteX8688" y="connsiteY8688"/>
              </a:cxn>
              <a:cxn ang="0">
                <a:pos x="connsiteX8689" y="connsiteY8689"/>
              </a:cxn>
              <a:cxn ang="0">
                <a:pos x="connsiteX8690" y="connsiteY8690"/>
              </a:cxn>
              <a:cxn ang="0">
                <a:pos x="connsiteX8691" y="connsiteY8691"/>
              </a:cxn>
              <a:cxn ang="0">
                <a:pos x="connsiteX8692" y="connsiteY8692"/>
              </a:cxn>
              <a:cxn ang="0">
                <a:pos x="connsiteX8693" y="connsiteY8693"/>
              </a:cxn>
              <a:cxn ang="0">
                <a:pos x="connsiteX8694" y="connsiteY8694"/>
              </a:cxn>
              <a:cxn ang="0">
                <a:pos x="connsiteX8695" y="connsiteY8695"/>
              </a:cxn>
              <a:cxn ang="0">
                <a:pos x="connsiteX8696" y="connsiteY8696"/>
              </a:cxn>
              <a:cxn ang="0">
                <a:pos x="connsiteX8697" y="connsiteY8697"/>
              </a:cxn>
              <a:cxn ang="0">
                <a:pos x="connsiteX8698" y="connsiteY8698"/>
              </a:cxn>
              <a:cxn ang="0">
                <a:pos x="connsiteX8699" y="connsiteY8699"/>
              </a:cxn>
              <a:cxn ang="0">
                <a:pos x="connsiteX8700" y="connsiteY8700"/>
              </a:cxn>
              <a:cxn ang="0">
                <a:pos x="connsiteX8701" y="connsiteY8701"/>
              </a:cxn>
              <a:cxn ang="0">
                <a:pos x="connsiteX8702" y="connsiteY8702"/>
              </a:cxn>
              <a:cxn ang="0">
                <a:pos x="connsiteX8703" y="connsiteY8703"/>
              </a:cxn>
              <a:cxn ang="0">
                <a:pos x="connsiteX8704" y="connsiteY8704"/>
              </a:cxn>
              <a:cxn ang="0">
                <a:pos x="connsiteX8705" y="connsiteY8705"/>
              </a:cxn>
              <a:cxn ang="0">
                <a:pos x="connsiteX8706" y="connsiteY8706"/>
              </a:cxn>
              <a:cxn ang="0">
                <a:pos x="connsiteX8707" y="connsiteY8707"/>
              </a:cxn>
              <a:cxn ang="0">
                <a:pos x="connsiteX8708" y="connsiteY8708"/>
              </a:cxn>
              <a:cxn ang="0">
                <a:pos x="connsiteX8709" y="connsiteY8709"/>
              </a:cxn>
              <a:cxn ang="0">
                <a:pos x="connsiteX8710" y="connsiteY8710"/>
              </a:cxn>
              <a:cxn ang="0">
                <a:pos x="connsiteX8711" y="connsiteY8711"/>
              </a:cxn>
              <a:cxn ang="0">
                <a:pos x="connsiteX8712" y="connsiteY8712"/>
              </a:cxn>
              <a:cxn ang="0">
                <a:pos x="connsiteX8713" y="connsiteY8713"/>
              </a:cxn>
              <a:cxn ang="0">
                <a:pos x="connsiteX8714" y="connsiteY8714"/>
              </a:cxn>
              <a:cxn ang="0">
                <a:pos x="connsiteX8715" y="connsiteY8715"/>
              </a:cxn>
              <a:cxn ang="0">
                <a:pos x="connsiteX8716" y="connsiteY8716"/>
              </a:cxn>
              <a:cxn ang="0">
                <a:pos x="connsiteX8717" y="connsiteY8717"/>
              </a:cxn>
              <a:cxn ang="0">
                <a:pos x="connsiteX8718" y="connsiteY8718"/>
              </a:cxn>
              <a:cxn ang="0">
                <a:pos x="connsiteX8719" y="connsiteY8719"/>
              </a:cxn>
              <a:cxn ang="0">
                <a:pos x="connsiteX8720" y="connsiteY8720"/>
              </a:cxn>
              <a:cxn ang="0">
                <a:pos x="connsiteX8721" y="connsiteY8721"/>
              </a:cxn>
              <a:cxn ang="0">
                <a:pos x="connsiteX8722" y="connsiteY8722"/>
              </a:cxn>
              <a:cxn ang="0">
                <a:pos x="connsiteX8723" y="connsiteY8723"/>
              </a:cxn>
              <a:cxn ang="0">
                <a:pos x="connsiteX8724" y="connsiteY8724"/>
              </a:cxn>
              <a:cxn ang="0">
                <a:pos x="connsiteX8725" y="connsiteY8725"/>
              </a:cxn>
              <a:cxn ang="0">
                <a:pos x="connsiteX8726" y="connsiteY8726"/>
              </a:cxn>
              <a:cxn ang="0">
                <a:pos x="connsiteX8727" y="connsiteY8727"/>
              </a:cxn>
              <a:cxn ang="0">
                <a:pos x="connsiteX8728" y="connsiteY8728"/>
              </a:cxn>
              <a:cxn ang="0">
                <a:pos x="connsiteX8729" y="connsiteY8729"/>
              </a:cxn>
              <a:cxn ang="0">
                <a:pos x="connsiteX8730" y="connsiteY8730"/>
              </a:cxn>
              <a:cxn ang="0">
                <a:pos x="connsiteX8731" y="connsiteY8731"/>
              </a:cxn>
              <a:cxn ang="0">
                <a:pos x="connsiteX8732" y="connsiteY8732"/>
              </a:cxn>
              <a:cxn ang="0">
                <a:pos x="connsiteX8733" y="connsiteY8733"/>
              </a:cxn>
              <a:cxn ang="0">
                <a:pos x="connsiteX8734" y="connsiteY8734"/>
              </a:cxn>
              <a:cxn ang="0">
                <a:pos x="connsiteX8735" y="connsiteY8735"/>
              </a:cxn>
              <a:cxn ang="0">
                <a:pos x="connsiteX8736" y="connsiteY8736"/>
              </a:cxn>
              <a:cxn ang="0">
                <a:pos x="connsiteX8737" y="connsiteY8737"/>
              </a:cxn>
              <a:cxn ang="0">
                <a:pos x="connsiteX8738" y="connsiteY8738"/>
              </a:cxn>
              <a:cxn ang="0">
                <a:pos x="connsiteX8739" y="connsiteY8739"/>
              </a:cxn>
              <a:cxn ang="0">
                <a:pos x="connsiteX8740" y="connsiteY8740"/>
              </a:cxn>
              <a:cxn ang="0">
                <a:pos x="connsiteX8741" y="connsiteY8741"/>
              </a:cxn>
              <a:cxn ang="0">
                <a:pos x="connsiteX8742" y="connsiteY8742"/>
              </a:cxn>
              <a:cxn ang="0">
                <a:pos x="connsiteX8743" y="connsiteY8743"/>
              </a:cxn>
              <a:cxn ang="0">
                <a:pos x="connsiteX8744" y="connsiteY8744"/>
              </a:cxn>
              <a:cxn ang="0">
                <a:pos x="connsiteX8745" y="connsiteY8745"/>
              </a:cxn>
              <a:cxn ang="0">
                <a:pos x="connsiteX8746" y="connsiteY8746"/>
              </a:cxn>
              <a:cxn ang="0">
                <a:pos x="connsiteX8747" y="connsiteY8747"/>
              </a:cxn>
              <a:cxn ang="0">
                <a:pos x="connsiteX8748" y="connsiteY8748"/>
              </a:cxn>
              <a:cxn ang="0">
                <a:pos x="connsiteX8749" y="connsiteY8749"/>
              </a:cxn>
              <a:cxn ang="0">
                <a:pos x="connsiteX8750" y="connsiteY8750"/>
              </a:cxn>
              <a:cxn ang="0">
                <a:pos x="connsiteX8751" y="connsiteY8751"/>
              </a:cxn>
              <a:cxn ang="0">
                <a:pos x="connsiteX8752" y="connsiteY8752"/>
              </a:cxn>
              <a:cxn ang="0">
                <a:pos x="connsiteX8753" y="connsiteY8753"/>
              </a:cxn>
              <a:cxn ang="0">
                <a:pos x="connsiteX8754" y="connsiteY8754"/>
              </a:cxn>
              <a:cxn ang="0">
                <a:pos x="connsiteX8755" y="connsiteY8755"/>
              </a:cxn>
              <a:cxn ang="0">
                <a:pos x="connsiteX8756" y="connsiteY8756"/>
              </a:cxn>
              <a:cxn ang="0">
                <a:pos x="connsiteX8757" y="connsiteY8757"/>
              </a:cxn>
              <a:cxn ang="0">
                <a:pos x="connsiteX8758" y="connsiteY8758"/>
              </a:cxn>
              <a:cxn ang="0">
                <a:pos x="connsiteX8759" y="connsiteY8759"/>
              </a:cxn>
              <a:cxn ang="0">
                <a:pos x="connsiteX8760" y="connsiteY8760"/>
              </a:cxn>
              <a:cxn ang="0">
                <a:pos x="connsiteX8761" y="connsiteY8761"/>
              </a:cxn>
              <a:cxn ang="0">
                <a:pos x="connsiteX8762" y="connsiteY8762"/>
              </a:cxn>
              <a:cxn ang="0">
                <a:pos x="connsiteX8763" y="connsiteY8763"/>
              </a:cxn>
              <a:cxn ang="0">
                <a:pos x="connsiteX8764" y="connsiteY8764"/>
              </a:cxn>
              <a:cxn ang="0">
                <a:pos x="connsiteX8765" y="connsiteY8765"/>
              </a:cxn>
              <a:cxn ang="0">
                <a:pos x="connsiteX8766" y="connsiteY8766"/>
              </a:cxn>
              <a:cxn ang="0">
                <a:pos x="connsiteX8767" y="connsiteY8767"/>
              </a:cxn>
              <a:cxn ang="0">
                <a:pos x="connsiteX8768" y="connsiteY8768"/>
              </a:cxn>
              <a:cxn ang="0">
                <a:pos x="connsiteX8769" y="connsiteY8769"/>
              </a:cxn>
              <a:cxn ang="0">
                <a:pos x="connsiteX8770" y="connsiteY8770"/>
              </a:cxn>
              <a:cxn ang="0">
                <a:pos x="connsiteX8771" y="connsiteY8771"/>
              </a:cxn>
              <a:cxn ang="0">
                <a:pos x="connsiteX8772" y="connsiteY8772"/>
              </a:cxn>
              <a:cxn ang="0">
                <a:pos x="connsiteX8773" y="connsiteY8773"/>
              </a:cxn>
              <a:cxn ang="0">
                <a:pos x="connsiteX8774" y="connsiteY8774"/>
              </a:cxn>
              <a:cxn ang="0">
                <a:pos x="connsiteX8775" y="connsiteY8775"/>
              </a:cxn>
              <a:cxn ang="0">
                <a:pos x="connsiteX8776" y="connsiteY8776"/>
              </a:cxn>
              <a:cxn ang="0">
                <a:pos x="connsiteX8777" y="connsiteY8777"/>
              </a:cxn>
              <a:cxn ang="0">
                <a:pos x="connsiteX8778" y="connsiteY8778"/>
              </a:cxn>
              <a:cxn ang="0">
                <a:pos x="connsiteX8779" y="connsiteY8779"/>
              </a:cxn>
              <a:cxn ang="0">
                <a:pos x="connsiteX8780" y="connsiteY8780"/>
              </a:cxn>
              <a:cxn ang="0">
                <a:pos x="connsiteX8781" y="connsiteY8781"/>
              </a:cxn>
              <a:cxn ang="0">
                <a:pos x="connsiteX8782" y="connsiteY8782"/>
              </a:cxn>
              <a:cxn ang="0">
                <a:pos x="connsiteX8783" y="connsiteY8783"/>
              </a:cxn>
              <a:cxn ang="0">
                <a:pos x="connsiteX8784" y="connsiteY8784"/>
              </a:cxn>
              <a:cxn ang="0">
                <a:pos x="connsiteX8785" y="connsiteY8785"/>
              </a:cxn>
              <a:cxn ang="0">
                <a:pos x="connsiteX8786" y="connsiteY8786"/>
              </a:cxn>
              <a:cxn ang="0">
                <a:pos x="connsiteX8787" y="connsiteY8787"/>
              </a:cxn>
              <a:cxn ang="0">
                <a:pos x="connsiteX8788" y="connsiteY8788"/>
              </a:cxn>
              <a:cxn ang="0">
                <a:pos x="connsiteX8789" y="connsiteY8789"/>
              </a:cxn>
              <a:cxn ang="0">
                <a:pos x="connsiteX8790" y="connsiteY8790"/>
              </a:cxn>
              <a:cxn ang="0">
                <a:pos x="connsiteX8791" y="connsiteY8791"/>
              </a:cxn>
              <a:cxn ang="0">
                <a:pos x="connsiteX8792" y="connsiteY8792"/>
              </a:cxn>
              <a:cxn ang="0">
                <a:pos x="connsiteX8793" y="connsiteY8793"/>
              </a:cxn>
              <a:cxn ang="0">
                <a:pos x="connsiteX8794" y="connsiteY8794"/>
              </a:cxn>
              <a:cxn ang="0">
                <a:pos x="connsiteX8795" y="connsiteY8795"/>
              </a:cxn>
              <a:cxn ang="0">
                <a:pos x="connsiteX8796" y="connsiteY8796"/>
              </a:cxn>
              <a:cxn ang="0">
                <a:pos x="connsiteX8797" y="connsiteY8797"/>
              </a:cxn>
              <a:cxn ang="0">
                <a:pos x="connsiteX8798" y="connsiteY8798"/>
              </a:cxn>
              <a:cxn ang="0">
                <a:pos x="connsiteX8799" y="connsiteY8799"/>
              </a:cxn>
              <a:cxn ang="0">
                <a:pos x="connsiteX8800" y="connsiteY8800"/>
              </a:cxn>
              <a:cxn ang="0">
                <a:pos x="connsiteX8801" y="connsiteY8801"/>
              </a:cxn>
              <a:cxn ang="0">
                <a:pos x="connsiteX8802" y="connsiteY8802"/>
              </a:cxn>
              <a:cxn ang="0">
                <a:pos x="connsiteX8803" y="connsiteY8803"/>
              </a:cxn>
              <a:cxn ang="0">
                <a:pos x="connsiteX8804" y="connsiteY8804"/>
              </a:cxn>
              <a:cxn ang="0">
                <a:pos x="connsiteX8805" y="connsiteY8805"/>
              </a:cxn>
              <a:cxn ang="0">
                <a:pos x="connsiteX8806" y="connsiteY8806"/>
              </a:cxn>
              <a:cxn ang="0">
                <a:pos x="connsiteX8807" y="connsiteY8807"/>
              </a:cxn>
              <a:cxn ang="0">
                <a:pos x="connsiteX8808" y="connsiteY8808"/>
              </a:cxn>
              <a:cxn ang="0">
                <a:pos x="connsiteX8809" y="connsiteY8809"/>
              </a:cxn>
              <a:cxn ang="0">
                <a:pos x="connsiteX8810" y="connsiteY8810"/>
              </a:cxn>
              <a:cxn ang="0">
                <a:pos x="connsiteX8811" y="connsiteY8811"/>
              </a:cxn>
              <a:cxn ang="0">
                <a:pos x="connsiteX8812" y="connsiteY8812"/>
              </a:cxn>
              <a:cxn ang="0">
                <a:pos x="connsiteX8813" y="connsiteY8813"/>
              </a:cxn>
              <a:cxn ang="0">
                <a:pos x="connsiteX8814" y="connsiteY8814"/>
              </a:cxn>
              <a:cxn ang="0">
                <a:pos x="connsiteX8815" y="connsiteY8815"/>
              </a:cxn>
              <a:cxn ang="0">
                <a:pos x="connsiteX8816" y="connsiteY8816"/>
              </a:cxn>
              <a:cxn ang="0">
                <a:pos x="connsiteX8817" y="connsiteY8817"/>
              </a:cxn>
              <a:cxn ang="0">
                <a:pos x="connsiteX8818" y="connsiteY8818"/>
              </a:cxn>
              <a:cxn ang="0">
                <a:pos x="connsiteX8819" y="connsiteY8819"/>
              </a:cxn>
              <a:cxn ang="0">
                <a:pos x="connsiteX8820" y="connsiteY8820"/>
              </a:cxn>
              <a:cxn ang="0">
                <a:pos x="connsiteX8821" y="connsiteY8821"/>
              </a:cxn>
              <a:cxn ang="0">
                <a:pos x="connsiteX8822" y="connsiteY8822"/>
              </a:cxn>
              <a:cxn ang="0">
                <a:pos x="connsiteX8823" y="connsiteY8823"/>
              </a:cxn>
              <a:cxn ang="0">
                <a:pos x="connsiteX8824" y="connsiteY8824"/>
              </a:cxn>
              <a:cxn ang="0">
                <a:pos x="connsiteX8825" y="connsiteY8825"/>
              </a:cxn>
              <a:cxn ang="0">
                <a:pos x="connsiteX8826" y="connsiteY8826"/>
              </a:cxn>
              <a:cxn ang="0">
                <a:pos x="connsiteX8827" y="connsiteY8827"/>
              </a:cxn>
              <a:cxn ang="0">
                <a:pos x="connsiteX8828" y="connsiteY8828"/>
              </a:cxn>
              <a:cxn ang="0">
                <a:pos x="connsiteX8829" y="connsiteY8829"/>
              </a:cxn>
              <a:cxn ang="0">
                <a:pos x="connsiteX8830" y="connsiteY8830"/>
              </a:cxn>
              <a:cxn ang="0">
                <a:pos x="connsiteX8831" y="connsiteY8831"/>
              </a:cxn>
              <a:cxn ang="0">
                <a:pos x="connsiteX8832" y="connsiteY8832"/>
              </a:cxn>
              <a:cxn ang="0">
                <a:pos x="connsiteX8833" y="connsiteY8833"/>
              </a:cxn>
              <a:cxn ang="0">
                <a:pos x="connsiteX8834" y="connsiteY8834"/>
              </a:cxn>
              <a:cxn ang="0">
                <a:pos x="connsiteX8835" y="connsiteY8835"/>
              </a:cxn>
              <a:cxn ang="0">
                <a:pos x="connsiteX8836" y="connsiteY8836"/>
              </a:cxn>
              <a:cxn ang="0">
                <a:pos x="connsiteX8837" y="connsiteY8837"/>
              </a:cxn>
              <a:cxn ang="0">
                <a:pos x="connsiteX8838" y="connsiteY8838"/>
              </a:cxn>
              <a:cxn ang="0">
                <a:pos x="connsiteX8839" y="connsiteY8839"/>
              </a:cxn>
              <a:cxn ang="0">
                <a:pos x="connsiteX8840" y="connsiteY8840"/>
              </a:cxn>
              <a:cxn ang="0">
                <a:pos x="connsiteX8841" y="connsiteY8841"/>
              </a:cxn>
              <a:cxn ang="0">
                <a:pos x="connsiteX8842" y="connsiteY8842"/>
              </a:cxn>
              <a:cxn ang="0">
                <a:pos x="connsiteX8843" y="connsiteY8843"/>
              </a:cxn>
              <a:cxn ang="0">
                <a:pos x="connsiteX8844" y="connsiteY8844"/>
              </a:cxn>
              <a:cxn ang="0">
                <a:pos x="connsiteX8845" y="connsiteY8845"/>
              </a:cxn>
              <a:cxn ang="0">
                <a:pos x="connsiteX8846" y="connsiteY8846"/>
              </a:cxn>
              <a:cxn ang="0">
                <a:pos x="connsiteX8847" y="connsiteY8847"/>
              </a:cxn>
              <a:cxn ang="0">
                <a:pos x="connsiteX8848" y="connsiteY8848"/>
              </a:cxn>
              <a:cxn ang="0">
                <a:pos x="connsiteX8849" y="connsiteY8849"/>
              </a:cxn>
              <a:cxn ang="0">
                <a:pos x="connsiteX8850" y="connsiteY8850"/>
              </a:cxn>
              <a:cxn ang="0">
                <a:pos x="connsiteX8851" y="connsiteY8851"/>
              </a:cxn>
              <a:cxn ang="0">
                <a:pos x="connsiteX8852" y="connsiteY8852"/>
              </a:cxn>
              <a:cxn ang="0">
                <a:pos x="connsiteX8853" y="connsiteY8853"/>
              </a:cxn>
              <a:cxn ang="0">
                <a:pos x="connsiteX8854" y="connsiteY8854"/>
              </a:cxn>
              <a:cxn ang="0">
                <a:pos x="connsiteX8855" y="connsiteY8855"/>
              </a:cxn>
              <a:cxn ang="0">
                <a:pos x="connsiteX8856" y="connsiteY8856"/>
              </a:cxn>
              <a:cxn ang="0">
                <a:pos x="connsiteX8857" y="connsiteY8857"/>
              </a:cxn>
              <a:cxn ang="0">
                <a:pos x="connsiteX8858" y="connsiteY8858"/>
              </a:cxn>
              <a:cxn ang="0">
                <a:pos x="connsiteX8859" y="connsiteY8859"/>
              </a:cxn>
              <a:cxn ang="0">
                <a:pos x="connsiteX8860" y="connsiteY8860"/>
              </a:cxn>
              <a:cxn ang="0">
                <a:pos x="connsiteX8861" y="connsiteY8861"/>
              </a:cxn>
              <a:cxn ang="0">
                <a:pos x="connsiteX8862" y="connsiteY8862"/>
              </a:cxn>
              <a:cxn ang="0">
                <a:pos x="connsiteX8863" y="connsiteY8863"/>
              </a:cxn>
              <a:cxn ang="0">
                <a:pos x="connsiteX8864" y="connsiteY8864"/>
              </a:cxn>
              <a:cxn ang="0">
                <a:pos x="connsiteX8865" y="connsiteY8865"/>
              </a:cxn>
              <a:cxn ang="0">
                <a:pos x="connsiteX8866" y="connsiteY8866"/>
              </a:cxn>
              <a:cxn ang="0">
                <a:pos x="connsiteX8867" y="connsiteY8867"/>
              </a:cxn>
              <a:cxn ang="0">
                <a:pos x="connsiteX8868" y="connsiteY8868"/>
              </a:cxn>
              <a:cxn ang="0">
                <a:pos x="connsiteX8869" y="connsiteY8869"/>
              </a:cxn>
              <a:cxn ang="0">
                <a:pos x="connsiteX8870" y="connsiteY8870"/>
              </a:cxn>
              <a:cxn ang="0">
                <a:pos x="connsiteX8871" y="connsiteY8871"/>
              </a:cxn>
              <a:cxn ang="0">
                <a:pos x="connsiteX8872" y="connsiteY8872"/>
              </a:cxn>
              <a:cxn ang="0">
                <a:pos x="connsiteX8873" y="connsiteY8873"/>
              </a:cxn>
              <a:cxn ang="0">
                <a:pos x="connsiteX8874" y="connsiteY8874"/>
              </a:cxn>
              <a:cxn ang="0">
                <a:pos x="connsiteX8875" y="connsiteY8875"/>
              </a:cxn>
              <a:cxn ang="0">
                <a:pos x="connsiteX8876" y="connsiteY8876"/>
              </a:cxn>
              <a:cxn ang="0">
                <a:pos x="connsiteX8877" y="connsiteY8877"/>
              </a:cxn>
              <a:cxn ang="0">
                <a:pos x="connsiteX8878" y="connsiteY8878"/>
              </a:cxn>
              <a:cxn ang="0">
                <a:pos x="connsiteX8879" y="connsiteY8879"/>
              </a:cxn>
              <a:cxn ang="0">
                <a:pos x="connsiteX8880" y="connsiteY8880"/>
              </a:cxn>
              <a:cxn ang="0">
                <a:pos x="connsiteX8881" y="connsiteY8881"/>
              </a:cxn>
              <a:cxn ang="0">
                <a:pos x="connsiteX8882" y="connsiteY8882"/>
              </a:cxn>
              <a:cxn ang="0">
                <a:pos x="connsiteX8883" y="connsiteY8883"/>
              </a:cxn>
              <a:cxn ang="0">
                <a:pos x="connsiteX8884" y="connsiteY8884"/>
              </a:cxn>
              <a:cxn ang="0">
                <a:pos x="connsiteX8885" y="connsiteY8885"/>
              </a:cxn>
              <a:cxn ang="0">
                <a:pos x="connsiteX8886" y="connsiteY8886"/>
              </a:cxn>
              <a:cxn ang="0">
                <a:pos x="connsiteX8887" y="connsiteY8887"/>
              </a:cxn>
              <a:cxn ang="0">
                <a:pos x="connsiteX8888" y="connsiteY8888"/>
              </a:cxn>
              <a:cxn ang="0">
                <a:pos x="connsiteX8889" y="connsiteY8889"/>
              </a:cxn>
              <a:cxn ang="0">
                <a:pos x="connsiteX8890" y="connsiteY8890"/>
              </a:cxn>
              <a:cxn ang="0">
                <a:pos x="connsiteX8891" y="connsiteY8891"/>
              </a:cxn>
              <a:cxn ang="0">
                <a:pos x="connsiteX8892" y="connsiteY8892"/>
              </a:cxn>
              <a:cxn ang="0">
                <a:pos x="connsiteX8893" y="connsiteY8893"/>
              </a:cxn>
              <a:cxn ang="0">
                <a:pos x="connsiteX8894" y="connsiteY8894"/>
              </a:cxn>
              <a:cxn ang="0">
                <a:pos x="connsiteX8895" y="connsiteY8895"/>
              </a:cxn>
              <a:cxn ang="0">
                <a:pos x="connsiteX8896" y="connsiteY8896"/>
              </a:cxn>
              <a:cxn ang="0">
                <a:pos x="connsiteX8897" y="connsiteY8897"/>
              </a:cxn>
              <a:cxn ang="0">
                <a:pos x="connsiteX8898" y="connsiteY8898"/>
              </a:cxn>
              <a:cxn ang="0">
                <a:pos x="connsiteX8899" y="connsiteY8899"/>
              </a:cxn>
              <a:cxn ang="0">
                <a:pos x="connsiteX8900" y="connsiteY8900"/>
              </a:cxn>
              <a:cxn ang="0">
                <a:pos x="connsiteX8901" y="connsiteY8901"/>
              </a:cxn>
              <a:cxn ang="0">
                <a:pos x="connsiteX8902" y="connsiteY8902"/>
              </a:cxn>
              <a:cxn ang="0">
                <a:pos x="connsiteX8903" y="connsiteY8903"/>
              </a:cxn>
              <a:cxn ang="0">
                <a:pos x="connsiteX8904" y="connsiteY8904"/>
              </a:cxn>
              <a:cxn ang="0">
                <a:pos x="connsiteX8905" y="connsiteY8905"/>
              </a:cxn>
              <a:cxn ang="0">
                <a:pos x="connsiteX8906" y="connsiteY8906"/>
              </a:cxn>
              <a:cxn ang="0">
                <a:pos x="connsiteX8907" y="connsiteY8907"/>
              </a:cxn>
              <a:cxn ang="0">
                <a:pos x="connsiteX8908" y="connsiteY8908"/>
              </a:cxn>
              <a:cxn ang="0">
                <a:pos x="connsiteX8909" y="connsiteY8909"/>
              </a:cxn>
              <a:cxn ang="0">
                <a:pos x="connsiteX8910" y="connsiteY8910"/>
              </a:cxn>
              <a:cxn ang="0">
                <a:pos x="connsiteX8911" y="connsiteY8911"/>
              </a:cxn>
              <a:cxn ang="0">
                <a:pos x="connsiteX8912" y="connsiteY8912"/>
              </a:cxn>
              <a:cxn ang="0">
                <a:pos x="connsiteX8913" y="connsiteY8913"/>
              </a:cxn>
              <a:cxn ang="0">
                <a:pos x="connsiteX8914" y="connsiteY8914"/>
              </a:cxn>
              <a:cxn ang="0">
                <a:pos x="connsiteX8915" y="connsiteY8915"/>
              </a:cxn>
              <a:cxn ang="0">
                <a:pos x="connsiteX8916" y="connsiteY8916"/>
              </a:cxn>
              <a:cxn ang="0">
                <a:pos x="connsiteX8917" y="connsiteY8917"/>
              </a:cxn>
              <a:cxn ang="0">
                <a:pos x="connsiteX8918" y="connsiteY8918"/>
              </a:cxn>
              <a:cxn ang="0">
                <a:pos x="connsiteX8919" y="connsiteY8919"/>
              </a:cxn>
              <a:cxn ang="0">
                <a:pos x="connsiteX8920" y="connsiteY8920"/>
              </a:cxn>
              <a:cxn ang="0">
                <a:pos x="connsiteX8921" y="connsiteY8921"/>
              </a:cxn>
              <a:cxn ang="0">
                <a:pos x="connsiteX8922" y="connsiteY8922"/>
              </a:cxn>
              <a:cxn ang="0">
                <a:pos x="connsiteX8923" y="connsiteY8923"/>
              </a:cxn>
              <a:cxn ang="0">
                <a:pos x="connsiteX8924" y="connsiteY8924"/>
              </a:cxn>
              <a:cxn ang="0">
                <a:pos x="connsiteX8925" y="connsiteY8925"/>
              </a:cxn>
              <a:cxn ang="0">
                <a:pos x="connsiteX8926" y="connsiteY8926"/>
              </a:cxn>
              <a:cxn ang="0">
                <a:pos x="connsiteX8927" y="connsiteY8927"/>
              </a:cxn>
              <a:cxn ang="0">
                <a:pos x="connsiteX8928" y="connsiteY8928"/>
              </a:cxn>
              <a:cxn ang="0">
                <a:pos x="connsiteX8929" y="connsiteY8929"/>
              </a:cxn>
              <a:cxn ang="0">
                <a:pos x="connsiteX8930" y="connsiteY8930"/>
              </a:cxn>
              <a:cxn ang="0">
                <a:pos x="connsiteX8931" y="connsiteY8931"/>
              </a:cxn>
              <a:cxn ang="0">
                <a:pos x="connsiteX8932" y="connsiteY8932"/>
              </a:cxn>
              <a:cxn ang="0">
                <a:pos x="connsiteX8933" y="connsiteY8933"/>
              </a:cxn>
              <a:cxn ang="0">
                <a:pos x="connsiteX8934" y="connsiteY8934"/>
              </a:cxn>
              <a:cxn ang="0">
                <a:pos x="connsiteX8935" y="connsiteY8935"/>
              </a:cxn>
              <a:cxn ang="0">
                <a:pos x="connsiteX8936" y="connsiteY8936"/>
              </a:cxn>
              <a:cxn ang="0">
                <a:pos x="connsiteX8937" y="connsiteY8937"/>
              </a:cxn>
              <a:cxn ang="0">
                <a:pos x="connsiteX8938" y="connsiteY8938"/>
              </a:cxn>
              <a:cxn ang="0">
                <a:pos x="connsiteX8939" y="connsiteY8939"/>
              </a:cxn>
              <a:cxn ang="0">
                <a:pos x="connsiteX8940" y="connsiteY8940"/>
              </a:cxn>
              <a:cxn ang="0">
                <a:pos x="connsiteX8941" y="connsiteY8941"/>
              </a:cxn>
              <a:cxn ang="0">
                <a:pos x="connsiteX8942" y="connsiteY8942"/>
              </a:cxn>
              <a:cxn ang="0">
                <a:pos x="connsiteX8943" y="connsiteY8943"/>
              </a:cxn>
              <a:cxn ang="0">
                <a:pos x="connsiteX8944" y="connsiteY8944"/>
              </a:cxn>
              <a:cxn ang="0">
                <a:pos x="connsiteX8945" y="connsiteY8945"/>
              </a:cxn>
              <a:cxn ang="0">
                <a:pos x="connsiteX8946" y="connsiteY8946"/>
              </a:cxn>
              <a:cxn ang="0">
                <a:pos x="connsiteX8947" y="connsiteY8947"/>
              </a:cxn>
              <a:cxn ang="0">
                <a:pos x="connsiteX8948" y="connsiteY8948"/>
              </a:cxn>
              <a:cxn ang="0">
                <a:pos x="connsiteX8949" y="connsiteY8949"/>
              </a:cxn>
              <a:cxn ang="0">
                <a:pos x="connsiteX8950" y="connsiteY8950"/>
              </a:cxn>
              <a:cxn ang="0">
                <a:pos x="connsiteX8951" y="connsiteY8951"/>
              </a:cxn>
              <a:cxn ang="0">
                <a:pos x="connsiteX8952" y="connsiteY8952"/>
              </a:cxn>
              <a:cxn ang="0">
                <a:pos x="connsiteX8953" y="connsiteY8953"/>
              </a:cxn>
              <a:cxn ang="0">
                <a:pos x="connsiteX8954" y="connsiteY8954"/>
              </a:cxn>
              <a:cxn ang="0">
                <a:pos x="connsiteX8955" y="connsiteY8955"/>
              </a:cxn>
              <a:cxn ang="0">
                <a:pos x="connsiteX8956" y="connsiteY8956"/>
              </a:cxn>
              <a:cxn ang="0">
                <a:pos x="connsiteX8957" y="connsiteY8957"/>
              </a:cxn>
              <a:cxn ang="0">
                <a:pos x="connsiteX8958" y="connsiteY8958"/>
              </a:cxn>
              <a:cxn ang="0">
                <a:pos x="connsiteX8959" y="connsiteY8959"/>
              </a:cxn>
              <a:cxn ang="0">
                <a:pos x="connsiteX8960" y="connsiteY8960"/>
              </a:cxn>
              <a:cxn ang="0">
                <a:pos x="connsiteX8961" y="connsiteY8961"/>
              </a:cxn>
              <a:cxn ang="0">
                <a:pos x="connsiteX8962" y="connsiteY8962"/>
              </a:cxn>
              <a:cxn ang="0">
                <a:pos x="connsiteX8963" y="connsiteY8963"/>
              </a:cxn>
              <a:cxn ang="0">
                <a:pos x="connsiteX8964" y="connsiteY8964"/>
              </a:cxn>
              <a:cxn ang="0">
                <a:pos x="connsiteX8965" y="connsiteY8965"/>
              </a:cxn>
              <a:cxn ang="0">
                <a:pos x="connsiteX8966" y="connsiteY8966"/>
              </a:cxn>
              <a:cxn ang="0">
                <a:pos x="connsiteX8967" y="connsiteY8967"/>
              </a:cxn>
              <a:cxn ang="0">
                <a:pos x="connsiteX8968" y="connsiteY8968"/>
              </a:cxn>
              <a:cxn ang="0">
                <a:pos x="connsiteX8969" y="connsiteY8969"/>
              </a:cxn>
              <a:cxn ang="0">
                <a:pos x="connsiteX8970" y="connsiteY8970"/>
              </a:cxn>
              <a:cxn ang="0">
                <a:pos x="connsiteX8971" y="connsiteY8971"/>
              </a:cxn>
              <a:cxn ang="0">
                <a:pos x="connsiteX8972" y="connsiteY8972"/>
              </a:cxn>
              <a:cxn ang="0">
                <a:pos x="connsiteX8973" y="connsiteY8973"/>
              </a:cxn>
              <a:cxn ang="0">
                <a:pos x="connsiteX8974" y="connsiteY8974"/>
              </a:cxn>
              <a:cxn ang="0">
                <a:pos x="connsiteX8975" y="connsiteY8975"/>
              </a:cxn>
              <a:cxn ang="0">
                <a:pos x="connsiteX8976" y="connsiteY8976"/>
              </a:cxn>
              <a:cxn ang="0">
                <a:pos x="connsiteX8977" y="connsiteY8977"/>
              </a:cxn>
              <a:cxn ang="0">
                <a:pos x="connsiteX8978" y="connsiteY8978"/>
              </a:cxn>
              <a:cxn ang="0">
                <a:pos x="connsiteX8979" y="connsiteY8979"/>
              </a:cxn>
              <a:cxn ang="0">
                <a:pos x="connsiteX8980" y="connsiteY8980"/>
              </a:cxn>
              <a:cxn ang="0">
                <a:pos x="connsiteX8981" y="connsiteY8981"/>
              </a:cxn>
              <a:cxn ang="0">
                <a:pos x="connsiteX8982" y="connsiteY8982"/>
              </a:cxn>
              <a:cxn ang="0">
                <a:pos x="connsiteX8983" y="connsiteY8983"/>
              </a:cxn>
              <a:cxn ang="0">
                <a:pos x="connsiteX8984" y="connsiteY8984"/>
              </a:cxn>
              <a:cxn ang="0">
                <a:pos x="connsiteX8985" y="connsiteY8985"/>
              </a:cxn>
              <a:cxn ang="0">
                <a:pos x="connsiteX8986" y="connsiteY8986"/>
              </a:cxn>
              <a:cxn ang="0">
                <a:pos x="connsiteX8987" y="connsiteY8987"/>
              </a:cxn>
              <a:cxn ang="0">
                <a:pos x="connsiteX8988" y="connsiteY8988"/>
              </a:cxn>
              <a:cxn ang="0">
                <a:pos x="connsiteX8989" y="connsiteY8989"/>
              </a:cxn>
              <a:cxn ang="0">
                <a:pos x="connsiteX8990" y="connsiteY8990"/>
              </a:cxn>
              <a:cxn ang="0">
                <a:pos x="connsiteX8991" y="connsiteY8991"/>
              </a:cxn>
              <a:cxn ang="0">
                <a:pos x="connsiteX8992" y="connsiteY8992"/>
              </a:cxn>
              <a:cxn ang="0">
                <a:pos x="connsiteX8993" y="connsiteY8993"/>
              </a:cxn>
              <a:cxn ang="0">
                <a:pos x="connsiteX8994" y="connsiteY8994"/>
              </a:cxn>
              <a:cxn ang="0">
                <a:pos x="connsiteX8995" y="connsiteY8995"/>
              </a:cxn>
              <a:cxn ang="0">
                <a:pos x="connsiteX8996" y="connsiteY8996"/>
              </a:cxn>
              <a:cxn ang="0">
                <a:pos x="connsiteX8997" y="connsiteY8997"/>
              </a:cxn>
              <a:cxn ang="0">
                <a:pos x="connsiteX8998" y="connsiteY8998"/>
              </a:cxn>
              <a:cxn ang="0">
                <a:pos x="connsiteX8999" y="connsiteY8999"/>
              </a:cxn>
              <a:cxn ang="0">
                <a:pos x="connsiteX9000" y="connsiteY9000"/>
              </a:cxn>
              <a:cxn ang="0">
                <a:pos x="connsiteX9001" y="connsiteY9001"/>
              </a:cxn>
              <a:cxn ang="0">
                <a:pos x="connsiteX9002" y="connsiteY9002"/>
              </a:cxn>
              <a:cxn ang="0">
                <a:pos x="connsiteX9003" y="connsiteY9003"/>
              </a:cxn>
              <a:cxn ang="0">
                <a:pos x="connsiteX9004" y="connsiteY9004"/>
              </a:cxn>
              <a:cxn ang="0">
                <a:pos x="connsiteX9005" y="connsiteY9005"/>
              </a:cxn>
              <a:cxn ang="0">
                <a:pos x="connsiteX9006" y="connsiteY9006"/>
              </a:cxn>
              <a:cxn ang="0">
                <a:pos x="connsiteX9007" y="connsiteY9007"/>
              </a:cxn>
              <a:cxn ang="0">
                <a:pos x="connsiteX9008" y="connsiteY9008"/>
              </a:cxn>
              <a:cxn ang="0">
                <a:pos x="connsiteX9009" y="connsiteY9009"/>
              </a:cxn>
              <a:cxn ang="0">
                <a:pos x="connsiteX9010" y="connsiteY9010"/>
              </a:cxn>
              <a:cxn ang="0">
                <a:pos x="connsiteX9011" y="connsiteY9011"/>
              </a:cxn>
              <a:cxn ang="0">
                <a:pos x="connsiteX9012" y="connsiteY9012"/>
              </a:cxn>
              <a:cxn ang="0">
                <a:pos x="connsiteX9013" y="connsiteY9013"/>
              </a:cxn>
              <a:cxn ang="0">
                <a:pos x="connsiteX9014" y="connsiteY9014"/>
              </a:cxn>
              <a:cxn ang="0">
                <a:pos x="connsiteX9015" y="connsiteY9015"/>
              </a:cxn>
              <a:cxn ang="0">
                <a:pos x="connsiteX9016" y="connsiteY9016"/>
              </a:cxn>
              <a:cxn ang="0">
                <a:pos x="connsiteX9017" y="connsiteY9017"/>
              </a:cxn>
              <a:cxn ang="0">
                <a:pos x="connsiteX9018" y="connsiteY9018"/>
              </a:cxn>
              <a:cxn ang="0">
                <a:pos x="connsiteX9019" y="connsiteY9019"/>
              </a:cxn>
              <a:cxn ang="0">
                <a:pos x="connsiteX9020" y="connsiteY9020"/>
              </a:cxn>
              <a:cxn ang="0">
                <a:pos x="connsiteX9021" y="connsiteY9021"/>
              </a:cxn>
              <a:cxn ang="0">
                <a:pos x="connsiteX9022" y="connsiteY9022"/>
              </a:cxn>
              <a:cxn ang="0">
                <a:pos x="connsiteX9023" y="connsiteY9023"/>
              </a:cxn>
              <a:cxn ang="0">
                <a:pos x="connsiteX9024" y="connsiteY9024"/>
              </a:cxn>
              <a:cxn ang="0">
                <a:pos x="connsiteX9025" y="connsiteY9025"/>
              </a:cxn>
              <a:cxn ang="0">
                <a:pos x="connsiteX9026" y="connsiteY9026"/>
              </a:cxn>
              <a:cxn ang="0">
                <a:pos x="connsiteX9027" y="connsiteY9027"/>
              </a:cxn>
              <a:cxn ang="0">
                <a:pos x="connsiteX9028" y="connsiteY9028"/>
              </a:cxn>
              <a:cxn ang="0">
                <a:pos x="connsiteX9029" y="connsiteY9029"/>
              </a:cxn>
              <a:cxn ang="0">
                <a:pos x="connsiteX9030" y="connsiteY9030"/>
              </a:cxn>
              <a:cxn ang="0">
                <a:pos x="connsiteX9031" y="connsiteY9031"/>
              </a:cxn>
              <a:cxn ang="0">
                <a:pos x="connsiteX9032" y="connsiteY9032"/>
              </a:cxn>
              <a:cxn ang="0">
                <a:pos x="connsiteX9033" y="connsiteY9033"/>
              </a:cxn>
              <a:cxn ang="0">
                <a:pos x="connsiteX9034" y="connsiteY9034"/>
              </a:cxn>
              <a:cxn ang="0">
                <a:pos x="connsiteX9035" y="connsiteY9035"/>
              </a:cxn>
              <a:cxn ang="0">
                <a:pos x="connsiteX9036" y="connsiteY9036"/>
              </a:cxn>
              <a:cxn ang="0">
                <a:pos x="connsiteX9037" y="connsiteY9037"/>
              </a:cxn>
              <a:cxn ang="0">
                <a:pos x="connsiteX9038" y="connsiteY9038"/>
              </a:cxn>
              <a:cxn ang="0">
                <a:pos x="connsiteX9039" y="connsiteY9039"/>
              </a:cxn>
              <a:cxn ang="0">
                <a:pos x="connsiteX9040" y="connsiteY9040"/>
              </a:cxn>
              <a:cxn ang="0">
                <a:pos x="connsiteX9041" y="connsiteY9041"/>
              </a:cxn>
              <a:cxn ang="0">
                <a:pos x="connsiteX9042" y="connsiteY9042"/>
              </a:cxn>
              <a:cxn ang="0">
                <a:pos x="connsiteX9043" y="connsiteY9043"/>
              </a:cxn>
              <a:cxn ang="0">
                <a:pos x="connsiteX9044" y="connsiteY9044"/>
              </a:cxn>
              <a:cxn ang="0">
                <a:pos x="connsiteX9045" y="connsiteY9045"/>
              </a:cxn>
              <a:cxn ang="0">
                <a:pos x="connsiteX9046" y="connsiteY9046"/>
              </a:cxn>
              <a:cxn ang="0">
                <a:pos x="connsiteX9047" y="connsiteY9047"/>
              </a:cxn>
              <a:cxn ang="0">
                <a:pos x="connsiteX9048" y="connsiteY9048"/>
              </a:cxn>
              <a:cxn ang="0">
                <a:pos x="connsiteX9049" y="connsiteY9049"/>
              </a:cxn>
              <a:cxn ang="0">
                <a:pos x="connsiteX9050" y="connsiteY9050"/>
              </a:cxn>
              <a:cxn ang="0">
                <a:pos x="connsiteX9051" y="connsiteY9051"/>
              </a:cxn>
              <a:cxn ang="0">
                <a:pos x="connsiteX9052" y="connsiteY9052"/>
              </a:cxn>
              <a:cxn ang="0">
                <a:pos x="connsiteX9053" y="connsiteY9053"/>
              </a:cxn>
              <a:cxn ang="0">
                <a:pos x="connsiteX9054" y="connsiteY9054"/>
              </a:cxn>
              <a:cxn ang="0">
                <a:pos x="connsiteX9055" y="connsiteY9055"/>
              </a:cxn>
              <a:cxn ang="0">
                <a:pos x="connsiteX9056" y="connsiteY9056"/>
              </a:cxn>
              <a:cxn ang="0">
                <a:pos x="connsiteX9057" y="connsiteY9057"/>
              </a:cxn>
              <a:cxn ang="0">
                <a:pos x="connsiteX9058" y="connsiteY9058"/>
              </a:cxn>
              <a:cxn ang="0">
                <a:pos x="connsiteX9059" y="connsiteY9059"/>
              </a:cxn>
              <a:cxn ang="0">
                <a:pos x="connsiteX9060" y="connsiteY9060"/>
              </a:cxn>
              <a:cxn ang="0">
                <a:pos x="connsiteX9061" y="connsiteY9061"/>
              </a:cxn>
              <a:cxn ang="0">
                <a:pos x="connsiteX9062" y="connsiteY9062"/>
              </a:cxn>
              <a:cxn ang="0">
                <a:pos x="connsiteX9063" y="connsiteY9063"/>
              </a:cxn>
              <a:cxn ang="0">
                <a:pos x="connsiteX9064" y="connsiteY9064"/>
              </a:cxn>
              <a:cxn ang="0">
                <a:pos x="connsiteX9065" y="connsiteY9065"/>
              </a:cxn>
              <a:cxn ang="0">
                <a:pos x="connsiteX9066" y="connsiteY9066"/>
              </a:cxn>
              <a:cxn ang="0">
                <a:pos x="connsiteX9067" y="connsiteY9067"/>
              </a:cxn>
              <a:cxn ang="0">
                <a:pos x="connsiteX9068" y="connsiteY9068"/>
              </a:cxn>
              <a:cxn ang="0">
                <a:pos x="connsiteX9069" y="connsiteY9069"/>
              </a:cxn>
              <a:cxn ang="0">
                <a:pos x="connsiteX9070" y="connsiteY9070"/>
              </a:cxn>
              <a:cxn ang="0">
                <a:pos x="connsiteX9071" y="connsiteY9071"/>
              </a:cxn>
              <a:cxn ang="0">
                <a:pos x="connsiteX9072" y="connsiteY9072"/>
              </a:cxn>
              <a:cxn ang="0">
                <a:pos x="connsiteX9073" y="connsiteY9073"/>
              </a:cxn>
              <a:cxn ang="0">
                <a:pos x="connsiteX9074" y="connsiteY9074"/>
              </a:cxn>
              <a:cxn ang="0">
                <a:pos x="connsiteX9075" y="connsiteY9075"/>
              </a:cxn>
              <a:cxn ang="0">
                <a:pos x="connsiteX9076" y="connsiteY9076"/>
              </a:cxn>
              <a:cxn ang="0">
                <a:pos x="connsiteX9077" y="connsiteY9077"/>
              </a:cxn>
              <a:cxn ang="0">
                <a:pos x="connsiteX9078" y="connsiteY9078"/>
              </a:cxn>
              <a:cxn ang="0">
                <a:pos x="connsiteX9079" y="connsiteY9079"/>
              </a:cxn>
              <a:cxn ang="0">
                <a:pos x="connsiteX9080" y="connsiteY9080"/>
              </a:cxn>
              <a:cxn ang="0">
                <a:pos x="connsiteX9081" y="connsiteY9081"/>
              </a:cxn>
              <a:cxn ang="0">
                <a:pos x="connsiteX9082" y="connsiteY9082"/>
              </a:cxn>
              <a:cxn ang="0">
                <a:pos x="connsiteX9083" y="connsiteY9083"/>
              </a:cxn>
              <a:cxn ang="0">
                <a:pos x="connsiteX9084" y="connsiteY9084"/>
              </a:cxn>
              <a:cxn ang="0">
                <a:pos x="connsiteX9085" y="connsiteY9085"/>
              </a:cxn>
              <a:cxn ang="0">
                <a:pos x="connsiteX9086" y="connsiteY9086"/>
              </a:cxn>
              <a:cxn ang="0">
                <a:pos x="connsiteX9087" y="connsiteY9087"/>
              </a:cxn>
              <a:cxn ang="0">
                <a:pos x="connsiteX9088" y="connsiteY9088"/>
              </a:cxn>
              <a:cxn ang="0">
                <a:pos x="connsiteX9089" y="connsiteY9089"/>
              </a:cxn>
              <a:cxn ang="0">
                <a:pos x="connsiteX9090" y="connsiteY9090"/>
              </a:cxn>
              <a:cxn ang="0">
                <a:pos x="connsiteX9091" y="connsiteY9091"/>
              </a:cxn>
              <a:cxn ang="0">
                <a:pos x="connsiteX9092" y="connsiteY9092"/>
              </a:cxn>
              <a:cxn ang="0">
                <a:pos x="connsiteX9093" y="connsiteY9093"/>
              </a:cxn>
              <a:cxn ang="0">
                <a:pos x="connsiteX9094" y="connsiteY9094"/>
              </a:cxn>
              <a:cxn ang="0">
                <a:pos x="connsiteX9095" y="connsiteY9095"/>
              </a:cxn>
              <a:cxn ang="0">
                <a:pos x="connsiteX9096" y="connsiteY9096"/>
              </a:cxn>
              <a:cxn ang="0">
                <a:pos x="connsiteX9097" y="connsiteY9097"/>
              </a:cxn>
              <a:cxn ang="0">
                <a:pos x="connsiteX9098" y="connsiteY9098"/>
              </a:cxn>
              <a:cxn ang="0">
                <a:pos x="connsiteX9099" y="connsiteY9099"/>
              </a:cxn>
              <a:cxn ang="0">
                <a:pos x="connsiteX9100" y="connsiteY9100"/>
              </a:cxn>
              <a:cxn ang="0">
                <a:pos x="connsiteX9101" y="connsiteY9101"/>
              </a:cxn>
              <a:cxn ang="0">
                <a:pos x="connsiteX9102" y="connsiteY9102"/>
              </a:cxn>
              <a:cxn ang="0">
                <a:pos x="connsiteX9103" y="connsiteY9103"/>
              </a:cxn>
              <a:cxn ang="0">
                <a:pos x="connsiteX9104" y="connsiteY9104"/>
              </a:cxn>
              <a:cxn ang="0">
                <a:pos x="connsiteX9105" y="connsiteY9105"/>
              </a:cxn>
              <a:cxn ang="0">
                <a:pos x="connsiteX9106" y="connsiteY9106"/>
              </a:cxn>
              <a:cxn ang="0">
                <a:pos x="connsiteX9107" y="connsiteY9107"/>
              </a:cxn>
              <a:cxn ang="0">
                <a:pos x="connsiteX9108" y="connsiteY9108"/>
              </a:cxn>
              <a:cxn ang="0">
                <a:pos x="connsiteX9109" y="connsiteY9109"/>
              </a:cxn>
              <a:cxn ang="0">
                <a:pos x="connsiteX9110" y="connsiteY9110"/>
              </a:cxn>
              <a:cxn ang="0">
                <a:pos x="connsiteX9111" y="connsiteY9111"/>
              </a:cxn>
              <a:cxn ang="0">
                <a:pos x="connsiteX9112" y="connsiteY9112"/>
              </a:cxn>
              <a:cxn ang="0">
                <a:pos x="connsiteX9113" y="connsiteY9113"/>
              </a:cxn>
              <a:cxn ang="0">
                <a:pos x="connsiteX9114" y="connsiteY9114"/>
              </a:cxn>
              <a:cxn ang="0">
                <a:pos x="connsiteX9115" y="connsiteY9115"/>
              </a:cxn>
              <a:cxn ang="0">
                <a:pos x="connsiteX9116" y="connsiteY9116"/>
              </a:cxn>
              <a:cxn ang="0">
                <a:pos x="connsiteX9117" y="connsiteY9117"/>
              </a:cxn>
              <a:cxn ang="0">
                <a:pos x="connsiteX9118" y="connsiteY9118"/>
              </a:cxn>
              <a:cxn ang="0">
                <a:pos x="connsiteX9119" y="connsiteY9119"/>
              </a:cxn>
              <a:cxn ang="0">
                <a:pos x="connsiteX9120" y="connsiteY9120"/>
              </a:cxn>
              <a:cxn ang="0">
                <a:pos x="connsiteX9121" y="connsiteY9121"/>
              </a:cxn>
              <a:cxn ang="0">
                <a:pos x="connsiteX9122" y="connsiteY9122"/>
              </a:cxn>
              <a:cxn ang="0">
                <a:pos x="connsiteX9123" y="connsiteY9123"/>
              </a:cxn>
              <a:cxn ang="0">
                <a:pos x="connsiteX9124" y="connsiteY9124"/>
              </a:cxn>
              <a:cxn ang="0">
                <a:pos x="connsiteX9125" y="connsiteY9125"/>
              </a:cxn>
              <a:cxn ang="0">
                <a:pos x="connsiteX9126" y="connsiteY9126"/>
              </a:cxn>
              <a:cxn ang="0">
                <a:pos x="connsiteX9127" y="connsiteY9127"/>
              </a:cxn>
              <a:cxn ang="0">
                <a:pos x="connsiteX9128" y="connsiteY9128"/>
              </a:cxn>
              <a:cxn ang="0">
                <a:pos x="connsiteX9129" y="connsiteY9129"/>
              </a:cxn>
              <a:cxn ang="0">
                <a:pos x="connsiteX9130" y="connsiteY9130"/>
              </a:cxn>
            </a:cxnLst>
            <a:rect l="l" t="t" r="r" b="b"/>
            <a:pathLst>
              <a:path w="5521505" h="2146918">
                <a:moveTo>
                  <a:pt x="1966682" y="1633538"/>
                </a:moveTo>
                <a:lnTo>
                  <a:pt x="1970055" y="1633538"/>
                </a:lnTo>
                <a:lnTo>
                  <a:pt x="1967620" y="1636935"/>
                </a:lnTo>
                <a:lnTo>
                  <a:pt x="1965550" y="1639663"/>
                </a:lnTo>
                <a:lnTo>
                  <a:pt x="1963529" y="1641928"/>
                </a:lnTo>
                <a:lnTo>
                  <a:pt x="1962713" y="1642732"/>
                </a:lnTo>
                <a:cubicBezTo>
                  <a:pt x="1962713" y="1642732"/>
                  <a:pt x="1959657" y="1646166"/>
                  <a:pt x="1956478" y="1644936"/>
                </a:cubicBezTo>
                <a:cubicBezTo>
                  <a:pt x="1955468" y="1644534"/>
                  <a:pt x="1954506" y="1644010"/>
                  <a:pt x="1953617" y="1643377"/>
                </a:cubicBezTo>
                <a:cubicBezTo>
                  <a:pt x="1953617" y="1643377"/>
                  <a:pt x="1952594" y="1642610"/>
                  <a:pt x="1952265" y="1642330"/>
                </a:cubicBezTo>
                <a:cubicBezTo>
                  <a:pt x="1952204" y="1642452"/>
                  <a:pt x="1952131" y="1642573"/>
                  <a:pt x="1952058" y="1642695"/>
                </a:cubicBezTo>
                <a:cubicBezTo>
                  <a:pt x="1952058" y="1642695"/>
                  <a:pt x="1952058" y="1642634"/>
                  <a:pt x="1952058" y="1642598"/>
                </a:cubicBezTo>
                <a:cubicBezTo>
                  <a:pt x="1952058" y="1642561"/>
                  <a:pt x="1952058" y="1642598"/>
                  <a:pt x="1952058" y="1642598"/>
                </a:cubicBezTo>
                <a:lnTo>
                  <a:pt x="1951888" y="1642756"/>
                </a:lnTo>
                <a:lnTo>
                  <a:pt x="1951547" y="1643085"/>
                </a:lnTo>
                <a:cubicBezTo>
                  <a:pt x="1951437" y="1643195"/>
                  <a:pt x="1951328" y="1643292"/>
                  <a:pt x="1951230" y="1643401"/>
                </a:cubicBezTo>
                <a:lnTo>
                  <a:pt x="1950475" y="1644120"/>
                </a:lnTo>
                <a:lnTo>
                  <a:pt x="1949927" y="1644655"/>
                </a:lnTo>
                <a:lnTo>
                  <a:pt x="1948710" y="1645788"/>
                </a:lnTo>
                <a:lnTo>
                  <a:pt x="1947370" y="1647067"/>
                </a:lnTo>
                <a:lnTo>
                  <a:pt x="1946030" y="1648285"/>
                </a:lnTo>
                <a:cubicBezTo>
                  <a:pt x="1945653" y="1648625"/>
                  <a:pt x="1945251" y="1648917"/>
                  <a:pt x="1944813" y="1649161"/>
                </a:cubicBezTo>
                <a:lnTo>
                  <a:pt x="1943900" y="1649672"/>
                </a:lnTo>
                <a:lnTo>
                  <a:pt x="1943266" y="1650038"/>
                </a:lnTo>
                <a:lnTo>
                  <a:pt x="1943120" y="1650123"/>
                </a:lnTo>
                <a:cubicBezTo>
                  <a:pt x="1943120" y="1650123"/>
                  <a:pt x="1939528" y="1649819"/>
                  <a:pt x="1938603" y="1647870"/>
                </a:cubicBezTo>
                <a:cubicBezTo>
                  <a:pt x="1937970" y="1646470"/>
                  <a:pt x="1938213" y="1644826"/>
                  <a:pt x="1939212" y="1643657"/>
                </a:cubicBezTo>
                <a:cubicBezTo>
                  <a:pt x="1941404" y="1641441"/>
                  <a:pt x="1944143" y="1639858"/>
                  <a:pt x="1947163" y="1639091"/>
                </a:cubicBezTo>
                <a:cubicBezTo>
                  <a:pt x="1947163" y="1639091"/>
                  <a:pt x="1949866" y="1637873"/>
                  <a:pt x="1951376" y="1641283"/>
                </a:cubicBezTo>
                <a:cubicBezTo>
                  <a:pt x="1951583" y="1641697"/>
                  <a:pt x="1951790" y="1642111"/>
                  <a:pt x="1951985" y="1642501"/>
                </a:cubicBezTo>
                <a:lnTo>
                  <a:pt x="1952168" y="1642330"/>
                </a:lnTo>
                <a:cubicBezTo>
                  <a:pt x="1952351" y="1641928"/>
                  <a:pt x="1952509" y="1641551"/>
                  <a:pt x="1952679" y="1641112"/>
                </a:cubicBezTo>
                <a:lnTo>
                  <a:pt x="1953422" y="1639493"/>
                </a:lnTo>
                <a:cubicBezTo>
                  <a:pt x="1953945" y="1638373"/>
                  <a:pt x="1954579" y="1637313"/>
                  <a:pt x="1955334" y="1636327"/>
                </a:cubicBezTo>
                <a:cubicBezTo>
                  <a:pt x="1956576" y="1634890"/>
                  <a:pt x="1958317" y="1633977"/>
                  <a:pt x="1960205" y="1633782"/>
                </a:cubicBezTo>
                <a:cubicBezTo>
                  <a:pt x="1962360" y="1633562"/>
                  <a:pt x="1964515" y="1633477"/>
                  <a:pt x="1966682" y="1633538"/>
                </a:cubicBezTo>
                <a:close/>
                <a:moveTo>
                  <a:pt x="555970" y="1431402"/>
                </a:moveTo>
                <a:lnTo>
                  <a:pt x="555970" y="1431402"/>
                </a:lnTo>
                <a:lnTo>
                  <a:pt x="555215" y="1431159"/>
                </a:lnTo>
                <a:lnTo>
                  <a:pt x="555276" y="1431159"/>
                </a:lnTo>
                <a:close/>
                <a:moveTo>
                  <a:pt x="2001472" y="1079638"/>
                </a:moveTo>
                <a:cubicBezTo>
                  <a:pt x="2001618" y="1080015"/>
                  <a:pt x="2001764" y="1080405"/>
                  <a:pt x="2001922" y="1080782"/>
                </a:cubicBezTo>
                <a:cubicBezTo>
                  <a:pt x="2002081" y="1081160"/>
                  <a:pt x="2002129" y="1081452"/>
                  <a:pt x="2002239" y="1081781"/>
                </a:cubicBezTo>
                <a:lnTo>
                  <a:pt x="2002531" y="1082828"/>
                </a:lnTo>
                <a:cubicBezTo>
                  <a:pt x="2002628" y="1083206"/>
                  <a:pt x="2002714" y="1083583"/>
                  <a:pt x="2002811" y="1083960"/>
                </a:cubicBezTo>
                <a:lnTo>
                  <a:pt x="2003104" y="1085568"/>
                </a:lnTo>
                <a:cubicBezTo>
                  <a:pt x="2003177" y="1086201"/>
                  <a:pt x="2003249" y="1086786"/>
                  <a:pt x="2003335" y="1087455"/>
                </a:cubicBezTo>
                <a:cubicBezTo>
                  <a:pt x="2003420" y="1088125"/>
                  <a:pt x="2003396" y="1088502"/>
                  <a:pt x="2003420" y="1089014"/>
                </a:cubicBezTo>
                <a:cubicBezTo>
                  <a:pt x="2003420" y="1089720"/>
                  <a:pt x="2003420" y="1090426"/>
                  <a:pt x="2003420" y="1091133"/>
                </a:cubicBezTo>
                <a:cubicBezTo>
                  <a:pt x="2003359" y="1092022"/>
                  <a:pt x="2003286" y="1092910"/>
                  <a:pt x="2003213" y="1093799"/>
                </a:cubicBezTo>
                <a:cubicBezTo>
                  <a:pt x="2003213" y="1094226"/>
                  <a:pt x="2003104" y="1094664"/>
                  <a:pt x="2003043" y="1095103"/>
                </a:cubicBezTo>
                <a:cubicBezTo>
                  <a:pt x="2002884" y="1095918"/>
                  <a:pt x="2002738" y="1096734"/>
                  <a:pt x="2002580" y="1097538"/>
                </a:cubicBezTo>
                <a:cubicBezTo>
                  <a:pt x="2002422" y="1098341"/>
                  <a:pt x="2002166" y="1099206"/>
                  <a:pt x="2001947" y="1100046"/>
                </a:cubicBezTo>
                <a:lnTo>
                  <a:pt x="2001240" y="1102360"/>
                </a:lnTo>
                <a:cubicBezTo>
                  <a:pt x="2000778" y="1103578"/>
                  <a:pt x="2000315" y="1104795"/>
                  <a:pt x="1999864" y="1106013"/>
                </a:cubicBezTo>
                <a:cubicBezTo>
                  <a:pt x="1999414" y="1107231"/>
                  <a:pt x="1998756" y="1108448"/>
                  <a:pt x="1998196" y="1109666"/>
                </a:cubicBezTo>
                <a:lnTo>
                  <a:pt x="1996077" y="1113550"/>
                </a:lnTo>
                <a:lnTo>
                  <a:pt x="1992230" y="1119286"/>
                </a:lnTo>
                <a:lnTo>
                  <a:pt x="1989149" y="1123426"/>
                </a:lnTo>
                <a:cubicBezTo>
                  <a:pt x="1988163" y="1124717"/>
                  <a:pt x="1987176" y="1126019"/>
                  <a:pt x="1986202" y="1127323"/>
                </a:cubicBezTo>
                <a:lnTo>
                  <a:pt x="1984375" y="1129758"/>
                </a:lnTo>
                <a:lnTo>
                  <a:pt x="1982744" y="1132035"/>
                </a:lnTo>
                <a:lnTo>
                  <a:pt x="1981222" y="1134360"/>
                </a:lnTo>
                <a:cubicBezTo>
                  <a:pt x="1980930" y="1134909"/>
                  <a:pt x="1980637" y="1135456"/>
                  <a:pt x="1980357" y="1136004"/>
                </a:cubicBezTo>
                <a:cubicBezTo>
                  <a:pt x="1979663" y="1137490"/>
                  <a:pt x="1978969" y="1138964"/>
                  <a:pt x="1978287" y="1140449"/>
                </a:cubicBezTo>
                <a:cubicBezTo>
                  <a:pt x="1977873" y="1141253"/>
                  <a:pt x="1977459" y="1142044"/>
                  <a:pt x="1977069" y="1142884"/>
                </a:cubicBezTo>
                <a:lnTo>
                  <a:pt x="1975511" y="1146135"/>
                </a:lnTo>
                <a:lnTo>
                  <a:pt x="1974512" y="1148254"/>
                </a:lnTo>
                <a:lnTo>
                  <a:pt x="1972625" y="1151968"/>
                </a:lnTo>
                <a:lnTo>
                  <a:pt x="1970640" y="1155232"/>
                </a:lnTo>
                <a:cubicBezTo>
                  <a:pt x="1969897" y="1156206"/>
                  <a:pt x="1969154" y="1157180"/>
                  <a:pt x="1968424" y="1158167"/>
                </a:cubicBezTo>
                <a:lnTo>
                  <a:pt x="1967023" y="1159969"/>
                </a:lnTo>
                <a:lnTo>
                  <a:pt x="1965721" y="1161892"/>
                </a:lnTo>
                <a:lnTo>
                  <a:pt x="1964625" y="1163743"/>
                </a:lnTo>
                <a:cubicBezTo>
                  <a:pt x="1964454" y="1164072"/>
                  <a:pt x="1964284" y="1164389"/>
                  <a:pt x="1964125" y="1164718"/>
                </a:cubicBezTo>
                <a:cubicBezTo>
                  <a:pt x="1963967" y="1165046"/>
                  <a:pt x="1963906" y="1165192"/>
                  <a:pt x="1963784" y="1165424"/>
                </a:cubicBezTo>
                <a:cubicBezTo>
                  <a:pt x="1963663" y="1165655"/>
                  <a:pt x="1963517" y="1166069"/>
                  <a:pt x="1963370" y="1166398"/>
                </a:cubicBezTo>
                <a:cubicBezTo>
                  <a:pt x="1963188" y="1166946"/>
                  <a:pt x="1962981" y="1167494"/>
                  <a:pt x="1962798" y="1168042"/>
                </a:cubicBezTo>
                <a:lnTo>
                  <a:pt x="1962433" y="1169369"/>
                </a:lnTo>
                <a:cubicBezTo>
                  <a:pt x="1962348" y="1169820"/>
                  <a:pt x="1962275" y="1170258"/>
                  <a:pt x="1962189" y="1170708"/>
                </a:cubicBezTo>
                <a:cubicBezTo>
                  <a:pt x="1962104" y="1171159"/>
                  <a:pt x="1962104" y="1171390"/>
                  <a:pt x="1962068" y="1171731"/>
                </a:cubicBezTo>
                <a:lnTo>
                  <a:pt x="1962068" y="1172949"/>
                </a:lnTo>
                <a:lnTo>
                  <a:pt x="1962140" y="1174167"/>
                </a:lnTo>
                <a:cubicBezTo>
                  <a:pt x="1962226" y="1174629"/>
                  <a:pt x="1962299" y="1175092"/>
                  <a:pt x="1962372" y="1175567"/>
                </a:cubicBezTo>
                <a:lnTo>
                  <a:pt x="1962713" y="1176858"/>
                </a:lnTo>
                <a:lnTo>
                  <a:pt x="1963115" y="1178075"/>
                </a:lnTo>
                <a:cubicBezTo>
                  <a:pt x="1963200" y="1178295"/>
                  <a:pt x="1963273" y="1178514"/>
                  <a:pt x="1963358" y="1178745"/>
                </a:cubicBezTo>
                <a:lnTo>
                  <a:pt x="1963894" y="1179963"/>
                </a:lnTo>
                <a:cubicBezTo>
                  <a:pt x="1964040" y="1180255"/>
                  <a:pt x="1964174" y="1180547"/>
                  <a:pt x="1964308" y="1180839"/>
                </a:cubicBezTo>
                <a:cubicBezTo>
                  <a:pt x="1964442" y="1181132"/>
                  <a:pt x="1964686" y="1181558"/>
                  <a:pt x="1964880" y="1181923"/>
                </a:cubicBezTo>
                <a:lnTo>
                  <a:pt x="1965501" y="1183007"/>
                </a:lnTo>
                <a:lnTo>
                  <a:pt x="1966342" y="1184347"/>
                </a:lnTo>
                <a:lnTo>
                  <a:pt x="1967267" y="1185723"/>
                </a:lnTo>
                <a:lnTo>
                  <a:pt x="1968144" y="1186940"/>
                </a:lnTo>
                <a:lnTo>
                  <a:pt x="1969154" y="1188304"/>
                </a:lnTo>
                <a:lnTo>
                  <a:pt x="1969958" y="1189363"/>
                </a:lnTo>
                <a:lnTo>
                  <a:pt x="1970993" y="1190678"/>
                </a:lnTo>
                <a:lnTo>
                  <a:pt x="1972320" y="1192371"/>
                </a:lnTo>
                <a:lnTo>
                  <a:pt x="1973136" y="1193358"/>
                </a:lnTo>
                <a:lnTo>
                  <a:pt x="1974281" y="1194709"/>
                </a:lnTo>
                <a:lnTo>
                  <a:pt x="1975194" y="1195927"/>
                </a:lnTo>
                <a:lnTo>
                  <a:pt x="1975718" y="1196901"/>
                </a:lnTo>
                <a:cubicBezTo>
                  <a:pt x="1975803" y="1197156"/>
                  <a:pt x="1975888" y="1197424"/>
                  <a:pt x="1975986" y="1197680"/>
                </a:cubicBezTo>
                <a:cubicBezTo>
                  <a:pt x="1975986" y="1198240"/>
                  <a:pt x="1976095" y="1198800"/>
                  <a:pt x="1976144" y="1199360"/>
                </a:cubicBezTo>
                <a:cubicBezTo>
                  <a:pt x="1976144" y="1199665"/>
                  <a:pt x="1976059" y="1199969"/>
                  <a:pt x="1976022" y="1200274"/>
                </a:cubicBezTo>
                <a:cubicBezTo>
                  <a:pt x="1975986" y="1200578"/>
                  <a:pt x="1975779" y="1201236"/>
                  <a:pt x="1975645" y="1201711"/>
                </a:cubicBezTo>
                <a:cubicBezTo>
                  <a:pt x="1975511" y="1202186"/>
                  <a:pt x="1975523" y="1202453"/>
                  <a:pt x="1975450" y="1202831"/>
                </a:cubicBezTo>
                <a:cubicBezTo>
                  <a:pt x="1975377" y="1203208"/>
                  <a:pt x="1975389" y="1203683"/>
                  <a:pt x="1975352" y="1204110"/>
                </a:cubicBezTo>
                <a:cubicBezTo>
                  <a:pt x="1975316" y="1204535"/>
                  <a:pt x="1975352" y="1204950"/>
                  <a:pt x="1975352" y="1205327"/>
                </a:cubicBezTo>
                <a:cubicBezTo>
                  <a:pt x="1975352" y="1205704"/>
                  <a:pt x="1975487" y="1206435"/>
                  <a:pt x="1975559" y="1206995"/>
                </a:cubicBezTo>
                <a:cubicBezTo>
                  <a:pt x="1975632" y="1207555"/>
                  <a:pt x="1975839" y="1208079"/>
                  <a:pt x="1975986" y="1208627"/>
                </a:cubicBezTo>
                <a:lnTo>
                  <a:pt x="1976680" y="1210636"/>
                </a:lnTo>
                <a:cubicBezTo>
                  <a:pt x="1976801" y="1211063"/>
                  <a:pt x="1976923" y="1211488"/>
                  <a:pt x="1977033" y="1211915"/>
                </a:cubicBezTo>
                <a:cubicBezTo>
                  <a:pt x="1977167" y="1212560"/>
                  <a:pt x="1977289" y="1213206"/>
                  <a:pt x="1977410" y="1213851"/>
                </a:cubicBezTo>
                <a:lnTo>
                  <a:pt x="1977557" y="1215617"/>
                </a:lnTo>
                <a:lnTo>
                  <a:pt x="1977483" y="1217541"/>
                </a:lnTo>
                <a:cubicBezTo>
                  <a:pt x="1977483" y="1217991"/>
                  <a:pt x="1977349" y="1218442"/>
                  <a:pt x="1977289" y="1218892"/>
                </a:cubicBezTo>
                <a:lnTo>
                  <a:pt x="1976850" y="1220573"/>
                </a:lnTo>
                <a:cubicBezTo>
                  <a:pt x="1976692" y="1220987"/>
                  <a:pt x="1976546" y="1221413"/>
                  <a:pt x="1976388" y="1221791"/>
                </a:cubicBezTo>
                <a:lnTo>
                  <a:pt x="1976022" y="1222631"/>
                </a:lnTo>
                <a:lnTo>
                  <a:pt x="1975584" y="1223507"/>
                </a:lnTo>
                <a:cubicBezTo>
                  <a:pt x="1975511" y="1223653"/>
                  <a:pt x="1975438" y="1223800"/>
                  <a:pt x="1975352" y="1223945"/>
                </a:cubicBezTo>
                <a:lnTo>
                  <a:pt x="1974829" y="1224969"/>
                </a:lnTo>
                <a:cubicBezTo>
                  <a:pt x="1974731" y="1225309"/>
                  <a:pt x="1974634" y="1225651"/>
                  <a:pt x="1974549" y="1225991"/>
                </a:cubicBezTo>
                <a:lnTo>
                  <a:pt x="1974476" y="1226856"/>
                </a:lnTo>
                <a:cubicBezTo>
                  <a:pt x="1974476" y="1227100"/>
                  <a:pt x="1974476" y="1227355"/>
                  <a:pt x="1974537" y="1227598"/>
                </a:cubicBezTo>
                <a:cubicBezTo>
                  <a:pt x="1974597" y="1227842"/>
                  <a:pt x="1974646" y="1228183"/>
                  <a:pt x="1974707" y="1228463"/>
                </a:cubicBezTo>
                <a:cubicBezTo>
                  <a:pt x="1974768" y="1228744"/>
                  <a:pt x="1974926" y="1229120"/>
                  <a:pt x="1975048" y="1229449"/>
                </a:cubicBezTo>
                <a:lnTo>
                  <a:pt x="1975620" y="1230546"/>
                </a:lnTo>
                <a:cubicBezTo>
                  <a:pt x="1975803" y="1230801"/>
                  <a:pt x="1975973" y="1231069"/>
                  <a:pt x="1976156" y="1231337"/>
                </a:cubicBezTo>
                <a:lnTo>
                  <a:pt x="1976826" y="1232555"/>
                </a:lnTo>
                <a:cubicBezTo>
                  <a:pt x="1977033" y="1233042"/>
                  <a:pt x="1977228" y="1233541"/>
                  <a:pt x="1977435" y="1234028"/>
                </a:cubicBezTo>
                <a:cubicBezTo>
                  <a:pt x="1977642" y="1234515"/>
                  <a:pt x="1977715" y="1235161"/>
                  <a:pt x="1977861" y="1235721"/>
                </a:cubicBezTo>
                <a:cubicBezTo>
                  <a:pt x="1978007" y="1236281"/>
                  <a:pt x="1977995" y="1237012"/>
                  <a:pt x="1978068" y="1237657"/>
                </a:cubicBezTo>
                <a:lnTo>
                  <a:pt x="1978068" y="1239106"/>
                </a:lnTo>
                <a:cubicBezTo>
                  <a:pt x="1978007" y="1239666"/>
                  <a:pt x="1977934" y="1240214"/>
                  <a:pt x="1977873" y="1240774"/>
                </a:cubicBezTo>
                <a:cubicBezTo>
                  <a:pt x="1977812" y="1241334"/>
                  <a:pt x="1977557" y="1242247"/>
                  <a:pt x="1977386" y="1242978"/>
                </a:cubicBezTo>
                <a:cubicBezTo>
                  <a:pt x="1976911" y="1244330"/>
                  <a:pt x="1976436" y="1245681"/>
                  <a:pt x="1975973" y="1247033"/>
                </a:cubicBezTo>
                <a:lnTo>
                  <a:pt x="1974147" y="1250918"/>
                </a:lnTo>
                <a:lnTo>
                  <a:pt x="1971846" y="1255654"/>
                </a:lnTo>
                <a:cubicBezTo>
                  <a:pt x="1968862" y="1261742"/>
                  <a:pt x="1972126" y="1266029"/>
                  <a:pt x="1972126" y="1266029"/>
                </a:cubicBezTo>
                <a:cubicBezTo>
                  <a:pt x="1972223" y="1266406"/>
                  <a:pt x="1972333" y="1266784"/>
                  <a:pt x="1972430" y="1267161"/>
                </a:cubicBezTo>
                <a:cubicBezTo>
                  <a:pt x="1972527" y="1267539"/>
                  <a:pt x="1972430" y="1267904"/>
                  <a:pt x="1972430" y="1268281"/>
                </a:cubicBezTo>
                <a:lnTo>
                  <a:pt x="1972320" y="1269000"/>
                </a:lnTo>
                <a:lnTo>
                  <a:pt x="1971638" y="1271009"/>
                </a:lnTo>
                <a:lnTo>
                  <a:pt x="1970896" y="1272361"/>
                </a:lnTo>
                <a:lnTo>
                  <a:pt x="1969422" y="1274236"/>
                </a:lnTo>
                <a:lnTo>
                  <a:pt x="1967632" y="1276258"/>
                </a:lnTo>
                <a:cubicBezTo>
                  <a:pt x="1962908" y="1280896"/>
                  <a:pt x="1962080" y="1284781"/>
                  <a:pt x="1962080" y="1284781"/>
                </a:cubicBezTo>
                <a:cubicBezTo>
                  <a:pt x="1962226" y="1285816"/>
                  <a:pt x="1958573" y="1287959"/>
                  <a:pt x="1958573" y="1287959"/>
                </a:cubicBezTo>
                <a:cubicBezTo>
                  <a:pt x="1955480" y="1289530"/>
                  <a:pt x="1944947" y="1294815"/>
                  <a:pt x="1944947" y="1294827"/>
                </a:cubicBezTo>
                <a:cubicBezTo>
                  <a:pt x="1942901" y="1295801"/>
                  <a:pt x="1938505" y="1297518"/>
                  <a:pt x="1938505" y="1297530"/>
                </a:cubicBezTo>
                <a:cubicBezTo>
                  <a:pt x="1935242" y="1298821"/>
                  <a:pt x="1931199" y="1300818"/>
                  <a:pt x="1931199" y="1300843"/>
                </a:cubicBezTo>
                <a:lnTo>
                  <a:pt x="1926450" y="1303728"/>
                </a:lnTo>
                <a:lnTo>
                  <a:pt x="1922700" y="1306432"/>
                </a:lnTo>
                <a:lnTo>
                  <a:pt x="1918438" y="1309902"/>
                </a:lnTo>
                <a:lnTo>
                  <a:pt x="1914042" y="1313360"/>
                </a:lnTo>
                <a:lnTo>
                  <a:pt x="1907077" y="1318402"/>
                </a:lnTo>
                <a:cubicBezTo>
                  <a:pt x="1903826" y="1321032"/>
                  <a:pt x="1900611" y="1323674"/>
                  <a:pt x="1897433" y="1326316"/>
                </a:cubicBezTo>
                <a:cubicBezTo>
                  <a:pt x="1894182" y="1329166"/>
                  <a:pt x="1890942" y="1332003"/>
                  <a:pt x="1887691" y="1334840"/>
                </a:cubicBezTo>
                <a:cubicBezTo>
                  <a:pt x="1872178" y="1348295"/>
                  <a:pt x="1882248" y="1358756"/>
                  <a:pt x="1882224" y="1358743"/>
                </a:cubicBezTo>
                <a:lnTo>
                  <a:pt x="1883953" y="1361094"/>
                </a:lnTo>
                <a:lnTo>
                  <a:pt x="1885548" y="1363078"/>
                </a:lnTo>
                <a:lnTo>
                  <a:pt x="1887789" y="1365842"/>
                </a:lnTo>
                <a:lnTo>
                  <a:pt x="1889433" y="1367815"/>
                </a:lnTo>
                <a:lnTo>
                  <a:pt x="1891235" y="1370092"/>
                </a:lnTo>
                <a:cubicBezTo>
                  <a:pt x="1891539" y="1370555"/>
                  <a:pt x="1891844" y="1371018"/>
                  <a:pt x="1892160" y="1371468"/>
                </a:cubicBezTo>
                <a:lnTo>
                  <a:pt x="1893073" y="1373222"/>
                </a:lnTo>
                <a:cubicBezTo>
                  <a:pt x="1896471" y="1381563"/>
                  <a:pt x="1890066" y="1387834"/>
                  <a:pt x="1890078" y="1387834"/>
                </a:cubicBezTo>
                <a:cubicBezTo>
                  <a:pt x="1887460" y="1391158"/>
                  <a:pt x="1885171" y="1394726"/>
                  <a:pt x="1883259" y="1398501"/>
                </a:cubicBezTo>
                <a:cubicBezTo>
                  <a:pt x="1882431" y="1400607"/>
                  <a:pt x="1882248" y="1402909"/>
                  <a:pt x="1882747" y="1405113"/>
                </a:cubicBezTo>
                <a:cubicBezTo>
                  <a:pt x="1882845" y="1405478"/>
                  <a:pt x="1882955" y="1405831"/>
                  <a:pt x="1883052" y="1406197"/>
                </a:cubicBezTo>
                <a:cubicBezTo>
                  <a:pt x="1883149" y="1406562"/>
                  <a:pt x="1883162" y="1406659"/>
                  <a:pt x="1883223" y="1406902"/>
                </a:cubicBezTo>
                <a:lnTo>
                  <a:pt x="1883332" y="1407646"/>
                </a:lnTo>
                <a:cubicBezTo>
                  <a:pt x="1883320" y="1409021"/>
                  <a:pt x="1882772" y="1410337"/>
                  <a:pt x="1881798" y="1411299"/>
                </a:cubicBezTo>
                <a:lnTo>
                  <a:pt x="1880690" y="1412199"/>
                </a:lnTo>
                <a:lnTo>
                  <a:pt x="1879338" y="1413076"/>
                </a:lnTo>
                <a:lnTo>
                  <a:pt x="1878875" y="1413344"/>
                </a:lnTo>
                <a:lnTo>
                  <a:pt x="1876342" y="1414684"/>
                </a:lnTo>
                <a:lnTo>
                  <a:pt x="1874102" y="1415755"/>
                </a:lnTo>
                <a:lnTo>
                  <a:pt x="1872799" y="1416364"/>
                </a:lnTo>
                <a:cubicBezTo>
                  <a:pt x="1872641" y="1417046"/>
                  <a:pt x="1872470" y="1417740"/>
                  <a:pt x="1872312" y="1418422"/>
                </a:cubicBezTo>
                <a:cubicBezTo>
                  <a:pt x="1872154" y="1419104"/>
                  <a:pt x="1872007" y="1419725"/>
                  <a:pt x="1871849" y="1420370"/>
                </a:cubicBezTo>
                <a:lnTo>
                  <a:pt x="1871155" y="1423317"/>
                </a:lnTo>
                <a:lnTo>
                  <a:pt x="1870425" y="1426885"/>
                </a:lnTo>
                <a:cubicBezTo>
                  <a:pt x="1870352" y="1427287"/>
                  <a:pt x="1870291" y="1427676"/>
                  <a:pt x="1870217" y="1428103"/>
                </a:cubicBezTo>
                <a:lnTo>
                  <a:pt x="1870035" y="1429406"/>
                </a:lnTo>
                <a:cubicBezTo>
                  <a:pt x="1869962" y="1430015"/>
                  <a:pt x="1869889" y="1430624"/>
                  <a:pt x="1869828" y="1431256"/>
                </a:cubicBezTo>
                <a:cubicBezTo>
                  <a:pt x="1869767" y="1431889"/>
                  <a:pt x="1869755" y="1432255"/>
                  <a:pt x="1869730" y="1432742"/>
                </a:cubicBezTo>
                <a:lnTo>
                  <a:pt x="1869730" y="1434349"/>
                </a:lnTo>
                <a:cubicBezTo>
                  <a:pt x="1869730" y="1434934"/>
                  <a:pt x="1869730" y="1435567"/>
                  <a:pt x="1869730" y="1436103"/>
                </a:cubicBezTo>
                <a:lnTo>
                  <a:pt x="1869657" y="1440231"/>
                </a:lnTo>
                <a:cubicBezTo>
                  <a:pt x="1869560" y="1441448"/>
                  <a:pt x="1869475" y="1442593"/>
                  <a:pt x="1869389" y="1443774"/>
                </a:cubicBezTo>
                <a:cubicBezTo>
                  <a:pt x="1869183" y="1445211"/>
                  <a:pt x="1868988" y="1446648"/>
                  <a:pt x="1868781" y="1448085"/>
                </a:cubicBezTo>
                <a:lnTo>
                  <a:pt x="1868086" y="1451555"/>
                </a:lnTo>
                <a:lnTo>
                  <a:pt x="1867246" y="1454770"/>
                </a:lnTo>
                <a:lnTo>
                  <a:pt x="1866443" y="1457351"/>
                </a:lnTo>
                <a:cubicBezTo>
                  <a:pt x="1866138" y="1458228"/>
                  <a:pt x="1865822" y="1459105"/>
                  <a:pt x="1865505" y="1459969"/>
                </a:cubicBezTo>
                <a:cubicBezTo>
                  <a:pt x="1865189" y="1460834"/>
                  <a:pt x="1864738" y="1461857"/>
                  <a:pt x="1864287" y="1462795"/>
                </a:cubicBezTo>
                <a:lnTo>
                  <a:pt x="1863179" y="1465230"/>
                </a:lnTo>
                <a:lnTo>
                  <a:pt x="1862047" y="1467458"/>
                </a:lnTo>
                <a:lnTo>
                  <a:pt x="1860476" y="1470283"/>
                </a:lnTo>
                <a:cubicBezTo>
                  <a:pt x="1859782" y="1471392"/>
                  <a:pt x="1859015" y="1472451"/>
                  <a:pt x="1858187" y="1473461"/>
                </a:cubicBezTo>
                <a:cubicBezTo>
                  <a:pt x="1857432" y="1474265"/>
                  <a:pt x="1856616" y="1475020"/>
                  <a:pt x="1855751" y="1475714"/>
                </a:cubicBezTo>
                <a:lnTo>
                  <a:pt x="1855033" y="1476214"/>
                </a:lnTo>
                <a:lnTo>
                  <a:pt x="1854144" y="1476798"/>
                </a:lnTo>
                <a:lnTo>
                  <a:pt x="1853206" y="1477358"/>
                </a:lnTo>
                <a:lnTo>
                  <a:pt x="1852159" y="1477906"/>
                </a:lnTo>
                <a:lnTo>
                  <a:pt x="1851502" y="1478247"/>
                </a:lnTo>
                <a:lnTo>
                  <a:pt x="1850734" y="1478600"/>
                </a:lnTo>
                <a:lnTo>
                  <a:pt x="1850041" y="1478916"/>
                </a:lnTo>
                <a:lnTo>
                  <a:pt x="1848628" y="1479513"/>
                </a:lnTo>
                <a:lnTo>
                  <a:pt x="1848165" y="1479708"/>
                </a:lnTo>
                <a:lnTo>
                  <a:pt x="1846534" y="1480329"/>
                </a:lnTo>
                <a:lnTo>
                  <a:pt x="1844768" y="1480974"/>
                </a:lnTo>
                <a:lnTo>
                  <a:pt x="1843428" y="1481437"/>
                </a:lnTo>
                <a:lnTo>
                  <a:pt x="1841712" y="1482009"/>
                </a:lnTo>
                <a:lnTo>
                  <a:pt x="1840336" y="1482448"/>
                </a:lnTo>
                <a:lnTo>
                  <a:pt x="1838545" y="1482996"/>
                </a:lnTo>
                <a:lnTo>
                  <a:pt x="1836634" y="1483556"/>
                </a:lnTo>
                <a:lnTo>
                  <a:pt x="1835331" y="1483921"/>
                </a:lnTo>
                <a:lnTo>
                  <a:pt x="1834113" y="1484250"/>
                </a:lnTo>
                <a:lnTo>
                  <a:pt x="1833054" y="1484530"/>
                </a:lnTo>
                <a:lnTo>
                  <a:pt x="1831447" y="1484956"/>
                </a:lnTo>
                <a:lnTo>
                  <a:pt x="1830789" y="1485139"/>
                </a:lnTo>
                <a:lnTo>
                  <a:pt x="1830302" y="1485273"/>
                </a:lnTo>
                <a:lnTo>
                  <a:pt x="1829924" y="1485371"/>
                </a:lnTo>
                <a:lnTo>
                  <a:pt x="1829388" y="1485504"/>
                </a:lnTo>
                <a:lnTo>
                  <a:pt x="1828926" y="1485626"/>
                </a:lnTo>
                <a:lnTo>
                  <a:pt x="1828524" y="1485736"/>
                </a:lnTo>
                <a:lnTo>
                  <a:pt x="1827781" y="1485931"/>
                </a:lnTo>
                <a:lnTo>
                  <a:pt x="1827172" y="1486089"/>
                </a:lnTo>
                <a:lnTo>
                  <a:pt x="1826771" y="1486186"/>
                </a:lnTo>
                <a:lnTo>
                  <a:pt x="1826442" y="1486284"/>
                </a:lnTo>
                <a:lnTo>
                  <a:pt x="1826016" y="1486393"/>
                </a:lnTo>
                <a:lnTo>
                  <a:pt x="1825650" y="1486491"/>
                </a:lnTo>
                <a:lnTo>
                  <a:pt x="1825200" y="1486600"/>
                </a:lnTo>
                <a:lnTo>
                  <a:pt x="1824847" y="1486698"/>
                </a:lnTo>
                <a:lnTo>
                  <a:pt x="1824274" y="1486844"/>
                </a:lnTo>
                <a:lnTo>
                  <a:pt x="1823775" y="1486978"/>
                </a:lnTo>
                <a:lnTo>
                  <a:pt x="1823337" y="1487100"/>
                </a:lnTo>
                <a:lnTo>
                  <a:pt x="1822923" y="1487209"/>
                </a:lnTo>
                <a:lnTo>
                  <a:pt x="1822484" y="1487331"/>
                </a:lnTo>
                <a:lnTo>
                  <a:pt x="1822009" y="1487465"/>
                </a:lnTo>
                <a:lnTo>
                  <a:pt x="1821681" y="1487550"/>
                </a:lnTo>
                <a:lnTo>
                  <a:pt x="1821230" y="1487672"/>
                </a:lnTo>
                <a:lnTo>
                  <a:pt x="1820792" y="1487793"/>
                </a:lnTo>
                <a:lnTo>
                  <a:pt x="1820378" y="1487903"/>
                </a:lnTo>
                <a:lnTo>
                  <a:pt x="1819854" y="1488062"/>
                </a:lnTo>
                <a:lnTo>
                  <a:pt x="1819038" y="1488293"/>
                </a:lnTo>
                <a:lnTo>
                  <a:pt x="1818478" y="1488451"/>
                </a:lnTo>
                <a:lnTo>
                  <a:pt x="1817747" y="1488658"/>
                </a:lnTo>
                <a:lnTo>
                  <a:pt x="1817175" y="1488829"/>
                </a:lnTo>
                <a:lnTo>
                  <a:pt x="1816566" y="1489011"/>
                </a:lnTo>
                <a:lnTo>
                  <a:pt x="1816079" y="1489157"/>
                </a:lnTo>
                <a:lnTo>
                  <a:pt x="1815507" y="1489340"/>
                </a:lnTo>
                <a:lnTo>
                  <a:pt x="1814935" y="1489511"/>
                </a:lnTo>
                <a:lnTo>
                  <a:pt x="1814375" y="1489693"/>
                </a:lnTo>
                <a:lnTo>
                  <a:pt x="1813887" y="1489839"/>
                </a:lnTo>
                <a:lnTo>
                  <a:pt x="1813413" y="1489998"/>
                </a:lnTo>
                <a:lnTo>
                  <a:pt x="1812828" y="1490180"/>
                </a:lnTo>
                <a:lnTo>
                  <a:pt x="1812183" y="1490399"/>
                </a:lnTo>
                <a:lnTo>
                  <a:pt x="1811464" y="1490643"/>
                </a:lnTo>
                <a:lnTo>
                  <a:pt x="1810405" y="1491008"/>
                </a:lnTo>
                <a:lnTo>
                  <a:pt x="1809711" y="1491251"/>
                </a:lnTo>
                <a:lnTo>
                  <a:pt x="1809114" y="1491471"/>
                </a:lnTo>
                <a:lnTo>
                  <a:pt x="1808712" y="1491617"/>
                </a:lnTo>
                <a:lnTo>
                  <a:pt x="1808310" y="1491775"/>
                </a:lnTo>
                <a:lnTo>
                  <a:pt x="1807531" y="1492068"/>
                </a:lnTo>
                <a:lnTo>
                  <a:pt x="1806752" y="1492360"/>
                </a:lnTo>
                <a:lnTo>
                  <a:pt x="1805887" y="1492701"/>
                </a:lnTo>
                <a:lnTo>
                  <a:pt x="1805181" y="1492993"/>
                </a:lnTo>
                <a:lnTo>
                  <a:pt x="1804329" y="1493346"/>
                </a:lnTo>
                <a:lnTo>
                  <a:pt x="1803403" y="1493736"/>
                </a:lnTo>
                <a:lnTo>
                  <a:pt x="1807555" y="1493736"/>
                </a:lnTo>
                <a:lnTo>
                  <a:pt x="1807909" y="1493736"/>
                </a:lnTo>
                <a:lnTo>
                  <a:pt x="1808310" y="1493736"/>
                </a:lnTo>
                <a:lnTo>
                  <a:pt x="1808749" y="1493675"/>
                </a:lnTo>
                <a:lnTo>
                  <a:pt x="1809090" y="1493675"/>
                </a:lnTo>
                <a:lnTo>
                  <a:pt x="1809419" y="1493602"/>
                </a:lnTo>
                <a:lnTo>
                  <a:pt x="1810113" y="1493468"/>
                </a:lnTo>
                <a:lnTo>
                  <a:pt x="1810734" y="1493346"/>
                </a:lnTo>
                <a:lnTo>
                  <a:pt x="1811489" y="1493212"/>
                </a:lnTo>
                <a:lnTo>
                  <a:pt x="1812536" y="1493042"/>
                </a:lnTo>
                <a:lnTo>
                  <a:pt x="1813754" y="1492859"/>
                </a:lnTo>
                <a:lnTo>
                  <a:pt x="1815665" y="1492640"/>
                </a:lnTo>
                <a:lnTo>
                  <a:pt x="1817224" y="1492530"/>
                </a:lnTo>
                <a:lnTo>
                  <a:pt x="1818502" y="1492530"/>
                </a:lnTo>
                <a:lnTo>
                  <a:pt x="1819282" y="1492530"/>
                </a:lnTo>
                <a:lnTo>
                  <a:pt x="1820293" y="1492530"/>
                </a:lnTo>
                <a:lnTo>
                  <a:pt x="1821108" y="1492591"/>
                </a:lnTo>
                <a:lnTo>
                  <a:pt x="1822058" y="1492701"/>
                </a:lnTo>
                <a:lnTo>
                  <a:pt x="1823117" y="1492884"/>
                </a:lnTo>
                <a:lnTo>
                  <a:pt x="1824140" y="1493127"/>
                </a:lnTo>
                <a:lnTo>
                  <a:pt x="1824847" y="1493334"/>
                </a:lnTo>
                <a:lnTo>
                  <a:pt x="1825602" y="1493614"/>
                </a:lnTo>
                <a:lnTo>
                  <a:pt x="1826223" y="1493882"/>
                </a:lnTo>
                <a:lnTo>
                  <a:pt x="1826697" y="1494113"/>
                </a:lnTo>
                <a:lnTo>
                  <a:pt x="1827343" y="1494491"/>
                </a:lnTo>
                <a:lnTo>
                  <a:pt x="1827952" y="1494893"/>
                </a:lnTo>
                <a:lnTo>
                  <a:pt x="1828548" y="1495355"/>
                </a:lnTo>
                <a:lnTo>
                  <a:pt x="1829084" y="1495830"/>
                </a:lnTo>
                <a:lnTo>
                  <a:pt x="1829377" y="1496122"/>
                </a:lnTo>
                <a:lnTo>
                  <a:pt x="1829742" y="1496524"/>
                </a:lnTo>
                <a:cubicBezTo>
                  <a:pt x="1829790" y="1496573"/>
                  <a:pt x="1829827" y="1496622"/>
                  <a:pt x="1829863" y="1496670"/>
                </a:cubicBezTo>
                <a:cubicBezTo>
                  <a:pt x="1829900" y="1496695"/>
                  <a:pt x="1829924" y="1496719"/>
                  <a:pt x="1829949" y="1496755"/>
                </a:cubicBezTo>
                <a:lnTo>
                  <a:pt x="1830095" y="1496950"/>
                </a:lnTo>
                <a:lnTo>
                  <a:pt x="1830204" y="1497072"/>
                </a:lnTo>
                <a:cubicBezTo>
                  <a:pt x="1830204" y="1497072"/>
                  <a:pt x="1830204" y="1497072"/>
                  <a:pt x="1830204" y="1497072"/>
                </a:cubicBezTo>
                <a:lnTo>
                  <a:pt x="1830290" y="1497206"/>
                </a:lnTo>
                <a:lnTo>
                  <a:pt x="1830375" y="1497316"/>
                </a:lnTo>
                <a:cubicBezTo>
                  <a:pt x="1830399" y="1497364"/>
                  <a:pt x="1830436" y="1497401"/>
                  <a:pt x="1830472" y="1497450"/>
                </a:cubicBezTo>
                <a:lnTo>
                  <a:pt x="1830533" y="1497547"/>
                </a:lnTo>
                <a:lnTo>
                  <a:pt x="1830643" y="1497681"/>
                </a:lnTo>
                <a:cubicBezTo>
                  <a:pt x="1831118" y="1498193"/>
                  <a:pt x="1831714" y="1498570"/>
                  <a:pt x="1832384" y="1498789"/>
                </a:cubicBezTo>
                <a:cubicBezTo>
                  <a:pt x="1832981" y="1498972"/>
                  <a:pt x="1833577" y="1499106"/>
                  <a:pt x="1834186" y="1499215"/>
                </a:cubicBezTo>
                <a:lnTo>
                  <a:pt x="1834552" y="1499215"/>
                </a:lnTo>
                <a:lnTo>
                  <a:pt x="1836366" y="1499215"/>
                </a:lnTo>
                <a:lnTo>
                  <a:pt x="1836902" y="1499215"/>
                </a:lnTo>
                <a:lnTo>
                  <a:pt x="1837425" y="1499215"/>
                </a:lnTo>
                <a:lnTo>
                  <a:pt x="1837657" y="1499215"/>
                </a:lnTo>
                <a:lnTo>
                  <a:pt x="1837900" y="1499215"/>
                </a:lnTo>
                <a:lnTo>
                  <a:pt x="1838241" y="1499215"/>
                </a:lnTo>
                <a:lnTo>
                  <a:pt x="1838545" y="1499215"/>
                </a:lnTo>
                <a:lnTo>
                  <a:pt x="1838789" y="1499215"/>
                </a:lnTo>
                <a:lnTo>
                  <a:pt x="1839057" y="1499215"/>
                </a:lnTo>
                <a:lnTo>
                  <a:pt x="1839264" y="1499215"/>
                </a:lnTo>
                <a:lnTo>
                  <a:pt x="1839507" y="1499288"/>
                </a:lnTo>
                <a:lnTo>
                  <a:pt x="1839800" y="1499374"/>
                </a:lnTo>
                <a:lnTo>
                  <a:pt x="1840007" y="1499446"/>
                </a:lnTo>
                <a:lnTo>
                  <a:pt x="1840238" y="1499532"/>
                </a:lnTo>
                <a:lnTo>
                  <a:pt x="1840494" y="1499641"/>
                </a:lnTo>
                <a:lnTo>
                  <a:pt x="1840652" y="1499727"/>
                </a:lnTo>
                <a:lnTo>
                  <a:pt x="1840859" y="1499824"/>
                </a:lnTo>
                <a:lnTo>
                  <a:pt x="1841042" y="1499922"/>
                </a:lnTo>
                <a:lnTo>
                  <a:pt x="1841188" y="1500007"/>
                </a:lnTo>
                <a:lnTo>
                  <a:pt x="1841322" y="1500092"/>
                </a:lnTo>
                <a:lnTo>
                  <a:pt x="1841529" y="1500226"/>
                </a:lnTo>
                <a:lnTo>
                  <a:pt x="1841797" y="1500433"/>
                </a:lnTo>
                <a:lnTo>
                  <a:pt x="1841931" y="1500543"/>
                </a:lnTo>
                <a:lnTo>
                  <a:pt x="1842113" y="1500701"/>
                </a:lnTo>
                <a:lnTo>
                  <a:pt x="1842296" y="1500884"/>
                </a:lnTo>
                <a:lnTo>
                  <a:pt x="1842491" y="1501090"/>
                </a:lnTo>
                <a:cubicBezTo>
                  <a:pt x="1842552" y="1501152"/>
                  <a:pt x="1842613" y="1501225"/>
                  <a:pt x="1842661" y="1501297"/>
                </a:cubicBezTo>
                <a:cubicBezTo>
                  <a:pt x="1842747" y="1501395"/>
                  <a:pt x="1842832" y="1501505"/>
                  <a:pt x="1842905" y="1501614"/>
                </a:cubicBezTo>
                <a:lnTo>
                  <a:pt x="1843100" y="1501906"/>
                </a:lnTo>
                <a:lnTo>
                  <a:pt x="1843295" y="1502248"/>
                </a:lnTo>
                <a:lnTo>
                  <a:pt x="1843477" y="1502601"/>
                </a:lnTo>
                <a:cubicBezTo>
                  <a:pt x="1843514" y="1502698"/>
                  <a:pt x="1843550" y="1502795"/>
                  <a:pt x="1843599" y="1502893"/>
                </a:cubicBezTo>
                <a:lnTo>
                  <a:pt x="1843708" y="1503148"/>
                </a:lnTo>
                <a:cubicBezTo>
                  <a:pt x="1843708" y="1503246"/>
                  <a:pt x="1843708" y="1503331"/>
                  <a:pt x="1843806" y="1503416"/>
                </a:cubicBezTo>
                <a:cubicBezTo>
                  <a:pt x="1843903" y="1503501"/>
                  <a:pt x="1843879" y="1503636"/>
                  <a:pt x="1843916" y="1503745"/>
                </a:cubicBezTo>
                <a:lnTo>
                  <a:pt x="1843989" y="1504025"/>
                </a:lnTo>
                <a:cubicBezTo>
                  <a:pt x="1843989" y="1504086"/>
                  <a:pt x="1843989" y="1504159"/>
                  <a:pt x="1843989" y="1504220"/>
                </a:cubicBezTo>
                <a:cubicBezTo>
                  <a:pt x="1843989" y="1504293"/>
                  <a:pt x="1843989" y="1504378"/>
                  <a:pt x="1843989" y="1504452"/>
                </a:cubicBezTo>
                <a:cubicBezTo>
                  <a:pt x="1843989" y="1504512"/>
                  <a:pt x="1843989" y="1504585"/>
                  <a:pt x="1843989" y="1504646"/>
                </a:cubicBezTo>
                <a:cubicBezTo>
                  <a:pt x="1843989" y="1504756"/>
                  <a:pt x="1843989" y="1504865"/>
                  <a:pt x="1844049" y="1504987"/>
                </a:cubicBezTo>
                <a:cubicBezTo>
                  <a:pt x="1844110" y="1505109"/>
                  <a:pt x="1844049" y="1505170"/>
                  <a:pt x="1844110" y="1505267"/>
                </a:cubicBezTo>
                <a:lnTo>
                  <a:pt x="1844110" y="1505499"/>
                </a:lnTo>
                <a:lnTo>
                  <a:pt x="1844110" y="1505779"/>
                </a:lnTo>
                <a:cubicBezTo>
                  <a:pt x="1844110" y="1505876"/>
                  <a:pt x="1844110" y="1505961"/>
                  <a:pt x="1844110" y="1506059"/>
                </a:cubicBezTo>
                <a:lnTo>
                  <a:pt x="1844110" y="1506424"/>
                </a:lnTo>
                <a:cubicBezTo>
                  <a:pt x="1844110" y="1506570"/>
                  <a:pt x="1844110" y="1506716"/>
                  <a:pt x="1844110" y="1506850"/>
                </a:cubicBezTo>
                <a:cubicBezTo>
                  <a:pt x="1844110" y="1506984"/>
                  <a:pt x="1844110" y="1507143"/>
                  <a:pt x="1844110" y="1507289"/>
                </a:cubicBezTo>
                <a:cubicBezTo>
                  <a:pt x="1844110" y="1507435"/>
                  <a:pt x="1844110" y="1507545"/>
                  <a:pt x="1844110" y="1507678"/>
                </a:cubicBezTo>
                <a:lnTo>
                  <a:pt x="1844110" y="1508433"/>
                </a:lnTo>
                <a:cubicBezTo>
                  <a:pt x="1844110" y="1508555"/>
                  <a:pt x="1844110" y="1508677"/>
                  <a:pt x="1844110" y="1508787"/>
                </a:cubicBezTo>
                <a:cubicBezTo>
                  <a:pt x="1844110" y="1508896"/>
                  <a:pt x="1844110" y="1509115"/>
                  <a:pt x="1844110" y="1509285"/>
                </a:cubicBezTo>
                <a:lnTo>
                  <a:pt x="1844110" y="1509676"/>
                </a:lnTo>
                <a:lnTo>
                  <a:pt x="1844110" y="1510089"/>
                </a:lnTo>
                <a:cubicBezTo>
                  <a:pt x="1844110" y="1510247"/>
                  <a:pt x="1844110" y="1510406"/>
                  <a:pt x="1844110" y="1510552"/>
                </a:cubicBezTo>
                <a:lnTo>
                  <a:pt x="1844110" y="1511198"/>
                </a:lnTo>
                <a:cubicBezTo>
                  <a:pt x="1844110" y="1511429"/>
                  <a:pt x="1844110" y="1511660"/>
                  <a:pt x="1844110" y="1511891"/>
                </a:cubicBezTo>
                <a:lnTo>
                  <a:pt x="1844110" y="1512793"/>
                </a:lnTo>
                <a:cubicBezTo>
                  <a:pt x="1844110" y="1513145"/>
                  <a:pt x="1844110" y="1513499"/>
                  <a:pt x="1844110" y="1513840"/>
                </a:cubicBezTo>
                <a:cubicBezTo>
                  <a:pt x="1844110" y="1514181"/>
                  <a:pt x="1844110" y="1514254"/>
                  <a:pt x="1844110" y="1514461"/>
                </a:cubicBezTo>
                <a:cubicBezTo>
                  <a:pt x="1844110" y="1514668"/>
                  <a:pt x="1844110" y="1514960"/>
                  <a:pt x="1844110" y="1515204"/>
                </a:cubicBezTo>
                <a:lnTo>
                  <a:pt x="1844110" y="1515630"/>
                </a:lnTo>
                <a:cubicBezTo>
                  <a:pt x="1844110" y="1515849"/>
                  <a:pt x="1844110" y="1516056"/>
                  <a:pt x="1844110" y="1516275"/>
                </a:cubicBezTo>
                <a:cubicBezTo>
                  <a:pt x="1844110" y="1516494"/>
                  <a:pt x="1844110" y="1516884"/>
                  <a:pt x="1844110" y="1517200"/>
                </a:cubicBezTo>
                <a:lnTo>
                  <a:pt x="1844110" y="1517736"/>
                </a:lnTo>
                <a:cubicBezTo>
                  <a:pt x="1844110" y="1517870"/>
                  <a:pt x="1844110" y="1518016"/>
                  <a:pt x="1844110" y="1518162"/>
                </a:cubicBezTo>
                <a:cubicBezTo>
                  <a:pt x="1844110" y="1518309"/>
                  <a:pt x="1844110" y="1518442"/>
                  <a:pt x="1844110" y="1518577"/>
                </a:cubicBezTo>
                <a:cubicBezTo>
                  <a:pt x="1844110" y="1518711"/>
                  <a:pt x="1844025" y="1519088"/>
                  <a:pt x="1843989" y="1519344"/>
                </a:cubicBezTo>
                <a:cubicBezTo>
                  <a:pt x="1843952" y="1519600"/>
                  <a:pt x="1843903" y="1519721"/>
                  <a:pt x="1843867" y="1519916"/>
                </a:cubicBezTo>
                <a:cubicBezTo>
                  <a:pt x="1843830" y="1520111"/>
                  <a:pt x="1843538" y="1520963"/>
                  <a:pt x="1843538" y="1520975"/>
                </a:cubicBezTo>
                <a:lnTo>
                  <a:pt x="1842880" y="1522339"/>
                </a:lnTo>
                <a:lnTo>
                  <a:pt x="1841967" y="1523557"/>
                </a:lnTo>
                <a:lnTo>
                  <a:pt x="1840676" y="1525103"/>
                </a:lnTo>
                <a:lnTo>
                  <a:pt x="1839848" y="1526053"/>
                </a:lnTo>
                <a:lnTo>
                  <a:pt x="1838631" y="1527441"/>
                </a:lnTo>
                <a:lnTo>
                  <a:pt x="1837693" y="1528464"/>
                </a:lnTo>
                <a:lnTo>
                  <a:pt x="1836780" y="1529414"/>
                </a:lnTo>
                <a:lnTo>
                  <a:pt x="1835867" y="1530327"/>
                </a:lnTo>
                <a:lnTo>
                  <a:pt x="1835039" y="1531131"/>
                </a:lnTo>
                <a:lnTo>
                  <a:pt x="1833748" y="1532348"/>
                </a:lnTo>
                <a:lnTo>
                  <a:pt x="1833005" y="1533006"/>
                </a:lnTo>
                <a:lnTo>
                  <a:pt x="1831982" y="1533870"/>
                </a:lnTo>
                <a:lnTo>
                  <a:pt x="1830472" y="1535088"/>
                </a:lnTo>
                <a:lnTo>
                  <a:pt x="1829328" y="1535953"/>
                </a:lnTo>
                <a:lnTo>
                  <a:pt x="1828451" y="1536574"/>
                </a:lnTo>
                <a:lnTo>
                  <a:pt x="1827331" y="1537329"/>
                </a:lnTo>
                <a:lnTo>
                  <a:pt x="1825967" y="1538194"/>
                </a:lnTo>
                <a:lnTo>
                  <a:pt x="1824932" y="1538814"/>
                </a:lnTo>
                <a:lnTo>
                  <a:pt x="1824433" y="1539107"/>
                </a:lnTo>
                <a:lnTo>
                  <a:pt x="1823081" y="1539838"/>
                </a:lnTo>
                <a:lnTo>
                  <a:pt x="1821863" y="1540422"/>
                </a:lnTo>
                <a:lnTo>
                  <a:pt x="1821035" y="1540824"/>
                </a:lnTo>
                <a:lnTo>
                  <a:pt x="1819964" y="1541323"/>
                </a:lnTo>
                <a:lnTo>
                  <a:pt x="1818612" y="1541920"/>
                </a:lnTo>
                <a:lnTo>
                  <a:pt x="1817699" y="1542334"/>
                </a:lnTo>
                <a:lnTo>
                  <a:pt x="1816591" y="1542845"/>
                </a:lnTo>
                <a:lnTo>
                  <a:pt x="1814971" y="1543624"/>
                </a:lnTo>
                <a:lnTo>
                  <a:pt x="1812962" y="1544623"/>
                </a:lnTo>
                <a:lnTo>
                  <a:pt x="1809126" y="1546632"/>
                </a:lnTo>
                <a:lnTo>
                  <a:pt x="1806277" y="1548191"/>
                </a:lnTo>
                <a:lnTo>
                  <a:pt x="1800189" y="1551637"/>
                </a:lnTo>
                <a:lnTo>
                  <a:pt x="1793917" y="1555144"/>
                </a:lnTo>
                <a:lnTo>
                  <a:pt x="1798252" y="1559686"/>
                </a:lnTo>
                <a:lnTo>
                  <a:pt x="1800858" y="1562425"/>
                </a:lnTo>
                <a:lnTo>
                  <a:pt x="1804402" y="1566139"/>
                </a:lnTo>
                <a:lnTo>
                  <a:pt x="1807470" y="1569391"/>
                </a:lnTo>
                <a:cubicBezTo>
                  <a:pt x="1807361" y="1569720"/>
                  <a:pt x="1806533" y="1571473"/>
                  <a:pt x="1806533" y="1571473"/>
                </a:cubicBezTo>
                <a:cubicBezTo>
                  <a:pt x="1805705" y="1573665"/>
                  <a:pt x="1802441" y="1576916"/>
                  <a:pt x="1802441" y="1576904"/>
                </a:cubicBezTo>
                <a:cubicBezTo>
                  <a:pt x="1800615" y="1578535"/>
                  <a:pt x="1798593" y="1579936"/>
                  <a:pt x="1796426" y="1581080"/>
                </a:cubicBezTo>
                <a:cubicBezTo>
                  <a:pt x="1794855" y="1581957"/>
                  <a:pt x="1791360" y="1583284"/>
                  <a:pt x="1791360" y="1583297"/>
                </a:cubicBezTo>
                <a:cubicBezTo>
                  <a:pt x="1789570" y="1584015"/>
                  <a:pt x="1784383" y="1585610"/>
                  <a:pt x="1784383" y="1585598"/>
                </a:cubicBezTo>
                <a:lnTo>
                  <a:pt x="1778197" y="1587412"/>
                </a:lnTo>
                <a:cubicBezTo>
                  <a:pt x="1777077" y="1587753"/>
                  <a:pt x="1772803" y="1589117"/>
                  <a:pt x="1772803" y="1589117"/>
                </a:cubicBezTo>
                <a:lnTo>
                  <a:pt x="1775238" y="1590627"/>
                </a:lnTo>
                <a:lnTo>
                  <a:pt x="1778489" y="1592721"/>
                </a:lnTo>
                <a:cubicBezTo>
                  <a:pt x="1779390" y="1593306"/>
                  <a:pt x="1781667" y="1594414"/>
                  <a:pt x="1781680" y="1594402"/>
                </a:cubicBezTo>
                <a:cubicBezTo>
                  <a:pt x="1783738" y="1595230"/>
                  <a:pt x="1784115" y="1595120"/>
                  <a:pt x="1784115" y="1595120"/>
                </a:cubicBezTo>
                <a:cubicBezTo>
                  <a:pt x="1784882" y="1595145"/>
                  <a:pt x="1785649" y="1595072"/>
                  <a:pt x="1786404" y="1594901"/>
                </a:cubicBezTo>
                <a:cubicBezTo>
                  <a:pt x="1787037" y="1594901"/>
                  <a:pt x="1792274" y="1593330"/>
                  <a:pt x="1792286" y="1593330"/>
                </a:cubicBezTo>
                <a:cubicBezTo>
                  <a:pt x="1793321" y="1593038"/>
                  <a:pt x="1797023" y="1591419"/>
                  <a:pt x="1797023" y="1591419"/>
                </a:cubicBezTo>
                <a:cubicBezTo>
                  <a:pt x="1799762" y="1590261"/>
                  <a:pt x="1801224" y="1590846"/>
                  <a:pt x="1801224" y="1590846"/>
                </a:cubicBezTo>
                <a:cubicBezTo>
                  <a:pt x="1804109" y="1591479"/>
                  <a:pt x="1804414" y="1592186"/>
                  <a:pt x="1804414" y="1592198"/>
                </a:cubicBezTo>
                <a:cubicBezTo>
                  <a:pt x="1804828" y="1592502"/>
                  <a:pt x="1805205" y="1592868"/>
                  <a:pt x="1805546" y="1593257"/>
                </a:cubicBezTo>
                <a:cubicBezTo>
                  <a:pt x="1805717" y="1593489"/>
                  <a:pt x="1805863" y="1593744"/>
                  <a:pt x="1805973" y="1594012"/>
                </a:cubicBezTo>
                <a:cubicBezTo>
                  <a:pt x="1805985" y="1594231"/>
                  <a:pt x="1805960" y="1594463"/>
                  <a:pt x="1805887" y="1594670"/>
                </a:cubicBezTo>
                <a:cubicBezTo>
                  <a:pt x="1805583" y="1595193"/>
                  <a:pt x="1805230" y="1595680"/>
                  <a:pt x="1804840" y="1596143"/>
                </a:cubicBezTo>
                <a:cubicBezTo>
                  <a:pt x="1804743" y="1596252"/>
                  <a:pt x="1804657" y="1596362"/>
                  <a:pt x="1804560" y="1596460"/>
                </a:cubicBezTo>
                <a:lnTo>
                  <a:pt x="1804219" y="1596825"/>
                </a:lnTo>
                <a:lnTo>
                  <a:pt x="1803829" y="1597214"/>
                </a:lnTo>
                <a:lnTo>
                  <a:pt x="1803087" y="1597933"/>
                </a:lnTo>
                <a:lnTo>
                  <a:pt x="1801954" y="1599005"/>
                </a:lnTo>
                <a:lnTo>
                  <a:pt x="1801455" y="1599455"/>
                </a:lnTo>
                <a:cubicBezTo>
                  <a:pt x="1801077" y="1599796"/>
                  <a:pt x="1800627" y="1600052"/>
                  <a:pt x="1800152" y="1600222"/>
                </a:cubicBezTo>
                <a:lnTo>
                  <a:pt x="1799287" y="1600539"/>
                </a:lnTo>
                <a:lnTo>
                  <a:pt x="1797838" y="1601014"/>
                </a:lnTo>
                <a:cubicBezTo>
                  <a:pt x="1797303" y="1601184"/>
                  <a:pt x="1796621" y="1601464"/>
                  <a:pt x="1796621" y="1601452"/>
                </a:cubicBezTo>
                <a:lnTo>
                  <a:pt x="1797035" y="1601988"/>
                </a:lnTo>
                <a:lnTo>
                  <a:pt x="1797388" y="1602390"/>
                </a:lnTo>
                <a:lnTo>
                  <a:pt x="1798118" y="1603182"/>
                </a:lnTo>
                <a:cubicBezTo>
                  <a:pt x="1798496" y="1603559"/>
                  <a:pt x="1798837" y="1603973"/>
                  <a:pt x="1799154" y="1604399"/>
                </a:cubicBezTo>
                <a:cubicBezTo>
                  <a:pt x="1799592" y="1605215"/>
                  <a:pt x="1799397" y="1605617"/>
                  <a:pt x="1799409" y="1605617"/>
                </a:cubicBezTo>
                <a:cubicBezTo>
                  <a:pt x="1799263" y="1606189"/>
                  <a:pt x="1799190" y="1606773"/>
                  <a:pt x="1799190" y="1607358"/>
                </a:cubicBezTo>
                <a:cubicBezTo>
                  <a:pt x="1799166" y="1608454"/>
                  <a:pt x="1799482" y="1609526"/>
                  <a:pt x="1800079" y="1610439"/>
                </a:cubicBezTo>
                <a:cubicBezTo>
                  <a:pt x="1800651" y="1611230"/>
                  <a:pt x="1801333" y="1611937"/>
                  <a:pt x="1802125" y="1612509"/>
                </a:cubicBezTo>
                <a:cubicBezTo>
                  <a:pt x="1802612" y="1612899"/>
                  <a:pt x="1804097" y="1613788"/>
                  <a:pt x="1804097" y="1613788"/>
                </a:cubicBezTo>
                <a:cubicBezTo>
                  <a:pt x="1804901" y="1614201"/>
                  <a:pt x="1805583" y="1614835"/>
                  <a:pt x="1806058" y="1615614"/>
                </a:cubicBezTo>
                <a:cubicBezTo>
                  <a:pt x="1806435" y="1616284"/>
                  <a:pt x="1806594" y="1617051"/>
                  <a:pt x="1806496" y="1617818"/>
                </a:cubicBezTo>
                <a:cubicBezTo>
                  <a:pt x="1806386" y="1618524"/>
                  <a:pt x="1806143" y="1619194"/>
                  <a:pt x="1805790" y="1619815"/>
                </a:cubicBezTo>
                <a:cubicBezTo>
                  <a:pt x="1805522" y="1620302"/>
                  <a:pt x="1805218" y="1620765"/>
                  <a:pt x="1804877" y="1621191"/>
                </a:cubicBezTo>
                <a:lnTo>
                  <a:pt x="1803659" y="1622616"/>
                </a:lnTo>
                <a:lnTo>
                  <a:pt x="1802441" y="1624016"/>
                </a:lnTo>
                <a:cubicBezTo>
                  <a:pt x="1801954" y="1624612"/>
                  <a:pt x="1801479" y="1625234"/>
                  <a:pt x="1801004" y="1625818"/>
                </a:cubicBezTo>
                <a:lnTo>
                  <a:pt x="1800103" y="1626963"/>
                </a:lnTo>
                <a:cubicBezTo>
                  <a:pt x="1799640" y="1627584"/>
                  <a:pt x="1799166" y="1628180"/>
                  <a:pt x="1798691" y="1628814"/>
                </a:cubicBezTo>
                <a:lnTo>
                  <a:pt x="1797619" y="1630226"/>
                </a:lnTo>
                <a:lnTo>
                  <a:pt x="1796596" y="1631565"/>
                </a:lnTo>
                <a:cubicBezTo>
                  <a:pt x="1796462" y="1631760"/>
                  <a:pt x="1796316" y="1631943"/>
                  <a:pt x="1796170" y="1632138"/>
                </a:cubicBezTo>
                <a:lnTo>
                  <a:pt x="1795720" y="1632722"/>
                </a:lnTo>
                <a:lnTo>
                  <a:pt x="1795306" y="1633270"/>
                </a:lnTo>
                <a:cubicBezTo>
                  <a:pt x="1794648" y="1634196"/>
                  <a:pt x="1794112" y="1635206"/>
                  <a:pt x="1793710" y="1636278"/>
                </a:cubicBezTo>
                <a:cubicBezTo>
                  <a:pt x="1793564" y="1636740"/>
                  <a:pt x="1793455" y="1637215"/>
                  <a:pt x="1793394" y="1637691"/>
                </a:cubicBezTo>
                <a:cubicBezTo>
                  <a:pt x="1793345" y="1638092"/>
                  <a:pt x="1793345" y="1638506"/>
                  <a:pt x="1793394" y="1638908"/>
                </a:cubicBezTo>
                <a:cubicBezTo>
                  <a:pt x="1793455" y="1639359"/>
                  <a:pt x="1793589" y="1639797"/>
                  <a:pt x="1793796" y="1640199"/>
                </a:cubicBezTo>
                <a:cubicBezTo>
                  <a:pt x="1793966" y="1640503"/>
                  <a:pt x="1794173" y="1640784"/>
                  <a:pt x="1794405" y="1641051"/>
                </a:cubicBezTo>
                <a:cubicBezTo>
                  <a:pt x="1794599" y="1641234"/>
                  <a:pt x="1794794" y="1641417"/>
                  <a:pt x="1795013" y="1641575"/>
                </a:cubicBezTo>
                <a:cubicBezTo>
                  <a:pt x="1795196" y="1641709"/>
                  <a:pt x="1795476" y="1641867"/>
                  <a:pt x="1795476" y="1641867"/>
                </a:cubicBezTo>
                <a:lnTo>
                  <a:pt x="1795476" y="1641867"/>
                </a:lnTo>
                <a:lnTo>
                  <a:pt x="1795817" y="1642037"/>
                </a:lnTo>
                <a:lnTo>
                  <a:pt x="1796219" y="1642196"/>
                </a:lnTo>
                <a:lnTo>
                  <a:pt x="1797437" y="1642524"/>
                </a:lnTo>
                <a:lnTo>
                  <a:pt x="1798727" y="1642683"/>
                </a:lnTo>
                <a:lnTo>
                  <a:pt x="1799945" y="1642768"/>
                </a:lnTo>
                <a:lnTo>
                  <a:pt x="1802380" y="1642890"/>
                </a:lnTo>
                <a:lnTo>
                  <a:pt x="1804657" y="1642890"/>
                </a:lnTo>
                <a:lnTo>
                  <a:pt x="1806386" y="1642890"/>
                </a:lnTo>
                <a:lnTo>
                  <a:pt x="1807982" y="1642890"/>
                </a:lnTo>
                <a:lnTo>
                  <a:pt x="1809772" y="1642793"/>
                </a:lnTo>
                <a:lnTo>
                  <a:pt x="1811842" y="1642622"/>
                </a:lnTo>
                <a:lnTo>
                  <a:pt x="1812548" y="1642549"/>
                </a:lnTo>
                <a:lnTo>
                  <a:pt x="1813973" y="1642379"/>
                </a:lnTo>
                <a:lnTo>
                  <a:pt x="1814496" y="1642306"/>
                </a:lnTo>
                <a:lnTo>
                  <a:pt x="1815069" y="1642220"/>
                </a:lnTo>
                <a:lnTo>
                  <a:pt x="1816043" y="1642062"/>
                </a:lnTo>
                <a:lnTo>
                  <a:pt x="1816834" y="1641916"/>
                </a:lnTo>
                <a:lnTo>
                  <a:pt x="1817857" y="1641721"/>
                </a:lnTo>
                <a:lnTo>
                  <a:pt x="1819854" y="1641295"/>
                </a:lnTo>
                <a:lnTo>
                  <a:pt x="1821206" y="1641039"/>
                </a:lnTo>
                <a:lnTo>
                  <a:pt x="1822496" y="1640832"/>
                </a:lnTo>
                <a:lnTo>
                  <a:pt x="1823946" y="1640650"/>
                </a:lnTo>
                <a:lnTo>
                  <a:pt x="1825882" y="1640564"/>
                </a:lnTo>
                <a:lnTo>
                  <a:pt x="1826807" y="1640564"/>
                </a:lnTo>
                <a:lnTo>
                  <a:pt x="1828354" y="1640771"/>
                </a:lnTo>
                <a:lnTo>
                  <a:pt x="1829742" y="1641149"/>
                </a:lnTo>
                <a:lnTo>
                  <a:pt x="1830630" y="1641526"/>
                </a:lnTo>
                <a:lnTo>
                  <a:pt x="1831751" y="1642172"/>
                </a:lnTo>
                <a:lnTo>
                  <a:pt x="1832506" y="1642768"/>
                </a:lnTo>
                <a:lnTo>
                  <a:pt x="1833102" y="1643328"/>
                </a:lnTo>
                <a:lnTo>
                  <a:pt x="1833711" y="1644047"/>
                </a:lnTo>
                <a:lnTo>
                  <a:pt x="1834271" y="1644912"/>
                </a:lnTo>
                <a:cubicBezTo>
                  <a:pt x="1834405" y="1645252"/>
                  <a:pt x="1834552" y="1645593"/>
                  <a:pt x="1834698" y="1645934"/>
                </a:cubicBezTo>
                <a:cubicBezTo>
                  <a:pt x="1834844" y="1646275"/>
                  <a:pt x="1834832" y="1646470"/>
                  <a:pt x="1834892" y="1646738"/>
                </a:cubicBezTo>
                <a:cubicBezTo>
                  <a:pt x="1834953" y="1647006"/>
                  <a:pt x="1834953" y="1647541"/>
                  <a:pt x="1834978" y="1647956"/>
                </a:cubicBezTo>
                <a:cubicBezTo>
                  <a:pt x="1835002" y="1648370"/>
                  <a:pt x="1834880" y="1648772"/>
                  <a:pt x="1834844" y="1649174"/>
                </a:cubicBezTo>
                <a:lnTo>
                  <a:pt x="1834637" y="1650001"/>
                </a:lnTo>
                <a:lnTo>
                  <a:pt x="1834271" y="1651048"/>
                </a:lnTo>
                <a:lnTo>
                  <a:pt x="1833943" y="1651767"/>
                </a:lnTo>
                <a:lnTo>
                  <a:pt x="1833431" y="1652753"/>
                </a:lnTo>
                <a:lnTo>
                  <a:pt x="1832713" y="1653898"/>
                </a:lnTo>
                <a:lnTo>
                  <a:pt x="1831860" y="1655116"/>
                </a:lnTo>
                <a:lnTo>
                  <a:pt x="1831154" y="1656090"/>
                </a:lnTo>
                <a:cubicBezTo>
                  <a:pt x="1830874" y="1656516"/>
                  <a:pt x="1830594" y="1656930"/>
                  <a:pt x="1830302" y="1657307"/>
                </a:cubicBezTo>
                <a:cubicBezTo>
                  <a:pt x="1830009" y="1657685"/>
                  <a:pt x="1829790" y="1658136"/>
                  <a:pt x="1829523" y="1658525"/>
                </a:cubicBezTo>
                <a:lnTo>
                  <a:pt x="1828804" y="1659865"/>
                </a:lnTo>
                <a:lnTo>
                  <a:pt x="1828512" y="1660461"/>
                </a:lnTo>
                <a:cubicBezTo>
                  <a:pt x="1828427" y="1660644"/>
                  <a:pt x="1828341" y="1660838"/>
                  <a:pt x="1828268" y="1661033"/>
                </a:cubicBezTo>
                <a:lnTo>
                  <a:pt x="1828049" y="1661594"/>
                </a:lnTo>
                <a:cubicBezTo>
                  <a:pt x="1827976" y="1661800"/>
                  <a:pt x="1827903" y="1662007"/>
                  <a:pt x="1827842" y="1662215"/>
                </a:cubicBezTo>
                <a:cubicBezTo>
                  <a:pt x="1827781" y="1662422"/>
                  <a:pt x="1827684" y="1662775"/>
                  <a:pt x="1827611" y="1663055"/>
                </a:cubicBezTo>
                <a:cubicBezTo>
                  <a:pt x="1827538" y="1663335"/>
                  <a:pt x="1827513" y="1663554"/>
                  <a:pt x="1827477" y="1663798"/>
                </a:cubicBezTo>
                <a:cubicBezTo>
                  <a:pt x="1827440" y="1664041"/>
                  <a:pt x="1827477" y="1664455"/>
                  <a:pt x="1827392" y="1664772"/>
                </a:cubicBezTo>
                <a:cubicBezTo>
                  <a:pt x="1827306" y="1665088"/>
                  <a:pt x="1827392" y="1665380"/>
                  <a:pt x="1827392" y="1665673"/>
                </a:cubicBezTo>
                <a:cubicBezTo>
                  <a:pt x="1827392" y="1665965"/>
                  <a:pt x="1827392" y="1666111"/>
                  <a:pt x="1827477" y="1666318"/>
                </a:cubicBezTo>
                <a:lnTo>
                  <a:pt x="1827659" y="1667122"/>
                </a:lnTo>
                <a:cubicBezTo>
                  <a:pt x="1827720" y="1667317"/>
                  <a:pt x="1827793" y="1667499"/>
                  <a:pt x="1827854" y="1667694"/>
                </a:cubicBezTo>
                <a:lnTo>
                  <a:pt x="1828025" y="1668096"/>
                </a:lnTo>
                <a:cubicBezTo>
                  <a:pt x="1828110" y="1668279"/>
                  <a:pt x="1828195" y="1668449"/>
                  <a:pt x="1828293" y="1668632"/>
                </a:cubicBezTo>
                <a:lnTo>
                  <a:pt x="1828670" y="1669277"/>
                </a:lnTo>
                <a:cubicBezTo>
                  <a:pt x="1828816" y="1669497"/>
                  <a:pt x="1828914" y="1669752"/>
                  <a:pt x="1828950" y="1670020"/>
                </a:cubicBezTo>
                <a:cubicBezTo>
                  <a:pt x="1828962" y="1670397"/>
                  <a:pt x="1828938" y="1670775"/>
                  <a:pt x="1828853" y="1671140"/>
                </a:cubicBezTo>
                <a:cubicBezTo>
                  <a:pt x="1828707" y="1671676"/>
                  <a:pt x="1828560" y="1672200"/>
                  <a:pt x="1828427" y="1672735"/>
                </a:cubicBezTo>
                <a:cubicBezTo>
                  <a:pt x="1828293" y="1673271"/>
                  <a:pt x="1828183" y="1673759"/>
                  <a:pt x="1828049" y="1674270"/>
                </a:cubicBezTo>
                <a:cubicBezTo>
                  <a:pt x="1827915" y="1674781"/>
                  <a:pt x="1827866" y="1675244"/>
                  <a:pt x="1827769" y="1675731"/>
                </a:cubicBezTo>
                <a:cubicBezTo>
                  <a:pt x="1827672" y="1676218"/>
                  <a:pt x="1827635" y="1676656"/>
                  <a:pt x="1827562" y="1677119"/>
                </a:cubicBezTo>
                <a:lnTo>
                  <a:pt x="1827453" y="1678337"/>
                </a:lnTo>
                <a:cubicBezTo>
                  <a:pt x="1827453" y="1678714"/>
                  <a:pt x="1827453" y="1679092"/>
                  <a:pt x="1827453" y="1679469"/>
                </a:cubicBezTo>
                <a:lnTo>
                  <a:pt x="1827562" y="1680821"/>
                </a:lnTo>
                <a:lnTo>
                  <a:pt x="1827745" y="1681734"/>
                </a:lnTo>
                <a:lnTo>
                  <a:pt x="1828000" y="1682514"/>
                </a:lnTo>
                <a:lnTo>
                  <a:pt x="1828329" y="1683220"/>
                </a:lnTo>
                <a:lnTo>
                  <a:pt x="1828901" y="1684084"/>
                </a:lnTo>
                <a:lnTo>
                  <a:pt x="1829388" y="1684620"/>
                </a:lnTo>
                <a:lnTo>
                  <a:pt x="1829961" y="1685131"/>
                </a:lnTo>
                <a:lnTo>
                  <a:pt x="1831373" y="1686033"/>
                </a:lnTo>
                <a:lnTo>
                  <a:pt x="1832591" y="1686580"/>
                </a:lnTo>
                <a:lnTo>
                  <a:pt x="1834759" y="1687262"/>
                </a:lnTo>
                <a:lnTo>
                  <a:pt x="1838022" y="1687896"/>
                </a:lnTo>
                <a:lnTo>
                  <a:pt x="1840457" y="1688261"/>
                </a:lnTo>
                <a:lnTo>
                  <a:pt x="1843903" y="1688906"/>
                </a:lnTo>
                <a:lnTo>
                  <a:pt x="1849675" y="1690440"/>
                </a:lnTo>
                <a:lnTo>
                  <a:pt x="1852244" y="1691305"/>
                </a:lnTo>
                <a:lnTo>
                  <a:pt x="1856896" y="1693131"/>
                </a:lnTo>
                <a:lnTo>
                  <a:pt x="1860866" y="1694909"/>
                </a:lnTo>
                <a:lnTo>
                  <a:pt x="1864616" y="1696298"/>
                </a:lnTo>
                <a:lnTo>
                  <a:pt x="1868488" y="1697162"/>
                </a:lnTo>
                <a:lnTo>
                  <a:pt x="1873213" y="1697662"/>
                </a:lnTo>
                <a:lnTo>
                  <a:pt x="1876866" y="1697759"/>
                </a:lnTo>
                <a:lnTo>
                  <a:pt x="1879302" y="1697759"/>
                </a:lnTo>
                <a:lnTo>
                  <a:pt x="1883685" y="1697515"/>
                </a:lnTo>
                <a:lnTo>
                  <a:pt x="1893001" y="1696480"/>
                </a:lnTo>
                <a:lnTo>
                  <a:pt x="1902316" y="1695153"/>
                </a:lnTo>
                <a:lnTo>
                  <a:pt x="1909622" y="1694082"/>
                </a:lnTo>
                <a:lnTo>
                  <a:pt x="1912252" y="1693704"/>
                </a:lnTo>
                <a:lnTo>
                  <a:pt x="1914687" y="1693351"/>
                </a:lnTo>
                <a:lnTo>
                  <a:pt x="1916465" y="1693095"/>
                </a:lnTo>
                <a:lnTo>
                  <a:pt x="1917439" y="1692961"/>
                </a:lnTo>
                <a:lnTo>
                  <a:pt x="1918657" y="1692791"/>
                </a:lnTo>
                <a:lnTo>
                  <a:pt x="1918949" y="1692791"/>
                </a:lnTo>
                <a:lnTo>
                  <a:pt x="1919412" y="1692730"/>
                </a:lnTo>
                <a:lnTo>
                  <a:pt x="1919169" y="1692986"/>
                </a:lnTo>
                <a:lnTo>
                  <a:pt x="1918949" y="1693229"/>
                </a:lnTo>
                <a:cubicBezTo>
                  <a:pt x="1918864" y="1693302"/>
                  <a:pt x="1918779" y="1693387"/>
                  <a:pt x="1918706" y="1693473"/>
                </a:cubicBezTo>
                <a:lnTo>
                  <a:pt x="1918487" y="1693692"/>
                </a:lnTo>
                <a:lnTo>
                  <a:pt x="1918487" y="1693692"/>
                </a:lnTo>
                <a:lnTo>
                  <a:pt x="1918121" y="1694057"/>
                </a:lnTo>
                <a:lnTo>
                  <a:pt x="1917586" y="1694569"/>
                </a:lnTo>
                <a:cubicBezTo>
                  <a:pt x="1917464" y="1694690"/>
                  <a:pt x="1917342" y="1694800"/>
                  <a:pt x="1917220" y="1694909"/>
                </a:cubicBezTo>
                <a:lnTo>
                  <a:pt x="1916782" y="1695299"/>
                </a:lnTo>
                <a:lnTo>
                  <a:pt x="1916441" y="1695604"/>
                </a:lnTo>
                <a:lnTo>
                  <a:pt x="1916088" y="1695908"/>
                </a:lnTo>
                <a:lnTo>
                  <a:pt x="1915856" y="1696091"/>
                </a:lnTo>
                <a:lnTo>
                  <a:pt x="1915516" y="1696371"/>
                </a:lnTo>
                <a:lnTo>
                  <a:pt x="1915065" y="1696724"/>
                </a:lnTo>
                <a:lnTo>
                  <a:pt x="1914541" y="1697113"/>
                </a:lnTo>
                <a:lnTo>
                  <a:pt x="1914152" y="1697393"/>
                </a:lnTo>
                <a:lnTo>
                  <a:pt x="1913324" y="1697978"/>
                </a:lnTo>
                <a:lnTo>
                  <a:pt x="1912739" y="1698355"/>
                </a:lnTo>
                <a:lnTo>
                  <a:pt x="1912349" y="1698611"/>
                </a:lnTo>
                <a:lnTo>
                  <a:pt x="1911960" y="1698855"/>
                </a:lnTo>
                <a:lnTo>
                  <a:pt x="1911521" y="1699110"/>
                </a:lnTo>
                <a:lnTo>
                  <a:pt x="1910961" y="1699439"/>
                </a:lnTo>
                <a:lnTo>
                  <a:pt x="1910486" y="1699695"/>
                </a:lnTo>
                <a:lnTo>
                  <a:pt x="1910109" y="1699902"/>
                </a:lnTo>
                <a:lnTo>
                  <a:pt x="1909817" y="1700048"/>
                </a:lnTo>
                <a:lnTo>
                  <a:pt x="1909476" y="1700231"/>
                </a:lnTo>
                <a:lnTo>
                  <a:pt x="1908989" y="1700474"/>
                </a:lnTo>
                <a:lnTo>
                  <a:pt x="1908368" y="1700779"/>
                </a:lnTo>
                <a:lnTo>
                  <a:pt x="1907953" y="1700961"/>
                </a:lnTo>
                <a:lnTo>
                  <a:pt x="1907540" y="1701156"/>
                </a:lnTo>
                <a:lnTo>
                  <a:pt x="1906943" y="1701424"/>
                </a:lnTo>
                <a:lnTo>
                  <a:pt x="1906078" y="1701802"/>
                </a:lnTo>
                <a:lnTo>
                  <a:pt x="1905311" y="1702118"/>
                </a:lnTo>
                <a:lnTo>
                  <a:pt x="1904337" y="1702495"/>
                </a:lnTo>
                <a:lnTo>
                  <a:pt x="1903241" y="1702934"/>
                </a:lnTo>
                <a:lnTo>
                  <a:pt x="1902462" y="1703226"/>
                </a:lnTo>
                <a:lnTo>
                  <a:pt x="1901086" y="1703750"/>
                </a:lnTo>
                <a:lnTo>
                  <a:pt x="1899564" y="1704334"/>
                </a:lnTo>
                <a:lnTo>
                  <a:pt x="1897859" y="1704992"/>
                </a:lnTo>
                <a:lnTo>
                  <a:pt x="1896836" y="1705381"/>
                </a:lnTo>
                <a:lnTo>
                  <a:pt x="1896434" y="1705528"/>
                </a:lnTo>
                <a:lnTo>
                  <a:pt x="1894742" y="1706185"/>
                </a:lnTo>
                <a:lnTo>
                  <a:pt x="1893755" y="1706563"/>
                </a:lnTo>
                <a:lnTo>
                  <a:pt x="1892891" y="1706904"/>
                </a:lnTo>
                <a:lnTo>
                  <a:pt x="1891795" y="1707330"/>
                </a:lnTo>
                <a:lnTo>
                  <a:pt x="1890736" y="1707732"/>
                </a:lnTo>
                <a:lnTo>
                  <a:pt x="1889980" y="1708024"/>
                </a:lnTo>
                <a:lnTo>
                  <a:pt x="1888763" y="1708499"/>
                </a:lnTo>
                <a:lnTo>
                  <a:pt x="1887862" y="1708840"/>
                </a:lnTo>
                <a:lnTo>
                  <a:pt x="1886401" y="1709412"/>
                </a:lnTo>
                <a:lnTo>
                  <a:pt x="1885353" y="1709826"/>
                </a:lnTo>
                <a:lnTo>
                  <a:pt x="1884404" y="1710203"/>
                </a:lnTo>
                <a:lnTo>
                  <a:pt x="1883295" y="1710630"/>
                </a:lnTo>
                <a:lnTo>
                  <a:pt x="1881615" y="1711300"/>
                </a:lnTo>
                <a:lnTo>
                  <a:pt x="1880215" y="1711847"/>
                </a:lnTo>
                <a:lnTo>
                  <a:pt x="1878997" y="1712359"/>
                </a:lnTo>
                <a:lnTo>
                  <a:pt x="1878035" y="1712736"/>
                </a:lnTo>
                <a:lnTo>
                  <a:pt x="1877645" y="1712894"/>
                </a:lnTo>
                <a:lnTo>
                  <a:pt x="1877256" y="1713041"/>
                </a:lnTo>
                <a:lnTo>
                  <a:pt x="1876963" y="1713163"/>
                </a:lnTo>
                <a:lnTo>
                  <a:pt x="1876659" y="1713296"/>
                </a:lnTo>
                <a:lnTo>
                  <a:pt x="1876391" y="1713394"/>
                </a:lnTo>
                <a:lnTo>
                  <a:pt x="1875989" y="1713565"/>
                </a:lnTo>
                <a:lnTo>
                  <a:pt x="1875466" y="1713796"/>
                </a:lnTo>
                <a:lnTo>
                  <a:pt x="1875113" y="1713954"/>
                </a:lnTo>
                <a:lnTo>
                  <a:pt x="1874406" y="1714271"/>
                </a:lnTo>
                <a:lnTo>
                  <a:pt x="1873785" y="1714575"/>
                </a:lnTo>
                <a:lnTo>
                  <a:pt x="1873396" y="1714758"/>
                </a:lnTo>
                <a:lnTo>
                  <a:pt x="1872714" y="1715087"/>
                </a:lnTo>
                <a:lnTo>
                  <a:pt x="1872251" y="1715305"/>
                </a:lnTo>
                <a:lnTo>
                  <a:pt x="1871533" y="1715634"/>
                </a:lnTo>
                <a:lnTo>
                  <a:pt x="1871094" y="1715829"/>
                </a:lnTo>
                <a:lnTo>
                  <a:pt x="1870632" y="1716024"/>
                </a:lnTo>
                <a:lnTo>
                  <a:pt x="1870023" y="1716256"/>
                </a:lnTo>
                <a:lnTo>
                  <a:pt x="1869450" y="1716462"/>
                </a:lnTo>
                <a:lnTo>
                  <a:pt x="1868939" y="1716633"/>
                </a:lnTo>
                <a:lnTo>
                  <a:pt x="1868391" y="1716816"/>
                </a:lnTo>
                <a:lnTo>
                  <a:pt x="1867758" y="1716998"/>
                </a:lnTo>
                <a:lnTo>
                  <a:pt x="1867295" y="1717132"/>
                </a:lnTo>
                <a:lnTo>
                  <a:pt x="1866443" y="1717327"/>
                </a:lnTo>
                <a:lnTo>
                  <a:pt x="1865980" y="1717412"/>
                </a:lnTo>
                <a:lnTo>
                  <a:pt x="1865225" y="1717522"/>
                </a:lnTo>
                <a:lnTo>
                  <a:pt x="1864872" y="1717522"/>
                </a:lnTo>
                <a:lnTo>
                  <a:pt x="1864324" y="1717522"/>
                </a:lnTo>
                <a:lnTo>
                  <a:pt x="1863959" y="1717522"/>
                </a:lnTo>
                <a:lnTo>
                  <a:pt x="1863545" y="1717522"/>
                </a:lnTo>
                <a:lnTo>
                  <a:pt x="1863313" y="1717522"/>
                </a:lnTo>
                <a:lnTo>
                  <a:pt x="1863082" y="1717522"/>
                </a:lnTo>
                <a:lnTo>
                  <a:pt x="1862826" y="1717522"/>
                </a:lnTo>
                <a:lnTo>
                  <a:pt x="1862473" y="1717436"/>
                </a:lnTo>
                <a:lnTo>
                  <a:pt x="1861937" y="1717266"/>
                </a:lnTo>
                <a:lnTo>
                  <a:pt x="1861535" y="1717096"/>
                </a:lnTo>
                <a:lnTo>
                  <a:pt x="1861207" y="1716925"/>
                </a:lnTo>
                <a:lnTo>
                  <a:pt x="1860878" y="1716718"/>
                </a:lnTo>
                <a:lnTo>
                  <a:pt x="1860537" y="1716475"/>
                </a:lnTo>
                <a:lnTo>
                  <a:pt x="1860281" y="1716256"/>
                </a:lnTo>
                <a:lnTo>
                  <a:pt x="1860026" y="1716024"/>
                </a:lnTo>
                <a:cubicBezTo>
                  <a:pt x="1859965" y="1715951"/>
                  <a:pt x="1859891" y="1715890"/>
                  <a:pt x="1859819" y="1715817"/>
                </a:cubicBezTo>
                <a:lnTo>
                  <a:pt x="1859648" y="1715634"/>
                </a:lnTo>
                <a:lnTo>
                  <a:pt x="1859465" y="1715415"/>
                </a:lnTo>
                <a:lnTo>
                  <a:pt x="1859331" y="1715257"/>
                </a:lnTo>
                <a:lnTo>
                  <a:pt x="1858893" y="1714782"/>
                </a:lnTo>
                <a:lnTo>
                  <a:pt x="1858260" y="1714210"/>
                </a:lnTo>
                <a:lnTo>
                  <a:pt x="1857554" y="1713662"/>
                </a:lnTo>
                <a:lnTo>
                  <a:pt x="1857091" y="1713358"/>
                </a:lnTo>
                <a:lnTo>
                  <a:pt x="1856738" y="1713138"/>
                </a:lnTo>
                <a:lnTo>
                  <a:pt x="1855971" y="1712712"/>
                </a:lnTo>
                <a:lnTo>
                  <a:pt x="1855167" y="1712359"/>
                </a:lnTo>
                <a:lnTo>
                  <a:pt x="1854327" y="1712042"/>
                </a:lnTo>
                <a:lnTo>
                  <a:pt x="1853791" y="1711884"/>
                </a:lnTo>
                <a:lnTo>
                  <a:pt x="1853365" y="1711774"/>
                </a:lnTo>
                <a:lnTo>
                  <a:pt x="1852890" y="1711677"/>
                </a:lnTo>
                <a:lnTo>
                  <a:pt x="1852281" y="1711592"/>
                </a:lnTo>
                <a:lnTo>
                  <a:pt x="1851696" y="1711592"/>
                </a:lnTo>
                <a:lnTo>
                  <a:pt x="1850929" y="1711592"/>
                </a:lnTo>
                <a:lnTo>
                  <a:pt x="1850272" y="1711592"/>
                </a:lnTo>
                <a:lnTo>
                  <a:pt x="1849639" y="1711592"/>
                </a:lnTo>
                <a:lnTo>
                  <a:pt x="1849030" y="1711592"/>
                </a:lnTo>
                <a:lnTo>
                  <a:pt x="1846704" y="1711592"/>
                </a:lnTo>
                <a:lnTo>
                  <a:pt x="1846351" y="1711592"/>
                </a:lnTo>
                <a:lnTo>
                  <a:pt x="1846095" y="1711592"/>
                </a:lnTo>
                <a:lnTo>
                  <a:pt x="1845730" y="1711592"/>
                </a:lnTo>
                <a:lnTo>
                  <a:pt x="1845547" y="1711592"/>
                </a:lnTo>
                <a:lnTo>
                  <a:pt x="1845255" y="1711592"/>
                </a:lnTo>
                <a:lnTo>
                  <a:pt x="1844865" y="1711519"/>
                </a:lnTo>
                <a:lnTo>
                  <a:pt x="1844573" y="1711458"/>
                </a:lnTo>
                <a:lnTo>
                  <a:pt x="1844329" y="1711397"/>
                </a:lnTo>
                <a:lnTo>
                  <a:pt x="1844025" y="1711312"/>
                </a:lnTo>
                <a:lnTo>
                  <a:pt x="1843636" y="1711190"/>
                </a:lnTo>
                <a:lnTo>
                  <a:pt x="1843319" y="1711080"/>
                </a:lnTo>
                <a:lnTo>
                  <a:pt x="1843039" y="1710959"/>
                </a:lnTo>
                <a:lnTo>
                  <a:pt x="1842856" y="1710874"/>
                </a:lnTo>
                <a:lnTo>
                  <a:pt x="1842661" y="1710776"/>
                </a:lnTo>
                <a:lnTo>
                  <a:pt x="1842503" y="1710691"/>
                </a:lnTo>
                <a:lnTo>
                  <a:pt x="1842284" y="1710557"/>
                </a:lnTo>
                <a:lnTo>
                  <a:pt x="1842138" y="1710459"/>
                </a:lnTo>
                <a:lnTo>
                  <a:pt x="1841943" y="1710325"/>
                </a:lnTo>
                <a:lnTo>
                  <a:pt x="1841846" y="1710252"/>
                </a:lnTo>
                <a:lnTo>
                  <a:pt x="1841626" y="1710070"/>
                </a:lnTo>
                <a:lnTo>
                  <a:pt x="1841480" y="1709936"/>
                </a:lnTo>
                <a:lnTo>
                  <a:pt x="1841297" y="1709765"/>
                </a:lnTo>
                <a:lnTo>
                  <a:pt x="1841151" y="1709619"/>
                </a:lnTo>
                <a:lnTo>
                  <a:pt x="1841030" y="1709473"/>
                </a:lnTo>
                <a:lnTo>
                  <a:pt x="1840896" y="1709303"/>
                </a:lnTo>
                <a:lnTo>
                  <a:pt x="1840774" y="1709132"/>
                </a:lnTo>
                <a:cubicBezTo>
                  <a:pt x="1840737" y="1709096"/>
                  <a:pt x="1840713" y="1709059"/>
                  <a:pt x="1840689" y="1709010"/>
                </a:cubicBezTo>
                <a:lnTo>
                  <a:pt x="1840591" y="1708852"/>
                </a:lnTo>
                <a:lnTo>
                  <a:pt x="1840494" y="1708694"/>
                </a:lnTo>
                <a:lnTo>
                  <a:pt x="1840421" y="1708560"/>
                </a:lnTo>
                <a:lnTo>
                  <a:pt x="1840348" y="1708426"/>
                </a:lnTo>
                <a:lnTo>
                  <a:pt x="1840348" y="1708304"/>
                </a:lnTo>
                <a:lnTo>
                  <a:pt x="1840348" y="1708182"/>
                </a:lnTo>
                <a:lnTo>
                  <a:pt x="1840250" y="1707963"/>
                </a:lnTo>
                <a:lnTo>
                  <a:pt x="1840177" y="1707768"/>
                </a:lnTo>
                <a:lnTo>
                  <a:pt x="1840104" y="1707549"/>
                </a:lnTo>
                <a:cubicBezTo>
                  <a:pt x="1840104" y="1707476"/>
                  <a:pt x="1840104" y="1707415"/>
                  <a:pt x="1840104" y="1707342"/>
                </a:cubicBezTo>
                <a:lnTo>
                  <a:pt x="1840104" y="1707196"/>
                </a:lnTo>
                <a:lnTo>
                  <a:pt x="1840104" y="1707099"/>
                </a:lnTo>
                <a:cubicBezTo>
                  <a:pt x="1840104" y="1707038"/>
                  <a:pt x="1840104" y="1706965"/>
                  <a:pt x="1840104" y="1706904"/>
                </a:cubicBezTo>
                <a:cubicBezTo>
                  <a:pt x="1840104" y="1706867"/>
                  <a:pt x="1840104" y="1706830"/>
                  <a:pt x="1840104" y="1706794"/>
                </a:cubicBezTo>
                <a:cubicBezTo>
                  <a:pt x="1840104" y="1706734"/>
                  <a:pt x="1840104" y="1706672"/>
                  <a:pt x="1840104" y="1706612"/>
                </a:cubicBezTo>
                <a:lnTo>
                  <a:pt x="1840104" y="1706441"/>
                </a:lnTo>
                <a:cubicBezTo>
                  <a:pt x="1840104" y="1706392"/>
                  <a:pt x="1840104" y="1706332"/>
                  <a:pt x="1840104" y="1706283"/>
                </a:cubicBezTo>
                <a:cubicBezTo>
                  <a:pt x="1840104" y="1706222"/>
                  <a:pt x="1840104" y="1706161"/>
                  <a:pt x="1840104" y="1706100"/>
                </a:cubicBezTo>
                <a:lnTo>
                  <a:pt x="1839848" y="1706100"/>
                </a:lnTo>
                <a:lnTo>
                  <a:pt x="1839642" y="1706161"/>
                </a:lnTo>
                <a:lnTo>
                  <a:pt x="1839264" y="1706258"/>
                </a:lnTo>
                <a:lnTo>
                  <a:pt x="1838935" y="1706356"/>
                </a:lnTo>
                <a:lnTo>
                  <a:pt x="1838594" y="1706477"/>
                </a:lnTo>
                <a:lnTo>
                  <a:pt x="1838302" y="1706575"/>
                </a:lnTo>
                <a:lnTo>
                  <a:pt x="1838107" y="1706648"/>
                </a:lnTo>
                <a:lnTo>
                  <a:pt x="1837876" y="1706734"/>
                </a:lnTo>
                <a:lnTo>
                  <a:pt x="1837669" y="1706819"/>
                </a:lnTo>
                <a:lnTo>
                  <a:pt x="1837401" y="1706940"/>
                </a:lnTo>
                <a:lnTo>
                  <a:pt x="1837036" y="1707110"/>
                </a:lnTo>
                <a:lnTo>
                  <a:pt x="1836816" y="1707208"/>
                </a:lnTo>
                <a:lnTo>
                  <a:pt x="1836549" y="1707354"/>
                </a:lnTo>
                <a:lnTo>
                  <a:pt x="1836256" y="1707512"/>
                </a:lnTo>
                <a:lnTo>
                  <a:pt x="1836013" y="1707659"/>
                </a:lnTo>
                <a:lnTo>
                  <a:pt x="1835721" y="1707841"/>
                </a:lnTo>
                <a:lnTo>
                  <a:pt x="1835513" y="1707975"/>
                </a:lnTo>
                <a:lnTo>
                  <a:pt x="1835270" y="1708146"/>
                </a:lnTo>
                <a:lnTo>
                  <a:pt x="1835026" y="1708316"/>
                </a:lnTo>
                <a:lnTo>
                  <a:pt x="1834637" y="1708633"/>
                </a:lnTo>
                <a:lnTo>
                  <a:pt x="1834186" y="1709023"/>
                </a:lnTo>
                <a:lnTo>
                  <a:pt x="1833638" y="1709546"/>
                </a:lnTo>
                <a:cubicBezTo>
                  <a:pt x="1833504" y="1709705"/>
                  <a:pt x="1833358" y="1709850"/>
                  <a:pt x="1833224" y="1709997"/>
                </a:cubicBezTo>
                <a:lnTo>
                  <a:pt x="1832481" y="1710898"/>
                </a:lnTo>
                <a:lnTo>
                  <a:pt x="1832104" y="1711397"/>
                </a:lnTo>
                <a:lnTo>
                  <a:pt x="1831605" y="1712116"/>
                </a:lnTo>
                <a:lnTo>
                  <a:pt x="1830874" y="1713199"/>
                </a:lnTo>
                <a:lnTo>
                  <a:pt x="1830460" y="1713820"/>
                </a:lnTo>
                <a:lnTo>
                  <a:pt x="1829912" y="1714648"/>
                </a:lnTo>
                <a:lnTo>
                  <a:pt x="1829608" y="1715087"/>
                </a:lnTo>
                <a:lnTo>
                  <a:pt x="1829242" y="1715622"/>
                </a:lnTo>
                <a:lnTo>
                  <a:pt x="1828804" y="1716243"/>
                </a:lnTo>
                <a:lnTo>
                  <a:pt x="1828427" y="1716779"/>
                </a:lnTo>
                <a:cubicBezTo>
                  <a:pt x="1828280" y="1716962"/>
                  <a:pt x="1828147" y="1717156"/>
                  <a:pt x="1828013" y="1717339"/>
                </a:cubicBezTo>
                <a:cubicBezTo>
                  <a:pt x="1827879" y="1717522"/>
                  <a:pt x="1827769" y="1717668"/>
                  <a:pt x="1827635" y="1717826"/>
                </a:cubicBezTo>
                <a:lnTo>
                  <a:pt x="1827318" y="1718240"/>
                </a:lnTo>
                <a:lnTo>
                  <a:pt x="1826880" y="1718788"/>
                </a:lnTo>
                <a:lnTo>
                  <a:pt x="1826734" y="1718959"/>
                </a:lnTo>
                <a:lnTo>
                  <a:pt x="1826551" y="1719166"/>
                </a:lnTo>
                <a:lnTo>
                  <a:pt x="1826344" y="1719397"/>
                </a:lnTo>
                <a:lnTo>
                  <a:pt x="1826162" y="1719604"/>
                </a:lnTo>
                <a:lnTo>
                  <a:pt x="1826040" y="1719738"/>
                </a:lnTo>
                <a:cubicBezTo>
                  <a:pt x="1825955" y="1719836"/>
                  <a:pt x="1825857" y="1719921"/>
                  <a:pt x="1825772" y="1720006"/>
                </a:cubicBezTo>
                <a:lnTo>
                  <a:pt x="1825577" y="1720213"/>
                </a:lnTo>
                <a:lnTo>
                  <a:pt x="1825261" y="1720517"/>
                </a:lnTo>
                <a:lnTo>
                  <a:pt x="1825042" y="1720713"/>
                </a:lnTo>
                <a:lnTo>
                  <a:pt x="1824810" y="1720919"/>
                </a:lnTo>
                <a:lnTo>
                  <a:pt x="1824652" y="1721053"/>
                </a:lnTo>
                <a:lnTo>
                  <a:pt x="1824408" y="1721248"/>
                </a:lnTo>
                <a:lnTo>
                  <a:pt x="1824128" y="1721455"/>
                </a:lnTo>
                <a:lnTo>
                  <a:pt x="1823872" y="1721650"/>
                </a:lnTo>
                <a:lnTo>
                  <a:pt x="1823568" y="1721857"/>
                </a:lnTo>
                <a:lnTo>
                  <a:pt x="1823300" y="1722027"/>
                </a:lnTo>
                <a:lnTo>
                  <a:pt x="1823069" y="1722161"/>
                </a:lnTo>
                <a:lnTo>
                  <a:pt x="1822837" y="1722295"/>
                </a:lnTo>
                <a:lnTo>
                  <a:pt x="1822691" y="1722368"/>
                </a:lnTo>
                <a:lnTo>
                  <a:pt x="1822533" y="1722442"/>
                </a:lnTo>
                <a:lnTo>
                  <a:pt x="1822326" y="1722551"/>
                </a:lnTo>
                <a:lnTo>
                  <a:pt x="1822180" y="1722624"/>
                </a:lnTo>
                <a:lnTo>
                  <a:pt x="1821875" y="1722758"/>
                </a:lnTo>
                <a:lnTo>
                  <a:pt x="1821559" y="1722892"/>
                </a:lnTo>
                <a:lnTo>
                  <a:pt x="1821230" y="1723013"/>
                </a:lnTo>
                <a:lnTo>
                  <a:pt x="1820877" y="1723148"/>
                </a:lnTo>
                <a:lnTo>
                  <a:pt x="1820000" y="1723415"/>
                </a:lnTo>
                <a:lnTo>
                  <a:pt x="1819696" y="1723500"/>
                </a:lnTo>
                <a:lnTo>
                  <a:pt x="1818965" y="1723684"/>
                </a:lnTo>
                <a:lnTo>
                  <a:pt x="1818186" y="1723854"/>
                </a:lnTo>
                <a:lnTo>
                  <a:pt x="1817638" y="1723964"/>
                </a:lnTo>
                <a:lnTo>
                  <a:pt x="1816773" y="1724122"/>
                </a:lnTo>
                <a:lnTo>
                  <a:pt x="1816006" y="1724244"/>
                </a:lnTo>
                <a:lnTo>
                  <a:pt x="1815203" y="1724366"/>
                </a:lnTo>
                <a:lnTo>
                  <a:pt x="1814594" y="1724462"/>
                </a:lnTo>
                <a:lnTo>
                  <a:pt x="1813973" y="1724548"/>
                </a:lnTo>
                <a:lnTo>
                  <a:pt x="1813218" y="1724646"/>
                </a:lnTo>
                <a:lnTo>
                  <a:pt x="1812609" y="1724731"/>
                </a:lnTo>
                <a:lnTo>
                  <a:pt x="1811927" y="1724816"/>
                </a:lnTo>
                <a:lnTo>
                  <a:pt x="1811050" y="1724938"/>
                </a:lnTo>
                <a:lnTo>
                  <a:pt x="1810295" y="1725023"/>
                </a:lnTo>
                <a:lnTo>
                  <a:pt x="1809479" y="1725120"/>
                </a:lnTo>
                <a:lnTo>
                  <a:pt x="1808968" y="1725120"/>
                </a:lnTo>
                <a:lnTo>
                  <a:pt x="1808408" y="1725120"/>
                </a:lnTo>
                <a:lnTo>
                  <a:pt x="1807726" y="1725120"/>
                </a:lnTo>
                <a:lnTo>
                  <a:pt x="1806983" y="1725120"/>
                </a:lnTo>
                <a:lnTo>
                  <a:pt x="1806179" y="1725120"/>
                </a:lnTo>
                <a:lnTo>
                  <a:pt x="1805108" y="1725120"/>
                </a:lnTo>
                <a:lnTo>
                  <a:pt x="1804097" y="1725120"/>
                </a:lnTo>
                <a:lnTo>
                  <a:pt x="1803318" y="1725059"/>
                </a:lnTo>
                <a:lnTo>
                  <a:pt x="1802441" y="1724962"/>
                </a:lnTo>
                <a:lnTo>
                  <a:pt x="1801504" y="1724853"/>
                </a:lnTo>
                <a:lnTo>
                  <a:pt x="1800481" y="1724706"/>
                </a:lnTo>
                <a:lnTo>
                  <a:pt x="1799202" y="1724499"/>
                </a:lnTo>
                <a:lnTo>
                  <a:pt x="1798167" y="1724317"/>
                </a:lnTo>
                <a:lnTo>
                  <a:pt x="1797412" y="1724171"/>
                </a:lnTo>
                <a:lnTo>
                  <a:pt x="1796499" y="1723988"/>
                </a:lnTo>
                <a:lnTo>
                  <a:pt x="1795634" y="1723817"/>
                </a:lnTo>
                <a:lnTo>
                  <a:pt x="1794672" y="1723635"/>
                </a:lnTo>
                <a:lnTo>
                  <a:pt x="1793942" y="1723489"/>
                </a:lnTo>
                <a:lnTo>
                  <a:pt x="1793114" y="1723342"/>
                </a:lnTo>
                <a:lnTo>
                  <a:pt x="1791713" y="1723099"/>
                </a:lnTo>
                <a:lnTo>
                  <a:pt x="1791165" y="1723013"/>
                </a:lnTo>
                <a:lnTo>
                  <a:pt x="1790325" y="1722892"/>
                </a:lnTo>
                <a:cubicBezTo>
                  <a:pt x="1790155" y="1722892"/>
                  <a:pt x="1789205" y="1722758"/>
                  <a:pt x="1789205" y="1722758"/>
                </a:cubicBezTo>
                <a:lnTo>
                  <a:pt x="1788730" y="1722758"/>
                </a:lnTo>
                <a:lnTo>
                  <a:pt x="1787683" y="1722673"/>
                </a:lnTo>
                <a:lnTo>
                  <a:pt x="1786891" y="1722673"/>
                </a:lnTo>
                <a:lnTo>
                  <a:pt x="1786624" y="1722673"/>
                </a:lnTo>
                <a:cubicBezTo>
                  <a:pt x="1786502" y="1722673"/>
                  <a:pt x="1786404" y="1722563"/>
                  <a:pt x="1786404" y="1722539"/>
                </a:cubicBezTo>
                <a:lnTo>
                  <a:pt x="1786404" y="1722539"/>
                </a:lnTo>
                <a:lnTo>
                  <a:pt x="1786185" y="1722295"/>
                </a:lnTo>
                <a:lnTo>
                  <a:pt x="1785905" y="1721991"/>
                </a:lnTo>
                <a:cubicBezTo>
                  <a:pt x="1785832" y="1721930"/>
                  <a:pt x="1785771" y="1721857"/>
                  <a:pt x="1785710" y="1721796"/>
                </a:cubicBezTo>
                <a:lnTo>
                  <a:pt x="1785467" y="1721553"/>
                </a:lnTo>
                <a:cubicBezTo>
                  <a:pt x="1785260" y="1721370"/>
                  <a:pt x="1785053" y="1721163"/>
                  <a:pt x="1784846" y="1720968"/>
                </a:cubicBezTo>
                <a:lnTo>
                  <a:pt x="1784371" y="1720566"/>
                </a:lnTo>
                <a:lnTo>
                  <a:pt x="1783689" y="1720006"/>
                </a:lnTo>
                <a:lnTo>
                  <a:pt x="1783117" y="1719580"/>
                </a:lnTo>
                <a:lnTo>
                  <a:pt x="1782349" y="1719032"/>
                </a:lnTo>
                <a:lnTo>
                  <a:pt x="1781838" y="1718691"/>
                </a:lnTo>
                <a:lnTo>
                  <a:pt x="1781071" y="1718216"/>
                </a:lnTo>
                <a:lnTo>
                  <a:pt x="1780450" y="1717851"/>
                </a:lnTo>
                <a:lnTo>
                  <a:pt x="1779403" y="1717278"/>
                </a:lnTo>
                <a:lnTo>
                  <a:pt x="1778769" y="1716949"/>
                </a:lnTo>
                <a:lnTo>
                  <a:pt x="1777381" y="1716292"/>
                </a:lnTo>
                <a:lnTo>
                  <a:pt x="1776164" y="1715744"/>
                </a:lnTo>
                <a:lnTo>
                  <a:pt x="1774775" y="1715184"/>
                </a:lnTo>
                <a:lnTo>
                  <a:pt x="1773205" y="1714600"/>
                </a:lnTo>
                <a:lnTo>
                  <a:pt x="1772121" y="1714222"/>
                </a:lnTo>
                <a:lnTo>
                  <a:pt x="1771573" y="1714040"/>
                </a:lnTo>
                <a:lnTo>
                  <a:pt x="1770355" y="1713638"/>
                </a:lnTo>
                <a:lnTo>
                  <a:pt x="1769856" y="1713479"/>
                </a:lnTo>
                <a:lnTo>
                  <a:pt x="1769077" y="1713236"/>
                </a:lnTo>
                <a:lnTo>
                  <a:pt x="1767956" y="1712883"/>
                </a:lnTo>
                <a:lnTo>
                  <a:pt x="1766739" y="1712529"/>
                </a:lnTo>
                <a:lnTo>
                  <a:pt x="1765898" y="1712261"/>
                </a:lnTo>
                <a:lnTo>
                  <a:pt x="1765071" y="1712018"/>
                </a:lnTo>
                <a:lnTo>
                  <a:pt x="1764340" y="1711799"/>
                </a:lnTo>
                <a:lnTo>
                  <a:pt x="1763634" y="1711580"/>
                </a:lnTo>
                <a:lnTo>
                  <a:pt x="1763061" y="1711409"/>
                </a:lnTo>
                <a:lnTo>
                  <a:pt x="1762416" y="1711214"/>
                </a:lnTo>
                <a:lnTo>
                  <a:pt x="1761466" y="1710910"/>
                </a:lnTo>
                <a:lnTo>
                  <a:pt x="1760784" y="1710691"/>
                </a:lnTo>
                <a:lnTo>
                  <a:pt x="1759725" y="1710350"/>
                </a:lnTo>
                <a:lnTo>
                  <a:pt x="1758812" y="1710033"/>
                </a:lnTo>
                <a:lnTo>
                  <a:pt x="1757923" y="1709729"/>
                </a:lnTo>
                <a:lnTo>
                  <a:pt x="1757107" y="1709436"/>
                </a:lnTo>
                <a:lnTo>
                  <a:pt x="1756340" y="1709144"/>
                </a:lnTo>
                <a:lnTo>
                  <a:pt x="1755621" y="1708864"/>
                </a:lnTo>
                <a:lnTo>
                  <a:pt x="1754513" y="1708401"/>
                </a:lnTo>
                <a:lnTo>
                  <a:pt x="1753953" y="1708170"/>
                </a:lnTo>
                <a:lnTo>
                  <a:pt x="1753356" y="1707902"/>
                </a:lnTo>
                <a:lnTo>
                  <a:pt x="1752796" y="1707634"/>
                </a:lnTo>
                <a:lnTo>
                  <a:pt x="1752151" y="1707330"/>
                </a:lnTo>
                <a:lnTo>
                  <a:pt x="1751481" y="1706977"/>
                </a:lnTo>
                <a:lnTo>
                  <a:pt x="1750714" y="1706563"/>
                </a:lnTo>
                <a:lnTo>
                  <a:pt x="1750056" y="1706197"/>
                </a:lnTo>
                <a:cubicBezTo>
                  <a:pt x="1749849" y="1706063"/>
                  <a:pt x="1749642" y="1705930"/>
                  <a:pt x="1749423" y="1705808"/>
                </a:cubicBezTo>
                <a:lnTo>
                  <a:pt x="1748875" y="1705455"/>
                </a:lnTo>
                <a:lnTo>
                  <a:pt x="1748230" y="1705016"/>
                </a:lnTo>
                <a:lnTo>
                  <a:pt x="1747999" y="1704846"/>
                </a:lnTo>
                <a:lnTo>
                  <a:pt x="1747767" y="1704675"/>
                </a:lnTo>
                <a:lnTo>
                  <a:pt x="1747584" y="1704541"/>
                </a:lnTo>
                <a:lnTo>
                  <a:pt x="1747390" y="1704395"/>
                </a:lnTo>
                <a:lnTo>
                  <a:pt x="1747170" y="1704225"/>
                </a:lnTo>
                <a:lnTo>
                  <a:pt x="1746890" y="1704006"/>
                </a:lnTo>
                <a:lnTo>
                  <a:pt x="1746586" y="1703750"/>
                </a:lnTo>
                <a:lnTo>
                  <a:pt x="1746282" y="1703519"/>
                </a:lnTo>
                <a:lnTo>
                  <a:pt x="1746050" y="1703372"/>
                </a:lnTo>
                <a:lnTo>
                  <a:pt x="1745758" y="1703202"/>
                </a:lnTo>
                <a:lnTo>
                  <a:pt x="1745295" y="1702970"/>
                </a:lnTo>
                <a:lnTo>
                  <a:pt x="1745027" y="1702837"/>
                </a:lnTo>
                <a:lnTo>
                  <a:pt x="1744674" y="1702654"/>
                </a:lnTo>
                <a:lnTo>
                  <a:pt x="1744333" y="1702484"/>
                </a:lnTo>
                <a:lnTo>
                  <a:pt x="1744029" y="1702325"/>
                </a:lnTo>
                <a:lnTo>
                  <a:pt x="1743797" y="1702179"/>
                </a:lnTo>
                <a:lnTo>
                  <a:pt x="1743603" y="1702045"/>
                </a:lnTo>
                <a:lnTo>
                  <a:pt x="1743444" y="1701911"/>
                </a:lnTo>
                <a:lnTo>
                  <a:pt x="1743298" y="1701790"/>
                </a:lnTo>
                <a:lnTo>
                  <a:pt x="1743128" y="1701595"/>
                </a:lnTo>
                <a:lnTo>
                  <a:pt x="1743128" y="1701510"/>
                </a:lnTo>
                <a:lnTo>
                  <a:pt x="1743055" y="1701375"/>
                </a:lnTo>
                <a:lnTo>
                  <a:pt x="1743055" y="1701241"/>
                </a:lnTo>
                <a:lnTo>
                  <a:pt x="1743055" y="1701095"/>
                </a:lnTo>
                <a:lnTo>
                  <a:pt x="1743055" y="1700864"/>
                </a:lnTo>
                <a:lnTo>
                  <a:pt x="1742945" y="1700364"/>
                </a:lnTo>
                <a:lnTo>
                  <a:pt x="1742836" y="1699926"/>
                </a:lnTo>
                <a:lnTo>
                  <a:pt x="1742653" y="1699281"/>
                </a:lnTo>
                <a:cubicBezTo>
                  <a:pt x="1742555" y="1699025"/>
                  <a:pt x="1742458" y="1698782"/>
                  <a:pt x="1742373" y="1698538"/>
                </a:cubicBezTo>
                <a:lnTo>
                  <a:pt x="1742093" y="1697917"/>
                </a:lnTo>
                <a:cubicBezTo>
                  <a:pt x="1742093" y="1697795"/>
                  <a:pt x="1741971" y="1697662"/>
                  <a:pt x="1741898" y="1697540"/>
                </a:cubicBezTo>
                <a:lnTo>
                  <a:pt x="1741715" y="1697199"/>
                </a:lnTo>
                <a:cubicBezTo>
                  <a:pt x="1741630" y="1697065"/>
                  <a:pt x="1741545" y="1696931"/>
                  <a:pt x="1741472" y="1696797"/>
                </a:cubicBezTo>
                <a:lnTo>
                  <a:pt x="1741253" y="1696468"/>
                </a:lnTo>
                <a:lnTo>
                  <a:pt x="1740826" y="1695871"/>
                </a:lnTo>
                <a:lnTo>
                  <a:pt x="1740242" y="1695189"/>
                </a:lnTo>
                <a:lnTo>
                  <a:pt x="1739767" y="1694690"/>
                </a:lnTo>
                <a:lnTo>
                  <a:pt x="1739316" y="1694252"/>
                </a:lnTo>
                <a:lnTo>
                  <a:pt x="1738866" y="1693850"/>
                </a:lnTo>
                <a:lnTo>
                  <a:pt x="1738562" y="1693595"/>
                </a:lnTo>
                <a:lnTo>
                  <a:pt x="1738306" y="1693387"/>
                </a:lnTo>
                <a:lnTo>
                  <a:pt x="1738135" y="1693253"/>
                </a:lnTo>
                <a:lnTo>
                  <a:pt x="1737831" y="1693035"/>
                </a:lnTo>
                <a:lnTo>
                  <a:pt x="1737551" y="1692827"/>
                </a:lnTo>
                <a:lnTo>
                  <a:pt x="1737271" y="1692620"/>
                </a:lnTo>
                <a:lnTo>
                  <a:pt x="1736662" y="1692218"/>
                </a:lnTo>
                <a:cubicBezTo>
                  <a:pt x="1736370" y="1692048"/>
                  <a:pt x="1736090" y="1691865"/>
                  <a:pt x="1735810" y="1691682"/>
                </a:cubicBezTo>
                <a:cubicBezTo>
                  <a:pt x="1735530" y="1691500"/>
                  <a:pt x="1735103" y="1691293"/>
                  <a:pt x="1734762" y="1691086"/>
                </a:cubicBezTo>
                <a:lnTo>
                  <a:pt x="1733934" y="1690647"/>
                </a:lnTo>
                <a:lnTo>
                  <a:pt x="1733045" y="1690185"/>
                </a:lnTo>
                <a:lnTo>
                  <a:pt x="1731487" y="1689418"/>
                </a:lnTo>
                <a:lnTo>
                  <a:pt x="1730001" y="1688711"/>
                </a:lnTo>
                <a:lnTo>
                  <a:pt x="1728783" y="1688139"/>
                </a:lnTo>
                <a:lnTo>
                  <a:pt x="1727992" y="1687762"/>
                </a:lnTo>
                <a:lnTo>
                  <a:pt x="1727359" y="1687445"/>
                </a:lnTo>
                <a:lnTo>
                  <a:pt x="1726141" y="1686824"/>
                </a:lnTo>
                <a:cubicBezTo>
                  <a:pt x="1725544" y="1686520"/>
                  <a:pt x="1724217" y="1685716"/>
                  <a:pt x="1724205" y="1685716"/>
                </a:cubicBezTo>
                <a:cubicBezTo>
                  <a:pt x="1723767" y="1685460"/>
                  <a:pt x="1722829" y="1684803"/>
                  <a:pt x="1722829" y="1684815"/>
                </a:cubicBezTo>
                <a:lnTo>
                  <a:pt x="1721380" y="1683719"/>
                </a:lnTo>
                <a:lnTo>
                  <a:pt x="1719042" y="1681929"/>
                </a:lnTo>
                <a:lnTo>
                  <a:pt x="1716996" y="1680334"/>
                </a:lnTo>
                <a:lnTo>
                  <a:pt x="1714147" y="1678118"/>
                </a:lnTo>
                <a:lnTo>
                  <a:pt x="1712929" y="1677156"/>
                </a:lnTo>
                <a:lnTo>
                  <a:pt x="1711639" y="1676133"/>
                </a:lnTo>
                <a:lnTo>
                  <a:pt x="1710421" y="1675183"/>
                </a:lnTo>
                <a:lnTo>
                  <a:pt x="1709702" y="1674611"/>
                </a:lnTo>
                <a:cubicBezTo>
                  <a:pt x="1709568" y="1674489"/>
                  <a:pt x="1709434" y="1674355"/>
                  <a:pt x="1709313" y="1674221"/>
                </a:cubicBezTo>
                <a:cubicBezTo>
                  <a:pt x="1709057" y="1673880"/>
                  <a:pt x="1708436" y="1672808"/>
                  <a:pt x="1708436" y="1672821"/>
                </a:cubicBezTo>
                <a:cubicBezTo>
                  <a:pt x="1708290" y="1672541"/>
                  <a:pt x="1708095" y="1672297"/>
                  <a:pt x="1707851" y="1672090"/>
                </a:cubicBezTo>
                <a:lnTo>
                  <a:pt x="1707048" y="1671311"/>
                </a:lnTo>
                <a:cubicBezTo>
                  <a:pt x="1705221" y="1669484"/>
                  <a:pt x="1703383" y="1667670"/>
                  <a:pt x="1701544" y="1665855"/>
                </a:cubicBezTo>
                <a:lnTo>
                  <a:pt x="1695212" y="1659670"/>
                </a:lnTo>
                <a:lnTo>
                  <a:pt x="1692776" y="1657332"/>
                </a:lnTo>
                <a:lnTo>
                  <a:pt x="1690244" y="1655018"/>
                </a:lnTo>
                <a:lnTo>
                  <a:pt x="1687528" y="1652583"/>
                </a:lnTo>
                <a:cubicBezTo>
                  <a:pt x="1686493" y="1651633"/>
                  <a:pt x="1685349" y="1650817"/>
                  <a:pt x="1684119" y="1650147"/>
                </a:cubicBezTo>
                <a:cubicBezTo>
                  <a:pt x="1682329" y="1649332"/>
                  <a:pt x="1680295" y="1649174"/>
                  <a:pt x="1678396" y="1649709"/>
                </a:cubicBezTo>
                <a:cubicBezTo>
                  <a:pt x="1676971" y="1650135"/>
                  <a:pt x="1675595" y="1650720"/>
                  <a:pt x="1674292" y="1651450"/>
                </a:cubicBezTo>
                <a:cubicBezTo>
                  <a:pt x="1673172" y="1652230"/>
                  <a:pt x="1671893" y="1652778"/>
                  <a:pt x="1670554" y="1653058"/>
                </a:cubicBezTo>
                <a:cubicBezTo>
                  <a:pt x="1669251" y="1653216"/>
                  <a:pt x="1667924" y="1653094"/>
                  <a:pt x="1666669" y="1652705"/>
                </a:cubicBezTo>
                <a:cubicBezTo>
                  <a:pt x="1665561" y="1652303"/>
                  <a:pt x="1664502" y="1651755"/>
                  <a:pt x="1663540" y="1651073"/>
                </a:cubicBezTo>
                <a:lnTo>
                  <a:pt x="1661007" y="1649064"/>
                </a:lnTo>
                <a:cubicBezTo>
                  <a:pt x="1660033" y="1648187"/>
                  <a:pt x="1659047" y="1647323"/>
                  <a:pt x="1658060" y="1646458"/>
                </a:cubicBezTo>
                <a:lnTo>
                  <a:pt x="1654590" y="1643304"/>
                </a:lnTo>
                <a:lnTo>
                  <a:pt x="1650937" y="1639919"/>
                </a:lnTo>
                <a:lnTo>
                  <a:pt x="1646468" y="1635986"/>
                </a:lnTo>
                <a:lnTo>
                  <a:pt x="1643034" y="1633185"/>
                </a:lnTo>
                <a:lnTo>
                  <a:pt x="1639649" y="1630591"/>
                </a:lnTo>
                <a:lnTo>
                  <a:pt x="1635314" y="1627474"/>
                </a:lnTo>
                <a:cubicBezTo>
                  <a:pt x="1634376" y="1626829"/>
                  <a:pt x="1633439" y="1626196"/>
                  <a:pt x="1632501" y="1625538"/>
                </a:cubicBezTo>
                <a:lnTo>
                  <a:pt x="1629968" y="1623833"/>
                </a:lnTo>
                <a:lnTo>
                  <a:pt x="1629128" y="1623273"/>
                </a:lnTo>
                <a:lnTo>
                  <a:pt x="1628044" y="1622555"/>
                </a:lnTo>
                <a:lnTo>
                  <a:pt x="1626827" y="1621727"/>
                </a:lnTo>
                <a:lnTo>
                  <a:pt x="1625767" y="1621045"/>
                </a:lnTo>
                <a:lnTo>
                  <a:pt x="1624854" y="1620521"/>
                </a:lnTo>
                <a:lnTo>
                  <a:pt x="1624099" y="1620083"/>
                </a:lnTo>
                <a:lnTo>
                  <a:pt x="1623259" y="1619498"/>
                </a:lnTo>
                <a:lnTo>
                  <a:pt x="1622674" y="1618950"/>
                </a:lnTo>
                <a:cubicBezTo>
                  <a:pt x="1622504" y="1618646"/>
                  <a:pt x="1622321" y="1618341"/>
                  <a:pt x="1622139" y="1618037"/>
                </a:cubicBezTo>
                <a:lnTo>
                  <a:pt x="1621993" y="1616953"/>
                </a:lnTo>
                <a:cubicBezTo>
                  <a:pt x="1622066" y="1616564"/>
                  <a:pt x="1622139" y="1616174"/>
                  <a:pt x="1622200" y="1615735"/>
                </a:cubicBezTo>
                <a:cubicBezTo>
                  <a:pt x="1622260" y="1615297"/>
                  <a:pt x="1622455" y="1614822"/>
                  <a:pt x="1622577" y="1614372"/>
                </a:cubicBezTo>
                <a:cubicBezTo>
                  <a:pt x="1622699" y="1613921"/>
                  <a:pt x="1622711" y="1613154"/>
                  <a:pt x="1622772" y="1612619"/>
                </a:cubicBezTo>
                <a:lnTo>
                  <a:pt x="1622662" y="1611108"/>
                </a:lnTo>
                <a:cubicBezTo>
                  <a:pt x="1622528" y="1610633"/>
                  <a:pt x="1622407" y="1610134"/>
                  <a:pt x="1622285" y="1609659"/>
                </a:cubicBezTo>
                <a:lnTo>
                  <a:pt x="1621688" y="1608295"/>
                </a:lnTo>
                <a:lnTo>
                  <a:pt x="1620933" y="1606980"/>
                </a:lnTo>
                <a:lnTo>
                  <a:pt x="1620093" y="1605763"/>
                </a:lnTo>
                <a:lnTo>
                  <a:pt x="1618522" y="1603632"/>
                </a:lnTo>
                <a:lnTo>
                  <a:pt x="1617049" y="1602329"/>
                </a:lnTo>
                <a:lnTo>
                  <a:pt x="1615697" y="1600149"/>
                </a:lnTo>
                <a:lnTo>
                  <a:pt x="1614747" y="1598238"/>
                </a:lnTo>
                <a:cubicBezTo>
                  <a:pt x="1614492" y="1597556"/>
                  <a:pt x="1614248" y="1596874"/>
                  <a:pt x="1614005" y="1596180"/>
                </a:cubicBezTo>
                <a:cubicBezTo>
                  <a:pt x="1613761" y="1595485"/>
                  <a:pt x="1613749" y="1595035"/>
                  <a:pt x="1613627" y="1594463"/>
                </a:cubicBezTo>
                <a:cubicBezTo>
                  <a:pt x="1613505" y="1593890"/>
                  <a:pt x="1613444" y="1593038"/>
                  <a:pt x="1613347" y="1592332"/>
                </a:cubicBezTo>
                <a:cubicBezTo>
                  <a:pt x="1613250" y="1591625"/>
                  <a:pt x="1613140" y="1591114"/>
                  <a:pt x="1613030" y="1590481"/>
                </a:cubicBezTo>
                <a:lnTo>
                  <a:pt x="1612556" y="1588337"/>
                </a:lnTo>
                <a:lnTo>
                  <a:pt x="1611861" y="1585963"/>
                </a:lnTo>
                <a:cubicBezTo>
                  <a:pt x="1611679" y="1585428"/>
                  <a:pt x="1611484" y="1584879"/>
                  <a:pt x="1611289" y="1584332"/>
                </a:cubicBezTo>
                <a:lnTo>
                  <a:pt x="1610595" y="1582639"/>
                </a:lnTo>
                <a:lnTo>
                  <a:pt x="1609840" y="1581008"/>
                </a:lnTo>
                <a:lnTo>
                  <a:pt x="1608890" y="1579242"/>
                </a:lnTo>
                <a:cubicBezTo>
                  <a:pt x="1608464" y="1578535"/>
                  <a:pt x="1608038" y="1577841"/>
                  <a:pt x="1607599" y="1577147"/>
                </a:cubicBezTo>
                <a:cubicBezTo>
                  <a:pt x="1607161" y="1576453"/>
                  <a:pt x="1606382" y="1575479"/>
                  <a:pt x="1605797" y="1574651"/>
                </a:cubicBezTo>
                <a:lnTo>
                  <a:pt x="1603752" y="1572216"/>
                </a:lnTo>
                <a:lnTo>
                  <a:pt x="1601937" y="1570353"/>
                </a:lnTo>
                <a:lnTo>
                  <a:pt x="1599660" y="1568246"/>
                </a:lnTo>
                <a:lnTo>
                  <a:pt x="1597834" y="1566627"/>
                </a:lnTo>
                <a:lnTo>
                  <a:pt x="1596031" y="1565080"/>
                </a:lnTo>
                <a:lnTo>
                  <a:pt x="1593596" y="1563059"/>
                </a:lnTo>
                <a:lnTo>
                  <a:pt x="1592914" y="1562486"/>
                </a:lnTo>
                <a:lnTo>
                  <a:pt x="1591928" y="1561658"/>
                </a:lnTo>
                <a:lnTo>
                  <a:pt x="1590710" y="1560635"/>
                </a:lnTo>
                <a:lnTo>
                  <a:pt x="1589493" y="1559588"/>
                </a:lnTo>
                <a:lnTo>
                  <a:pt x="1588384" y="1558626"/>
                </a:lnTo>
                <a:cubicBezTo>
                  <a:pt x="1588129" y="1558395"/>
                  <a:pt x="1587873" y="1558163"/>
                  <a:pt x="1587605" y="1557944"/>
                </a:cubicBezTo>
                <a:lnTo>
                  <a:pt x="1586899" y="1557311"/>
                </a:lnTo>
                <a:lnTo>
                  <a:pt x="1586351" y="1556812"/>
                </a:lnTo>
                <a:lnTo>
                  <a:pt x="1585389" y="1555923"/>
                </a:lnTo>
                <a:lnTo>
                  <a:pt x="1584585" y="1555156"/>
                </a:lnTo>
                <a:cubicBezTo>
                  <a:pt x="1584354" y="1554900"/>
                  <a:pt x="1584135" y="1554644"/>
                  <a:pt x="1583903" y="1554401"/>
                </a:cubicBezTo>
                <a:cubicBezTo>
                  <a:pt x="1583672" y="1554157"/>
                  <a:pt x="1583404" y="1553755"/>
                  <a:pt x="1583161" y="1553439"/>
                </a:cubicBezTo>
                <a:lnTo>
                  <a:pt x="1582734" y="1552842"/>
                </a:lnTo>
                <a:lnTo>
                  <a:pt x="1582199" y="1552039"/>
                </a:lnTo>
                <a:lnTo>
                  <a:pt x="1581419" y="1550821"/>
                </a:lnTo>
                <a:cubicBezTo>
                  <a:pt x="1581224" y="1550492"/>
                  <a:pt x="1581030" y="1550175"/>
                  <a:pt x="1580823" y="1549859"/>
                </a:cubicBezTo>
                <a:lnTo>
                  <a:pt x="1580275" y="1548970"/>
                </a:lnTo>
                <a:lnTo>
                  <a:pt x="1579934" y="1548422"/>
                </a:lnTo>
                <a:lnTo>
                  <a:pt x="1579702" y="1547838"/>
                </a:lnTo>
                <a:cubicBezTo>
                  <a:pt x="1579568" y="1547387"/>
                  <a:pt x="1579447" y="1546936"/>
                  <a:pt x="1579325" y="1546486"/>
                </a:cubicBezTo>
                <a:lnTo>
                  <a:pt x="1578960" y="1545731"/>
                </a:lnTo>
                <a:lnTo>
                  <a:pt x="1578631" y="1545390"/>
                </a:lnTo>
                <a:lnTo>
                  <a:pt x="1577632" y="1544733"/>
                </a:lnTo>
                <a:lnTo>
                  <a:pt x="1576731" y="1544075"/>
                </a:lnTo>
                <a:lnTo>
                  <a:pt x="1575282" y="1542857"/>
                </a:lnTo>
                <a:lnTo>
                  <a:pt x="1574138" y="1541774"/>
                </a:lnTo>
                <a:lnTo>
                  <a:pt x="1572615" y="1540081"/>
                </a:lnTo>
                <a:lnTo>
                  <a:pt x="1571398" y="1538583"/>
                </a:lnTo>
                <a:cubicBezTo>
                  <a:pt x="1570911" y="1537816"/>
                  <a:pt x="1570424" y="1537073"/>
                  <a:pt x="1569937" y="1536318"/>
                </a:cubicBezTo>
                <a:cubicBezTo>
                  <a:pt x="1569449" y="1535563"/>
                  <a:pt x="1569169" y="1534918"/>
                  <a:pt x="1568792" y="1534224"/>
                </a:cubicBezTo>
                <a:lnTo>
                  <a:pt x="1565650" y="1526918"/>
                </a:lnTo>
                <a:cubicBezTo>
                  <a:pt x="1564810" y="1524775"/>
                  <a:pt x="1563958" y="1522619"/>
                  <a:pt x="1563117" y="1520464"/>
                </a:cubicBezTo>
                <a:lnTo>
                  <a:pt x="1559538" y="1512927"/>
                </a:lnTo>
                <a:lnTo>
                  <a:pt x="1556140" y="1508494"/>
                </a:lnTo>
                <a:lnTo>
                  <a:pt x="1547933" y="1498436"/>
                </a:lnTo>
                <a:lnTo>
                  <a:pt x="1541504" y="1490338"/>
                </a:lnTo>
                <a:cubicBezTo>
                  <a:pt x="1540286" y="1488658"/>
                  <a:pt x="1538995" y="1486990"/>
                  <a:pt x="1537753" y="1485309"/>
                </a:cubicBezTo>
                <a:lnTo>
                  <a:pt x="1533041" y="1478393"/>
                </a:lnTo>
                <a:lnTo>
                  <a:pt x="1529729" y="1473169"/>
                </a:lnTo>
                <a:cubicBezTo>
                  <a:pt x="1528194" y="1470734"/>
                  <a:pt x="1526660" y="1468299"/>
                  <a:pt x="1525114" y="1465863"/>
                </a:cubicBezTo>
                <a:lnTo>
                  <a:pt x="1521156" y="1459872"/>
                </a:lnTo>
                <a:lnTo>
                  <a:pt x="1517296" y="1454538"/>
                </a:lnTo>
                <a:lnTo>
                  <a:pt x="1513947" y="1450301"/>
                </a:lnTo>
                <a:lnTo>
                  <a:pt x="1510915" y="1446843"/>
                </a:lnTo>
                <a:lnTo>
                  <a:pt x="1509101" y="1444979"/>
                </a:lnTo>
                <a:lnTo>
                  <a:pt x="1507189" y="1443177"/>
                </a:lnTo>
                <a:lnTo>
                  <a:pt x="1505972" y="1442118"/>
                </a:lnTo>
                <a:lnTo>
                  <a:pt x="1504255" y="1440718"/>
                </a:lnTo>
                <a:lnTo>
                  <a:pt x="1502525" y="1439500"/>
                </a:lnTo>
                <a:cubicBezTo>
                  <a:pt x="1501917" y="1439123"/>
                  <a:pt x="1501284" y="1438782"/>
                  <a:pt x="1500626" y="1438490"/>
                </a:cubicBezTo>
                <a:cubicBezTo>
                  <a:pt x="1500236" y="1438319"/>
                  <a:pt x="1498702" y="1437832"/>
                  <a:pt x="1498702" y="1437844"/>
                </a:cubicBezTo>
                <a:cubicBezTo>
                  <a:pt x="1497983" y="1437637"/>
                  <a:pt x="1495865" y="1437235"/>
                  <a:pt x="1495865" y="1437248"/>
                </a:cubicBezTo>
                <a:lnTo>
                  <a:pt x="1494647" y="1437077"/>
                </a:lnTo>
                <a:lnTo>
                  <a:pt x="1493722" y="1436979"/>
                </a:lnTo>
                <a:lnTo>
                  <a:pt x="1492309" y="1436858"/>
                </a:lnTo>
                <a:lnTo>
                  <a:pt x="1491177" y="1436784"/>
                </a:lnTo>
                <a:lnTo>
                  <a:pt x="1487999" y="1436688"/>
                </a:lnTo>
                <a:lnTo>
                  <a:pt x="1485186" y="1436688"/>
                </a:lnTo>
                <a:lnTo>
                  <a:pt x="1482823" y="1436688"/>
                </a:lnTo>
                <a:lnTo>
                  <a:pt x="1480388" y="1436748"/>
                </a:lnTo>
                <a:lnTo>
                  <a:pt x="1477258" y="1436882"/>
                </a:lnTo>
                <a:lnTo>
                  <a:pt x="1474129" y="1437077"/>
                </a:lnTo>
                <a:lnTo>
                  <a:pt x="1470147" y="1437406"/>
                </a:lnTo>
                <a:lnTo>
                  <a:pt x="1466652" y="1437771"/>
                </a:lnTo>
                <a:lnTo>
                  <a:pt x="1464120" y="1438075"/>
                </a:lnTo>
                <a:lnTo>
                  <a:pt x="1460759" y="1438526"/>
                </a:lnTo>
                <a:lnTo>
                  <a:pt x="1456010" y="1439293"/>
                </a:lnTo>
                <a:lnTo>
                  <a:pt x="1452990" y="1439829"/>
                </a:lnTo>
                <a:lnTo>
                  <a:pt x="1450798" y="1440255"/>
                </a:lnTo>
                <a:lnTo>
                  <a:pt x="1448217" y="1440791"/>
                </a:lnTo>
                <a:lnTo>
                  <a:pt x="1446354" y="1441193"/>
                </a:lnTo>
                <a:lnTo>
                  <a:pt x="1443577" y="1441838"/>
                </a:lnTo>
                <a:lnTo>
                  <a:pt x="1440521" y="1442593"/>
                </a:lnTo>
                <a:lnTo>
                  <a:pt x="1436271" y="1443714"/>
                </a:lnTo>
                <a:lnTo>
                  <a:pt x="1433215" y="1444578"/>
                </a:lnTo>
                <a:lnTo>
                  <a:pt x="1429878" y="1445576"/>
                </a:lnTo>
                <a:lnTo>
                  <a:pt x="1427443" y="1446343"/>
                </a:lnTo>
                <a:lnTo>
                  <a:pt x="1424204" y="1447403"/>
                </a:lnTo>
                <a:lnTo>
                  <a:pt x="1421598" y="1448304"/>
                </a:lnTo>
                <a:lnTo>
                  <a:pt x="1418250" y="1449521"/>
                </a:lnTo>
                <a:lnTo>
                  <a:pt x="1416143" y="1450252"/>
                </a:lnTo>
                <a:lnTo>
                  <a:pt x="1413890" y="1450849"/>
                </a:lnTo>
                <a:lnTo>
                  <a:pt x="1411881" y="1451239"/>
                </a:lnTo>
                <a:lnTo>
                  <a:pt x="1409251" y="1451519"/>
                </a:lnTo>
                <a:lnTo>
                  <a:pt x="1407181" y="1451519"/>
                </a:lnTo>
                <a:lnTo>
                  <a:pt x="1405123" y="1451445"/>
                </a:lnTo>
                <a:lnTo>
                  <a:pt x="1402968" y="1451251"/>
                </a:lnTo>
                <a:lnTo>
                  <a:pt x="1399984" y="1450873"/>
                </a:lnTo>
                <a:lnTo>
                  <a:pt x="1398767" y="1450703"/>
                </a:lnTo>
                <a:lnTo>
                  <a:pt x="1396538" y="1450423"/>
                </a:lnTo>
                <a:lnTo>
                  <a:pt x="1394992" y="1450265"/>
                </a:lnTo>
                <a:lnTo>
                  <a:pt x="1392800" y="1450143"/>
                </a:lnTo>
                <a:lnTo>
                  <a:pt x="1391253" y="1450143"/>
                </a:lnTo>
                <a:lnTo>
                  <a:pt x="1389208" y="1450143"/>
                </a:lnTo>
                <a:lnTo>
                  <a:pt x="1386858" y="1450070"/>
                </a:lnTo>
                <a:lnTo>
                  <a:pt x="1383935" y="1449850"/>
                </a:lnTo>
                <a:lnTo>
                  <a:pt x="1382839" y="1449705"/>
                </a:lnTo>
                <a:lnTo>
                  <a:pt x="1381889" y="1449558"/>
                </a:lnTo>
                <a:lnTo>
                  <a:pt x="1380392" y="1449217"/>
                </a:lnTo>
                <a:lnTo>
                  <a:pt x="1379564" y="1448974"/>
                </a:lnTo>
                <a:lnTo>
                  <a:pt x="1377956" y="1448304"/>
                </a:lnTo>
                <a:lnTo>
                  <a:pt x="1377481" y="1448036"/>
                </a:lnTo>
                <a:lnTo>
                  <a:pt x="1377226" y="1447890"/>
                </a:lnTo>
                <a:lnTo>
                  <a:pt x="1376313" y="1447220"/>
                </a:lnTo>
                <a:lnTo>
                  <a:pt x="1375655" y="1446587"/>
                </a:lnTo>
                <a:lnTo>
                  <a:pt x="1375156" y="1445990"/>
                </a:lnTo>
                <a:lnTo>
                  <a:pt x="1374815" y="1445467"/>
                </a:lnTo>
                <a:lnTo>
                  <a:pt x="1374656" y="1445187"/>
                </a:lnTo>
                <a:lnTo>
                  <a:pt x="1374486" y="1444992"/>
                </a:lnTo>
                <a:lnTo>
                  <a:pt x="1374194" y="1444809"/>
                </a:lnTo>
                <a:lnTo>
                  <a:pt x="1374023" y="1444736"/>
                </a:lnTo>
                <a:lnTo>
                  <a:pt x="1373792" y="1444663"/>
                </a:lnTo>
                <a:lnTo>
                  <a:pt x="1373524" y="1444663"/>
                </a:lnTo>
                <a:lnTo>
                  <a:pt x="1373061" y="1444590"/>
                </a:lnTo>
                <a:lnTo>
                  <a:pt x="1372124" y="1444517"/>
                </a:lnTo>
                <a:lnTo>
                  <a:pt x="1371564" y="1444517"/>
                </a:lnTo>
                <a:lnTo>
                  <a:pt x="1369883" y="1444395"/>
                </a:lnTo>
                <a:lnTo>
                  <a:pt x="1369140" y="1444322"/>
                </a:lnTo>
                <a:lnTo>
                  <a:pt x="1368324" y="1444237"/>
                </a:lnTo>
                <a:lnTo>
                  <a:pt x="1367436" y="1444127"/>
                </a:lnTo>
                <a:lnTo>
                  <a:pt x="1366534" y="1444006"/>
                </a:lnTo>
                <a:lnTo>
                  <a:pt x="1365706" y="1443872"/>
                </a:lnTo>
                <a:lnTo>
                  <a:pt x="1365000" y="1443750"/>
                </a:lnTo>
                <a:lnTo>
                  <a:pt x="1363953" y="1443555"/>
                </a:lnTo>
                <a:lnTo>
                  <a:pt x="1363381" y="1443433"/>
                </a:lnTo>
                <a:lnTo>
                  <a:pt x="1362577" y="1443263"/>
                </a:lnTo>
                <a:lnTo>
                  <a:pt x="1361335" y="1442812"/>
                </a:lnTo>
                <a:lnTo>
                  <a:pt x="1360227" y="1442532"/>
                </a:lnTo>
                <a:lnTo>
                  <a:pt x="1359533" y="1442337"/>
                </a:lnTo>
                <a:lnTo>
                  <a:pt x="1358948" y="1442167"/>
                </a:lnTo>
                <a:lnTo>
                  <a:pt x="1358522" y="1442045"/>
                </a:lnTo>
                <a:lnTo>
                  <a:pt x="1358011" y="1441887"/>
                </a:lnTo>
                <a:lnTo>
                  <a:pt x="1357536" y="1441741"/>
                </a:lnTo>
                <a:lnTo>
                  <a:pt x="1356695" y="1441473"/>
                </a:lnTo>
                <a:lnTo>
                  <a:pt x="1356330" y="1441351"/>
                </a:lnTo>
                <a:lnTo>
                  <a:pt x="1355234" y="1440974"/>
                </a:lnTo>
                <a:lnTo>
                  <a:pt x="1354345" y="1440657"/>
                </a:lnTo>
                <a:lnTo>
                  <a:pt x="1352909" y="1440133"/>
                </a:lnTo>
                <a:lnTo>
                  <a:pt x="1352227" y="1439877"/>
                </a:lnTo>
                <a:lnTo>
                  <a:pt x="1351009" y="1439390"/>
                </a:lnTo>
                <a:lnTo>
                  <a:pt x="1350242" y="1439074"/>
                </a:lnTo>
                <a:lnTo>
                  <a:pt x="1349450" y="1438757"/>
                </a:lnTo>
                <a:lnTo>
                  <a:pt x="1348744" y="1438477"/>
                </a:lnTo>
                <a:lnTo>
                  <a:pt x="1347879" y="1438124"/>
                </a:lnTo>
                <a:lnTo>
                  <a:pt x="1346771" y="1437673"/>
                </a:lnTo>
                <a:lnTo>
                  <a:pt x="1345688" y="1437235"/>
                </a:lnTo>
                <a:lnTo>
                  <a:pt x="1344397" y="1436699"/>
                </a:lnTo>
                <a:lnTo>
                  <a:pt x="1342863" y="1436091"/>
                </a:lnTo>
                <a:lnTo>
                  <a:pt x="1341742" y="1435664"/>
                </a:lnTo>
                <a:lnTo>
                  <a:pt x="1340768" y="1435287"/>
                </a:lnTo>
                <a:lnTo>
                  <a:pt x="1339989" y="1435007"/>
                </a:lnTo>
                <a:lnTo>
                  <a:pt x="1338662" y="1434532"/>
                </a:lnTo>
                <a:lnTo>
                  <a:pt x="1337785" y="1434228"/>
                </a:lnTo>
                <a:lnTo>
                  <a:pt x="1336677" y="1433862"/>
                </a:lnTo>
                <a:lnTo>
                  <a:pt x="1335764" y="1433570"/>
                </a:lnTo>
                <a:lnTo>
                  <a:pt x="1334960" y="1433339"/>
                </a:lnTo>
                <a:lnTo>
                  <a:pt x="1333742" y="1432986"/>
                </a:lnTo>
                <a:lnTo>
                  <a:pt x="1332159" y="1432571"/>
                </a:lnTo>
                <a:lnTo>
                  <a:pt x="1331136" y="1432340"/>
                </a:lnTo>
                <a:lnTo>
                  <a:pt x="1330101" y="1432121"/>
                </a:lnTo>
                <a:lnTo>
                  <a:pt x="1329444" y="1431999"/>
                </a:lnTo>
                <a:lnTo>
                  <a:pt x="1328299" y="1431792"/>
                </a:lnTo>
                <a:lnTo>
                  <a:pt x="1327081" y="1431585"/>
                </a:lnTo>
                <a:lnTo>
                  <a:pt x="1323745" y="1431135"/>
                </a:lnTo>
                <a:lnTo>
                  <a:pt x="1321687" y="1430891"/>
                </a:lnTo>
                <a:lnTo>
                  <a:pt x="1318034" y="1430453"/>
                </a:lnTo>
                <a:lnTo>
                  <a:pt x="1316536" y="1430258"/>
                </a:lnTo>
                <a:lnTo>
                  <a:pt x="1314211" y="1429929"/>
                </a:lnTo>
                <a:lnTo>
                  <a:pt x="1312993" y="1429747"/>
                </a:lnTo>
                <a:lnTo>
                  <a:pt x="1311069" y="1429430"/>
                </a:lnTo>
                <a:lnTo>
                  <a:pt x="1309851" y="1429198"/>
                </a:lnTo>
                <a:lnTo>
                  <a:pt x="1308073" y="1428821"/>
                </a:lnTo>
                <a:lnTo>
                  <a:pt x="1306551" y="1428456"/>
                </a:lnTo>
                <a:cubicBezTo>
                  <a:pt x="1305942" y="1428285"/>
                  <a:pt x="1305334" y="1428139"/>
                  <a:pt x="1304713" y="1427981"/>
                </a:cubicBezTo>
                <a:lnTo>
                  <a:pt x="1303264" y="1427603"/>
                </a:lnTo>
                <a:lnTo>
                  <a:pt x="1301888" y="1427250"/>
                </a:lnTo>
                <a:lnTo>
                  <a:pt x="1301388" y="1427116"/>
                </a:lnTo>
                <a:lnTo>
                  <a:pt x="1300621" y="1426922"/>
                </a:lnTo>
                <a:lnTo>
                  <a:pt x="1300231" y="1426812"/>
                </a:lnTo>
                <a:lnTo>
                  <a:pt x="1299684" y="1426678"/>
                </a:lnTo>
                <a:lnTo>
                  <a:pt x="1299063" y="1426507"/>
                </a:lnTo>
                <a:lnTo>
                  <a:pt x="1298502" y="1426362"/>
                </a:lnTo>
                <a:lnTo>
                  <a:pt x="1298161" y="1426276"/>
                </a:lnTo>
                <a:lnTo>
                  <a:pt x="1297808" y="1426191"/>
                </a:lnTo>
                <a:lnTo>
                  <a:pt x="1297589" y="1426130"/>
                </a:lnTo>
                <a:lnTo>
                  <a:pt x="1296980" y="1425972"/>
                </a:lnTo>
                <a:lnTo>
                  <a:pt x="1296615" y="1425874"/>
                </a:lnTo>
                <a:lnTo>
                  <a:pt x="1295933" y="1425692"/>
                </a:lnTo>
                <a:lnTo>
                  <a:pt x="1295470" y="1425582"/>
                </a:lnTo>
                <a:lnTo>
                  <a:pt x="1294922" y="1425436"/>
                </a:lnTo>
                <a:lnTo>
                  <a:pt x="1294460" y="1425314"/>
                </a:lnTo>
                <a:lnTo>
                  <a:pt x="1294228" y="1425253"/>
                </a:lnTo>
                <a:lnTo>
                  <a:pt x="1293766" y="1425131"/>
                </a:lnTo>
                <a:lnTo>
                  <a:pt x="1293461" y="1425058"/>
                </a:lnTo>
                <a:lnTo>
                  <a:pt x="1293206" y="1424985"/>
                </a:lnTo>
                <a:lnTo>
                  <a:pt x="1292877" y="1424900"/>
                </a:lnTo>
                <a:lnTo>
                  <a:pt x="1292524" y="1424803"/>
                </a:lnTo>
                <a:lnTo>
                  <a:pt x="1292097" y="1424693"/>
                </a:lnTo>
                <a:lnTo>
                  <a:pt x="1291732" y="1424608"/>
                </a:lnTo>
                <a:lnTo>
                  <a:pt x="1291221" y="1424474"/>
                </a:lnTo>
                <a:lnTo>
                  <a:pt x="1290709" y="1424340"/>
                </a:lnTo>
                <a:cubicBezTo>
                  <a:pt x="1290575" y="1424340"/>
                  <a:pt x="1290441" y="1424279"/>
                  <a:pt x="1290307" y="1424231"/>
                </a:cubicBezTo>
                <a:lnTo>
                  <a:pt x="1290039" y="1424169"/>
                </a:lnTo>
                <a:lnTo>
                  <a:pt x="1289881" y="1424169"/>
                </a:lnTo>
                <a:lnTo>
                  <a:pt x="1289577" y="1424096"/>
                </a:lnTo>
                <a:lnTo>
                  <a:pt x="1289321" y="1424036"/>
                </a:lnTo>
                <a:lnTo>
                  <a:pt x="1288992" y="1423950"/>
                </a:lnTo>
                <a:lnTo>
                  <a:pt x="1288810" y="1423950"/>
                </a:lnTo>
                <a:lnTo>
                  <a:pt x="1288517" y="1423877"/>
                </a:lnTo>
                <a:lnTo>
                  <a:pt x="1288164" y="1423780"/>
                </a:lnTo>
                <a:lnTo>
                  <a:pt x="1287957" y="1423780"/>
                </a:lnTo>
                <a:lnTo>
                  <a:pt x="1287726" y="1423719"/>
                </a:lnTo>
                <a:lnTo>
                  <a:pt x="1287385" y="1423634"/>
                </a:lnTo>
                <a:lnTo>
                  <a:pt x="1287141" y="1423573"/>
                </a:lnTo>
                <a:lnTo>
                  <a:pt x="1286788" y="1423476"/>
                </a:lnTo>
                <a:cubicBezTo>
                  <a:pt x="1286642" y="1423451"/>
                  <a:pt x="1286508" y="1423414"/>
                  <a:pt x="1286362" y="1423366"/>
                </a:cubicBezTo>
                <a:lnTo>
                  <a:pt x="1286021" y="1423281"/>
                </a:lnTo>
                <a:lnTo>
                  <a:pt x="1285692" y="1423207"/>
                </a:lnTo>
                <a:lnTo>
                  <a:pt x="1285425" y="1423134"/>
                </a:lnTo>
                <a:lnTo>
                  <a:pt x="1285181" y="1423074"/>
                </a:lnTo>
                <a:lnTo>
                  <a:pt x="1284779" y="1422976"/>
                </a:lnTo>
                <a:lnTo>
                  <a:pt x="1284475" y="1422891"/>
                </a:lnTo>
                <a:lnTo>
                  <a:pt x="1284255" y="1422891"/>
                </a:lnTo>
                <a:lnTo>
                  <a:pt x="1283902" y="1422805"/>
                </a:lnTo>
                <a:lnTo>
                  <a:pt x="1283902" y="1422805"/>
                </a:lnTo>
                <a:lnTo>
                  <a:pt x="1283647" y="1422805"/>
                </a:lnTo>
                <a:lnTo>
                  <a:pt x="1283354" y="1422732"/>
                </a:lnTo>
                <a:lnTo>
                  <a:pt x="1283135" y="1422672"/>
                </a:lnTo>
                <a:lnTo>
                  <a:pt x="1282879" y="1422611"/>
                </a:lnTo>
                <a:lnTo>
                  <a:pt x="1282660" y="1422611"/>
                </a:lnTo>
                <a:lnTo>
                  <a:pt x="1282295" y="1422525"/>
                </a:lnTo>
                <a:lnTo>
                  <a:pt x="1282100" y="1422525"/>
                </a:lnTo>
                <a:lnTo>
                  <a:pt x="1281893" y="1422525"/>
                </a:lnTo>
                <a:lnTo>
                  <a:pt x="1281662" y="1422465"/>
                </a:lnTo>
                <a:lnTo>
                  <a:pt x="1281370" y="1422392"/>
                </a:lnTo>
                <a:lnTo>
                  <a:pt x="1281004" y="1422307"/>
                </a:lnTo>
                <a:lnTo>
                  <a:pt x="1280749" y="1422245"/>
                </a:lnTo>
                <a:lnTo>
                  <a:pt x="1280456" y="1422172"/>
                </a:lnTo>
                <a:lnTo>
                  <a:pt x="1280262" y="1422172"/>
                </a:lnTo>
                <a:lnTo>
                  <a:pt x="1280006" y="1422112"/>
                </a:lnTo>
                <a:lnTo>
                  <a:pt x="1279653" y="1422014"/>
                </a:lnTo>
                <a:lnTo>
                  <a:pt x="1279482" y="1422014"/>
                </a:lnTo>
                <a:lnTo>
                  <a:pt x="1279239" y="1421953"/>
                </a:lnTo>
                <a:lnTo>
                  <a:pt x="1278934" y="1421880"/>
                </a:lnTo>
                <a:lnTo>
                  <a:pt x="1278703" y="1421880"/>
                </a:lnTo>
                <a:lnTo>
                  <a:pt x="1278496" y="1421819"/>
                </a:lnTo>
                <a:lnTo>
                  <a:pt x="1278301" y="1421819"/>
                </a:lnTo>
                <a:lnTo>
                  <a:pt x="1277911" y="1421734"/>
                </a:lnTo>
                <a:lnTo>
                  <a:pt x="1277631" y="1421661"/>
                </a:lnTo>
                <a:lnTo>
                  <a:pt x="1277363" y="1421600"/>
                </a:lnTo>
                <a:lnTo>
                  <a:pt x="1277035" y="1421527"/>
                </a:lnTo>
                <a:lnTo>
                  <a:pt x="1276645" y="1421430"/>
                </a:lnTo>
                <a:lnTo>
                  <a:pt x="1276389" y="1421430"/>
                </a:lnTo>
                <a:lnTo>
                  <a:pt x="1276109" y="1421369"/>
                </a:lnTo>
                <a:lnTo>
                  <a:pt x="1275659" y="1421296"/>
                </a:lnTo>
                <a:lnTo>
                  <a:pt x="1275257" y="1421223"/>
                </a:lnTo>
                <a:lnTo>
                  <a:pt x="1274892" y="1421162"/>
                </a:lnTo>
                <a:lnTo>
                  <a:pt x="1274624" y="1421162"/>
                </a:lnTo>
                <a:lnTo>
                  <a:pt x="1274222" y="1421162"/>
                </a:lnTo>
                <a:lnTo>
                  <a:pt x="1273917" y="1421162"/>
                </a:lnTo>
                <a:lnTo>
                  <a:pt x="1273674" y="1421162"/>
                </a:lnTo>
                <a:lnTo>
                  <a:pt x="1273333" y="1421162"/>
                </a:lnTo>
                <a:lnTo>
                  <a:pt x="1273004" y="1421162"/>
                </a:lnTo>
                <a:lnTo>
                  <a:pt x="1270642" y="1421162"/>
                </a:lnTo>
                <a:lnTo>
                  <a:pt x="1270276" y="1421162"/>
                </a:lnTo>
                <a:lnTo>
                  <a:pt x="1269887" y="1421162"/>
                </a:lnTo>
                <a:lnTo>
                  <a:pt x="1269521" y="1421162"/>
                </a:lnTo>
                <a:lnTo>
                  <a:pt x="1269144" y="1421162"/>
                </a:lnTo>
                <a:lnTo>
                  <a:pt x="1268706" y="1421162"/>
                </a:lnTo>
                <a:lnTo>
                  <a:pt x="1268401" y="1421162"/>
                </a:lnTo>
                <a:lnTo>
                  <a:pt x="1268024" y="1421162"/>
                </a:lnTo>
                <a:lnTo>
                  <a:pt x="1267719" y="1421162"/>
                </a:lnTo>
                <a:lnTo>
                  <a:pt x="1267451" y="1421162"/>
                </a:lnTo>
                <a:lnTo>
                  <a:pt x="1267147" y="1421162"/>
                </a:lnTo>
                <a:lnTo>
                  <a:pt x="1266891" y="1421162"/>
                </a:lnTo>
                <a:lnTo>
                  <a:pt x="1266636" y="1421162"/>
                </a:lnTo>
                <a:lnTo>
                  <a:pt x="1265978" y="1421283"/>
                </a:lnTo>
                <a:lnTo>
                  <a:pt x="1265625" y="1421369"/>
                </a:lnTo>
                <a:lnTo>
                  <a:pt x="1265187" y="1421466"/>
                </a:lnTo>
                <a:lnTo>
                  <a:pt x="1264772" y="1421563"/>
                </a:lnTo>
                <a:lnTo>
                  <a:pt x="1264334" y="1421673"/>
                </a:lnTo>
                <a:lnTo>
                  <a:pt x="1263957" y="1421771"/>
                </a:lnTo>
                <a:lnTo>
                  <a:pt x="1263591" y="1421880"/>
                </a:lnTo>
                <a:lnTo>
                  <a:pt x="1263275" y="1421965"/>
                </a:lnTo>
                <a:lnTo>
                  <a:pt x="1262934" y="1422063"/>
                </a:lnTo>
                <a:lnTo>
                  <a:pt x="1262556" y="1422185"/>
                </a:lnTo>
                <a:lnTo>
                  <a:pt x="1262301" y="1422258"/>
                </a:lnTo>
                <a:lnTo>
                  <a:pt x="1261814" y="1422416"/>
                </a:lnTo>
                <a:lnTo>
                  <a:pt x="1261424" y="1422550"/>
                </a:lnTo>
                <a:lnTo>
                  <a:pt x="1260998" y="1422696"/>
                </a:lnTo>
                <a:lnTo>
                  <a:pt x="1260340" y="1422927"/>
                </a:lnTo>
                <a:lnTo>
                  <a:pt x="1259378" y="1423293"/>
                </a:lnTo>
                <a:lnTo>
                  <a:pt x="1258355" y="1423658"/>
                </a:lnTo>
                <a:lnTo>
                  <a:pt x="1257637" y="1423902"/>
                </a:lnTo>
                <a:lnTo>
                  <a:pt x="1256833" y="1424145"/>
                </a:lnTo>
                <a:lnTo>
                  <a:pt x="1256139" y="1424328"/>
                </a:lnTo>
                <a:lnTo>
                  <a:pt x="1255628" y="1424449"/>
                </a:lnTo>
                <a:lnTo>
                  <a:pt x="1254958" y="1424583"/>
                </a:lnTo>
                <a:lnTo>
                  <a:pt x="1254447" y="1424669"/>
                </a:lnTo>
                <a:lnTo>
                  <a:pt x="1253789" y="1424742"/>
                </a:lnTo>
                <a:lnTo>
                  <a:pt x="1253363" y="1424742"/>
                </a:lnTo>
                <a:lnTo>
                  <a:pt x="1252377" y="1424742"/>
                </a:lnTo>
                <a:lnTo>
                  <a:pt x="1252060" y="1424742"/>
                </a:lnTo>
                <a:lnTo>
                  <a:pt x="1251585" y="1424669"/>
                </a:lnTo>
                <a:lnTo>
                  <a:pt x="1251256" y="1424596"/>
                </a:lnTo>
                <a:lnTo>
                  <a:pt x="1250879" y="1424474"/>
                </a:lnTo>
                <a:lnTo>
                  <a:pt x="1250599" y="1424364"/>
                </a:lnTo>
                <a:lnTo>
                  <a:pt x="1250355" y="1424254"/>
                </a:lnTo>
                <a:lnTo>
                  <a:pt x="1250087" y="1424109"/>
                </a:lnTo>
                <a:lnTo>
                  <a:pt x="1249819" y="1423926"/>
                </a:lnTo>
                <a:lnTo>
                  <a:pt x="1249576" y="1423756"/>
                </a:lnTo>
                <a:lnTo>
                  <a:pt x="1249381" y="1423585"/>
                </a:lnTo>
                <a:lnTo>
                  <a:pt x="1249235" y="1423427"/>
                </a:lnTo>
                <a:lnTo>
                  <a:pt x="1249064" y="1423244"/>
                </a:lnTo>
                <a:cubicBezTo>
                  <a:pt x="1248967" y="1423122"/>
                  <a:pt x="1248870" y="1423013"/>
                  <a:pt x="1248784" y="1422891"/>
                </a:cubicBezTo>
                <a:lnTo>
                  <a:pt x="1248614" y="1422660"/>
                </a:lnTo>
                <a:cubicBezTo>
                  <a:pt x="1248541" y="1422525"/>
                  <a:pt x="1248468" y="1422380"/>
                  <a:pt x="1248383" y="1422245"/>
                </a:cubicBezTo>
                <a:lnTo>
                  <a:pt x="1248224" y="1421917"/>
                </a:lnTo>
                <a:cubicBezTo>
                  <a:pt x="1248224" y="1421771"/>
                  <a:pt x="1248102" y="1421637"/>
                  <a:pt x="1248054" y="1421491"/>
                </a:cubicBezTo>
                <a:cubicBezTo>
                  <a:pt x="1248005" y="1421345"/>
                  <a:pt x="1247944" y="1421223"/>
                  <a:pt x="1247895" y="1421089"/>
                </a:cubicBezTo>
                <a:cubicBezTo>
                  <a:pt x="1247798" y="1420882"/>
                  <a:pt x="1247688" y="1420687"/>
                  <a:pt x="1247567" y="1420504"/>
                </a:cubicBezTo>
                <a:lnTo>
                  <a:pt x="1247067" y="1419908"/>
                </a:lnTo>
                <a:lnTo>
                  <a:pt x="1246446" y="1419372"/>
                </a:lnTo>
                <a:lnTo>
                  <a:pt x="1245972" y="1419056"/>
                </a:lnTo>
                <a:lnTo>
                  <a:pt x="1245095" y="1418580"/>
                </a:lnTo>
                <a:lnTo>
                  <a:pt x="1244401" y="1418264"/>
                </a:lnTo>
                <a:lnTo>
                  <a:pt x="1243353" y="1417862"/>
                </a:lnTo>
                <a:lnTo>
                  <a:pt x="1242355" y="1417533"/>
                </a:lnTo>
                <a:lnTo>
                  <a:pt x="1240821" y="1417119"/>
                </a:lnTo>
                <a:lnTo>
                  <a:pt x="1240005" y="1416925"/>
                </a:lnTo>
                <a:lnTo>
                  <a:pt x="1239932" y="1416925"/>
                </a:lnTo>
                <a:lnTo>
                  <a:pt x="1238714" y="1416644"/>
                </a:lnTo>
                <a:lnTo>
                  <a:pt x="1237606" y="1416316"/>
                </a:lnTo>
                <a:lnTo>
                  <a:pt x="1236875" y="1416023"/>
                </a:lnTo>
                <a:lnTo>
                  <a:pt x="1236120" y="1415621"/>
                </a:lnTo>
                <a:lnTo>
                  <a:pt x="1235719" y="1415366"/>
                </a:lnTo>
                <a:lnTo>
                  <a:pt x="1235207" y="1414964"/>
                </a:lnTo>
                <a:lnTo>
                  <a:pt x="1234501" y="1414197"/>
                </a:lnTo>
                <a:cubicBezTo>
                  <a:pt x="1234404" y="1414039"/>
                  <a:pt x="1234294" y="1413880"/>
                  <a:pt x="1234184" y="1413722"/>
                </a:cubicBezTo>
                <a:lnTo>
                  <a:pt x="1233929" y="1413198"/>
                </a:lnTo>
                <a:cubicBezTo>
                  <a:pt x="1233831" y="1412930"/>
                  <a:pt x="1233746" y="1412675"/>
                  <a:pt x="1233661" y="1412406"/>
                </a:cubicBezTo>
                <a:cubicBezTo>
                  <a:pt x="1233575" y="1412139"/>
                  <a:pt x="1233551" y="1411737"/>
                  <a:pt x="1233502" y="1411408"/>
                </a:cubicBezTo>
                <a:cubicBezTo>
                  <a:pt x="1233454" y="1411079"/>
                  <a:pt x="1233502" y="1410446"/>
                  <a:pt x="1233502" y="1409959"/>
                </a:cubicBezTo>
                <a:cubicBezTo>
                  <a:pt x="1233502" y="1409472"/>
                  <a:pt x="1233734" y="1408802"/>
                  <a:pt x="1233843" y="1408218"/>
                </a:cubicBezTo>
                <a:cubicBezTo>
                  <a:pt x="1234196" y="1407171"/>
                  <a:pt x="1234550" y="1406124"/>
                  <a:pt x="1234915" y="1405088"/>
                </a:cubicBezTo>
                <a:cubicBezTo>
                  <a:pt x="1235280" y="1404053"/>
                  <a:pt x="1235719" y="1403031"/>
                  <a:pt x="1236133" y="1402008"/>
                </a:cubicBezTo>
                <a:lnTo>
                  <a:pt x="1237192" y="1399573"/>
                </a:lnTo>
                <a:lnTo>
                  <a:pt x="1237350" y="1399231"/>
                </a:lnTo>
                <a:cubicBezTo>
                  <a:pt x="1237375" y="1399146"/>
                  <a:pt x="1237411" y="1399061"/>
                  <a:pt x="1237448" y="1398987"/>
                </a:cubicBezTo>
                <a:lnTo>
                  <a:pt x="1237594" y="1398671"/>
                </a:lnTo>
                <a:cubicBezTo>
                  <a:pt x="1237643" y="1398574"/>
                  <a:pt x="1237691" y="1398464"/>
                  <a:pt x="1237728" y="1398367"/>
                </a:cubicBezTo>
                <a:cubicBezTo>
                  <a:pt x="1237777" y="1398269"/>
                  <a:pt x="1237825" y="1398172"/>
                  <a:pt x="1237862" y="1398074"/>
                </a:cubicBezTo>
                <a:lnTo>
                  <a:pt x="1238020" y="1397734"/>
                </a:lnTo>
                <a:lnTo>
                  <a:pt x="1238166" y="1397417"/>
                </a:lnTo>
                <a:lnTo>
                  <a:pt x="1238239" y="1397271"/>
                </a:lnTo>
                <a:cubicBezTo>
                  <a:pt x="1238264" y="1397210"/>
                  <a:pt x="1238288" y="1397149"/>
                  <a:pt x="1238324" y="1397088"/>
                </a:cubicBezTo>
                <a:lnTo>
                  <a:pt x="1238458" y="1396796"/>
                </a:lnTo>
                <a:cubicBezTo>
                  <a:pt x="1238458" y="1396711"/>
                  <a:pt x="1238544" y="1396625"/>
                  <a:pt x="1238580" y="1396528"/>
                </a:cubicBezTo>
                <a:lnTo>
                  <a:pt x="1238751" y="1396175"/>
                </a:lnTo>
                <a:lnTo>
                  <a:pt x="1238897" y="1395858"/>
                </a:lnTo>
                <a:lnTo>
                  <a:pt x="1238994" y="1395663"/>
                </a:lnTo>
                <a:cubicBezTo>
                  <a:pt x="1238994" y="1395591"/>
                  <a:pt x="1239067" y="1395518"/>
                  <a:pt x="1239092" y="1395444"/>
                </a:cubicBezTo>
                <a:cubicBezTo>
                  <a:pt x="1239128" y="1395383"/>
                  <a:pt x="1239165" y="1395311"/>
                  <a:pt x="1239189" y="1395238"/>
                </a:cubicBezTo>
                <a:lnTo>
                  <a:pt x="1239299" y="1395018"/>
                </a:lnTo>
                <a:lnTo>
                  <a:pt x="1239372" y="1394872"/>
                </a:lnTo>
                <a:cubicBezTo>
                  <a:pt x="1239445" y="1394702"/>
                  <a:pt x="1239530" y="1394543"/>
                  <a:pt x="1239603" y="1394373"/>
                </a:cubicBezTo>
                <a:lnTo>
                  <a:pt x="1239713" y="1394166"/>
                </a:lnTo>
                <a:cubicBezTo>
                  <a:pt x="1239713" y="1394093"/>
                  <a:pt x="1239713" y="1394020"/>
                  <a:pt x="1239810" y="1393959"/>
                </a:cubicBezTo>
                <a:lnTo>
                  <a:pt x="1239920" y="1393715"/>
                </a:lnTo>
                <a:lnTo>
                  <a:pt x="1240054" y="1393460"/>
                </a:lnTo>
                <a:lnTo>
                  <a:pt x="1240163" y="1393228"/>
                </a:lnTo>
                <a:lnTo>
                  <a:pt x="1240346" y="1392851"/>
                </a:lnTo>
                <a:lnTo>
                  <a:pt x="1240589" y="1392363"/>
                </a:lnTo>
                <a:lnTo>
                  <a:pt x="1240711" y="1392108"/>
                </a:lnTo>
                <a:lnTo>
                  <a:pt x="1240821" y="1391889"/>
                </a:lnTo>
                <a:lnTo>
                  <a:pt x="1240930" y="1391669"/>
                </a:lnTo>
                <a:lnTo>
                  <a:pt x="1241064" y="1391389"/>
                </a:lnTo>
                <a:cubicBezTo>
                  <a:pt x="1241101" y="1391329"/>
                  <a:pt x="1241137" y="1391268"/>
                  <a:pt x="1241162" y="1391194"/>
                </a:cubicBezTo>
                <a:cubicBezTo>
                  <a:pt x="1241210" y="1391121"/>
                  <a:pt x="1241247" y="1391036"/>
                  <a:pt x="1241283" y="1390951"/>
                </a:cubicBezTo>
                <a:cubicBezTo>
                  <a:pt x="1241283" y="1390951"/>
                  <a:pt x="1241283" y="1390841"/>
                  <a:pt x="1241369" y="1390781"/>
                </a:cubicBezTo>
                <a:lnTo>
                  <a:pt x="1241478" y="1390561"/>
                </a:lnTo>
                <a:cubicBezTo>
                  <a:pt x="1241478" y="1390561"/>
                  <a:pt x="1241478" y="1390452"/>
                  <a:pt x="1241563" y="1390391"/>
                </a:cubicBezTo>
                <a:cubicBezTo>
                  <a:pt x="1241649" y="1390330"/>
                  <a:pt x="1241563" y="1390281"/>
                  <a:pt x="1241649" y="1390208"/>
                </a:cubicBezTo>
                <a:cubicBezTo>
                  <a:pt x="1241734" y="1390135"/>
                  <a:pt x="1241758" y="1390001"/>
                  <a:pt x="1241807" y="1389904"/>
                </a:cubicBezTo>
                <a:cubicBezTo>
                  <a:pt x="1241856" y="1389819"/>
                  <a:pt x="1241904" y="1389721"/>
                  <a:pt x="1241941" y="1389624"/>
                </a:cubicBezTo>
                <a:lnTo>
                  <a:pt x="1242099" y="1389319"/>
                </a:lnTo>
                <a:cubicBezTo>
                  <a:pt x="1242099" y="1389246"/>
                  <a:pt x="1242172" y="1389161"/>
                  <a:pt x="1242221" y="1389076"/>
                </a:cubicBezTo>
                <a:lnTo>
                  <a:pt x="1242343" y="1388820"/>
                </a:lnTo>
                <a:lnTo>
                  <a:pt x="1242489" y="1388540"/>
                </a:lnTo>
                <a:lnTo>
                  <a:pt x="1242586" y="1388333"/>
                </a:lnTo>
                <a:lnTo>
                  <a:pt x="1242684" y="1388138"/>
                </a:lnTo>
                <a:lnTo>
                  <a:pt x="1242793" y="1387883"/>
                </a:lnTo>
                <a:cubicBezTo>
                  <a:pt x="1242842" y="1387797"/>
                  <a:pt x="1242879" y="1387712"/>
                  <a:pt x="1242915" y="1387627"/>
                </a:cubicBezTo>
                <a:lnTo>
                  <a:pt x="1243025" y="1387383"/>
                </a:lnTo>
                <a:lnTo>
                  <a:pt x="1243134" y="1387103"/>
                </a:lnTo>
                <a:lnTo>
                  <a:pt x="1243207" y="1386908"/>
                </a:lnTo>
                <a:lnTo>
                  <a:pt x="1243305" y="1386652"/>
                </a:lnTo>
                <a:cubicBezTo>
                  <a:pt x="1243305" y="1386555"/>
                  <a:pt x="1243305" y="1386458"/>
                  <a:pt x="1243390" y="1386361"/>
                </a:cubicBezTo>
                <a:cubicBezTo>
                  <a:pt x="1243463" y="1386129"/>
                  <a:pt x="1243512" y="1385874"/>
                  <a:pt x="1243536" y="1385630"/>
                </a:cubicBezTo>
                <a:cubicBezTo>
                  <a:pt x="1243548" y="1385484"/>
                  <a:pt x="1243548" y="1385337"/>
                  <a:pt x="1243536" y="1385192"/>
                </a:cubicBezTo>
                <a:cubicBezTo>
                  <a:pt x="1243512" y="1385070"/>
                  <a:pt x="1243487" y="1384960"/>
                  <a:pt x="1243439" y="1384850"/>
                </a:cubicBezTo>
                <a:cubicBezTo>
                  <a:pt x="1243402" y="1384765"/>
                  <a:pt x="1243341" y="1384692"/>
                  <a:pt x="1243280" y="1384619"/>
                </a:cubicBezTo>
                <a:lnTo>
                  <a:pt x="1243171" y="1384510"/>
                </a:lnTo>
                <a:lnTo>
                  <a:pt x="1242988" y="1384388"/>
                </a:lnTo>
                <a:lnTo>
                  <a:pt x="1242720" y="1384278"/>
                </a:lnTo>
                <a:cubicBezTo>
                  <a:pt x="1242623" y="1384254"/>
                  <a:pt x="1242526" y="1384230"/>
                  <a:pt x="1242428" y="1384205"/>
                </a:cubicBezTo>
                <a:lnTo>
                  <a:pt x="1242051" y="1384144"/>
                </a:lnTo>
                <a:lnTo>
                  <a:pt x="1241101" y="1384144"/>
                </a:lnTo>
                <a:lnTo>
                  <a:pt x="1240772" y="1384144"/>
                </a:lnTo>
                <a:lnTo>
                  <a:pt x="1240358" y="1384144"/>
                </a:lnTo>
                <a:lnTo>
                  <a:pt x="1239895" y="1384217"/>
                </a:lnTo>
                <a:lnTo>
                  <a:pt x="1239420" y="1384290"/>
                </a:lnTo>
                <a:lnTo>
                  <a:pt x="1238958" y="1384375"/>
                </a:lnTo>
                <a:lnTo>
                  <a:pt x="1238471" y="1384473"/>
                </a:lnTo>
                <a:lnTo>
                  <a:pt x="1238190" y="1384534"/>
                </a:lnTo>
                <a:lnTo>
                  <a:pt x="1237764" y="1384619"/>
                </a:lnTo>
                <a:lnTo>
                  <a:pt x="1237338" y="1384692"/>
                </a:lnTo>
                <a:lnTo>
                  <a:pt x="1236839" y="1384777"/>
                </a:lnTo>
                <a:lnTo>
                  <a:pt x="1236559" y="1384777"/>
                </a:lnTo>
                <a:lnTo>
                  <a:pt x="1236206" y="1384777"/>
                </a:lnTo>
                <a:lnTo>
                  <a:pt x="1235938" y="1384777"/>
                </a:lnTo>
                <a:lnTo>
                  <a:pt x="1235499" y="1384777"/>
                </a:lnTo>
                <a:lnTo>
                  <a:pt x="1235073" y="1384777"/>
                </a:lnTo>
                <a:lnTo>
                  <a:pt x="1234306" y="1384777"/>
                </a:lnTo>
                <a:lnTo>
                  <a:pt x="1233807" y="1384777"/>
                </a:lnTo>
                <a:lnTo>
                  <a:pt x="1231664" y="1384777"/>
                </a:lnTo>
                <a:lnTo>
                  <a:pt x="1230994" y="1384777"/>
                </a:lnTo>
                <a:lnTo>
                  <a:pt x="1230117" y="1384680"/>
                </a:lnTo>
                <a:lnTo>
                  <a:pt x="1229728" y="1384619"/>
                </a:lnTo>
                <a:lnTo>
                  <a:pt x="1229423" y="1384619"/>
                </a:lnTo>
                <a:lnTo>
                  <a:pt x="1229094" y="1384558"/>
                </a:lnTo>
                <a:lnTo>
                  <a:pt x="1228668" y="1384473"/>
                </a:lnTo>
                <a:lnTo>
                  <a:pt x="1228181" y="1384351"/>
                </a:lnTo>
                <a:lnTo>
                  <a:pt x="1227743" y="1384230"/>
                </a:lnTo>
                <a:lnTo>
                  <a:pt x="1227158" y="1384035"/>
                </a:lnTo>
                <a:lnTo>
                  <a:pt x="1226696" y="1383864"/>
                </a:lnTo>
                <a:lnTo>
                  <a:pt x="1226245" y="1383681"/>
                </a:lnTo>
                <a:lnTo>
                  <a:pt x="1225660" y="1383401"/>
                </a:lnTo>
                <a:lnTo>
                  <a:pt x="1225320" y="1383219"/>
                </a:lnTo>
                <a:lnTo>
                  <a:pt x="1224954" y="1383012"/>
                </a:lnTo>
                <a:lnTo>
                  <a:pt x="1224699" y="1382853"/>
                </a:lnTo>
                <a:lnTo>
                  <a:pt x="1224394" y="1382659"/>
                </a:lnTo>
                <a:lnTo>
                  <a:pt x="1224004" y="1382379"/>
                </a:lnTo>
                <a:lnTo>
                  <a:pt x="1223785" y="1382208"/>
                </a:lnTo>
                <a:lnTo>
                  <a:pt x="1223517" y="1381989"/>
                </a:lnTo>
                <a:lnTo>
                  <a:pt x="1223310" y="1381806"/>
                </a:lnTo>
                <a:cubicBezTo>
                  <a:pt x="1223189" y="1381697"/>
                  <a:pt x="1223091" y="1381587"/>
                  <a:pt x="1222969" y="1381490"/>
                </a:cubicBezTo>
                <a:cubicBezTo>
                  <a:pt x="1222908" y="1381417"/>
                  <a:pt x="1222836" y="1381344"/>
                  <a:pt x="1222762" y="1381283"/>
                </a:cubicBezTo>
                <a:lnTo>
                  <a:pt x="1222519" y="1381015"/>
                </a:lnTo>
                <a:lnTo>
                  <a:pt x="1222263" y="1380722"/>
                </a:lnTo>
                <a:lnTo>
                  <a:pt x="1222068" y="1380479"/>
                </a:lnTo>
                <a:lnTo>
                  <a:pt x="1221679" y="1379931"/>
                </a:lnTo>
                <a:cubicBezTo>
                  <a:pt x="1221569" y="1379773"/>
                  <a:pt x="1221472" y="1379615"/>
                  <a:pt x="1221374" y="1379456"/>
                </a:cubicBezTo>
                <a:lnTo>
                  <a:pt x="1221204" y="1379188"/>
                </a:lnTo>
                <a:cubicBezTo>
                  <a:pt x="1221204" y="1379115"/>
                  <a:pt x="1221119" y="1379030"/>
                  <a:pt x="1221082" y="1378944"/>
                </a:cubicBezTo>
                <a:cubicBezTo>
                  <a:pt x="1221046" y="1378859"/>
                  <a:pt x="1220924" y="1378640"/>
                  <a:pt x="1220838" y="1378482"/>
                </a:cubicBezTo>
                <a:cubicBezTo>
                  <a:pt x="1220753" y="1378324"/>
                  <a:pt x="1220717" y="1378226"/>
                  <a:pt x="1220668" y="1378104"/>
                </a:cubicBezTo>
                <a:cubicBezTo>
                  <a:pt x="1220619" y="1377982"/>
                  <a:pt x="1220522" y="1377739"/>
                  <a:pt x="1220437" y="1377557"/>
                </a:cubicBezTo>
                <a:cubicBezTo>
                  <a:pt x="1220351" y="1377374"/>
                  <a:pt x="1220339" y="1377240"/>
                  <a:pt x="1220278" y="1377094"/>
                </a:cubicBezTo>
                <a:cubicBezTo>
                  <a:pt x="1220217" y="1376948"/>
                  <a:pt x="1220193" y="1376802"/>
                  <a:pt x="1220144" y="1376655"/>
                </a:cubicBezTo>
                <a:lnTo>
                  <a:pt x="1219998" y="1376132"/>
                </a:lnTo>
                <a:lnTo>
                  <a:pt x="1219889" y="1375669"/>
                </a:lnTo>
                <a:cubicBezTo>
                  <a:pt x="1219889" y="1375511"/>
                  <a:pt x="1219816" y="1375340"/>
                  <a:pt x="1219791" y="1375170"/>
                </a:cubicBezTo>
                <a:cubicBezTo>
                  <a:pt x="1219767" y="1374999"/>
                  <a:pt x="1219730" y="1374793"/>
                  <a:pt x="1219694" y="1374610"/>
                </a:cubicBezTo>
                <a:lnTo>
                  <a:pt x="1219621" y="1373952"/>
                </a:lnTo>
                <a:cubicBezTo>
                  <a:pt x="1219621" y="1373733"/>
                  <a:pt x="1219621" y="1373526"/>
                  <a:pt x="1219621" y="1373319"/>
                </a:cubicBezTo>
                <a:cubicBezTo>
                  <a:pt x="1219621" y="1373112"/>
                  <a:pt x="1219621" y="1372722"/>
                  <a:pt x="1219621" y="1372430"/>
                </a:cubicBezTo>
                <a:cubicBezTo>
                  <a:pt x="1219621" y="1372138"/>
                  <a:pt x="1219621" y="1371992"/>
                  <a:pt x="1219621" y="1371773"/>
                </a:cubicBezTo>
                <a:cubicBezTo>
                  <a:pt x="1219621" y="1371553"/>
                  <a:pt x="1219621" y="1371322"/>
                  <a:pt x="1219621" y="1371115"/>
                </a:cubicBezTo>
                <a:cubicBezTo>
                  <a:pt x="1219621" y="1370908"/>
                  <a:pt x="1219621" y="1370396"/>
                  <a:pt x="1219706" y="1370044"/>
                </a:cubicBezTo>
                <a:cubicBezTo>
                  <a:pt x="1219791" y="1369691"/>
                  <a:pt x="1219706" y="1369471"/>
                  <a:pt x="1219803" y="1369191"/>
                </a:cubicBezTo>
                <a:cubicBezTo>
                  <a:pt x="1219901" y="1368911"/>
                  <a:pt x="1219876" y="1368704"/>
                  <a:pt x="1219925" y="1368460"/>
                </a:cubicBezTo>
                <a:cubicBezTo>
                  <a:pt x="1219974" y="1368217"/>
                  <a:pt x="1219925" y="1368120"/>
                  <a:pt x="1220023" y="1367949"/>
                </a:cubicBezTo>
                <a:lnTo>
                  <a:pt x="1220242" y="1366975"/>
                </a:lnTo>
                <a:cubicBezTo>
                  <a:pt x="1220242" y="1366756"/>
                  <a:pt x="1220351" y="1366536"/>
                  <a:pt x="1220412" y="1366318"/>
                </a:cubicBezTo>
                <a:cubicBezTo>
                  <a:pt x="1220473" y="1366098"/>
                  <a:pt x="1220595" y="1365623"/>
                  <a:pt x="1220692" y="1365282"/>
                </a:cubicBezTo>
                <a:lnTo>
                  <a:pt x="1220875" y="1364661"/>
                </a:lnTo>
                <a:lnTo>
                  <a:pt x="1221058" y="1364016"/>
                </a:lnTo>
                <a:lnTo>
                  <a:pt x="1221240" y="1363370"/>
                </a:lnTo>
                <a:cubicBezTo>
                  <a:pt x="1221326" y="1363115"/>
                  <a:pt x="1221399" y="1362847"/>
                  <a:pt x="1221472" y="1362591"/>
                </a:cubicBezTo>
                <a:cubicBezTo>
                  <a:pt x="1221545" y="1362336"/>
                  <a:pt x="1221606" y="1362092"/>
                  <a:pt x="1221679" y="1361848"/>
                </a:cubicBezTo>
                <a:cubicBezTo>
                  <a:pt x="1221752" y="1361605"/>
                  <a:pt x="1221788" y="1361422"/>
                  <a:pt x="1221849" y="1361215"/>
                </a:cubicBezTo>
                <a:lnTo>
                  <a:pt x="1222105" y="1360180"/>
                </a:lnTo>
                <a:cubicBezTo>
                  <a:pt x="1222178" y="1359803"/>
                  <a:pt x="1222263" y="1359425"/>
                  <a:pt x="1222336" y="1359036"/>
                </a:cubicBezTo>
                <a:lnTo>
                  <a:pt x="1222446" y="1358378"/>
                </a:lnTo>
                <a:cubicBezTo>
                  <a:pt x="1222446" y="1358183"/>
                  <a:pt x="1222446" y="1357988"/>
                  <a:pt x="1222531" y="1357781"/>
                </a:cubicBezTo>
                <a:lnTo>
                  <a:pt x="1222531" y="1357221"/>
                </a:lnTo>
                <a:cubicBezTo>
                  <a:pt x="1222531" y="1357026"/>
                  <a:pt x="1222531" y="1356844"/>
                  <a:pt x="1222531" y="1356649"/>
                </a:cubicBezTo>
                <a:lnTo>
                  <a:pt x="1222531" y="1356088"/>
                </a:lnTo>
                <a:cubicBezTo>
                  <a:pt x="1222531" y="1355894"/>
                  <a:pt x="1222531" y="1355687"/>
                  <a:pt x="1222531" y="1355492"/>
                </a:cubicBezTo>
                <a:cubicBezTo>
                  <a:pt x="1222531" y="1355297"/>
                  <a:pt x="1222531" y="1355163"/>
                  <a:pt x="1222531" y="1355005"/>
                </a:cubicBezTo>
                <a:lnTo>
                  <a:pt x="1222409" y="1354433"/>
                </a:lnTo>
                <a:cubicBezTo>
                  <a:pt x="1222409" y="1354286"/>
                  <a:pt x="1222324" y="1354141"/>
                  <a:pt x="1222288" y="1353982"/>
                </a:cubicBezTo>
                <a:cubicBezTo>
                  <a:pt x="1222251" y="1353824"/>
                  <a:pt x="1222154" y="1353641"/>
                  <a:pt x="1222081" y="1353459"/>
                </a:cubicBezTo>
                <a:lnTo>
                  <a:pt x="1221934" y="1353154"/>
                </a:lnTo>
                <a:lnTo>
                  <a:pt x="1221740" y="1352789"/>
                </a:lnTo>
                <a:cubicBezTo>
                  <a:pt x="1221642" y="1352655"/>
                  <a:pt x="1221557" y="1352521"/>
                  <a:pt x="1221472" y="1352387"/>
                </a:cubicBezTo>
                <a:lnTo>
                  <a:pt x="1221143" y="1351985"/>
                </a:lnTo>
                <a:lnTo>
                  <a:pt x="1220814" y="1351644"/>
                </a:lnTo>
                <a:lnTo>
                  <a:pt x="1220571" y="1351413"/>
                </a:lnTo>
                <a:lnTo>
                  <a:pt x="1220315" y="1351193"/>
                </a:lnTo>
                <a:lnTo>
                  <a:pt x="1220059" y="1351011"/>
                </a:lnTo>
                <a:lnTo>
                  <a:pt x="1219852" y="1350865"/>
                </a:lnTo>
                <a:lnTo>
                  <a:pt x="1219633" y="1350719"/>
                </a:lnTo>
                <a:lnTo>
                  <a:pt x="1219426" y="1350597"/>
                </a:lnTo>
                <a:lnTo>
                  <a:pt x="1219170" y="1350426"/>
                </a:lnTo>
                <a:lnTo>
                  <a:pt x="1218963" y="1350256"/>
                </a:lnTo>
                <a:lnTo>
                  <a:pt x="1218817" y="1350098"/>
                </a:lnTo>
                <a:lnTo>
                  <a:pt x="1218671" y="1349879"/>
                </a:lnTo>
                <a:lnTo>
                  <a:pt x="1218525" y="1349611"/>
                </a:lnTo>
                <a:cubicBezTo>
                  <a:pt x="1218525" y="1349537"/>
                  <a:pt x="1218525" y="1349477"/>
                  <a:pt x="1218525" y="1349416"/>
                </a:cubicBezTo>
                <a:cubicBezTo>
                  <a:pt x="1218525" y="1349355"/>
                  <a:pt x="1218525" y="1349233"/>
                  <a:pt x="1218525" y="1349148"/>
                </a:cubicBezTo>
                <a:cubicBezTo>
                  <a:pt x="1218525" y="1349062"/>
                  <a:pt x="1218525" y="1348868"/>
                  <a:pt x="1218525" y="1348734"/>
                </a:cubicBezTo>
                <a:cubicBezTo>
                  <a:pt x="1218525" y="1348600"/>
                  <a:pt x="1218598" y="1348332"/>
                  <a:pt x="1218622" y="1348137"/>
                </a:cubicBezTo>
                <a:lnTo>
                  <a:pt x="1218841" y="1347504"/>
                </a:lnTo>
                <a:lnTo>
                  <a:pt x="1219146" y="1346883"/>
                </a:lnTo>
                <a:lnTo>
                  <a:pt x="1219779" y="1345884"/>
                </a:lnTo>
                <a:lnTo>
                  <a:pt x="1220376" y="1345117"/>
                </a:lnTo>
                <a:lnTo>
                  <a:pt x="1221106" y="1344265"/>
                </a:lnTo>
                <a:lnTo>
                  <a:pt x="1222007" y="1343352"/>
                </a:lnTo>
                <a:lnTo>
                  <a:pt x="1222884" y="1342524"/>
                </a:lnTo>
                <a:lnTo>
                  <a:pt x="1223895" y="1341635"/>
                </a:lnTo>
                <a:lnTo>
                  <a:pt x="1224747" y="1340953"/>
                </a:lnTo>
                <a:lnTo>
                  <a:pt x="1225673" y="1340210"/>
                </a:lnTo>
                <a:lnTo>
                  <a:pt x="1227207" y="1338931"/>
                </a:lnTo>
                <a:lnTo>
                  <a:pt x="1228425" y="1337896"/>
                </a:lnTo>
                <a:lnTo>
                  <a:pt x="1229447" y="1336947"/>
                </a:lnTo>
                <a:lnTo>
                  <a:pt x="1230409" y="1335985"/>
                </a:lnTo>
                <a:lnTo>
                  <a:pt x="1231201" y="1335120"/>
                </a:lnTo>
                <a:lnTo>
                  <a:pt x="1231932" y="1334219"/>
                </a:lnTo>
                <a:lnTo>
                  <a:pt x="1232394" y="1333598"/>
                </a:lnTo>
                <a:lnTo>
                  <a:pt x="1232833" y="1332916"/>
                </a:lnTo>
                <a:lnTo>
                  <a:pt x="1233198" y="1332247"/>
                </a:lnTo>
                <a:cubicBezTo>
                  <a:pt x="1233308" y="1332003"/>
                  <a:pt x="1233429" y="1331772"/>
                  <a:pt x="1233539" y="1331528"/>
                </a:cubicBezTo>
                <a:lnTo>
                  <a:pt x="1233758" y="1330919"/>
                </a:lnTo>
                <a:cubicBezTo>
                  <a:pt x="1233819" y="1330688"/>
                  <a:pt x="1233868" y="1330469"/>
                  <a:pt x="1233929" y="1330250"/>
                </a:cubicBezTo>
                <a:cubicBezTo>
                  <a:pt x="1233990" y="1330030"/>
                  <a:pt x="1234014" y="1329787"/>
                  <a:pt x="1234050" y="1329543"/>
                </a:cubicBezTo>
                <a:cubicBezTo>
                  <a:pt x="1234087" y="1329299"/>
                  <a:pt x="1234050" y="1329044"/>
                  <a:pt x="1234050" y="1328788"/>
                </a:cubicBezTo>
                <a:lnTo>
                  <a:pt x="1234050" y="1328192"/>
                </a:lnTo>
                <a:lnTo>
                  <a:pt x="1233977" y="1327705"/>
                </a:lnTo>
                <a:lnTo>
                  <a:pt x="1233795" y="1326962"/>
                </a:lnTo>
                <a:lnTo>
                  <a:pt x="1233575" y="1326365"/>
                </a:lnTo>
                <a:lnTo>
                  <a:pt x="1233320" y="1325793"/>
                </a:lnTo>
                <a:cubicBezTo>
                  <a:pt x="1233247" y="1325646"/>
                  <a:pt x="1233174" y="1325501"/>
                  <a:pt x="1233088" y="1325354"/>
                </a:cubicBezTo>
                <a:lnTo>
                  <a:pt x="1232833" y="1324782"/>
                </a:lnTo>
                <a:cubicBezTo>
                  <a:pt x="1232760" y="1324477"/>
                  <a:pt x="1232674" y="1324186"/>
                  <a:pt x="1232601" y="1323881"/>
                </a:cubicBezTo>
                <a:cubicBezTo>
                  <a:pt x="1232528" y="1323577"/>
                  <a:pt x="1232601" y="1323333"/>
                  <a:pt x="1232516" y="1323053"/>
                </a:cubicBezTo>
                <a:cubicBezTo>
                  <a:pt x="1232516" y="1322578"/>
                  <a:pt x="1232577" y="1322115"/>
                  <a:pt x="1232614" y="1321641"/>
                </a:cubicBezTo>
                <a:cubicBezTo>
                  <a:pt x="1232650" y="1321166"/>
                  <a:pt x="1232760" y="1320861"/>
                  <a:pt x="1232845" y="1320484"/>
                </a:cubicBezTo>
                <a:cubicBezTo>
                  <a:pt x="1232930" y="1320106"/>
                  <a:pt x="1233101" y="1319644"/>
                  <a:pt x="1233235" y="1319266"/>
                </a:cubicBezTo>
                <a:cubicBezTo>
                  <a:pt x="1233369" y="1318888"/>
                  <a:pt x="1233417" y="1318767"/>
                  <a:pt x="1233515" y="1318523"/>
                </a:cubicBezTo>
                <a:cubicBezTo>
                  <a:pt x="1233612" y="1318280"/>
                  <a:pt x="1233746" y="1318000"/>
                  <a:pt x="1233856" y="1317744"/>
                </a:cubicBezTo>
                <a:lnTo>
                  <a:pt x="1234671" y="1316185"/>
                </a:lnTo>
                <a:lnTo>
                  <a:pt x="1235792" y="1314383"/>
                </a:lnTo>
                <a:lnTo>
                  <a:pt x="1236729" y="1313068"/>
                </a:lnTo>
                <a:lnTo>
                  <a:pt x="1237850" y="1311643"/>
                </a:lnTo>
                <a:lnTo>
                  <a:pt x="1239067" y="1310133"/>
                </a:lnTo>
                <a:lnTo>
                  <a:pt x="1239895" y="1309001"/>
                </a:lnTo>
                <a:lnTo>
                  <a:pt x="1240528" y="1308027"/>
                </a:lnTo>
                <a:lnTo>
                  <a:pt x="1241296" y="1306748"/>
                </a:lnTo>
                <a:lnTo>
                  <a:pt x="1241965" y="1305530"/>
                </a:lnTo>
                <a:cubicBezTo>
                  <a:pt x="1242124" y="1305178"/>
                  <a:pt x="1242282" y="1304824"/>
                  <a:pt x="1242452" y="1304483"/>
                </a:cubicBezTo>
                <a:lnTo>
                  <a:pt x="1242708" y="1303850"/>
                </a:lnTo>
                <a:cubicBezTo>
                  <a:pt x="1242781" y="1303667"/>
                  <a:pt x="1242854" y="1303485"/>
                  <a:pt x="1242915" y="1303314"/>
                </a:cubicBezTo>
                <a:cubicBezTo>
                  <a:pt x="1242976" y="1303144"/>
                  <a:pt x="1243086" y="1302827"/>
                  <a:pt x="1243183" y="1302583"/>
                </a:cubicBezTo>
                <a:cubicBezTo>
                  <a:pt x="1243280" y="1302340"/>
                  <a:pt x="1243293" y="1302243"/>
                  <a:pt x="1243341" y="1302085"/>
                </a:cubicBezTo>
                <a:cubicBezTo>
                  <a:pt x="1243390" y="1301926"/>
                  <a:pt x="1243475" y="1301634"/>
                  <a:pt x="1243548" y="1301415"/>
                </a:cubicBezTo>
                <a:lnTo>
                  <a:pt x="1243694" y="1300854"/>
                </a:lnTo>
                <a:cubicBezTo>
                  <a:pt x="1243694" y="1300636"/>
                  <a:pt x="1243792" y="1300416"/>
                  <a:pt x="1243853" y="1300197"/>
                </a:cubicBezTo>
                <a:lnTo>
                  <a:pt x="1243999" y="1299479"/>
                </a:lnTo>
                <a:cubicBezTo>
                  <a:pt x="1243999" y="1299296"/>
                  <a:pt x="1244072" y="1299114"/>
                  <a:pt x="1244096" y="1298930"/>
                </a:cubicBezTo>
                <a:lnTo>
                  <a:pt x="1244169" y="1298492"/>
                </a:lnTo>
                <a:lnTo>
                  <a:pt x="1244242" y="1297981"/>
                </a:lnTo>
                <a:cubicBezTo>
                  <a:pt x="1244242" y="1297859"/>
                  <a:pt x="1244242" y="1297750"/>
                  <a:pt x="1244242" y="1297628"/>
                </a:cubicBezTo>
                <a:cubicBezTo>
                  <a:pt x="1244242" y="1297506"/>
                  <a:pt x="1244242" y="1297287"/>
                  <a:pt x="1244242" y="1297116"/>
                </a:cubicBezTo>
                <a:lnTo>
                  <a:pt x="1244242" y="1296666"/>
                </a:lnTo>
                <a:lnTo>
                  <a:pt x="1244242" y="1296228"/>
                </a:lnTo>
                <a:cubicBezTo>
                  <a:pt x="1244242" y="1296093"/>
                  <a:pt x="1244242" y="1295972"/>
                  <a:pt x="1244242" y="1295837"/>
                </a:cubicBezTo>
                <a:cubicBezTo>
                  <a:pt x="1244242" y="1295704"/>
                  <a:pt x="1244242" y="1295533"/>
                  <a:pt x="1244242" y="1295375"/>
                </a:cubicBezTo>
                <a:cubicBezTo>
                  <a:pt x="1244242" y="1295217"/>
                  <a:pt x="1244242" y="1295119"/>
                  <a:pt x="1244242" y="1294997"/>
                </a:cubicBezTo>
                <a:lnTo>
                  <a:pt x="1244242" y="1294060"/>
                </a:lnTo>
                <a:cubicBezTo>
                  <a:pt x="1244242" y="1293902"/>
                  <a:pt x="1244242" y="1293743"/>
                  <a:pt x="1244242" y="1293585"/>
                </a:cubicBezTo>
                <a:cubicBezTo>
                  <a:pt x="1244242" y="1293426"/>
                  <a:pt x="1244242" y="1293232"/>
                  <a:pt x="1244242" y="1293049"/>
                </a:cubicBezTo>
                <a:lnTo>
                  <a:pt x="1244242" y="1292526"/>
                </a:lnTo>
                <a:lnTo>
                  <a:pt x="1244242" y="1292026"/>
                </a:lnTo>
                <a:cubicBezTo>
                  <a:pt x="1244242" y="1291819"/>
                  <a:pt x="1244242" y="1291624"/>
                  <a:pt x="1244242" y="1291417"/>
                </a:cubicBezTo>
                <a:lnTo>
                  <a:pt x="1244242" y="1291015"/>
                </a:lnTo>
                <a:cubicBezTo>
                  <a:pt x="1244242" y="1290833"/>
                  <a:pt x="1244242" y="1290650"/>
                  <a:pt x="1244242" y="1290480"/>
                </a:cubicBezTo>
                <a:cubicBezTo>
                  <a:pt x="1244242" y="1290309"/>
                  <a:pt x="1244242" y="1290078"/>
                  <a:pt x="1244157" y="1289871"/>
                </a:cubicBezTo>
                <a:cubicBezTo>
                  <a:pt x="1244072" y="1289664"/>
                  <a:pt x="1244096" y="1289469"/>
                  <a:pt x="1244060" y="1289262"/>
                </a:cubicBezTo>
                <a:cubicBezTo>
                  <a:pt x="1244060" y="1289140"/>
                  <a:pt x="1244060" y="1289031"/>
                  <a:pt x="1244060" y="1288909"/>
                </a:cubicBezTo>
                <a:cubicBezTo>
                  <a:pt x="1244060" y="1288726"/>
                  <a:pt x="1243974" y="1288544"/>
                  <a:pt x="1243938" y="1288361"/>
                </a:cubicBezTo>
                <a:cubicBezTo>
                  <a:pt x="1243902" y="1288178"/>
                  <a:pt x="1243877" y="1288081"/>
                  <a:pt x="1243841" y="1287935"/>
                </a:cubicBezTo>
                <a:cubicBezTo>
                  <a:pt x="1243804" y="1287789"/>
                  <a:pt x="1243755" y="1287606"/>
                  <a:pt x="1243719" y="1287448"/>
                </a:cubicBezTo>
                <a:cubicBezTo>
                  <a:pt x="1243682" y="1287289"/>
                  <a:pt x="1243646" y="1287168"/>
                  <a:pt x="1243597" y="1287022"/>
                </a:cubicBezTo>
                <a:cubicBezTo>
                  <a:pt x="1243548" y="1286875"/>
                  <a:pt x="1243512" y="1286729"/>
                  <a:pt x="1243475" y="1286584"/>
                </a:cubicBezTo>
                <a:lnTo>
                  <a:pt x="1243329" y="1286120"/>
                </a:lnTo>
                <a:cubicBezTo>
                  <a:pt x="1243329" y="1285975"/>
                  <a:pt x="1243220" y="1285816"/>
                  <a:pt x="1243171" y="1285658"/>
                </a:cubicBezTo>
                <a:lnTo>
                  <a:pt x="1242988" y="1285146"/>
                </a:lnTo>
                <a:cubicBezTo>
                  <a:pt x="1242988" y="1284988"/>
                  <a:pt x="1242879" y="1284818"/>
                  <a:pt x="1242818" y="1284660"/>
                </a:cubicBezTo>
                <a:cubicBezTo>
                  <a:pt x="1242757" y="1284501"/>
                  <a:pt x="1242696" y="1284343"/>
                  <a:pt x="1242623" y="1284173"/>
                </a:cubicBezTo>
                <a:cubicBezTo>
                  <a:pt x="1242550" y="1284002"/>
                  <a:pt x="1242501" y="1283856"/>
                  <a:pt x="1242428" y="1283685"/>
                </a:cubicBezTo>
                <a:cubicBezTo>
                  <a:pt x="1242355" y="1283515"/>
                  <a:pt x="1242318" y="1283429"/>
                  <a:pt x="1242270" y="1283296"/>
                </a:cubicBezTo>
                <a:cubicBezTo>
                  <a:pt x="1242221" y="1283162"/>
                  <a:pt x="1242136" y="1282967"/>
                  <a:pt x="1242063" y="1282809"/>
                </a:cubicBezTo>
                <a:cubicBezTo>
                  <a:pt x="1241990" y="1282650"/>
                  <a:pt x="1241917" y="1282492"/>
                  <a:pt x="1241856" y="1282322"/>
                </a:cubicBezTo>
                <a:cubicBezTo>
                  <a:pt x="1241795" y="1282151"/>
                  <a:pt x="1241697" y="1281980"/>
                  <a:pt x="1241624" y="1281810"/>
                </a:cubicBezTo>
                <a:cubicBezTo>
                  <a:pt x="1241551" y="1281640"/>
                  <a:pt x="1241454" y="1281445"/>
                  <a:pt x="1241381" y="1281262"/>
                </a:cubicBezTo>
                <a:cubicBezTo>
                  <a:pt x="1241308" y="1281080"/>
                  <a:pt x="1241186" y="1280860"/>
                  <a:pt x="1241101" y="1280653"/>
                </a:cubicBezTo>
                <a:cubicBezTo>
                  <a:pt x="1241015" y="1280446"/>
                  <a:pt x="1240918" y="1280276"/>
                  <a:pt x="1240833" y="1280081"/>
                </a:cubicBezTo>
                <a:lnTo>
                  <a:pt x="1240528" y="1279423"/>
                </a:lnTo>
                <a:cubicBezTo>
                  <a:pt x="1240455" y="1279241"/>
                  <a:pt x="1240370" y="1279070"/>
                  <a:pt x="1240285" y="1278887"/>
                </a:cubicBezTo>
                <a:lnTo>
                  <a:pt x="1240017" y="1278303"/>
                </a:lnTo>
                <a:cubicBezTo>
                  <a:pt x="1239932" y="1278096"/>
                  <a:pt x="1239834" y="1277901"/>
                  <a:pt x="1239749" y="1277707"/>
                </a:cubicBezTo>
                <a:lnTo>
                  <a:pt x="1239469" y="1277061"/>
                </a:lnTo>
                <a:lnTo>
                  <a:pt x="1239213" y="1276465"/>
                </a:lnTo>
                <a:cubicBezTo>
                  <a:pt x="1239116" y="1276196"/>
                  <a:pt x="1239006" y="1275941"/>
                  <a:pt x="1238897" y="1275673"/>
                </a:cubicBezTo>
                <a:lnTo>
                  <a:pt x="1238763" y="1275307"/>
                </a:lnTo>
                <a:cubicBezTo>
                  <a:pt x="1238702" y="1275174"/>
                  <a:pt x="1238653" y="1275040"/>
                  <a:pt x="1238617" y="1274906"/>
                </a:cubicBezTo>
                <a:cubicBezTo>
                  <a:pt x="1238617" y="1274760"/>
                  <a:pt x="1238507" y="1274601"/>
                  <a:pt x="1238446" y="1274455"/>
                </a:cubicBezTo>
                <a:cubicBezTo>
                  <a:pt x="1238385" y="1274309"/>
                  <a:pt x="1238337" y="1274139"/>
                  <a:pt x="1238288" y="1273980"/>
                </a:cubicBezTo>
                <a:lnTo>
                  <a:pt x="1238069" y="1273420"/>
                </a:lnTo>
                <a:lnTo>
                  <a:pt x="1237898" y="1273006"/>
                </a:lnTo>
                <a:lnTo>
                  <a:pt x="1237764" y="1272690"/>
                </a:lnTo>
                <a:lnTo>
                  <a:pt x="1237545" y="1272239"/>
                </a:lnTo>
                <a:lnTo>
                  <a:pt x="1237326" y="1271825"/>
                </a:lnTo>
                <a:lnTo>
                  <a:pt x="1237143" y="1271484"/>
                </a:lnTo>
                <a:lnTo>
                  <a:pt x="1236997" y="1271241"/>
                </a:lnTo>
                <a:lnTo>
                  <a:pt x="1236778" y="1270875"/>
                </a:lnTo>
                <a:cubicBezTo>
                  <a:pt x="1236668" y="1270729"/>
                  <a:pt x="1236571" y="1270571"/>
                  <a:pt x="1236461" y="1270412"/>
                </a:cubicBezTo>
                <a:lnTo>
                  <a:pt x="1236230" y="1270084"/>
                </a:lnTo>
                <a:lnTo>
                  <a:pt x="1235962" y="1269730"/>
                </a:lnTo>
                <a:cubicBezTo>
                  <a:pt x="1235852" y="1269597"/>
                  <a:pt x="1235743" y="1269450"/>
                  <a:pt x="1235621" y="1269317"/>
                </a:cubicBezTo>
                <a:lnTo>
                  <a:pt x="1235268" y="1268903"/>
                </a:lnTo>
                <a:lnTo>
                  <a:pt x="1235000" y="1268610"/>
                </a:lnTo>
                <a:lnTo>
                  <a:pt x="1234793" y="1268391"/>
                </a:lnTo>
                <a:lnTo>
                  <a:pt x="1234489" y="1268099"/>
                </a:lnTo>
                <a:lnTo>
                  <a:pt x="1234355" y="1267965"/>
                </a:lnTo>
                <a:lnTo>
                  <a:pt x="1234148" y="1267770"/>
                </a:lnTo>
                <a:lnTo>
                  <a:pt x="1233916" y="1267575"/>
                </a:lnTo>
                <a:lnTo>
                  <a:pt x="1233661" y="1267344"/>
                </a:lnTo>
                <a:lnTo>
                  <a:pt x="1233454" y="1267173"/>
                </a:lnTo>
                <a:lnTo>
                  <a:pt x="1233101" y="1266881"/>
                </a:lnTo>
                <a:lnTo>
                  <a:pt x="1232760" y="1266626"/>
                </a:lnTo>
                <a:lnTo>
                  <a:pt x="1232419" y="1266370"/>
                </a:lnTo>
                <a:cubicBezTo>
                  <a:pt x="1232260" y="1266272"/>
                  <a:pt x="1232114" y="1266163"/>
                  <a:pt x="1231968" y="1266053"/>
                </a:cubicBezTo>
                <a:cubicBezTo>
                  <a:pt x="1231834" y="1265980"/>
                  <a:pt x="1231712" y="1265895"/>
                  <a:pt x="1231591" y="1265810"/>
                </a:cubicBezTo>
                <a:lnTo>
                  <a:pt x="1231177" y="1265554"/>
                </a:lnTo>
                <a:lnTo>
                  <a:pt x="1230775" y="1265310"/>
                </a:lnTo>
                <a:lnTo>
                  <a:pt x="1230470" y="1265140"/>
                </a:lnTo>
                <a:lnTo>
                  <a:pt x="1230154" y="1264970"/>
                </a:lnTo>
                <a:cubicBezTo>
                  <a:pt x="1229947" y="1264860"/>
                  <a:pt x="1229740" y="1264738"/>
                  <a:pt x="1229533" y="1264641"/>
                </a:cubicBezTo>
                <a:lnTo>
                  <a:pt x="1229131" y="1264433"/>
                </a:lnTo>
                <a:lnTo>
                  <a:pt x="1228680" y="1264226"/>
                </a:lnTo>
                <a:lnTo>
                  <a:pt x="1228242" y="1264020"/>
                </a:lnTo>
                <a:lnTo>
                  <a:pt x="1227755" y="1263813"/>
                </a:lnTo>
                <a:cubicBezTo>
                  <a:pt x="1227633" y="1263813"/>
                  <a:pt x="1227524" y="1263703"/>
                  <a:pt x="1227402" y="1263666"/>
                </a:cubicBezTo>
                <a:lnTo>
                  <a:pt x="1226842" y="1263435"/>
                </a:lnTo>
                <a:lnTo>
                  <a:pt x="1226428" y="1263277"/>
                </a:lnTo>
                <a:lnTo>
                  <a:pt x="1225953" y="1263106"/>
                </a:lnTo>
                <a:lnTo>
                  <a:pt x="1225514" y="1262948"/>
                </a:lnTo>
                <a:lnTo>
                  <a:pt x="1225088" y="1262802"/>
                </a:lnTo>
                <a:lnTo>
                  <a:pt x="1224638" y="1262656"/>
                </a:lnTo>
                <a:lnTo>
                  <a:pt x="1223810" y="1262388"/>
                </a:lnTo>
                <a:lnTo>
                  <a:pt x="1223310" y="1262242"/>
                </a:lnTo>
                <a:lnTo>
                  <a:pt x="1222872" y="1262120"/>
                </a:lnTo>
                <a:lnTo>
                  <a:pt x="1222409" y="1261986"/>
                </a:lnTo>
                <a:lnTo>
                  <a:pt x="1221910" y="1261852"/>
                </a:lnTo>
                <a:lnTo>
                  <a:pt x="1221484" y="1261755"/>
                </a:lnTo>
                <a:lnTo>
                  <a:pt x="1220985" y="1261633"/>
                </a:lnTo>
                <a:lnTo>
                  <a:pt x="1220644" y="1261548"/>
                </a:lnTo>
                <a:lnTo>
                  <a:pt x="1220035" y="1261402"/>
                </a:lnTo>
                <a:lnTo>
                  <a:pt x="1219572" y="1261304"/>
                </a:lnTo>
                <a:lnTo>
                  <a:pt x="1218988" y="1261170"/>
                </a:lnTo>
                <a:lnTo>
                  <a:pt x="1218257" y="1261024"/>
                </a:lnTo>
                <a:lnTo>
                  <a:pt x="1217758" y="1260927"/>
                </a:lnTo>
                <a:lnTo>
                  <a:pt x="1217185" y="1260817"/>
                </a:lnTo>
                <a:lnTo>
                  <a:pt x="1216686" y="1260732"/>
                </a:lnTo>
                <a:lnTo>
                  <a:pt x="1216236" y="1260635"/>
                </a:lnTo>
                <a:lnTo>
                  <a:pt x="1215895" y="1260573"/>
                </a:lnTo>
                <a:lnTo>
                  <a:pt x="1215481" y="1260500"/>
                </a:lnTo>
                <a:lnTo>
                  <a:pt x="1215164" y="1260428"/>
                </a:lnTo>
                <a:lnTo>
                  <a:pt x="1214896" y="1260428"/>
                </a:lnTo>
                <a:lnTo>
                  <a:pt x="1214470" y="1260330"/>
                </a:lnTo>
                <a:lnTo>
                  <a:pt x="1214105" y="1260245"/>
                </a:lnTo>
                <a:lnTo>
                  <a:pt x="1213800" y="1260171"/>
                </a:lnTo>
                <a:lnTo>
                  <a:pt x="1213386" y="1260062"/>
                </a:lnTo>
                <a:lnTo>
                  <a:pt x="1213118" y="1259977"/>
                </a:lnTo>
                <a:lnTo>
                  <a:pt x="1212692" y="1259843"/>
                </a:lnTo>
                <a:lnTo>
                  <a:pt x="1212278" y="1259673"/>
                </a:lnTo>
                <a:lnTo>
                  <a:pt x="1211876" y="1259478"/>
                </a:lnTo>
                <a:lnTo>
                  <a:pt x="1211621" y="1259319"/>
                </a:lnTo>
                <a:lnTo>
                  <a:pt x="1211267" y="1259039"/>
                </a:lnTo>
                <a:lnTo>
                  <a:pt x="1211073" y="1258869"/>
                </a:lnTo>
                <a:lnTo>
                  <a:pt x="1210890" y="1258662"/>
                </a:lnTo>
                <a:lnTo>
                  <a:pt x="1210573" y="1258199"/>
                </a:lnTo>
                <a:lnTo>
                  <a:pt x="1210427" y="1257944"/>
                </a:lnTo>
                <a:cubicBezTo>
                  <a:pt x="1210403" y="1257870"/>
                  <a:pt x="1210366" y="1257797"/>
                  <a:pt x="1210330" y="1257736"/>
                </a:cubicBezTo>
                <a:lnTo>
                  <a:pt x="1210220" y="1257469"/>
                </a:lnTo>
                <a:lnTo>
                  <a:pt x="1210147" y="1257298"/>
                </a:lnTo>
                <a:lnTo>
                  <a:pt x="1210038" y="1256982"/>
                </a:lnTo>
                <a:cubicBezTo>
                  <a:pt x="1210038" y="1256860"/>
                  <a:pt x="1209952" y="1256738"/>
                  <a:pt x="1209916" y="1256628"/>
                </a:cubicBezTo>
                <a:lnTo>
                  <a:pt x="1209843" y="1256385"/>
                </a:lnTo>
                <a:cubicBezTo>
                  <a:pt x="1209818" y="1256311"/>
                  <a:pt x="1209794" y="1256251"/>
                  <a:pt x="1209782" y="1256178"/>
                </a:cubicBezTo>
                <a:cubicBezTo>
                  <a:pt x="1209782" y="1256020"/>
                  <a:pt x="1209697" y="1255873"/>
                  <a:pt x="1209648" y="1255727"/>
                </a:cubicBezTo>
                <a:lnTo>
                  <a:pt x="1209575" y="1255423"/>
                </a:lnTo>
                <a:lnTo>
                  <a:pt x="1209502" y="1255155"/>
                </a:lnTo>
                <a:cubicBezTo>
                  <a:pt x="1209502" y="1254996"/>
                  <a:pt x="1209417" y="1254826"/>
                  <a:pt x="1209368" y="1254668"/>
                </a:cubicBezTo>
                <a:cubicBezTo>
                  <a:pt x="1209344" y="1254558"/>
                  <a:pt x="1209319" y="1254436"/>
                  <a:pt x="1209283" y="1254327"/>
                </a:cubicBezTo>
                <a:lnTo>
                  <a:pt x="1209210" y="1254035"/>
                </a:lnTo>
                <a:cubicBezTo>
                  <a:pt x="1209197" y="1253962"/>
                  <a:pt x="1209173" y="1253889"/>
                  <a:pt x="1209149" y="1253815"/>
                </a:cubicBezTo>
                <a:lnTo>
                  <a:pt x="1209015" y="1253815"/>
                </a:lnTo>
                <a:lnTo>
                  <a:pt x="1208771" y="1253815"/>
                </a:lnTo>
                <a:lnTo>
                  <a:pt x="1207907" y="1253815"/>
                </a:lnTo>
                <a:lnTo>
                  <a:pt x="1207761" y="1253815"/>
                </a:lnTo>
                <a:lnTo>
                  <a:pt x="1207602" y="1253815"/>
                </a:lnTo>
                <a:lnTo>
                  <a:pt x="1207407" y="1253815"/>
                </a:lnTo>
                <a:lnTo>
                  <a:pt x="1207237" y="1253815"/>
                </a:lnTo>
                <a:lnTo>
                  <a:pt x="1207042" y="1253815"/>
                </a:lnTo>
                <a:lnTo>
                  <a:pt x="1206872" y="1253815"/>
                </a:lnTo>
                <a:lnTo>
                  <a:pt x="1206713" y="1253815"/>
                </a:lnTo>
                <a:lnTo>
                  <a:pt x="1206494" y="1253815"/>
                </a:lnTo>
                <a:lnTo>
                  <a:pt x="1206299" y="1253815"/>
                </a:lnTo>
                <a:lnTo>
                  <a:pt x="1206117" y="1253815"/>
                </a:lnTo>
                <a:lnTo>
                  <a:pt x="1205873" y="1253815"/>
                </a:lnTo>
                <a:lnTo>
                  <a:pt x="1205691" y="1253815"/>
                </a:lnTo>
                <a:lnTo>
                  <a:pt x="1205581" y="1253815"/>
                </a:lnTo>
                <a:lnTo>
                  <a:pt x="1205276" y="1253815"/>
                </a:lnTo>
                <a:lnTo>
                  <a:pt x="1204875" y="1253876"/>
                </a:lnTo>
                <a:lnTo>
                  <a:pt x="1204534" y="1253876"/>
                </a:lnTo>
                <a:lnTo>
                  <a:pt x="1204315" y="1253876"/>
                </a:lnTo>
                <a:lnTo>
                  <a:pt x="1203974" y="1253876"/>
                </a:lnTo>
                <a:lnTo>
                  <a:pt x="1203681" y="1253876"/>
                </a:lnTo>
                <a:lnTo>
                  <a:pt x="1203450" y="1253876"/>
                </a:lnTo>
                <a:lnTo>
                  <a:pt x="1203170" y="1253876"/>
                </a:lnTo>
                <a:lnTo>
                  <a:pt x="1202926" y="1253876"/>
                </a:lnTo>
                <a:lnTo>
                  <a:pt x="1202646" y="1253876"/>
                </a:lnTo>
                <a:lnTo>
                  <a:pt x="1202342" y="1253876"/>
                </a:lnTo>
                <a:lnTo>
                  <a:pt x="1201989" y="1253876"/>
                </a:lnTo>
                <a:lnTo>
                  <a:pt x="1201684" y="1253876"/>
                </a:lnTo>
                <a:lnTo>
                  <a:pt x="1201453" y="1253876"/>
                </a:lnTo>
                <a:lnTo>
                  <a:pt x="1201246" y="1253876"/>
                </a:lnTo>
                <a:lnTo>
                  <a:pt x="1200820" y="1253937"/>
                </a:lnTo>
                <a:lnTo>
                  <a:pt x="1200479" y="1253937"/>
                </a:lnTo>
                <a:lnTo>
                  <a:pt x="1200284" y="1253937"/>
                </a:lnTo>
                <a:lnTo>
                  <a:pt x="1200028" y="1253937"/>
                </a:lnTo>
                <a:lnTo>
                  <a:pt x="1199724" y="1253937"/>
                </a:lnTo>
                <a:lnTo>
                  <a:pt x="1199444" y="1253937"/>
                </a:lnTo>
                <a:lnTo>
                  <a:pt x="1199225" y="1253937"/>
                </a:lnTo>
                <a:lnTo>
                  <a:pt x="1198835" y="1253998"/>
                </a:lnTo>
                <a:lnTo>
                  <a:pt x="1198664" y="1253998"/>
                </a:lnTo>
                <a:lnTo>
                  <a:pt x="1198494" y="1253998"/>
                </a:lnTo>
                <a:lnTo>
                  <a:pt x="1198263" y="1253998"/>
                </a:lnTo>
                <a:lnTo>
                  <a:pt x="1198043" y="1253998"/>
                </a:lnTo>
                <a:lnTo>
                  <a:pt x="1197776" y="1253998"/>
                </a:lnTo>
                <a:lnTo>
                  <a:pt x="1197556" y="1253998"/>
                </a:lnTo>
                <a:lnTo>
                  <a:pt x="1197361" y="1253998"/>
                </a:lnTo>
                <a:lnTo>
                  <a:pt x="1197191" y="1253998"/>
                </a:lnTo>
                <a:lnTo>
                  <a:pt x="1196984" y="1253998"/>
                </a:lnTo>
                <a:lnTo>
                  <a:pt x="1196862" y="1253998"/>
                </a:lnTo>
                <a:lnTo>
                  <a:pt x="1196643" y="1253998"/>
                </a:lnTo>
                <a:lnTo>
                  <a:pt x="1196400" y="1253998"/>
                </a:lnTo>
                <a:lnTo>
                  <a:pt x="1196193" y="1253998"/>
                </a:lnTo>
                <a:lnTo>
                  <a:pt x="1195973" y="1253998"/>
                </a:lnTo>
                <a:lnTo>
                  <a:pt x="1195839" y="1253998"/>
                </a:lnTo>
                <a:lnTo>
                  <a:pt x="1195596" y="1254059"/>
                </a:lnTo>
                <a:lnTo>
                  <a:pt x="1195243" y="1254132"/>
                </a:lnTo>
                <a:lnTo>
                  <a:pt x="1195024" y="1254132"/>
                </a:lnTo>
                <a:lnTo>
                  <a:pt x="1194756" y="1254205"/>
                </a:lnTo>
                <a:lnTo>
                  <a:pt x="1194451" y="1254278"/>
                </a:lnTo>
                <a:lnTo>
                  <a:pt x="1194086" y="1254376"/>
                </a:lnTo>
                <a:lnTo>
                  <a:pt x="1194013" y="1254376"/>
                </a:lnTo>
                <a:lnTo>
                  <a:pt x="1193842" y="1254376"/>
                </a:lnTo>
                <a:lnTo>
                  <a:pt x="1193733" y="1254376"/>
                </a:lnTo>
                <a:lnTo>
                  <a:pt x="1193562" y="1254376"/>
                </a:lnTo>
                <a:lnTo>
                  <a:pt x="1193428" y="1254376"/>
                </a:lnTo>
                <a:lnTo>
                  <a:pt x="1193270" y="1254376"/>
                </a:lnTo>
                <a:lnTo>
                  <a:pt x="1193112" y="1254376"/>
                </a:lnTo>
                <a:lnTo>
                  <a:pt x="1192917" y="1254376"/>
                </a:lnTo>
                <a:lnTo>
                  <a:pt x="1192807" y="1254376"/>
                </a:lnTo>
                <a:cubicBezTo>
                  <a:pt x="1192734" y="1254400"/>
                  <a:pt x="1192661" y="1254424"/>
                  <a:pt x="1192588" y="1254449"/>
                </a:cubicBezTo>
                <a:lnTo>
                  <a:pt x="1192418" y="1254449"/>
                </a:lnTo>
                <a:lnTo>
                  <a:pt x="1192235" y="1254509"/>
                </a:lnTo>
                <a:lnTo>
                  <a:pt x="1192052" y="1254582"/>
                </a:lnTo>
                <a:lnTo>
                  <a:pt x="1191821" y="1254668"/>
                </a:lnTo>
                <a:lnTo>
                  <a:pt x="1191675" y="1254729"/>
                </a:lnTo>
                <a:lnTo>
                  <a:pt x="1191346" y="1254851"/>
                </a:lnTo>
                <a:lnTo>
                  <a:pt x="1191176" y="1254936"/>
                </a:lnTo>
                <a:lnTo>
                  <a:pt x="1190993" y="1255009"/>
                </a:lnTo>
                <a:lnTo>
                  <a:pt x="1190859" y="1255069"/>
                </a:lnTo>
                <a:lnTo>
                  <a:pt x="1190518" y="1255228"/>
                </a:lnTo>
                <a:lnTo>
                  <a:pt x="1190238" y="1255362"/>
                </a:lnTo>
                <a:lnTo>
                  <a:pt x="1190019" y="1255484"/>
                </a:lnTo>
                <a:lnTo>
                  <a:pt x="1189824" y="1255581"/>
                </a:lnTo>
                <a:lnTo>
                  <a:pt x="1189568" y="1255727"/>
                </a:lnTo>
                <a:lnTo>
                  <a:pt x="1189386" y="1255837"/>
                </a:lnTo>
                <a:lnTo>
                  <a:pt x="1189227" y="1255922"/>
                </a:lnTo>
                <a:lnTo>
                  <a:pt x="1189020" y="1256056"/>
                </a:lnTo>
                <a:lnTo>
                  <a:pt x="1188789" y="1256214"/>
                </a:lnTo>
                <a:lnTo>
                  <a:pt x="1188558" y="1256360"/>
                </a:lnTo>
                <a:lnTo>
                  <a:pt x="1188375" y="1256495"/>
                </a:lnTo>
                <a:lnTo>
                  <a:pt x="1188119" y="1256677"/>
                </a:lnTo>
                <a:lnTo>
                  <a:pt x="1187998" y="1256775"/>
                </a:lnTo>
                <a:lnTo>
                  <a:pt x="1187864" y="1256884"/>
                </a:lnTo>
                <a:lnTo>
                  <a:pt x="1187681" y="1257018"/>
                </a:lnTo>
                <a:lnTo>
                  <a:pt x="1187474" y="1257200"/>
                </a:lnTo>
                <a:lnTo>
                  <a:pt x="1187279" y="1257359"/>
                </a:lnTo>
                <a:lnTo>
                  <a:pt x="1187133" y="1257493"/>
                </a:lnTo>
                <a:lnTo>
                  <a:pt x="1186975" y="1257627"/>
                </a:lnTo>
                <a:lnTo>
                  <a:pt x="1186804" y="1257797"/>
                </a:lnTo>
                <a:cubicBezTo>
                  <a:pt x="1186743" y="1257846"/>
                  <a:pt x="1186682" y="1257907"/>
                  <a:pt x="1186634" y="1257968"/>
                </a:cubicBezTo>
                <a:lnTo>
                  <a:pt x="1186475" y="1258102"/>
                </a:lnTo>
                <a:lnTo>
                  <a:pt x="1186342" y="1258248"/>
                </a:lnTo>
                <a:lnTo>
                  <a:pt x="1186110" y="1258479"/>
                </a:lnTo>
                <a:lnTo>
                  <a:pt x="1185952" y="1258662"/>
                </a:lnTo>
                <a:lnTo>
                  <a:pt x="1185793" y="1258832"/>
                </a:lnTo>
                <a:lnTo>
                  <a:pt x="1185599" y="1259039"/>
                </a:lnTo>
                <a:lnTo>
                  <a:pt x="1185416" y="1259246"/>
                </a:lnTo>
                <a:lnTo>
                  <a:pt x="1185209" y="1259502"/>
                </a:lnTo>
                <a:lnTo>
                  <a:pt x="1185075" y="1259648"/>
                </a:lnTo>
                <a:lnTo>
                  <a:pt x="1184929" y="1259843"/>
                </a:lnTo>
                <a:lnTo>
                  <a:pt x="1184771" y="1260038"/>
                </a:lnTo>
                <a:cubicBezTo>
                  <a:pt x="1184345" y="1260573"/>
                  <a:pt x="1183346" y="1261962"/>
                  <a:pt x="1183346" y="1261962"/>
                </a:cubicBezTo>
                <a:cubicBezTo>
                  <a:pt x="1183163" y="1262157"/>
                  <a:pt x="1181836" y="1264226"/>
                  <a:pt x="1181824" y="1264226"/>
                </a:cubicBezTo>
                <a:cubicBezTo>
                  <a:pt x="1181349" y="1264994"/>
                  <a:pt x="1180874" y="1265761"/>
                  <a:pt x="1180387" y="1266528"/>
                </a:cubicBezTo>
                <a:lnTo>
                  <a:pt x="1178621" y="1269438"/>
                </a:lnTo>
                <a:lnTo>
                  <a:pt x="1177952" y="1270546"/>
                </a:lnTo>
                <a:cubicBezTo>
                  <a:pt x="1178086" y="1270778"/>
                  <a:pt x="1178195" y="1271021"/>
                  <a:pt x="1178293" y="1271277"/>
                </a:cubicBezTo>
                <a:cubicBezTo>
                  <a:pt x="1178366" y="1271472"/>
                  <a:pt x="1178463" y="1271679"/>
                  <a:pt x="1178561" y="1271861"/>
                </a:cubicBezTo>
                <a:cubicBezTo>
                  <a:pt x="1178646" y="1272020"/>
                  <a:pt x="1178743" y="1272166"/>
                  <a:pt x="1178865" y="1272300"/>
                </a:cubicBezTo>
                <a:cubicBezTo>
                  <a:pt x="1178962" y="1272397"/>
                  <a:pt x="1179060" y="1272483"/>
                  <a:pt x="1179157" y="1272568"/>
                </a:cubicBezTo>
                <a:cubicBezTo>
                  <a:pt x="1179230" y="1272629"/>
                  <a:pt x="1179315" y="1272665"/>
                  <a:pt x="1179401" y="1272701"/>
                </a:cubicBezTo>
                <a:lnTo>
                  <a:pt x="1179498" y="1272701"/>
                </a:lnTo>
                <a:lnTo>
                  <a:pt x="1179778" y="1272836"/>
                </a:lnTo>
                <a:lnTo>
                  <a:pt x="1180229" y="1273067"/>
                </a:lnTo>
                <a:lnTo>
                  <a:pt x="1180570" y="1273262"/>
                </a:lnTo>
                <a:lnTo>
                  <a:pt x="1180862" y="1273469"/>
                </a:lnTo>
                <a:lnTo>
                  <a:pt x="1181118" y="1273663"/>
                </a:lnTo>
                <a:lnTo>
                  <a:pt x="1181252" y="1273773"/>
                </a:lnTo>
                <a:lnTo>
                  <a:pt x="1181422" y="1273932"/>
                </a:lnTo>
                <a:lnTo>
                  <a:pt x="1181617" y="1274151"/>
                </a:lnTo>
                <a:lnTo>
                  <a:pt x="1181800" y="1274394"/>
                </a:lnTo>
                <a:lnTo>
                  <a:pt x="1182019" y="1274772"/>
                </a:lnTo>
                <a:lnTo>
                  <a:pt x="1182104" y="1275003"/>
                </a:lnTo>
                <a:lnTo>
                  <a:pt x="1182214" y="1275392"/>
                </a:lnTo>
                <a:lnTo>
                  <a:pt x="1182214" y="1275697"/>
                </a:lnTo>
                <a:lnTo>
                  <a:pt x="1182214" y="1275989"/>
                </a:lnTo>
                <a:cubicBezTo>
                  <a:pt x="1182214" y="1276074"/>
                  <a:pt x="1182214" y="1276160"/>
                  <a:pt x="1182214" y="1276245"/>
                </a:cubicBezTo>
                <a:lnTo>
                  <a:pt x="1182104" y="1276781"/>
                </a:lnTo>
                <a:cubicBezTo>
                  <a:pt x="1182080" y="1276891"/>
                  <a:pt x="1182043" y="1277012"/>
                  <a:pt x="1182007" y="1277122"/>
                </a:cubicBezTo>
                <a:lnTo>
                  <a:pt x="1181812" y="1277609"/>
                </a:lnTo>
                <a:cubicBezTo>
                  <a:pt x="1181714" y="1277792"/>
                  <a:pt x="1181629" y="1277987"/>
                  <a:pt x="1181532" y="1278169"/>
                </a:cubicBezTo>
                <a:cubicBezTo>
                  <a:pt x="1181434" y="1278352"/>
                  <a:pt x="1181398" y="1278400"/>
                  <a:pt x="1181325" y="1278522"/>
                </a:cubicBezTo>
                <a:lnTo>
                  <a:pt x="1181032" y="1278985"/>
                </a:lnTo>
                <a:lnTo>
                  <a:pt x="1180789" y="1279326"/>
                </a:lnTo>
                <a:lnTo>
                  <a:pt x="1180497" y="1279728"/>
                </a:lnTo>
                <a:lnTo>
                  <a:pt x="1180107" y="1280191"/>
                </a:lnTo>
                <a:lnTo>
                  <a:pt x="1179729" y="1280592"/>
                </a:lnTo>
                <a:lnTo>
                  <a:pt x="1179401" y="1280921"/>
                </a:lnTo>
                <a:lnTo>
                  <a:pt x="1178999" y="1281274"/>
                </a:lnTo>
                <a:lnTo>
                  <a:pt x="1178646" y="1281591"/>
                </a:lnTo>
                <a:lnTo>
                  <a:pt x="1178329" y="1281847"/>
                </a:lnTo>
                <a:lnTo>
                  <a:pt x="1177915" y="1282187"/>
                </a:lnTo>
                <a:lnTo>
                  <a:pt x="1177598" y="1282431"/>
                </a:lnTo>
                <a:cubicBezTo>
                  <a:pt x="1177477" y="1282516"/>
                  <a:pt x="1177367" y="1282614"/>
                  <a:pt x="1177245" y="1282687"/>
                </a:cubicBezTo>
                <a:lnTo>
                  <a:pt x="1176929" y="1282918"/>
                </a:lnTo>
                <a:lnTo>
                  <a:pt x="1176624" y="1283137"/>
                </a:lnTo>
                <a:cubicBezTo>
                  <a:pt x="1176539" y="1283211"/>
                  <a:pt x="1176442" y="1283271"/>
                  <a:pt x="1176344" y="1283332"/>
                </a:cubicBezTo>
                <a:lnTo>
                  <a:pt x="1176076" y="1283515"/>
                </a:lnTo>
                <a:lnTo>
                  <a:pt x="1175796" y="1283697"/>
                </a:lnTo>
                <a:lnTo>
                  <a:pt x="1175480" y="1283904"/>
                </a:lnTo>
                <a:lnTo>
                  <a:pt x="1175090" y="1284160"/>
                </a:lnTo>
                <a:cubicBezTo>
                  <a:pt x="1175017" y="1284209"/>
                  <a:pt x="1174944" y="1284258"/>
                  <a:pt x="1174859" y="1284294"/>
                </a:cubicBezTo>
                <a:lnTo>
                  <a:pt x="1174506" y="1284513"/>
                </a:lnTo>
                <a:lnTo>
                  <a:pt x="1174140" y="1284733"/>
                </a:lnTo>
                <a:lnTo>
                  <a:pt x="1173690" y="1284988"/>
                </a:lnTo>
                <a:lnTo>
                  <a:pt x="1173300" y="1285207"/>
                </a:lnTo>
                <a:lnTo>
                  <a:pt x="1173008" y="1285378"/>
                </a:lnTo>
                <a:lnTo>
                  <a:pt x="1172630" y="1285573"/>
                </a:lnTo>
                <a:lnTo>
                  <a:pt x="1172363" y="1285707"/>
                </a:lnTo>
                <a:lnTo>
                  <a:pt x="1171802" y="1285987"/>
                </a:lnTo>
                <a:lnTo>
                  <a:pt x="1171291" y="1286230"/>
                </a:lnTo>
                <a:lnTo>
                  <a:pt x="1170804" y="1286462"/>
                </a:lnTo>
                <a:lnTo>
                  <a:pt x="1170475" y="1286595"/>
                </a:lnTo>
                <a:lnTo>
                  <a:pt x="1170171" y="1286729"/>
                </a:lnTo>
                <a:lnTo>
                  <a:pt x="1169830" y="1286864"/>
                </a:lnTo>
                <a:lnTo>
                  <a:pt x="1169330" y="1287046"/>
                </a:lnTo>
                <a:lnTo>
                  <a:pt x="1168856" y="1287204"/>
                </a:lnTo>
                <a:lnTo>
                  <a:pt x="1168539" y="1287302"/>
                </a:lnTo>
                <a:lnTo>
                  <a:pt x="1168174" y="1287411"/>
                </a:lnTo>
                <a:lnTo>
                  <a:pt x="1167967" y="1287472"/>
                </a:lnTo>
                <a:lnTo>
                  <a:pt x="1167699" y="1287472"/>
                </a:lnTo>
                <a:lnTo>
                  <a:pt x="1167431" y="1287472"/>
                </a:lnTo>
                <a:lnTo>
                  <a:pt x="1167236" y="1287472"/>
                </a:lnTo>
                <a:lnTo>
                  <a:pt x="1167017" y="1287472"/>
                </a:lnTo>
                <a:lnTo>
                  <a:pt x="1166785" y="1287472"/>
                </a:lnTo>
                <a:lnTo>
                  <a:pt x="1166128" y="1287472"/>
                </a:lnTo>
                <a:lnTo>
                  <a:pt x="1165823" y="1287472"/>
                </a:lnTo>
                <a:lnTo>
                  <a:pt x="1165470" y="1287472"/>
                </a:lnTo>
                <a:lnTo>
                  <a:pt x="1165032" y="1287472"/>
                </a:lnTo>
                <a:lnTo>
                  <a:pt x="1163254" y="1287472"/>
                </a:lnTo>
                <a:lnTo>
                  <a:pt x="1162852" y="1287472"/>
                </a:lnTo>
                <a:lnTo>
                  <a:pt x="1162414" y="1287472"/>
                </a:lnTo>
                <a:lnTo>
                  <a:pt x="1162024" y="1287472"/>
                </a:lnTo>
                <a:lnTo>
                  <a:pt x="1161537" y="1287472"/>
                </a:lnTo>
                <a:lnTo>
                  <a:pt x="1160441" y="1287618"/>
                </a:lnTo>
                <a:lnTo>
                  <a:pt x="1159431" y="1287801"/>
                </a:lnTo>
                <a:lnTo>
                  <a:pt x="1158603" y="1287984"/>
                </a:lnTo>
                <a:lnTo>
                  <a:pt x="1157714" y="1288203"/>
                </a:lnTo>
                <a:lnTo>
                  <a:pt x="1156898" y="1288434"/>
                </a:lnTo>
                <a:lnTo>
                  <a:pt x="1155997" y="1288702"/>
                </a:lnTo>
                <a:lnTo>
                  <a:pt x="1155096" y="1289006"/>
                </a:lnTo>
                <a:lnTo>
                  <a:pt x="1154219" y="1289323"/>
                </a:lnTo>
                <a:lnTo>
                  <a:pt x="1153281" y="1289677"/>
                </a:lnTo>
                <a:lnTo>
                  <a:pt x="1152392" y="1290042"/>
                </a:lnTo>
                <a:lnTo>
                  <a:pt x="1151479" y="1290431"/>
                </a:lnTo>
                <a:lnTo>
                  <a:pt x="1150371" y="1290918"/>
                </a:lnTo>
                <a:lnTo>
                  <a:pt x="1149446" y="1291357"/>
                </a:lnTo>
                <a:lnTo>
                  <a:pt x="1148398" y="1291868"/>
                </a:lnTo>
                <a:lnTo>
                  <a:pt x="1147266" y="1292428"/>
                </a:lnTo>
                <a:lnTo>
                  <a:pt x="1146048" y="1293061"/>
                </a:lnTo>
                <a:lnTo>
                  <a:pt x="1144916" y="1293658"/>
                </a:lnTo>
                <a:lnTo>
                  <a:pt x="1143430" y="1294462"/>
                </a:lnTo>
                <a:lnTo>
                  <a:pt x="1142213" y="1295132"/>
                </a:lnTo>
                <a:lnTo>
                  <a:pt x="1141117" y="1295692"/>
                </a:lnTo>
                <a:lnTo>
                  <a:pt x="1140252" y="1296130"/>
                </a:lnTo>
                <a:lnTo>
                  <a:pt x="1139327" y="1296568"/>
                </a:lnTo>
                <a:lnTo>
                  <a:pt x="1138499" y="1296958"/>
                </a:lnTo>
                <a:lnTo>
                  <a:pt x="1137792" y="1297275"/>
                </a:lnTo>
                <a:lnTo>
                  <a:pt x="1137086" y="1297579"/>
                </a:lnTo>
                <a:lnTo>
                  <a:pt x="1136416" y="1297872"/>
                </a:lnTo>
                <a:lnTo>
                  <a:pt x="1135662" y="1298176"/>
                </a:lnTo>
                <a:lnTo>
                  <a:pt x="1135004" y="1298432"/>
                </a:lnTo>
                <a:lnTo>
                  <a:pt x="1134371" y="1298675"/>
                </a:lnTo>
                <a:lnTo>
                  <a:pt x="1133506" y="1298979"/>
                </a:lnTo>
                <a:lnTo>
                  <a:pt x="1132447" y="1299320"/>
                </a:lnTo>
                <a:lnTo>
                  <a:pt x="1131546" y="1299601"/>
                </a:lnTo>
                <a:lnTo>
                  <a:pt x="1130681" y="1299844"/>
                </a:lnTo>
                <a:lnTo>
                  <a:pt x="1129792" y="1300063"/>
                </a:lnTo>
                <a:lnTo>
                  <a:pt x="1129110" y="1300221"/>
                </a:lnTo>
                <a:lnTo>
                  <a:pt x="1128502" y="1300343"/>
                </a:lnTo>
                <a:lnTo>
                  <a:pt x="1128100" y="1300416"/>
                </a:lnTo>
                <a:lnTo>
                  <a:pt x="1127479" y="1300526"/>
                </a:lnTo>
                <a:lnTo>
                  <a:pt x="1126845" y="1300611"/>
                </a:lnTo>
                <a:lnTo>
                  <a:pt x="1126273" y="1300684"/>
                </a:lnTo>
                <a:lnTo>
                  <a:pt x="1125750" y="1300684"/>
                </a:lnTo>
                <a:lnTo>
                  <a:pt x="1125262" y="1300684"/>
                </a:lnTo>
                <a:lnTo>
                  <a:pt x="1124836" y="1300684"/>
                </a:lnTo>
                <a:lnTo>
                  <a:pt x="1124447" y="1300684"/>
                </a:lnTo>
                <a:lnTo>
                  <a:pt x="1122718" y="1300684"/>
                </a:lnTo>
                <a:lnTo>
                  <a:pt x="1122182" y="1300684"/>
                </a:lnTo>
                <a:cubicBezTo>
                  <a:pt x="1121926" y="1300684"/>
                  <a:pt x="1121670" y="1300623"/>
                  <a:pt x="1121415" y="1300611"/>
                </a:cubicBezTo>
                <a:lnTo>
                  <a:pt x="1120818" y="1300526"/>
                </a:lnTo>
                <a:lnTo>
                  <a:pt x="1120379" y="1300453"/>
                </a:lnTo>
                <a:lnTo>
                  <a:pt x="1119917" y="1300355"/>
                </a:lnTo>
                <a:lnTo>
                  <a:pt x="1119381" y="1300234"/>
                </a:lnTo>
                <a:lnTo>
                  <a:pt x="1118967" y="1300136"/>
                </a:lnTo>
                <a:lnTo>
                  <a:pt x="1118468" y="1300002"/>
                </a:lnTo>
                <a:cubicBezTo>
                  <a:pt x="1118334" y="1299990"/>
                  <a:pt x="1118200" y="1299954"/>
                  <a:pt x="1118066" y="1299917"/>
                </a:cubicBezTo>
                <a:lnTo>
                  <a:pt x="1117664" y="1299844"/>
                </a:lnTo>
                <a:lnTo>
                  <a:pt x="1117274" y="1299844"/>
                </a:lnTo>
                <a:lnTo>
                  <a:pt x="1116946" y="1299844"/>
                </a:lnTo>
                <a:lnTo>
                  <a:pt x="1116361" y="1299844"/>
                </a:lnTo>
                <a:lnTo>
                  <a:pt x="1115923" y="1299844"/>
                </a:lnTo>
                <a:lnTo>
                  <a:pt x="1113841" y="1299844"/>
                </a:lnTo>
                <a:lnTo>
                  <a:pt x="1113536" y="1299844"/>
                </a:lnTo>
                <a:lnTo>
                  <a:pt x="1113183" y="1299844"/>
                </a:lnTo>
                <a:lnTo>
                  <a:pt x="1112732" y="1299844"/>
                </a:lnTo>
                <a:lnTo>
                  <a:pt x="1112282" y="1299844"/>
                </a:lnTo>
                <a:lnTo>
                  <a:pt x="1111831" y="1299844"/>
                </a:lnTo>
                <a:lnTo>
                  <a:pt x="1111430" y="1299905"/>
                </a:lnTo>
                <a:lnTo>
                  <a:pt x="1111028" y="1299966"/>
                </a:lnTo>
                <a:lnTo>
                  <a:pt x="1110492" y="1300063"/>
                </a:lnTo>
                <a:lnTo>
                  <a:pt x="1109834" y="1300185"/>
                </a:lnTo>
                <a:lnTo>
                  <a:pt x="1109140" y="1300319"/>
                </a:lnTo>
                <a:lnTo>
                  <a:pt x="1108678" y="1300428"/>
                </a:lnTo>
                <a:lnTo>
                  <a:pt x="1108093" y="1300563"/>
                </a:lnTo>
                <a:lnTo>
                  <a:pt x="1107728" y="1300648"/>
                </a:lnTo>
                <a:lnTo>
                  <a:pt x="1107216" y="1300781"/>
                </a:lnTo>
                <a:cubicBezTo>
                  <a:pt x="1106985" y="1300781"/>
                  <a:pt x="1106754" y="1300891"/>
                  <a:pt x="1106522" y="1300964"/>
                </a:cubicBezTo>
                <a:lnTo>
                  <a:pt x="1105840" y="1301159"/>
                </a:lnTo>
                <a:lnTo>
                  <a:pt x="1105085" y="1301366"/>
                </a:lnTo>
                <a:lnTo>
                  <a:pt x="1104477" y="1301561"/>
                </a:lnTo>
                <a:lnTo>
                  <a:pt x="1103624" y="1301816"/>
                </a:lnTo>
                <a:lnTo>
                  <a:pt x="1102906" y="1302048"/>
                </a:lnTo>
                <a:lnTo>
                  <a:pt x="1101956" y="1302377"/>
                </a:lnTo>
                <a:lnTo>
                  <a:pt x="1100982" y="1302705"/>
                </a:lnTo>
                <a:lnTo>
                  <a:pt x="1100044" y="1303034"/>
                </a:lnTo>
                <a:lnTo>
                  <a:pt x="1099058" y="1303399"/>
                </a:lnTo>
                <a:lnTo>
                  <a:pt x="1098254" y="1303692"/>
                </a:lnTo>
                <a:lnTo>
                  <a:pt x="1097438" y="1303996"/>
                </a:lnTo>
                <a:lnTo>
                  <a:pt x="1096610" y="1304301"/>
                </a:lnTo>
                <a:lnTo>
                  <a:pt x="1095880" y="1304581"/>
                </a:lnTo>
                <a:lnTo>
                  <a:pt x="1095125" y="1304873"/>
                </a:lnTo>
                <a:lnTo>
                  <a:pt x="1094126" y="1305250"/>
                </a:lnTo>
                <a:lnTo>
                  <a:pt x="1093274" y="1305579"/>
                </a:lnTo>
                <a:lnTo>
                  <a:pt x="1092409" y="1305908"/>
                </a:lnTo>
                <a:lnTo>
                  <a:pt x="1091642" y="1306188"/>
                </a:lnTo>
                <a:lnTo>
                  <a:pt x="1090851" y="1306456"/>
                </a:lnTo>
                <a:lnTo>
                  <a:pt x="1090071" y="1306712"/>
                </a:lnTo>
                <a:lnTo>
                  <a:pt x="1089572" y="1306858"/>
                </a:lnTo>
                <a:lnTo>
                  <a:pt x="1089024" y="1307016"/>
                </a:lnTo>
                <a:lnTo>
                  <a:pt x="1088440" y="1307162"/>
                </a:lnTo>
                <a:lnTo>
                  <a:pt x="1087782" y="1307333"/>
                </a:lnTo>
                <a:lnTo>
                  <a:pt x="1087222" y="1307454"/>
                </a:lnTo>
                <a:lnTo>
                  <a:pt x="1086650" y="1307564"/>
                </a:lnTo>
                <a:lnTo>
                  <a:pt x="1085785" y="1307710"/>
                </a:lnTo>
                <a:lnTo>
                  <a:pt x="1085042" y="1307807"/>
                </a:lnTo>
                <a:lnTo>
                  <a:pt x="1084385" y="1307881"/>
                </a:lnTo>
                <a:lnTo>
                  <a:pt x="1083715" y="1307881"/>
                </a:lnTo>
                <a:lnTo>
                  <a:pt x="1082351" y="1307881"/>
                </a:lnTo>
                <a:lnTo>
                  <a:pt x="1081840" y="1307881"/>
                </a:lnTo>
                <a:lnTo>
                  <a:pt x="1081377" y="1307881"/>
                </a:lnTo>
                <a:lnTo>
                  <a:pt x="1081000" y="1307820"/>
                </a:lnTo>
                <a:lnTo>
                  <a:pt x="1080549" y="1307734"/>
                </a:lnTo>
                <a:lnTo>
                  <a:pt x="1080001" y="1307613"/>
                </a:lnTo>
                <a:cubicBezTo>
                  <a:pt x="1079867" y="1307589"/>
                  <a:pt x="1079745" y="1307540"/>
                  <a:pt x="1079624" y="1307491"/>
                </a:cubicBezTo>
                <a:lnTo>
                  <a:pt x="1079027" y="1307272"/>
                </a:lnTo>
                <a:cubicBezTo>
                  <a:pt x="1078869" y="1307211"/>
                  <a:pt x="1078479" y="1306992"/>
                  <a:pt x="1078479" y="1306992"/>
                </a:cubicBezTo>
                <a:cubicBezTo>
                  <a:pt x="1078260" y="1306870"/>
                  <a:pt x="1077919" y="1306638"/>
                  <a:pt x="1077907" y="1306638"/>
                </a:cubicBezTo>
                <a:cubicBezTo>
                  <a:pt x="1077894" y="1306638"/>
                  <a:pt x="1077493" y="1306310"/>
                  <a:pt x="1077493" y="1306298"/>
                </a:cubicBezTo>
                <a:cubicBezTo>
                  <a:pt x="1077310" y="1306127"/>
                  <a:pt x="1077054" y="1305835"/>
                  <a:pt x="1077054" y="1305847"/>
                </a:cubicBezTo>
                <a:cubicBezTo>
                  <a:pt x="1077054" y="1305859"/>
                  <a:pt x="1076701" y="1305372"/>
                  <a:pt x="1076701" y="1305385"/>
                </a:cubicBezTo>
                <a:cubicBezTo>
                  <a:pt x="1076555" y="1305153"/>
                  <a:pt x="1076409" y="1304898"/>
                  <a:pt x="1076299" y="1304641"/>
                </a:cubicBezTo>
                <a:cubicBezTo>
                  <a:pt x="1076190" y="1304386"/>
                  <a:pt x="1076092" y="1304118"/>
                  <a:pt x="1076019" y="1303850"/>
                </a:cubicBezTo>
                <a:cubicBezTo>
                  <a:pt x="1075946" y="1303534"/>
                  <a:pt x="1075849" y="1302949"/>
                  <a:pt x="1075849" y="1302949"/>
                </a:cubicBezTo>
                <a:cubicBezTo>
                  <a:pt x="1075849" y="1302730"/>
                  <a:pt x="1075849" y="1301963"/>
                  <a:pt x="1075849" y="1301963"/>
                </a:cubicBezTo>
                <a:cubicBezTo>
                  <a:pt x="1075849" y="1301646"/>
                  <a:pt x="1075922" y="1300843"/>
                  <a:pt x="1075922" y="1300854"/>
                </a:cubicBezTo>
                <a:cubicBezTo>
                  <a:pt x="1075922" y="1300489"/>
                  <a:pt x="1076092" y="1299807"/>
                  <a:pt x="1076092" y="1299807"/>
                </a:cubicBezTo>
                <a:cubicBezTo>
                  <a:pt x="1076092" y="1299807"/>
                  <a:pt x="1076299" y="1298943"/>
                  <a:pt x="1076299" y="1298930"/>
                </a:cubicBezTo>
                <a:cubicBezTo>
                  <a:pt x="1076409" y="1298541"/>
                  <a:pt x="1076616" y="1297896"/>
                  <a:pt x="1076628" y="1297883"/>
                </a:cubicBezTo>
                <a:cubicBezTo>
                  <a:pt x="1076835" y="1297396"/>
                  <a:pt x="1077067" y="1296921"/>
                  <a:pt x="1077347" y="1296471"/>
                </a:cubicBezTo>
                <a:cubicBezTo>
                  <a:pt x="1077748" y="1295837"/>
                  <a:pt x="1078284" y="1295156"/>
                  <a:pt x="1078284" y="1295156"/>
                </a:cubicBezTo>
                <a:cubicBezTo>
                  <a:pt x="1078710" y="1294584"/>
                  <a:pt x="1079660" y="1293475"/>
                  <a:pt x="1079660" y="1293475"/>
                </a:cubicBezTo>
                <a:lnTo>
                  <a:pt x="1080720" y="1292258"/>
                </a:lnTo>
                <a:cubicBezTo>
                  <a:pt x="1081012" y="1291917"/>
                  <a:pt x="1081304" y="1291588"/>
                  <a:pt x="1081584" y="1291247"/>
                </a:cubicBezTo>
                <a:lnTo>
                  <a:pt x="1082546" y="1290115"/>
                </a:lnTo>
                <a:lnTo>
                  <a:pt x="1083423" y="1289019"/>
                </a:lnTo>
                <a:lnTo>
                  <a:pt x="1081548" y="1289019"/>
                </a:lnTo>
                <a:cubicBezTo>
                  <a:pt x="1080902" y="1289019"/>
                  <a:pt x="1080257" y="1289019"/>
                  <a:pt x="1079599" y="1289019"/>
                </a:cubicBezTo>
                <a:lnTo>
                  <a:pt x="1077724" y="1289019"/>
                </a:lnTo>
                <a:lnTo>
                  <a:pt x="1077420" y="1289019"/>
                </a:lnTo>
                <a:lnTo>
                  <a:pt x="1077188" y="1289299"/>
                </a:lnTo>
                <a:cubicBezTo>
                  <a:pt x="1077188" y="1289360"/>
                  <a:pt x="1077079" y="1289433"/>
                  <a:pt x="1077018" y="1289506"/>
                </a:cubicBezTo>
                <a:lnTo>
                  <a:pt x="1076494" y="1290115"/>
                </a:lnTo>
                <a:lnTo>
                  <a:pt x="1075995" y="1290687"/>
                </a:lnTo>
                <a:lnTo>
                  <a:pt x="1075544" y="1291211"/>
                </a:lnTo>
                <a:lnTo>
                  <a:pt x="1075362" y="1291406"/>
                </a:lnTo>
                <a:lnTo>
                  <a:pt x="1074972" y="1291856"/>
                </a:lnTo>
                <a:cubicBezTo>
                  <a:pt x="1074814" y="1292026"/>
                  <a:pt x="1074655" y="1292197"/>
                  <a:pt x="1074509" y="1292379"/>
                </a:cubicBezTo>
                <a:cubicBezTo>
                  <a:pt x="1074363" y="1292562"/>
                  <a:pt x="1074205" y="1292708"/>
                  <a:pt x="1074047" y="1292879"/>
                </a:cubicBezTo>
                <a:cubicBezTo>
                  <a:pt x="1073949" y="1292976"/>
                  <a:pt x="1073864" y="1293073"/>
                  <a:pt x="1073779" y="1293171"/>
                </a:cubicBezTo>
                <a:lnTo>
                  <a:pt x="1073474" y="1293488"/>
                </a:lnTo>
                <a:lnTo>
                  <a:pt x="1073145" y="1293828"/>
                </a:lnTo>
                <a:lnTo>
                  <a:pt x="1072792" y="1294194"/>
                </a:lnTo>
                <a:lnTo>
                  <a:pt x="1072537" y="1294462"/>
                </a:lnTo>
                <a:lnTo>
                  <a:pt x="1072123" y="1294888"/>
                </a:lnTo>
                <a:lnTo>
                  <a:pt x="1071794" y="1295204"/>
                </a:lnTo>
                <a:lnTo>
                  <a:pt x="1071489" y="1295497"/>
                </a:lnTo>
                <a:lnTo>
                  <a:pt x="1071246" y="1295728"/>
                </a:lnTo>
                <a:lnTo>
                  <a:pt x="1070954" y="1295996"/>
                </a:lnTo>
                <a:lnTo>
                  <a:pt x="1070625" y="1296288"/>
                </a:lnTo>
                <a:lnTo>
                  <a:pt x="1070393" y="1296495"/>
                </a:lnTo>
                <a:lnTo>
                  <a:pt x="1070089" y="1296763"/>
                </a:lnTo>
                <a:lnTo>
                  <a:pt x="1069736" y="1297055"/>
                </a:lnTo>
                <a:lnTo>
                  <a:pt x="1069358" y="1297372"/>
                </a:lnTo>
                <a:lnTo>
                  <a:pt x="1068945" y="1297688"/>
                </a:lnTo>
                <a:lnTo>
                  <a:pt x="1068591" y="1297957"/>
                </a:lnTo>
                <a:lnTo>
                  <a:pt x="1068177" y="1298248"/>
                </a:lnTo>
                <a:lnTo>
                  <a:pt x="1067763" y="1298529"/>
                </a:lnTo>
                <a:lnTo>
                  <a:pt x="1067410" y="1298760"/>
                </a:lnTo>
                <a:lnTo>
                  <a:pt x="1066984" y="1299016"/>
                </a:lnTo>
                <a:cubicBezTo>
                  <a:pt x="1066887" y="1299065"/>
                  <a:pt x="1066789" y="1299114"/>
                  <a:pt x="1066704" y="1299174"/>
                </a:cubicBezTo>
                <a:lnTo>
                  <a:pt x="1066424" y="1299320"/>
                </a:lnTo>
                <a:lnTo>
                  <a:pt x="1066132" y="1299466"/>
                </a:lnTo>
                <a:lnTo>
                  <a:pt x="1065888" y="1299588"/>
                </a:lnTo>
                <a:lnTo>
                  <a:pt x="1065523" y="1299759"/>
                </a:lnTo>
                <a:lnTo>
                  <a:pt x="1065182" y="1299892"/>
                </a:lnTo>
                <a:lnTo>
                  <a:pt x="1064731" y="1300063"/>
                </a:lnTo>
                <a:lnTo>
                  <a:pt x="1064269" y="1300209"/>
                </a:lnTo>
                <a:lnTo>
                  <a:pt x="1063964" y="1300307"/>
                </a:lnTo>
                <a:lnTo>
                  <a:pt x="1063660" y="1300379"/>
                </a:lnTo>
                <a:lnTo>
                  <a:pt x="1063380" y="1300379"/>
                </a:lnTo>
                <a:lnTo>
                  <a:pt x="1063075" y="1300441"/>
                </a:lnTo>
                <a:lnTo>
                  <a:pt x="1062832" y="1300441"/>
                </a:lnTo>
                <a:lnTo>
                  <a:pt x="1062564" y="1300441"/>
                </a:lnTo>
                <a:lnTo>
                  <a:pt x="1062223" y="1300441"/>
                </a:lnTo>
                <a:lnTo>
                  <a:pt x="1061870" y="1300441"/>
                </a:lnTo>
                <a:lnTo>
                  <a:pt x="1061541" y="1300441"/>
                </a:lnTo>
                <a:lnTo>
                  <a:pt x="1060762" y="1300441"/>
                </a:lnTo>
                <a:lnTo>
                  <a:pt x="1060336" y="1300441"/>
                </a:lnTo>
                <a:lnTo>
                  <a:pt x="1059897" y="1300441"/>
                </a:lnTo>
                <a:lnTo>
                  <a:pt x="1059580" y="1300441"/>
                </a:lnTo>
                <a:lnTo>
                  <a:pt x="1059276" y="1300441"/>
                </a:lnTo>
                <a:lnTo>
                  <a:pt x="1058947" y="1300441"/>
                </a:lnTo>
                <a:lnTo>
                  <a:pt x="1058533" y="1300368"/>
                </a:lnTo>
                <a:lnTo>
                  <a:pt x="1057851" y="1300234"/>
                </a:lnTo>
                <a:lnTo>
                  <a:pt x="1057401" y="1300124"/>
                </a:lnTo>
                <a:lnTo>
                  <a:pt x="1056914" y="1300002"/>
                </a:lnTo>
                <a:lnTo>
                  <a:pt x="1056500" y="1299881"/>
                </a:lnTo>
                <a:lnTo>
                  <a:pt x="1055879" y="1299698"/>
                </a:lnTo>
                <a:lnTo>
                  <a:pt x="1055392" y="1299539"/>
                </a:lnTo>
                <a:lnTo>
                  <a:pt x="1054966" y="1299394"/>
                </a:lnTo>
                <a:lnTo>
                  <a:pt x="1054491" y="1299223"/>
                </a:lnTo>
                <a:lnTo>
                  <a:pt x="1053967" y="1299052"/>
                </a:lnTo>
                <a:lnTo>
                  <a:pt x="1053407" y="1298894"/>
                </a:lnTo>
                <a:lnTo>
                  <a:pt x="1052993" y="1298797"/>
                </a:lnTo>
                <a:lnTo>
                  <a:pt x="1052140" y="1298626"/>
                </a:lnTo>
                <a:lnTo>
                  <a:pt x="1051361" y="1298492"/>
                </a:lnTo>
                <a:lnTo>
                  <a:pt x="1050728" y="1298419"/>
                </a:lnTo>
                <a:cubicBezTo>
                  <a:pt x="1050472" y="1298419"/>
                  <a:pt x="1050204" y="1298419"/>
                  <a:pt x="1049949" y="1298346"/>
                </a:cubicBezTo>
                <a:lnTo>
                  <a:pt x="1049194" y="1298346"/>
                </a:lnTo>
                <a:lnTo>
                  <a:pt x="1048439" y="1298346"/>
                </a:lnTo>
                <a:lnTo>
                  <a:pt x="1046843" y="1298346"/>
                </a:lnTo>
                <a:lnTo>
                  <a:pt x="1045881" y="1298346"/>
                </a:lnTo>
                <a:lnTo>
                  <a:pt x="1044798" y="1298419"/>
                </a:lnTo>
                <a:lnTo>
                  <a:pt x="1043580" y="1298541"/>
                </a:lnTo>
                <a:lnTo>
                  <a:pt x="1042192" y="1298712"/>
                </a:lnTo>
                <a:lnTo>
                  <a:pt x="1040743" y="1298930"/>
                </a:lnTo>
                <a:lnTo>
                  <a:pt x="1038941" y="1299235"/>
                </a:lnTo>
                <a:lnTo>
                  <a:pt x="1037029" y="1299588"/>
                </a:lnTo>
                <a:lnTo>
                  <a:pt x="1035592" y="1299881"/>
                </a:lnTo>
                <a:cubicBezTo>
                  <a:pt x="1035129" y="1299966"/>
                  <a:pt x="1034143" y="1300197"/>
                  <a:pt x="1034143" y="1300209"/>
                </a:cubicBezTo>
                <a:cubicBezTo>
                  <a:pt x="1033680" y="1300343"/>
                  <a:pt x="1033218" y="1300501"/>
                  <a:pt x="1032767" y="1300684"/>
                </a:cubicBezTo>
                <a:cubicBezTo>
                  <a:pt x="1031988" y="1300988"/>
                  <a:pt x="1031221" y="1301341"/>
                  <a:pt x="1030490" y="1301756"/>
                </a:cubicBezTo>
                <a:cubicBezTo>
                  <a:pt x="1029869" y="1302085"/>
                  <a:pt x="1028603" y="1302827"/>
                  <a:pt x="1028615" y="1302815"/>
                </a:cubicBezTo>
                <a:lnTo>
                  <a:pt x="1027154" y="1303741"/>
                </a:lnTo>
                <a:cubicBezTo>
                  <a:pt x="1026667" y="1304057"/>
                  <a:pt x="1025826" y="1304641"/>
                  <a:pt x="1025826" y="1304641"/>
                </a:cubicBezTo>
                <a:cubicBezTo>
                  <a:pt x="1024816" y="1305385"/>
                  <a:pt x="1023391" y="1306358"/>
                  <a:pt x="1023391" y="1306358"/>
                </a:cubicBezTo>
                <a:lnTo>
                  <a:pt x="1022100" y="1307199"/>
                </a:lnTo>
                <a:lnTo>
                  <a:pt x="1021467" y="1307600"/>
                </a:lnTo>
                <a:lnTo>
                  <a:pt x="1021467" y="1307600"/>
                </a:lnTo>
                <a:lnTo>
                  <a:pt x="1020907" y="1307942"/>
                </a:lnTo>
                <a:lnTo>
                  <a:pt x="1020128" y="1308429"/>
                </a:lnTo>
                <a:lnTo>
                  <a:pt x="1019263" y="1308928"/>
                </a:lnTo>
                <a:lnTo>
                  <a:pt x="1018374" y="1309440"/>
                </a:lnTo>
                <a:lnTo>
                  <a:pt x="1017643" y="1309841"/>
                </a:lnTo>
                <a:lnTo>
                  <a:pt x="1016998" y="1310194"/>
                </a:lnTo>
                <a:lnTo>
                  <a:pt x="1016535" y="1310450"/>
                </a:lnTo>
                <a:lnTo>
                  <a:pt x="1015756" y="1310852"/>
                </a:lnTo>
                <a:lnTo>
                  <a:pt x="1015001" y="1311242"/>
                </a:lnTo>
                <a:lnTo>
                  <a:pt x="1013674" y="1311899"/>
                </a:lnTo>
                <a:lnTo>
                  <a:pt x="1012371" y="1312520"/>
                </a:lnTo>
                <a:cubicBezTo>
                  <a:pt x="1012249" y="1312581"/>
                  <a:pt x="1011068" y="1313104"/>
                  <a:pt x="1011068" y="1313117"/>
                </a:cubicBezTo>
                <a:lnTo>
                  <a:pt x="1010167" y="1313518"/>
                </a:lnTo>
                <a:lnTo>
                  <a:pt x="1009497" y="1313811"/>
                </a:lnTo>
                <a:lnTo>
                  <a:pt x="1008206" y="1314358"/>
                </a:lnTo>
                <a:cubicBezTo>
                  <a:pt x="1007719" y="1314578"/>
                  <a:pt x="1006185" y="1315175"/>
                  <a:pt x="1006185" y="1315187"/>
                </a:cubicBezTo>
                <a:lnTo>
                  <a:pt x="1004687" y="1315784"/>
                </a:lnTo>
                <a:lnTo>
                  <a:pt x="1002702" y="1316538"/>
                </a:lnTo>
                <a:lnTo>
                  <a:pt x="1000608" y="1317318"/>
                </a:lnTo>
                <a:lnTo>
                  <a:pt x="998282" y="1318170"/>
                </a:lnTo>
                <a:lnTo>
                  <a:pt x="995579" y="1319157"/>
                </a:lnTo>
                <a:lnTo>
                  <a:pt x="993716" y="1319826"/>
                </a:lnTo>
                <a:lnTo>
                  <a:pt x="992498" y="1320264"/>
                </a:lnTo>
                <a:lnTo>
                  <a:pt x="991914" y="1320423"/>
                </a:lnTo>
                <a:cubicBezTo>
                  <a:pt x="991609" y="1320423"/>
                  <a:pt x="991000" y="1320520"/>
                  <a:pt x="991000" y="1320520"/>
                </a:cubicBezTo>
                <a:cubicBezTo>
                  <a:pt x="990550" y="1320520"/>
                  <a:pt x="990087" y="1320496"/>
                  <a:pt x="989637" y="1320435"/>
                </a:cubicBezTo>
                <a:lnTo>
                  <a:pt x="988894" y="1320313"/>
                </a:lnTo>
                <a:cubicBezTo>
                  <a:pt x="988553" y="1320216"/>
                  <a:pt x="987567" y="1320082"/>
                  <a:pt x="987579" y="1320082"/>
                </a:cubicBezTo>
                <a:cubicBezTo>
                  <a:pt x="987311" y="1320033"/>
                  <a:pt x="987043" y="1319997"/>
                  <a:pt x="986775" y="1319997"/>
                </a:cubicBezTo>
                <a:lnTo>
                  <a:pt x="985910" y="1320386"/>
                </a:lnTo>
                <a:cubicBezTo>
                  <a:pt x="985509" y="1320544"/>
                  <a:pt x="985143" y="1320715"/>
                  <a:pt x="985156" y="1320715"/>
                </a:cubicBezTo>
                <a:cubicBezTo>
                  <a:pt x="984924" y="1320824"/>
                  <a:pt x="984693" y="1320959"/>
                  <a:pt x="984486" y="1321117"/>
                </a:cubicBezTo>
                <a:cubicBezTo>
                  <a:pt x="984486" y="1321117"/>
                  <a:pt x="983719" y="1321750"/>
                  <a:pt x="983731" y="1321738"/>
                </a:cubicBezTo>
                <a:cubicBezTo>
                  <a:pt x="983122" y="1322250"/>
                  <a:pt x="981490" y="1323515"/>
                  <a:pt x="981502" y="1323528"/>
                </a:cubicBezTo>
                <a:cubicBezTo>
                  <a:pt x="979250" y="1325257"/>
                  <a:pt x="976754" y="1326901"/>
                  <a:pt x="976741" y="1326901"/>
                </a:cubicBezTo>
                <a:cubicBezTo>
                  <a:pt x="974781" y="1328179"/>
                  <a:pt x="972747" y="1329348"/>
                  <a:pt x="970653" y="1330396"/>
                </a:cubicBezTo>
                <a:cubicBezTo>
                  <a:pt x="970300" y="1330578"/>
                  <a:pt x="968680" y="1331345"/>
                  <a:pt x="968668" y="1331345"/>
                </a:cubicBezTo>
                <a:cubicBezTo>
                  <a:pt x="967791" y="1331772"/>
                  <a:pt x="966318" y="1332344"/>
                  <a:pt x="966318" y="1332344"/>
                </a:cubicBezTo>
                <a:cubicBezTo>
                  <a:pt x="964163" y="1333233"/>
                  <a:pt x="961849" y="1333903"/>
                  <a:pt x="961849" y="1333903"/>
                </a:cubicBezTo>
                <a:cubicBezTo>
                  <a:pt x="961326" y="1334061"/>
                  <a:pt x="959730" y="1334511"/>
                  <a:pt x="959730" y="1334499"/>
                </a:cubicBezTo>
                <a:cubicBezTo>
                  <a:pt x="959730" y="1334487"/>
                  <a:pt x="957819" y="1334950"/>
                  <a:pt x="957831" y="1334950"/>
                </a:cubicBezTo>
                <a:cubicBezTo>
                  <a:pt x="956796" y="1335230"/>
                  <a:pt x="953484" y="1335717"/>
                  <a:pt x="953484" y="1335717"/>
                </a:cubicBezTo>
                <a:cubicBezTo>
                  <a:pt x="953021" y="1335839"/>
                  <a:pt x="949234" y="1336155"/>
                  <a:pt x="949039" y="1336167"/>
                </a:cubicBezTo>
                <a:lnTo>
                  <a:pt x="946312" y="1336301"/>
                </a:lnTo>
                <a:cubicBezTo>
                  <a:pt x="945581" y="1336229"/>
                  <a:pt x="941684" y="1336630"/>
                  <a:pt x="941684" y="1336630"/>
                </a:cubicBezTo>
                <a:cubicBezTo>
                  <a:pt x="940978" y="1336703"/>
                  <a:pt x="938384" y="1337044"/>
                  <a:pt x="938384" y="1337044"/>
                </a:cubicBezTo>
                <a:cubicBezTo>
                  <a:pt x="938080" y="1337044"/>
                  <a:pt x="933100" y="1337933"/>
                  <a:pt x="933100" y="1337933"/>
                </a:cubicBezTo>
                <a:lnTo>
                  <a:pt x="927279" y="1339041"/>
                </a:lnTo>
                <a:cubicBezTo>
                  <a:pt x="925940" y="1339297"/>
                  <a:pt x="924600" y="1339540"/>
                  <a:pt x="923261" y="1339808"/>
                </a:cubicBezTo>
                <a:cubicBezTo>
                  <a:pt x="922250" y="1340003"/>
                  <a:pt x="920521" y="1340539"/>
                  <a:pt x="920521" y="1340527"/>
                </a:cubicBezTo>
                <a:cubicBezTo>
                  <a:pt x="919121" y="1340977"/>
                  <a:pt x="917757" y="1341513"/>
                  <a:pt x="916429" y="1342134"/>
                </a:cubicBezTo>
                <a:cubicBezTo>
                  <a:pt x="914993" y="1342840"/>
                  <a:pt x="913605" y="1343607"/>
                  <a:pt x="912253" y="1344460"/>
                </a:cubicBezTo>
                <a:cubicBezTo>
                  <a:pt x="910280" y="1345678"/>
                  <a:pt x="908600" y="1347053"/>
                  <a:pt x="908600" y="1347041"/>
                </a:cubicBezTo>
                <a:cubicBezTo>
                  <a:pt x="907382" y="1347967"/>
                  <a:pt x="905555" y="1349611"/>
                  <a:pt x="905543" y="1349611"/>
                </a:cubicBezTo>
                <a:cubicBezTo>
                  <a:pt x="904691" y="1350378"/>
                  <a:pt x="903534" y="1351522"/>
                  <a:pt x="903534" y="1351510"/>
                </a:cubicBezTo>
                <a:cubicBezTo>
                  <a:pt x="902317" y="1352728"/>
                  <a:pt x="899711" y="1355273"/>
                  <a:pt x="899699" y="1355261"/>
                </a:cubicBezTo>
                <a:lnTo>
                  <a:pt x="896045" y="1358719"/>
                </a:lnTo>
                <a:cubicBezTo>
                  <a:pt x="895363" y="1359328"/>
                  <a:pt x="893452" y="1361349"/>
                  <a:pt x="893452" y="1361349"/>
                </a:cubicBezTo>
                <a:cubicBezTo>
                  <a:pt x="891552" y="1363383"/>
                  <a:pt x="890846" y="1364065"/>
                  <a:pt x="890846" y="1364065"/>
                </a:cubicBezTo>
                <a:cubicBezTo>
                  <a:pt x="888873" y="1366049"/>
                  <a:pt x="887010" y="1367620"/>
                  <a:pt x="886998" y="1367608"/>
                </a:cubicBezTo>
                <a:cubicBezTo>
                  <a:pt x="884928" y="1369410"/>
                  <a:pt x="882675" y="1371054"/>
                  <a:pt x="882675" y="1371054"/>
                </a:cubicBezTo>
                <a:cubicBezTo>
                  <a:pt x="879022" y="1373757"/>
                  <a:pt x="876429" y="1375219"/>
                  <a:pt x="876441" y="1375231"/>
                </a:cubicBezTo>
                <a:cubicBezTo>
                  <a:pt x="873835" y="1376862"/>
                  <a:pt x="869877" y="1378884"/>
                  <a:pt x="869890" y="1378884"/>
                </a:cubicBezTo>
                <a:lnTo>
                  <a:pt x="860233" y="1383681"/>
                </a:lnTo>
                <a:lnTo>
                  <a:pt x="851454" y="1388041"/>
                </a:lnTo>
                <a:lnTo>
                  <a:pt x="842272" y="1392595"/>
                </a:lnTo>
                <a:lnTo>
                  <a:pt x="833992" y="1396723"/>
                </a:lnTo>
                <a:cubicBezTo>
                  <a:pt x="831849" y="1397782"/>
                  <a:pt x="829718" y="1398854"/>
                  <a:pt x="827575" y="1399938"/>
                </a:cubicBezTo>
                <a:cubicBezTo>
                  <a:pt x="826662" y="1400425"/>
                  <a:pt x="820171" y="1403591"/>
                  <a:pt x="820171" y="1403591"/>
                </a:cubicBezTo>
                <a:lnTo>
                  <a:pt x="817407" y="1404942"/>
                </a:lnTo>
                <a:cubicBezTo>
                  <a:pt x="816080" y="1405624"/>
                  <a:pt x="810771" y="1407986"/>
                  <a:pt x="810771" y="1407986"/>
                </a:cubicBezTo>
                <a:cubicBezTo>
                  <a:pt x="809967" y="1408352"/>
                  <a:pt x="806192" y="1409874"/>
                  <a:pt x="806192" y="1409886"/>
                </a:cubicBezTo>
                <a:cubicBezTo>
                  <a:pt x="805109" y="1410312"/>
                  <a:pt x="802649" y="1411189"/>
                  <a:pt x="802649" y="1411201"/>
                </a:cubicBezTo>
                <a:cubicBezTo>
                  <a:pt x="801748" y="1411506"/>
                  <a:pt x="798034" y="1412663"/>
                  <a:pt x="798034" y="1412650"/>
                </a:cubicBezTo>
                <a:cubicBezTo>
                  <a:pt x="797462" y="1412808"/>
                  <a:pt x="794978" y="1413417"/>
                  <a:pt x="794978" y="1413430"/>
                </a:cubicBezTo>
                <a:lnTo>
                  <a:pt x="792153" y="1413977"/>
                </a:lnTo>
                <a:cubicBezTo>
                  <a:pt x="791617" y="1414026"/>
                  <a:pt x="791081" y="1414124"/>
                  <a:pt x="790557" y="1414282"/>
                </a:cubicBezTo>
                <a:cubicBezTo>
                  <a:pt x="789571" y="1414562"/>
                  <a:pt x="788597" y="1414927"/>
                  <a:pt x="787672" y="1415366"/>
                </a:cubicBezTo>
                <a:cubicBezTo>
                  <a:pt x="784579" y="1416815"/>
                  <a:pt x="782034" y="1418374"/>
                  <a:pt x="782021" y="1418374"/>
                </a:cubicBezTo>
                <a:cubicBezTo>
                  <a:pt x="779890" y="1419591"/>
                  <a:pt x="775750" y="1421843"/>
                  <a:pt x="775750" y="1421843"/>
                </a:cubicBezTo>
                <a:cubicBezTo>
                  <a:pt x="767860" y="1425740"/>
                  <a:pt x="766204" y="1426142"/>
                  <a:pt x="766204" y="1426142"/>
                </a:cubicBezTo>
                <a:cubicBezTo>
                  <a:pt x="764462" y="1426787"/>
                  <a:pt x="762685" y="1427299"/>
                  <a:pt x="760870" y="1427689"/>
                </a:cubicBezTo>
                <a:cubicBezTo>
                  <a:pt x="759044" y="1428054"/>
                  <a:pt x="757193" y="1428285"/>
                  <a:pt x="755342" y="1428407"/>
                </a:cubicBezTo>
                <a:cubicBezTo>
                  <a:pt x="753759" y="1428760"/>
                  <a:pt x="752213" y="1429235"/>
                  <a:pt x="750703" y="1429832"/>
                </a:cubicBezTo>
                <a:cubicBezTo>
                  <a:pt x="747183" y="1431391"/>
                  <a:pt x="744614" y="1432681"/>
                  <a:pt x="744614" y="1432693"/>
                </a:cubicBezTo>
                <a:cubicBezTo>
                  <a:pt x="742909" y="1433570"/>
                  <a:pt x="741144" y="1434337"/>
                  <a:pt x="739329" y="1434982"/>
                </a:cubicBezTo>
                <a:cubicBezTo>
                  <a:pt x="736845" y="1435811"/>
                  <a:pt x="734264" y="1436249"/>
                  <a:pt x="731646" y="1436298"/>
                </a:cubicBezTo>
                <a:cubicBezTo>
                  <a:pt x="728760" y="1436419"/>
                  <a:pt x="725898" y="1435762"/>
                  <a:pt x="723353" y="1434410"/>
                </a:cubicBezTo>
                <a:cubicBezTo>
                  <a:pt x="722038" y="1433631"/>
                  <a:pt x="720942" y="1432511"/>
                  <a:pt x="720200" y="1431171"/>
                </a:cubicBezTo>
                <a:cubicBezTo>
                  <a:pt x="719347" y="1429333"/>
                  <a:pt x="719189" y="1427250"/>
                  <a:pt x="719749" y="1425302"/>
                </a:cubicBezTo>
                <a:cubicBezTo>
                  <a:pt x="720431" y="1419214"/>
                  <a:pt x="719067" y="1417886"/>
                  <a:pt x="719067" y="1417886"/>
                </a:cubicBezTo>
                <a:cubicBezTo>
                  <a:pt x="718056" y="1415646"/>
                  <a:pt x="716096" y="1413977"/>
                  <a:pt x="713722" y="1413344"/>
                </a:cubicBezTo>
                <a:cubicBezTo>
                  <a:pt x="711359" y="1412553"/>
                  <a:pt x="708899" y="1412102"/>
                  <a:pt x="706415" y="1412005"/>
                </a:cubicBezTo>
                <a:cubicBezTo>
                  <a:pt x="704455" y="1411859"/>
                  <a:pt x="698123" y="1412005"/>
                  <a:pt x="698123" y="1412005"/>
                </a:cubicBezTo>
                <a:cubicBezTo>
                  <a:pt x="695432" y="1412041"/>
                  <a:pt x="692729" y="1411919"/>
                  <a:pt x="690050" y="1411639"/>
                </a:cubicBezTo>
                <a:cubicBezTo>
                  <a:pt x="686531" y="1410860"/>
                  <a:pt x="679712" y="1411226"/>
                  <a:pt x="679712" y="1411213"/>
                </a:cubicBezTo>
                <a:cubicBezTo>
                  <a:pt x="676351" y="1411396"/>
                  <a:pt x="673014" y="1411786"/>
                  <a:pt x="669702" y="1412358"/>
                </a:cubicBezTo>
                <a:cubicBezTo>
                  <a:pt x="668485" y="1412248"/>
                  <a:pt x="659632" y="1414794"/>
                  <a:pt x="659632" y="1414794"/>
                </a:cubicBezTo>
                <a:cubicBezTo>
                  <a:pt x="658658" y="1415086"/>
                  <a:pt x="652728" y="1417107"/>
                  <a:pt x="652716" y="1417119"/>
                </a:cubicBezTo>
                <a:cubicBezTo>
                  <a:pt x="650085" y="1418483"/>
                  <a:pt x="647151" y="1419177"/>
                  <a:pt x="644192" y="1419141"/>
                </a:cubicBezTo>
                <a:cubicBezTo>
                  <a:pt x="640794" y="1418982"/>
                  <a:pt x="640697" y="1415256"/>
                  <a:pt x="640697" y="1415256"/>
                </a:cubicBezTo>
                <a:cubicBezTo>
                  <a:pt x="640453" y="1413064"/>
                  <a:pt x="637641" y="1412821"/>
                  <a:pt x="637641" y="1412821"/>
                </a:cubicBezTo>
                <a:cubicBezTo>
                  <a:pt x="635887" y="1412760"/>
                  <a:pt x="624624" y="1412967"/>
                  <a:pt x="624636" y="1412967"/>
                </a:cubicBezTo>
                <a:cubicBezTo>
                  <a:pt x="622931" y="1412857"/>
                  <a:pt x="621226" y="1412650"/>
                  <a:pt x="619534" y="1412358"/>
                </a:cubicBezTo>
                <a:cubicBezTo>
                  <a:pt x="618389" y="1412066"/>
                  <a:pt x="617269" y="1411688"/>
                  <a:pt x="616185" y="1411213"/>
                </a:cubicBezTo>
                <a:cubicBezTo>
                  <a:pt x="614127" y="1410093"/>
                  <a:pt x="613750" y="1410264"/>
                  <a:pt x="613750" y="1410251"/>
                </a:cubicBezTo>
                <a:cubicBezTo>
                  <a:pt x="611692" y="1410264"/>
                  <a:pt x="609634" y="1410580"/>
                  <a:pt x="607661" y="1411177"/>
                </a:cubicBezTo>
                <a:cubicBezTo>
                  <a:pt x="605092" y="1411895"/>
                  <a:pt x="602486" y="1412455"/>
                  <a:pt x="599844" y="1412857"/>
                </a:cubicBezTo>
                <a:cubicBezTo>
                  <a:pt x="596458" y="1413430"/>
                  <a:pt x="592988" y="1413283"/>
                  <a:pt x="589664" y="1412455"/>
                </a:cubicBezTo>
                <a:cubicBezTo>
                  <a:pt x="587168" y="1411822"/>
                  <a:pt x="584793" y="1410812"/>
                  <a:pt x="582613" y="1409448"/>
                </a:cubicBezTo>
                <a:cubicBezTo>
                  <a:pt x="580909" y="1408230"/>
                  <a:pt x="577743" y="1405685"/>
                  <a:pt x="577743" y="1405685"/>
                </a:cubicBezTo>
                <a:cubicBezTo>
                  <a:pt x="576902" y="1404857"/>
                  <a:pt x="576196" y="1403907"/>
                  <a:pt x="575636" y="1402872"/>
                </a:cubicBezTo>
                <a:cubicBezTo>
                  <a:pt x="575125" y="1401582"/>
                  <a:pt x="574321" y="1400425"/>
                  <a:pt x="573286" y="1399499"/>
                </a:cubicBezTo>
                <a:cubicBezTo>
                  <a:pt x="571143" y="1397307"/>
                  <a:pt x="566552" y="1399755"/>
                  <a:pt x="566564" y="1399755"/>
                </a:cubicBezTo>
                <a:cubicBezTo>
                  <a:pt x="563946" y="1401095"/>
                  <a:pt x="561438" y="1402653"/>
                  <a:pt x="559088" y="1404419"/>
                </a:cubicBezTo>
                <a:cubicBezTo>
                  <a:pt x="549541" y="1411566"/>
                  <a:pt x="548421" y="1412346"/>
                  <a:pt x="548421" y="1412346"/>
                </a:cubicBezTo>
                <a:cubicBezTo>
                  <a:pt x="548478" y="1414452"/>
                  <a:pt x="548657" y="1416559"/>
                  <a:pt x="548957" y="1418641"/>
                </a:cubicBezTo>
                <a:cubicBezTo>
                  <a:pt x="549273" y="1420918"/>
                  <a:pt x="550004" y="1423122"/>
                  <a:pt x="551112" y="1425144"/>
                </a:cubicBezTo>
                <a:cubicBezTo>
                  <a:pt x="552074" y="1426787"/>
                  <a:pt x="553474" y="1428115"/>
                  <a:pt x="555167" y="1428991"/>
                </a:cubicBezTo>
                <a:cubicBezTo>
                  <a:pt x="554473" y="1428773"/>
                  <a:pt x="553742" y="1428541"/>
                  <a:pt x="555228" y="1428991"/>
                </a:cubicBezTo>
                <a:cubicBezTo>
                  <a:pt x="555435" y="1429089"/>
                  <a:pt x="555642" y="1429150"/>
                  <a:pt x="555861" y="1429198"/>
                </a:cubicBezTo>
                <a:lnTo>
                  <a:pt x="556068" y="1429260"/>
                </a:lnTo>
                <a:cubicBezTo>
                  <a:pt x="558430" y="1430002"/>
                  <a:pt x="560914" y="1430246"/>
                  <a:pt x="563374" y="1429990"/>
                </a:cubicBezTo>
                <a:cubicBezTo>
                  <a:pt x="564032" y="1429990"/>
                  <a:pt x="568245" y="1429284"/>
                  <a:pt x="568245" y="1429296"/>
                </a:cubicBezTo>
                <a:cubicBezTo>
                  <a:pt x="570290" y="1428967"/>
                  <a:pt x="574455" y="1428773"/>
                  <a:pt x="574455" y="1428773"/>
                </a:cubicBezTo>
                <a:cubicBezTo>
                  <a:pt x="574723" y="1428773"/>
                  <a:pt x="576160" y="1428870"/>
                  <a:pt x="576160" y="1428870"/>
                </a:cubicBezTo>
                <a:cubicBezTo>
                  <a:pt x="576756" y="1428870"/>
                  <a:pt x="578266" y="1429284"/>
                  <a:pt x="578254" y="1429271"/>
                </a:cubicBezTo>
                <a:cubicBezTo>
                  <a:pt x="578522" y="1429333"/>
                  <a:pt x="579472" y="1429758"/>
                  <a:pt x="579472" y="1429758"/>
                </a:cubicBezTo>
                <a:cubicBezTo>
                  <a:pt x="579959" y="1430038"/>
                  <a:pt x="580434" y="1430331"/>
                  <a:pt x="580896" y="1430660"/>
                </a:cubicBezTo>
                <a:cubicBezTo>
                  <a:pt x="581286" y="1431000"/>
                  <a:pt x="581651" y="1431391"/>
                  <a:pt x="581956" y="1431804"/>
                </a:cubicBezTo>
                <a:cubicBezTo>
                  <a:pt x="582406" y="1432559"/>
                  <a:pt x="582687" y="1432571"/>
                  <a:pt x="582687" y="1432571"/>
                </a:cubicBezTo>
                <a:cubicBezTo>
                  <a:pt x="582991" y="1432742"/>
                  <a:pt x="583332" y="1432827"/>
                  <a:pt x="583673" y="1432815"/>
                </a:cubicBezTo>
                <a:lnTo>
                  <a:pt x="585585" y="1432913"/>
                </a:lnTo>
                <a:cubicBezTo>
                  <a:pt x="585767" y="1432913"/>
                  <a:pt x="588410" y="1433180"/>
                  <a:pt x="588410" y="1433180"/>
                </a:cubicBezTo>
                <a:lnTo>
                  <a:pt x="590711" y="1433497"/>
                </a:lnTo>
                <a:cubicBezTo>
                  <a:pt x="592355" y="1433716"/>
                  <a:pt x="595971" y="1434532"/>
                  <a:pt x="595971" y="1434544"/>
                </a:cubicBezTo>
                <a:lnTo>
                  <a:pt x="599490" y="1435482"/>
                </a:lnTo>
                <a:cubicBezTo>
                  <a:pt x="600282" y="1435555"/>
                  <a:pt x="607320" y="1438161"/>
                  <a:pt x="607320" y="1438161"/>
                </a:cubicBezTo>
                <a:lnTo>
                  <a:pt x="613530" y="1440596"/>
                </a:lnTo>
                <a:cubicBezTo>
                  <a:pt x="613530" y="1440596"/>
                  <a:pt x="617683" y="1442264"/>
                  <a:pt x="617683" y="1442264"/>
                </a:cubicBezTo>
                <a:cubicBezTo>
                  <a:pt x="617951" y="1442447"/>
                  <a:pt x="621336" y="1443592"/>
                  <a:pt x="621336" y="1443567"/>
                </a:cubicBezTo>
                <a:cubicBezTo>
                  <a:pt x="623248" y="1444127"/>
                  <a:pt x="625196" y="1444566"/>
                  <a:pt x="627156" y="1444894"/>
                </a:cubicBezTo>
                <a:cubicBezTo>
                  <a:pt x="628678" y="1445126"/>
                  <a:pt x="630213" y="1445260"/>
                  <a:pt x="631747" y="1445321"/>
                </a:cubicBezTo>
                <a:cubicBezTo>
                  <a:pt x="632746" y="1445381"/>
                  <a:pt x="635083" y="1445321"/>
                  <a:pt x="635071" y="1445321"/>
                </a:cubicBezTo>
                <a:cubicBezTo>
                  <a:pt x="636289" y="1445296"/>
                  <a:pt x="637507" y="1445211"/>
                  <a:pt x="638724" y="1445065"/>
                </a:cubicBezTo>
                <a:cubicBezTo>
                  <a:pt x="638883" y="1445065"/>
                  <a:pt x="641233" y="1444809"/>
                  <a:pt x="641221" y="1444797"/>
                </a:cubicBezTo>
                <a:lnTo>
                  <a:pt x="642755" y="1444797"/>
                </a:lnTo>
                <a:cubicBezTo>
                  <a:pt x="643473" y="1444834"/>
                  <a:pt x="644180" y="1444955"/>
                  <a:pt x="644861" y="1445174"/>
                </a:cubicBezTo>
                <a:cubicBezTo>
                  <a:pt x="645580" y="1445394"/>
                  <a:pt x="646189" y="1445893"/>
                  <a:pt x="646542" y="1446563"/>
                </a:cubicBezTo>
                <a:cubicBezTo>
                  <a:pt x="646797" y="1447099"/>
                  <a:pt x="646932" y="1447683"/>
                  <a:pt x="646944" y="1448280"/>
                </a:cubicBezTo>
                <a:cubicBezTo>
                  <a:pt x="646919" y="1448791"/>
                  <a:pt x="646858" y="1449303"/>
                  <a:pt x="646773" y="1449814"/>
                </a:cubicBezTo>
                <a:cubicBezTo>
                  <a:pt x="646591" y="1450545"/>
                  <a:pt x="646371" y="1451263"/>
                  <a:pt x="646116" y="1451969"/>
                </a:cubicBezTo>
                <a:cubicBezTo>
                  <a:pt x="645726" y="1452956"/>
                  <a:pt x="645275" y="1453930"/>
                  <a:pt x="644788" y="1454880"/>
                </a:cubicBezTo>
                <a:lnTo>
                  <a:pt x="644094" y="1456097"/>
                </a:lnTo>
                <a:cubicBezTo>
                  <a:pt x="643899" y="1456438"/>
                  <a:pt x="643705" y="1456779"/>
                  <a:pt x="643498" y="1457120"/>
                </a:cubicBezTo>
                <a:lnTo>
                  <a:pt x="643144" y="1457729"/>
                </a:lnTo>
                <a:lnTo>
                  <a:pt x="642901" y="1457729"/>
                </a:lnTo>
                <a:lnTo>
                  <a:pt x="642572" y="1457729"/>
                </a:lnTo>
                <a:lnTo>
                  <a:pt x="640356" y="1457960"/>
                </a:lnTo>
                <a:lnTo>
                  <a:pt x="638603" y="1458106"/>
                </a:lnTo>
                <a:cubicBezTo>
                  <a:pt x="638359" y="1458106"/>
                  <a:pt x="637263" y="1458106"/>
                  <a:pt x="637263" y="1458106"/>
                </a:cubicBezTo>
                <a:cubicBezTo>
                  <a:pt x="637068" y="1458106"/>
                  <a:pt x="635278" y="1457985"/>
                  <a:pt x="635278" y="1457973"/>
                </a:cubicBezTo>
                <a:cubicBezTo>
                  <a:pt x="634743" y="1457875"/>
                  <a:pt x="631917" y="1457863"/>
                  <a:pt x="631905" y="1457863"/>
                </a:cubicBezTo>
                <a:cubicBezTo>
                  <a:pt x="631455" y="1457863"/>
                  <a:pt x="628922" y="1458021"/>
                  <a:pt x="628934" y="1458021"/>
                </a:cubicBezTo>
                <a:cubicBezTo>
                  <a:pt x="628362" y="1458082"/>
                  <a:pt x="626085" y="1458411"/>
                  <a:pt x="626085" y="1458411"/>
                </a:cubicBezTo>
                <a:cubicBezTo>
                  <a:pt x="625098" y="1458582"/>
                  <a:pt x="623455" y="1458995"/>
                  <a:pt x="623455" y="1458995"/>
                </a:cubicBezTo>
                <a:cubicBezTo>
                  <a:pt x="622797" y="1459166"/>
                  <a:pt x="621299" y="1459640"/>
                  <a:pt x="621299" y="1459640"/>
                </a:cubicBezTo>
                <a:cubicBezTo>
                  <a:pt x="620155" y="1460018"/>
                  <a:pt x="618426" y="1460724"/>
                  <a:pt x="618426" y="1460724"/>
                </a:cubicBezTo>
                <a:cubicBezTo>
                  <a:pt x="617877" y="1460944"/>
                  <a:pt x="616672" y="1461504"/>
                  <a:pt x="616672" y="1461504"/>
                </a:cubicBezTo>
                <a:cubicBezTo>
                  <a:pt x="615917" y="1461857"/>
                  <a:pt x="614626" y="1462526"/>
                  <a:pt x="614626" y="1462526"/>
                </a:cubicBezTo>
                <a:cubicBezTo>
                  <a:pt x="614005" y="1462843"/>
                  <a:pt x="612873" y="1463477"/>
                  <a:pt x="612873" y="1463477"/>
                </a:cubicBezTo>
                <a:cubicBezTo>
                  <a:pt x="612642" y="1463647"/>
                  <a:pt x="611472" y="1464256"/>
                  <a:pt x="611472" y="1464268"/>
                </a:cubicBezTo>
                <a:cubicBezTo>
                  <a:pt x="610413" y="1464840"/>
                  <a:pt x="609329" y="1465364"/>
                  <a:pt x="608209" y="1465814"/>
                </a:cubicBezTo>
                <a:cubicBezTo>
                  <a:pt x="607101" y="1466326"/>
                  <a:pt x="605896" y="1466593"/>
                  <a:pt x="604678" y="1466581"/>
                </a:cubicBezTo>
                <a:cubicBezTo>
                  <a:pt x="603667" y="1466557"/>
                  <a:pt x="602705" y="1466119"/>
                  <a:pt x="602023" y="1465364"/>
                </a:cubicBezTo>
                <a:cubicBezTo>
                  <a:pt x="601463" y="1464719"/>
                  <a:pt x="601037" y="1463988"/>
                  <a:pt x="600733" y="1463197"/>
                </a:cubicBezTo>
                <a:cubicBezTo>
                  <a:pt x="600501" y="1462673"/>
                  <a:pt x="599965" y="1460761"/>
                  <a:pt x="599953" y="1460761"/>
                </a:cubicBezTo>
                <a:cubicBezTo>
                  <a:pt x="599807" y="1460164"/>
                  <a:pt x="599624" y="1459592"/>
                  <a:pt x="599393" y="1459020"/>
                </a:cubicBezTo>
                <a:cubicBezTo>
                  <a:pt x="599162" y="1458447"/>
                  <a:pt x="598857" y="1457911"/>
                  <a:pt x="598480" y="1457424"/>
                </a:cubicBezTo>
                <a:cubicBezTo>
                  <a:pt x="598224" y="1457084"/>
                  <a:pt x="597908" y="1456791"/>
                  <a:pt x="597554" y="1456547"/>
                </a:cubicBezTo>
                <a:cubicBezTo>
                  <a:pt x="597153" y="1456256"/>
                  <a:pt x="596702" y="1456049"/>
                  <a:pt x="596215" y="1455914"/>
                </a:cubicBezTo>
                <a:cubicBezTo>
                  <a:pt x="595716" y="1455780"/>
                  <a:pt x="595204" y="1455707"/>
                  <a:pt x="594693" y="1455695"/>
                </a:cubicBezTo>
                <a:cubicBezTo>
                  <a:pt x="594230" y="1455683"/>
                  <a:pt x="593767" y="1455720"/>
                  <a:pt x="593305" y="1455780"/>
                </a:cubicBezTo>
                <a:cubicBezTo>
                  <a:pt x="592793" y="1455780"/>
                  <a:pt x="592087" y="1456012"/>
                  <a:pt x="592087" y="1456000"/>
                </a:cubicBezTo>
                <a:lnTo>
                  <a:pt x="590869" y="1456316"/>
                </a:lnTo>
                <a:lnTo>
                  <a:pt x="588970" y="1456864"/>
                </a:lnTo>
                <a:cubicBezTo>
                  <a:pt x="587959" y="1457156"/>
                  <a:pt x="586924" y="1457607"/>
                  <a:pt x="586924" y="1457583"/>
                </a:cubicBezTo>
                <a:cubicBezTo>
                  <a:pt x="586546" y="1457753"/>
                  <a:pt x="586181" y="1457948"/>
                  <a:pt x="585828" y="1458167"/>
                </a:cubicBezTo>
                <a:cubicBezTo>
                  <a:pt x="585572" y="1458313"/>
                  <a:pt x="585341" y="1458496"/>
                  <a:pt x="585146" y="1458715"/>
                </a:cubicBezTo>
                <a:cubicBezTo>
                  <a:pt x="585146" y="1458715"/>
                  <a:pt x="584659" y="1459178"/>
                  <a:pt x="584659" y="1459166"/>
                </a:cubicBezTo>
                <a:cubicBezTo>
                  <a:pt x="583502" y="1460225"/>
                  <a:pt x="582285" y="1461224"/>
                  <a:pt x="581006" y="1462149"/>
                </a:cubicBezTo>
                <a:cubicBezTo>
                  <a:pt x="579496" y="1463306"/>
                  <a:pt x="577864" y="1464280"/>
                  <a:pt x="576135" y="1465084"/>
                </a:cubicBezTo>
                <a:cubicBezTo>
                  <a:pt x="574431" y="1465912"/>
                  <a:pt x="572653" y="1466593"/>
                  <a:pt x="570826" y="1467117"/>
                </a:cubicBezTo>
                <a:cubicBezTo>
                  <a:pt x="570376" y="1467263"/>
                  <a:pt x="567660" y="1467957"/>
                  <a:pt x="567660" y="1467957"/>
                </a:cubicBezTo>
                <a:lnTo>
                  <a:pt x="564178" y="1468786"/>
                </a:lnTo>
                <a:cubicBezTo>
                  <a:pt x="563898" y="1468859"/>
                  <a:pt x="561742" y="1469394"/>
                  <a:pt x="561742" y="1469406"/>
                </a:cubicBezTo>
                <a:cubicBezTo>
                  <a:pt x="560780" y="1469662"/>
                  <a:pt x="559818" y="1469857"/>
                  <a:pt x="558832" y="1469991"/>
                </a:cubicBezTo>
                <a:cubicBezTo>
                  <a:pt x="557712" y="1470210"/>
                  <a:pt x="556543" y="1470064"/>
                  <a:pt x="555508" y="1469577"/>
                </a:cubicBezTo>
                <a:cubicBezTo>
                  <a:pt x="554814" y="1469199"/>
                  <a:pt x="554327" y="1468506"/>
                  <a:pt x="554205" y="1467726"/>
                </a:cubicBezTo>
                <a:cubicBezTo>
                  <a:pt x="554132" y="1466813"/>
                  <a:pt x="554205" y="1465888"/>
                  <a:pt x="554412" y="1464986"/>
                </a:cubicBezTo>
                <a:cubicBezTo>
                  <a:pt x="555008" y="1463172"/>
                  <a:pt x="555776" y="1461418"/>
                  <a:pt x="556713" y="1459750"/>
                </a:cubicBezTo>
                <a:cubicBezTo>
                  <a:pt x="557371" y="1458740"/>
                  <a:pt x="558430" y="1456779"/>
                  <a:pt x="558430" y="1456779"/>
                </a:cubicBezTo>
                <a:cubicBezTo>
                  <a:pt x="561535" y="1451360"/>
                  <a:pt x="559916" y="1449996"/>
                  <a:pt x="559916" y="1450009"/>
                </a:cubicBezTo>
                <a:cubicBezTo>
                  <a:pt x="559124" y="1449278"/>
                  <a:pt x="558126" y="1448828"/>
                  <a:pt x="557054" y="1448730"/>
                </a:cubicBezTo>
                <a:cubicBezTo>
                  <a:pt x="555812" y="1448523"/>
                  <a:pt x="554546" y="1448450"/>
                  <a:pt x="553292" y="1448487"/>
                </a:cubicBezTo>
                <a:cubicBezTo>
                  <a:pt x="552524" y="1448547"/>
                  <a:pt x="551757" y="1448669"/>
                  <a:pt x="551014" y="1448864"/>
                </a:cubicBezTo>
                <a:lnTo>
                  <a:pt x="547995" y="1449595"/>
                </a:lnTo>
                <a:cubicBezTo>
                  <a:pt x="546493" y="1449875"/>
                  <a:pt x="544977" y="1450058"/>
                  <a:pt x="543453" y="1450155"/>
                </a:cubicBezTo>
                <a:cubicBezTo>
                  <a:pt x="541042" y="1450277"/>
                  <a:pt x="538628" y="1449960"/>
                  <a:pt x="536329" y="1449217"/>
                </a:cubicBezTo>
                <a:cubicBezTo>
                  <a:pt x="534503" y="1448547"/>
                  <a:pt x="532771" y="1447634"/>
                  <a:pt x="531178" y="1446514"/>
                </a:cubicBezTo>
                <a:cubicBezTo>
                  <a:pt x="528786" y="1444590"/>
                  <a:pt x="526496" y="1442532"/>
                  <a:pt x="524323" y="1440365"/>
                </a:cubicBezTo>
                <a:lnTo>
                  <a:pt x="523190" y="1439390"/>
                </a:lnTo>
                <a:lnTo>
                  <a:pt x="521620" y="1438173"/>
                </a:lnTo>
                <a:cubicBezTo>
                  <a:pt x="521534" y="1438051"/>
                  <a:pt x="519537" y="1436663"/>
                  <a:pt x="519537" y="1436663"/>
                </a:cubicBezTo>
                <a:cubicBezTo>
                  <a:pt x="519537" y="1436663"/>
                  <a:pt x="517954" y="1435604"/>
                  <a:pt x="517954" y="1435616"/>
                </a:cubicBezTo>
                <a:lnTo>
                  <a:pt x="516250" y="1434557"/>
                </a:lnTo>
                <a:cubicBezTo>
                  <a:pt x="515823" y="1434203"/>
                  <a:pt x="511598" y="1431987"/>
                  <a:pt x="511598" y="1431987"/>
                </a:cubicBezTo>
                <a:lnTo>
                  <a:pt x="509260" y="1430830"/>
                </a:lnTo>
                <a:cubicBezTo>
                  <a:pt x="509138" y="1430709"/>
                  <a:pt x="504134" y="1428516"/>
                  <a:pt x="504146" y="1428516"/>
                </a:cubicBezTo>
                <a:cubicBezTo>
                  <a:pt x="502574" y="1428005"/>
                  <a:pt x="500930" y="1427737"/>
                  <a:pt x="499275" y="1427725"/>
                </a:cubicBezTo>
                <a:cubicBezTo>
                  <a:pt x="492894" y="1427993"/>
                  <a:pt x="484578" y="1432133"/>
                  <a:pt x="484590" y="1432133"/>
                </a:cubicBezTo>
                <a:cubicBezTo>
                  <a:pt x="473399" y="1437613"/>
                  <a:pt x="470404" y="1440365"/>
                  <a:pt x="470404" y="1440365"/>
                </a:cubicBezTo>
                <a:cubicBezTo>
                  <a:pt x="462209" y="1446989"/>
                  <a:pt x="460601" y="1447123"/>
                  <a:pt x="460662" y="1447110"/>
                </a:cubicBezTo>
                <a:cubicBezTo>
                  <a:pt x="458322" y="1448547"/>
                  <a:pt x="455263" y="1447805"/>
                  <a:pt x="453832" y="1445467"/>
                </a:cubicBezTo>
                <a:cubicBezTo>
                  <a:pt x="453762" y="1445345"/>
                  <a:pt x="453697" y="1445236"/>
                  <a:pt x="453636" y="1445114"/>
                </a:cubicBezTo>
                <a:cubicBezTo>
                  <a:pt x="451408" y="1441838"/>
                  <a:pt x="445782" y="1438368"/>
                  <a:pt x="445782" y="1438368"/>
                </a:cubicBezTo>
                <a:cubicBezTo>
                  <a:pt x="442431" y="1436200"/>
                  <a:pt x="439237" y="1433813"/>
                  <a:pt x="436223" y="1431195"/>
                </a:cubicBezTo>
                <a:cubicBezTo>
                  <a:pt x="434349" y="1429211"/>
                  <a:pt x="432910" y="1426849"/>
                  <a:pt x="431998" y="1424267"/>
                </a:cubicBezTo>
                <a:cubicBezTo>
                  <a:pt x="432132" y="1421113"/>
                  <a:pt x="426750" y="1421832"/>
                  <a:pt x="426750" y="1421832"/>
                </a:cubicBezTo>
                <a:cubicBezTo>
                  <a:pt x="423234" y="1422185"/>
                  <a:pt x="419724" y="1421113"/>
                  <a:pt x="417008" y="1418848"/>
                </a:cubicBezTo>
                <a:cubicBezTo>
                  <a:pt x="409897" y="1411055"/>
                  <a:pt x="409812" y="1407159"/>
                  <a:pt x="409812" y="1407146"/>
                </a:cubicBezTo>
                <a:cubicBezTo>
                  <a:pt x="408594" y="1403152"/>
                  <a:pt x="412138" y="1390512"/>
                  <a:pt x="412138" y="1390501"/>
                </a:cubicBezTo>
                <a:cubicBezTo>
                  <a:pt x="415498" y="1378993"/>
                  <a:pt x="414683" y="1378567"/>
                  <a:pt x="414683" y="1378555"/>
                </a:cubicBezTo>
                <a:cubicBezTo>
                  <a:pt x="412430" y="1371151"/>
                  <a:pt x="413002" y="1369191"/>
                  <a:pt x="413002" y="1369191"/>
                </a:cubicBezTo>
                <a:cubicBezTo>
                  <a:pt x="413002" y="1367791"/>
                  <a:pt x="413684" y="1364003"/>
                  <a:pt x="413672" y="1363992"/>
                </a:cubicBezTo>
                <a:cubicBezTo>
                  <a:pt x="413672" y="1363346"/>
                  <a:pt x="414889" y="1358634"/>
                  <a:pt x="414889" y="1358634"/>
                </a:cubicBezTo>
                <a:cubicBezTo>
                  <a:pt x="415462" y="1356454"/>
                  <a:pt x="416765" y="1352399"/>
                  <a:pt x="416777" y="1352399"/>
                </a:cubicBezTo>
                <a:lnTo>
                  <a:pt x="419298" y="1344618"/>
                </a:lnTo>
                <a:lnTo>
                  <a:pt x="420320" y="1341306"/>
                </a:lnTo>
                <a:lnTo>
                  <a:pt x="422841" y="1332782"/>
                </a:lnTo>
                <a:cubicBezTo>
                  <a:pt x="423462" y="1330785"/>
                  <a:pt x="424059" y="1328788"/>
                  <a:pt x="424692" y="1326792"/>
                </a:cubicBezTo>
                <a:cubicBezTo>
                  <a:pt x="425325" y="1324794"/>
                  <a:pt x="425910" y="1322737"/>
                  <a:pt x="426604" y="1320703"/>
                </a:cubicBezTo>
                <a:lnTo>
                  <a:pt x="429039" y="1312946"/>
                </a:lnTo>
                <a:cubicBezTo>
                  <a:pt x="429416" y="1312021"/>
                  <a:pt x="431791" y="1303680"/>
                  <a:pt x="431791" y="1303667"/>
                </a:cubicBezTo>
                <a:cubicBezTo>
                  <a:pt x="431791" y="1303656"/>
                  <a:pt x="433654" y="1296812"/>
                  <a:pt x="433654" y="1296812"/>
                </a:cubicBezTo>
                <a:cubicBezTo>
                  <a:pt x="433800" y="1296519"/>
                  <a:pt x="434993" y="1291357"/>
                  <a:pt x="434993" y="1291344"/>
                </a:cubicBezTo>
                <a:cubicBezTo>
                  <a:pt x="435140" y="1291125"/>
                  <a:pt x="436211" y="1285512"/>
                  <a:pt x="436211" y="1285524"/>
                </a:cubicBezTo>
                <a:cubicBezTo>
                  <a:pt x="436369" y="1285134"/>
                  <a:pt x="436905" y="1280592"/>
                  <a:pt x="436917" y="1280592"/>
                </a:cubicBezTo>
                <a:cubicBezTo>
                  <a:pt x="437027" y="1280008"/>
                  <a:pt x="437234" y="1276745"/>
                  <a:pt x="437234" y="1276732"/>
                </a:cubicBezTo>
                <a:cubicBezTo>
                  <a:pt x="437234" y="1276476"/>
                  <a:pt x="437380" y="1272701"/>
                  <a:pt x="437380" y="1272701"/>
                </a:cubicBezTo>
                <a:cubicBezTo>
                  <a:pt x="437380" y="1271910"/>
                  <a:pt x="437380" y="1266297"/>
                  <a:pt x="437380" y="1266284"/>
                </a:cubicBezTo>
                <a:cubicBezTo>
                  <a:pt x="437307" y="1263143"/>
                  <a:pt x="437238" y="1260001"/>
                  <a:pt x="437173" y="1256860"/>
                </a:cubicBezTo>
                <a:cubicBezTo>
                  <a:pt x="437173" y="1256275"/>
                  <a:pt x="437173" y="1252464"/>
                  <a:pt x="437173" y="1252452"/>
                </a:cubicBezTo>
                <a:cubicBezTo>
                  <a:pt x="435680" y="1252415"/>
                  <a:pt x="434185" y="1252488"/>
                  <a:pt x="432704" y="1252683"/>
                </a:cubicBezTo>
                <a:cubicBezTo>
                  <a:pt x="431681" y="1252683"/>
                  <a:pt x="427200" y="1253815"/>
                  <a:pt x="427200" y="1253815"/>
                </a:cubicBezTo>
                <a:cubicBezTo>
                  <a:pt x="426616" y="1253949"/>
                  <a:pt x="420820" y="1255496"/>
                  <a:pt x="420820" y="1255508"/>
                </a:cubicBezTo>
                <a:cubicBezTo>
                  <a:pt x="417033" y="1256531"/>
                  <a:pt x="413514" y="1257091"/>
                  <a:pt x="413514" y="1257091"/>
                </a:cubicBezTo>
                <a:cubicBezTo>
                  <a:pt x="409860" y="1257554"/>
                  <a:pt x="408643" y="1257091"/>
                  <a:pt x="408643" y="1257091"/>
                </a:cubicBezTo>
                <a:cubicBezTo>
                  <a:pt x="407230" y="1256908"/>
                  <a:pt x="405932" y="1256226"/>
                  <a:pt x="404990" y="1255155"/>
                </a:cubicBezTo>
                <a:cubicBezTo>
                  <a:pt x="403984" y="1253852"/>
                  <a:pt x="403398" y="1252281"/>
                  <a:pt x="403309" y="1250637"/>
                </a:cubicBezTo>
                <a:cubicBezTo>
                  <a:pt x="407896" y="1246814"/>
                  <a:pt x="412491" y="1242990"/>
                  <a:pt x="417094" y="1239179"/>
                </a:cubicBezTo>
                <a:lnTo>
                  <a:pt x="422427" y="1234783"/>
                </a:lnTo>
                <a:lnTo>
                  <a:pt x="427176" y="1230874"/>
                </a:lnTo>
                <a:cubicBezTo>
                  <a:pt x="429867" y="1230290"/>
                  <a:pt x="435931" y="1229157"/>
                  <a:pt x="438135" y="1229888"/>
                </a:cubicBezTo>
                <a:cubicBezTo>
                  <a:pt x="438135" y="1229888"/>
                  <a:pt x="444528" y="1228950"/>
                  <a:pt x="445332" y="1229462"/>
                </a:cubicBezTo>
                <a:cubicBezTo>
                  <a:pt x="445332" y="1229462"/>
                  <a:pt x="459834" y="1228073"/>
                  <a:pt x="461880" y="1228744"/>
                </a:cubicBezTo>
                <a:cubicBezTo>
                  <a:pt x="461880" y="1228744"/>
                  <a:pt x="455268" y="1219830"/>
                  <a:pt x="438914" y="1226868"/>
                </a:cubicBezTo>
                <a:cubicBezTo>
                  <a:pt x="438914" y="1226868"/>
                  <a:pt x="433885" y="1228086"/>
                  <a:pt x="433130" y="1227477"/>
                </a:cubicBezTo>
                <a:cubicBezTo>
                  <a:pt x="433130" y="1227477"/>
                  <a:pt x="430281" y="1228086"/>
                  <a:pt x="428625" y="1228378"/>
                </a:cubicBezTo>
                <a:cubicBezTo>
                  <a:pt x="428625" y="1228220"/>
                  <a:pt x="428625" y="1228037"/>
                  <a:pt x="428625" y="1227879"/>
                </a:cubicBezTo>
                <a:cubicBezTo>
                  <a:pt x="428625" y="1227720"/>
                  <a:pt x="429343" y="1227562"/>
                  <a:pt x="428625" y="1227879"/>
                </a:cubicBezTo>
                <a:lnTo>
                  <a:pt x="424619" y="1229449"/>
                </a:lnTo>
                <a:cubicBezTo>
                  <a:pt x="423601" y="1229864"/>
                  <a:pt x="422608" y="1230338"/>
                  <a:pt x="421648" y="1230874"/>
                </a:cubicBezTo>
                <a:cubicBezTo>
                  <a:pt x="421648" y="1230874"/>
                  <a:pt x="418640" y="1232615"/>
                  <a:pt x="418640" y="1232615"/>
                </a:cubicBezTo>
                <a:cubicBezTo>
                  <a:pt x="416917" y="1233590"/>
                  <a:pt x="415145" y="1234479"/>
                  <a:pt x="413331" y="1235282"/>
                </a:cubicBezTo>
                <a:cubicBezTo>
                  <a:pt x="409556" y="1236804"/>
                  <a:pt x="408460" y="1236086"/>
                  <a:pt x="408460" y="1236086"/>
                </a:cubicBezTo>
                <a:cubicBezTo>
                  <a:pt x="406220" y="1235319"/>
                  <a:pt x="406877" y="1231398"/>
                  <a:pt x="406877" y="1231386"/>
                </a:cubicBezTo>
                <a:cubicBezTo>
                  <a:pt x="407183" y="1229230"/>
                  <a:pt x="407231" y="1227051"/>
                  <a:pt x="407023" y="1224883"/>
                </a:cubicBezTo>
                <a:cubicBezTo>
                  <a:pt x="405940" y="1218113"/>
                  <a:pt x="399254" y="1214765"/>
                  <a:pt x="399267" y="1214765"/>
                </a:cubicBezTo>
                <a:cubicBezTo>
                  <a:pt x="393178" y="1211428"/>
                  <a:pt x="392740" y="1207702"/>
                  <a:pt x="392740" y="1207702"/>
                </a:cubicBezTo>
                <a:cubicBezTo>
                  <a:pt x="390865" y="1200895"/>
                  <a:pt x="397087" y="1191202"/>
                  <a:pt x="397087" y="1191202"/>
                </a:cubicBezTo>
                <a:cubicBezTo>
                  <a:pt x="395955" y="1191056"/>
                  <a:pt x="385945" y="1190910"/>
                  <a:pt x="385945" y="1190910"/>
                </a:cubicBezTo>
                <a:cubicBezTo>
                  <a:pt x="385445" y="1190873"/>
                  <a:pt x="384977" y="1190654"/>
                  <a:pt x="384642" y="1190276"/>
                </a:cubicBezTo>
                <a:cubicBezTo>
                  <a:pt x="383182" y="1188694"/>
                  <a:pt x="381598" y="1187220"/>
                  <a:pt x="379905" y="1185881"/>
                </a:cubicBezTo>
                <a:cubicBezTo>
                  <a:pt x="378372" y="1184773"/>
                  <a:pt x="376495" y="1184249"/>
                  <a:pt x="374608" y="1184395"/>
                </a:cubicBezTo>
                <a:cubicBezTo>
                  <a:pt x="373464" y="1184395"/>
                  <a:pt x="370237" y="1184846"/>
                  <a:pt x="370225" y="1184846"/>
                </a:cubicBezTo>
                <a:lnTo>
                  <a:pt x="369007" y="1185016"/>
                </a:lnTo>
                <a:cubicBezTo>
                  <a:pt x="368940" y="1184919"/>
                  <a:pt x="368867" y="1184821"/>
                  <a:pt x="368788" y="1184736"/>
                </a:cubicBezTo>
                <a:cubicBezTo>
                  <a:pt x="368289" y="1184212"/>
                  <a:pt x="368313" y="1184054"/>
                  <a:pt x="368313" y="1184042"/>
                </a:cubicBezTo>
                <a:cubicBezTo>
                  <a:pt x="369920" y="1177064"/>
                  <a:pt x="369044" y="1175908"/>
                  <a:pt x="369044" y="1175896"/>
                </a:cubicBezTo>
                <a:cubicBezTo>
                  <a:pt x="368471" y="1173290"/>
                  <a:pt x="357890" y="1180499"/>
                  <a:pt x="357890" y="1180499"/>
                </a:cubicBezTo>
                <a:cubicBezTo>
                  <a:pt x="353026" y="1183957"/>
                  <a:pt x="347368" y="1186136"/>
                  <a:pt x="341439" y="1186818"/>
                </a:cubicBezTo>
                <a:cubicBezTo>
                  <a:pt x="338261" y="1187318"/>
                  <a:pt x="328044" y="1186818"/>
                  <a:pt x="328044" y="1186818"/>
                </a:cubicBezTo>
                <a:cubicBezTo>
                  <a:pt x="280214" y="1221194"/>
                  <a:pt x="278947" y="1223458"/>
                  <a:pt x="278911" y="1223349"/>
                </a:cubicBezTo>
                <a:cubicBezTo>
                  <a:pt x="269413" y="1232433"/>
                  <a:pt x="264445" y="1235770"/>
                  <a:pt x="264432" y="1235757"/>
                </a:cubicBezTo>
                <a:cubicBezTo>
                  <a:pt x="256342" y="1241590"/>
                  <a:pt x="247384" y="1246107"/>
                  <a:pt x="237887" y="1249152"/>
                </a:cubicBezTo>
                <a:cubicBezTo>
                  <a:pt x="230581" y="1258406"/>
                  <a:pt x="223303" y="1267697"/>
                  <a:pt x="216054" y="1277012"/>
                </a:cubicBezTo>
                <a:cubicBezTo>
                  <a:pt x="217279" y="1279180"/>
                  <a:pt x="217382" y="1281810"/>
                  <a:pt x="216334" y="1284063"/>
                </a:cubicBezTo>
                <a:cubicBezTo>
                  <a:pt x="213898" y="1290334"/>
                  <a:pt x="203487" y="1303424"/>
                  <a:pt x="203487" y="1303424"/>
                </a:cubicBezTo>
                <a:cubicBezTo>
                  <a:pt x="198215" y="1310535"/>
                  <a:pt x="182628" y="1329361"/>
                  <a:pt x="182641" y="1329373"/>
                </a:cubicBezTo>
                <a:cubicBezTo>
                  <a:pt x="171791" y="1342305"/>
                  <a:pt x="164095" y="1352448"/>
                  <a:pt x="164083" y="1352509"/>
                </a:cubicBezTo>
                <a:cubicBezTo>
                  <a:pt x="163158" y="1352192"/>
                  <a:pt x="162360" y="1351583"/>
                  <a:pt x="161806" y="1350780"/>
                </a:cubicBezTo>
                <a:cubicBezTo>
                  <a:pt x="160515" y="1348831"/>
                  <a:pt x="162390" y="1344691"/>
                  <a:pt x="162390" y="1344691"/>
                </a:cubicBezTo>
                <a:cubicBezTo>
                  <a:pt x="162561" y="1343949"/>
                  <a:pt x="165240" y="1338736"/>
                  <a:pt x="165240" y="1338736"/>
                </a:cubicBezTo>
                <a:cubicBezTo>
                  <a:pt x="166048" y="1337154"/>
                  <a:pt x="166756" y="1335534"/>
                  <a:pt x="167359" y="1333866"/>
                </a:cubicBezTo>
                <a:cubicBezTo>
                  <a:pt x="167758" y="1332758"/>
                  <a:pt x="167988" y="1331601"/>
                  <a:pt x="168040" y="1330432"/>
                </a:cubicBezTo>
                <a:cubicBezTo>
                  <a:pt x="168040" y="1330493"/>
                  <a:pt x="164984" y="1335120"/>
                  <a:pt x="164972" y="1335132"/>
                </a:cubicBezTo>
                <a:cubicBezTo>
                  <a:pt x="164741" y="1335558"/>
                  <a:pt x="159736" y="1342877"/>
                  <a:pt x="159736" y="1342889"/>
                </a:cubicBezTo>
                <a:lnTo>
                  <a:pt x="152625" y="1353227"/>
                </a:lnTo>
                <a:cubicBezTo>
                  <a:pt x="152271" y="1353581"/>
                  <a:pt x="144357" y="1365404"/>
                  <a:pt x="144369" y="1365404"/>
                </a:cubicBezTo>
                <a:cubicBezTo>
                  <a:pt x="143809" y="1366086"/>
                  <a:pt x="138950" y="1373842"/>
                  <a:pt x="138962" y="1373855"/>
                </a:cubicBezTo>
                <a:cubicBezTo>
                  <a:pt x="137744" y="1375608"/>
                  <a:pt x="132618" y="1384814"/>
                  <a:pt x="132618" y="1384814"/>
                </a:cubicBezTo>
                <a:cubicBezTo>
                  <a:pt x="132070" y="1385849"/>
                  <a:pt x="130767" y="1388394"/>
                  <a:pt x="130767" y="1388394"/>
                </a:cubicBezTo>
                <a:cubicBezTo>
                  <a:pt x="130280" y="1389612"/>
                  <a:pt x="126554" y="1395919"/>
                  <a:pt x="126554" y="1395919"/>
                </a:cubicBezTo>
                <a:cubicBezTo>
                  <a:pt x="125702" y="1397478"/>
                  <a:pt x="119771" y="1406257"/>
                  <a:pt x="119784" y="1406257"/>
                </a:cubicBezTo>
                <a:cubicBezTo>
                  <a:pt x="118249" y="1408510"/>
                  <a:pt x="116715" y="1410751"/>
                  <a:pt x="115193" y="1413003"/>
                </a:cubicBezTo>
                <a:cubicBezTo>
                  <a:pt x="110922" y="1419494"/>
                  <a:pt x="106669" y="1425972"/>
                  <a:pt x="102432" y="1432413"/>
                </a:cubicBezTo>
                <a:cubicBezTo>
                  <a:pt x="98852" y="1437881"/>
                  <a:pt x="95292" y="1443348"/>
                  <a:pt x="91753" y="1448840"/>
                </a:cubicBezTo>
                <a:cubicBezTo>
                  <a:pt x="87539" y="1455330"/>
                  <a:pt x="83347" y="1461845"/>
                  <a:pt x="79174" y="1468384"/>
                </a:cubicBezTo>
                <a:cubicBezTo>
                  <a:pt x="79113" y="1468469"/>
                  <a:pt x="67764" y="1486308"/>
                  <a:pt x="67776" y="1486308"/>
                </a:cubicBezTo>
                <a:cubicBezTo>
                  <a:pt x="67569" y="1486625"/>
                  <a:pt x="58035" y="1501821"/>
                  <a:pt x="58035" y="1501821"/>
                </a:cubicBezTo>
                <a:cubicBezTo>
                  <a:pt x="57268" y="1503039"/>
                  <a:pt x="47076" y="1519441"/>
                  <a:pt x="47076" y="1519453"/>
                </a:cubicBezTo>
                <a:cubicBezTo>
                  <a:pt x="46479" y="1520391"/>
                  <a:pt x="39867" y="1531155"/>
                  <a:pt x="39867" y="1531155"/>
                </a:cubicBezTo>
                <a:cubicBezTo>
                  <a:pt x="38138" y="1533822"/>
                  <a:pt x="34753" y="1540166"/>
                  <a:pt x="34753" y="1540166"/>
                </a:cubicBezTo>
                <a:cubicBezTo>
                  <a:pt x="33912" y="1542042"/>
                  <a:pt x="28323" y="1551746"/>
                  <a:pt x="28323" y="1551746"/>
                </a:cubicBezTo>
                <a:cubicBezTo>
                  <a:pt x="26185" y="1555557"/>
                  <a:pt x="23742" y="1559186"/>
                  <a:pt x="21017" y="1562608"/>
                </a:cubicBezTo>
                <a:cubicBezTo>
                  <a:pt x="18068" y="1566322"/>
                  <a:pt x="14683" y="1569683"/>
                  <a:pt x="10935" y="1572593"/>
                </a:cubicBezTo>
                <a:cubicBezTo>
                  <a:pt x="8806" y="1574383"/>
                  <a:pt x="6902" y="1576429"/>
                  <a:pt x="5260" y="1578682"/>
                </a:cubicBezTo>
                <a:cubicBezTo>
                  <a:pt x="2825" y="1581568"/>
                  <a:pt x="1607" y="1583297"/>
                  <a:pt x="1607" y="1583284"/>
                </a:cubicBezTo>
                <a:lnTo>
                  <a:pt x="0" y="1582882"/>
                </a:lnTo>
                <a:cubicBezTo>
                  <a:pt x="9559" y="1568709"/>
                  <a:pt x="30040" y="1530266"/>
                  <a:pt x="30089" y="1530291"/>
                </a:cubicBezTo>
                <a:cubicBezTo>
                  <a:pt x="40853" y="1509140"/>
                  <a:pt x="72489" y="1459531"/>
                  <a:pt x="72574" y="1459592"/>
                </a:cubicBezTo>
                <a:lnTo>
                  <a:pt x="68202" y="1462624"/>
                </a:lnTo>
                <a:cubicBezTo>
                  <a:pt x="64415" y="1465266"/>
                  <a:pt x="60482" y="1468347"/>
                  <a:pt x="60495" y="1468347"/>
                </a:cubicBezTo>
                <a:cubicBezTo>
                  <a:pt x="54053" y="1473157"/>
                  <a:pt x="46296" y="1483568"/>
                  <a:pt x="46296" y="1483568"/>
                </a:cubicBezTo>
                <a:lnTo>
                  <a:pt x="42522" y="1488500"/>
                </a:lnTo>
                <a:cubicBezTo>
                  <a:pt x="41182" y="1490229"/>
                  <a:pt x="39855" y="1491970"/>
                  <a:pt x="38527" y="1493699"/>
                </a:cubicBezTo>
                <a:cubicBezTo>
                  <a:pt x="33352" y="1500190"/>
                  <a:pt x="29614" y="1502661"/>
                  <a:pt x="29614" y="1502637"/>
                </a:cubicBezTo>
                <a:lnTo>
                  <a:pt x="27812" y="1504013"/>
                </a:lnTo>
                <a:cubicBezTo>
                  <a:pt x="27252" y="1504439"/>
                  <a:pt x="26679" y="1504878"/>
                  <a:pt x="26107" y="1505292"/>
                </a:cubicBezTo>
                <a:lnTo>
                  <a:pt x="24402" y="1506570"/>
                </a:lnTo>
                <a:cubicBezTo>
                  <a:pt x="25109" y="1504269"/>
                  <a:pt x="25823" y="1501955"/>
                  <a:pt x="26546" y="1499654"/>
                </a:cubicBezTo>
                <a:cubicBezTo>
                  <a:pt x="27268" y="1497352"/>
                  <a:pt x="28003" y="1495002"/>
                  <a:pt x="28750" y="1492615"/>
                </a:cubicBezTo>
                <a:cubicBezTo>
                  <a:pt x="29358" y="1490643"/>
                  <a:pt x="29967" y="1488682"/>
                  <a:pt x="30588" y="1486722"/>
                </a:cubicBezTo>
                <a:cubicBezTo>
                  <a:pt x="26777" y="1489060"/>
                  <a:pt x="23781" y="1494028"/>
                  <a:pt x="23769" y="1494028"/>
                </a:cubicBezTo>
                <a:cubicBezTo>
                  <a:pt x="21334" y="1497949"/>
                  <a:pt x="19179" y="1501103"/>
                  <a:pt x="19191" y="1501115"/>
                </a:cubicBezTo>
                <a:cubicBezTo>
                  <a:pt x="13370" y="1508957"/>
                  <a:pt x="10935" y="1508421"/>
                  <a:pt x="10935" y="1508421"/>
                </a:cubicBezTo>
                <a:cubicBezTo>
                  <a:pt x="8675" y="1508932"/>
                  <a:pt x="6345" y="1509067"/>
                  <a:pt x="4043" y="1508811"/>
                </a:cubicBezTo>
                <a:cubicBezTo>
                  <a:pt x="1461" y="1507678"/>
                  <a:pt x="3434" y="1503806"/>
                  <a:pt x="3446" y="1503818"/>
                </a:cubicBezTo>
                <a:cubicBezTo>
                  <a:pt x="4287" y="1502174"/>
                  <a:pt x="4897" y="1500421"/>
                  <a:pt x="5260" y="1498606"/>
                </a:cubicBezTo>
                <a:cubicBezTo>
                  <a:pt x="5532" y="1497145"/>
                  <a:pt x="5532" y="1495648"/>
                  <a:pt x="5260" y="1494186"/>
                </a:cubicBezTo>
                <a:cubicBezTo>
                  <a:pt x="4876" y="1492689"/>
                  <a:pt x="4599" y="1491179"/>
                  <a:pt x="4432" y="1489644"/>
                </a:cubicBezTo>
                <a:cubicBezTo>
                  <a:pt x="4494" y="1485480"/>
                  <a:pt x="5592" y="1481389"/>
                  <a:pt x="7623" y="1477748"/>
                </a:cubicBezTo>
                <a:cubicBezTo>
                  <a:pt x="9500" y="1474363"/>
                  <a:pt x="11651" y="1471123"/>
                  <a:pt x="14052" y="1468079"/>
                </a:cubicBezTo>
                <a:cubicBezTo>
                  <a:pt x="15209" y="1466703"/>
                  <a:pt x="14978" y="1466788"/>
                  <a:pt x="18570" y="1461553"/>
                </a:cubicBezTo>
                <a:lnTo>
                  <a:pt x="18643" y="1461443"/>
                </a:lnTo>
                <a:cubicBezTo>
                  <a:pt x="22223" y="1456171"/>
                  <a:pt x="26947" y="1447719"/>
                  <a:pt x="26947" y="1447695"/>
                </a:cubicBezTo>
                <a:cubicBezTo>
                  <a:pt x="29906" y="1442313"/>
                  <a:pt x="38442" y="1428553"/>
                  <a:pt x="38454" y="1428553"/>
                </a:cubicBezTo>
                <a:cubicBezTo>
                  <a:pt x="41438" y="1423402"/>
                  <a:pt x="55502" y="1403079"/>
                  <a:pt x="55575" y="1403091"/>
                </a:cubicBezTo>
                <a:cubicBezTo>
                  <a:pt x="58010" y="1399365"/>
                  <a:pt x="70285" y="1383170"/>
                  <a:pt x="70297" y="1383170"/>
                </a:cubicBezTo>
                <a:cubicBezTo>
                  <a:pt x="73544" y="1378981"/>
                  <a:pt x="76811" y="1374793"/>
                  <a:pt x="80099" y="1370616"/>
                </a:cubicBezTo>
                <a:lnTo>
                  <a:pt x="84471" y="1365063"/>
                </a:lnTo>
                <a:cubicBezTo>
                  <a:pt x="89127" y="1359085"/>
                  <a:pt x="93323" y="1352777"/>
                  <a:pt x="97025" y="1346164"/>
                </a:cubicBezTo>
                <a:lnTo>
                  <a:pt x="98377" y="1343620"/>
                </a:lnTo>
                <a:cubicBezTo>
                  <a:pt x="99676" y="1341124"/>
                  <a:pt x="100842" y="1338554"/>
                  <a:pt x="101871" y="1335924"/>
                </a:cubicBezTo>
                <a:cubicBezTo>
                  <a:pt x="99436" y="1338469"/>
                  <a:pt x="96973" y="1341026"/>
                  <a:pt x="94480" y="1343571"/>
                </a:cubicBezTo>
                <a:lnTo>
                  <a:pt x="86565" y="1351827"/>
                </a:lnTo>
                <a:cubicBezTo>
                  <a:pt x="81232" y="1357404"/>
                  <a:pt x="75910" y="1363005"/>
                  <a:pt x="70601" y="1368619"/>
                </a:cubicBezTo>
                <a:cubicBezTo>
                  <a:pt x="68385" y="1370957"/>
                  <a:pt x="66181" y="1373307"/>
                  <a:pt x="63965" y="1375657"/>
                </a:cubicBezTo>
                <a:cubicBezTo>
                  <a:pt x="60929" y="1378908"/>
                  <a:pt x="57901" y="1382147"/>
                  <a:pt x="54881" y="1385399"/>
                </a:cubicBezTo>
                <a:cubicBezTo>
                  <a:pt x="52689" y="1387736"/>
                  <a:pt x="50501" y="1390087"/>
                  <a:pt x="48318" y="1392436"/>
                </a:cubicBezTo>
                <a:cubicBezTo>
                  <a:pt x="47295" y="1390354"/>
                  <a:pt x="46284" y="1388260"/>
                  <a:pt x="45261" y="1386178"/>
                </a:cubicBezTo>
                <a:cubicBezTo>
                  <a:pt x="44256" y="1384071"/>
                  <a:pt x="43767" y="1381757"/>
                  <a:pt x="43837" y="1379420"/>
                </a:cubicBezTo>
                <a:cubicBezTo>
                  <a:pt x="44945" y="1373562"/>
                  <a:pt x="49560" y="1367925"/>
                  <a:pt x="49560" y="1367913"/>
                </a:cubicBezTo>
                <a:cubicBezTo>
                  <a:pt x="51325" y="1365684"/>
                  <a:pt x="53079" y="1363443"/>
                  <a:pt x="54857" y="1361227"/>
                </a:cubicBezTo>
                <a:cubicBezTo>
                  <a:pt x="58501" y="1356685"/>
                  <a:pt x="62154" y="1352143"/>
                  <a:pt x="65816" y="1347626"/>
                </a:cubicBezTo>
                <a:cubicBezTo>
                  <a:pt x="65816" y="1347626"/>
                  <a:pt x="78382" y="1332356"/>
                  <a:pt x="78285" y="1332502"/>
                </a:cubicBezTo>
                <a:cubicBezTo>
                  <a:pt x="78187" y="1332648"/>
                  <a:pt x="91679" y="1316587"/>
                  <a:pt x="91679" y="1316611"/>
                </a:cubicBezTo>
                <a:cubicBezTo>
                  <a:pt x="92803" y="1315028"/>
                  <a:pt x="94157" y="1313616"/>
                  <a:pt x="95698" y="1312435"/>
                </a:cubicBezTo>
                <a:cubicBezTo>
                  <a:pt x="100167" y="1309220"/>
                  <a:pt x="101494" y="1308197"/>
                  <a:pt x="101494" y="1308185"/>
                </a:cubicBezTo>
                <a:lnTo>
                  <a:pt x="106499" y="1303899"/>
                </a:lnTo>
                <a:cubicBezTo>
                  <a:pt x="112262" y="1299357"/>
                  <a:pt x="117433" y="1294121"/>
                  <a:pt x="121890" y="1288288"/>
                </a:cubicBezTo>
                <a:cubicBezTo>
                  <a:pt x="123753" y="1285975"/>
                  <a:pt x="128843" y="1279009"/>
                  <a:pt x="128855" y="1279022"/>
                </a:cubicBezTo>
                <a:cubicBezTo>
                  <a:pt x="131169" y="1275868"/>
                  <a:pt x="135346" y="1270290"/>
                  <a:pt x="135358" y="1270290"/>
                </a:cubicBezTo>
                <a:cubicBezTo>
                  <a:pt x="132922" y="1271764"/>
                  <a:pt x="128819" y="1273944"/>
                  <a:pt x="128819" y="1273944"/>
                </a:cubicBezTo>
                <a:cubicBezTo>
                  <a:pt x="126179" y="1275137"/>
                  <a:pt x="123426" y="1276074"/>
                  <a:pt x="120599" y="1276720"/>
                </a:cubicBezTo>
                <a:cubicBezTo>
                  <a:pt x="119382" y="1277012"/>
                  <a:pt x="116216" y="1277414"/>
                  <a:pt x="116216" y="1277402"/>
                </a:cubicBezTo>
                <a:lnTo>
                  <a:pt x="113902" y="1277609"/>
                </a:lnTo>
                <a:lnTo>
                  <a:pt x="110371" y="1277889"/>
                </a:lnTo>
                <a:lnTo>
                  <a:pt x="107168" y="1278230"/>
                </a:lnTo>
                <a:cubicBezTo>
                  <a:pt x="105820" y="1278376"/>
                  <a:pt x="104485" y="1278632"/>
                  <a:pt x="103174" y="1278985"/>
                </a:cubicBezTo>
                <a:cubicBezTo>
                  <a:pt x="104027" y="1276550"/>
                  <a:pt x="105391" y="1273737"/>
                  <a:pt x="105391" y="1273737"/>
                </a:cubicBezTo>
                <a:cubicBezTo>
                  <a:pt x="106602" y="1271289"/>
                  <a:pt x="107965" y="1268927"/>
                  <a:pt x="109470" y="1266650"/>
                </a:cubicBezTo>
                <a:cubicBezTo>
                  <a:pt x="113123" y="1261353"/>
                  <a:pt x="117835" y="1255447"/>
                  <a:pt x="117835" y="1255459"/>
                </a:cubicBezTo>
                <a:cubicBezTo>
                  <a:pt x="120441" y="1252391"/>
                  <a:pt x="123035" y="1249371"/>
                  <a:pt x="125653" y="1246290"/>
                </a:cubicBezTo>
                <a:lnTo>
                  <a:pt x="131583" y="1239398"/>
                </a:lnTo>
                <a:lnTo>
                  <a:pt x="140022" y="1229559"/>
                </a:lnTo>
                <a:lnTo>
                  <a:pt x="148034" y="1220000"/>
                </a:lnTo>
                <a:lnTo>
                  <a:pt x="152491" y="1214521"/>
                </a:lnTo>
                <a:lnTo>
                  <a:pt x="156631" y="1209261"/>
                </a:lnTo>
                <a:cubicBezTo>
                  <a:pt x="160755" y="1203830"/>
                  <a:pt x="164895" y="1198411"/>
                  <a:pt x="169051" y="1193004"/>
                </a:cubicBezTo>
                <a:cubicBezTo>
                  <a:pt x="172445" y="1188474"/>
                  <a:pt x="175858" y="1183957"/>
                  <a:pt x="179292" y="1179439"/>
                </a:cubicBezTo>
                <a:cubicBezTo>
                  <a:pt x="181727" y="1176188"/>
                  <a:pt x="184163" y="1172973"/>
                  <a:pt x="186598" y="1169771"/>
                </a:cubicBezTo>
                <a:cubicBezTo>
                  <a:pt x="189244" y="1166337"/>
                  <a:pt x="191883" y="1162915"/>
                  <a:pt x="194513" y="1159506"/>
                </a:cubicBezTo>
                <a:cubicBezTo>
                  <a:pt x="200396" y="1151895"/>
                  <a:pt x="206726" y="1144638"/>
                  <a:pt x="213472" y="1137782"/>
                </a:cubicBezTo>
                <a:lnTo>
                  <a:pt x="219707" y="1131499"/>
                </a:lnTo>
                <a:cubicBezTo>
                  <a:pt x="222215" y="1129003"/>
                  <a:pt x="224727" y="1126507"/>
                  <a:pt x="227244" y="1124023"/>
                </a:cubicBezTo>
                <a:lnTo>
                  <a:pt x="235488" y="1115937"/>
                </a:lnTo>
                <a:lnTo>
                  <a:pt x="243062" y="1108631"/>
                </a:lnTo>
                <a:cubicBezTo>
                  <a:pt x="245790" y="1106013"/>
                  <a:pt x="248526" y="1103407"/>
                  <a:pt x="251269" y="1100801"/>
                </a:cubicBezTo>
                <a:lnTo>
                  <a:pt x="254460" y="1097806"/>
                </a:lnTo>
                <a:lnTo>
                  <a:pt x="258965" y="1093641"/>
                </a:lnTo>
                <a:lnTo>
                  <a:pt x="263653" y="1089270"/>
                </a:lnTo>
                <a:cubicBezTo>
                  <a:pt x="273845" y="1079528"/>
                  <a:pt x="276731" y="1075096"/>
                  <a:pt x="276731" y="1075096"/>
                </a:cubicBezTo>
                <a:cubicBezTo>
                  <a:pt x="277698" y="1073756"/>
                  <a:pt x="278765" y="1072490"/>
                  <a:pt x="279921" y="1071309"/>
                </a:cubicBezTo>
                <a:cubicBezTo>
                  <a:pt x="283567" y="1067680"/>
                  <a:pt x="287475" y="1064319"/>
                  <a:pt x="291611" y="1061263"/>
                </a:cubicBezTo>
                <a:lnTo>
                  <a:pt x="295995" y="1057951"/>
                </a:lnTo>
                <a:cubicBezTo>
                  <a:pt x="301441" y="1053896"/>
                  <a:pt x="306893" y="1049829"/>
                  <a:pt x="312348" y="1045774"/>
                </a:cubicBezTo>
                <a:cubicBezTo>
                  <a:pt x="316497" y="1042705"/>
                  <a:pt x="320649" y="1039649"/>
                  <a:pt x="324805" y="1036617"/>
                </a:cubicBezTo>
                <a:cubicBezTo>
                  <a:pt x="329238" y="1033366"/>
                  <a:pt x="333678" y="1030127"/>
                  <a:pt x="338127" y="1026875"/>
                </a:cubicBezTo>
                <a:lnTo>
                  <a:pt x="349500" y="1018644"/>
                </a:lnTo>
                <a:cubicBezTo>
                  <a:pt x="352982" y="1016123"/>
                  <a:pt x="356469" y="1013615"/>
                  <a:pt x="359960" y="1011107"/>
                </a:cubicBezTo>
                <a:cubicBezTo>
                  <a:pt x="365220" y="1007295"/>
                  <a:pt x="370496" y="1003508"/>
                  <a:pt x="375790" y="999721"/>
                </a:cubicBezTo>
                <a:lnTo>
                  <a:pt x="381123" y="995873"/>
                </a:lnTo>
                <a:lnTo>
                  <a:pt x="390146" y="989273"/>
                </a:lnTo>
                <a:cubicBezTo>
                  <a:pt x="395991" y="984975"/>
                  <a:pt x="406962" y="975818"/>
                  <a:pt x="406962" y="975806"/>
                </a:cubicBezTo>
                <a:lnTo>
                  <a:pt x="419005" y="965772"/>
                </a:lnTo>
                <a:cubicBezTo>
                  <a:pt x="429964" y="956591"/>
                  <a:pt x="436053" y="952378"/>
                  <a:pt x="436053" y="952378"/>
                </a:cubicBezTo>
                <a:cubicBezTo>
                  <a:pt x="441048" y="948712"/>
                  <a:pt x="446490" y="945692"/>
                  <a:pt x="452248" y="943391"/>
                </a:cubicBezTo>
                <a:cubicBezTo>
                  <a:pt x="455237" y="942088"/>
                  <a:pt x="458093" y="940493"/>
                  <a:pt x="460772" y="938630"/>
                </a:cubicBezTo>
                <a:cubicBezTo>
                  <a:pt x="467335" y="934003"/>
                  <a:pt x="475165" y="929242"/>
                  <a:pt x="475165" y="929254"/>
                </a:cubicBezTo>
                <a:cubicBezTo>
                  <a:pt x="477600" y="927707"/>
                  <a:pt x="483871" y="923896"/>
                  <a:pt x="483859" y="923896"/>
                </a:cubicBezTo>
                <a:cubicBezTo>
                  <a:pt x="488730" y="920949"/>
                  <a:pt x="494343" y="918355"/>
                  <a:pt x="494343" y="918368"/>
                </a:cubicBezTo>
                <a:cubicBezTo>
                  <a:pt x="495695" y="917698"/>
                  <a:pt x="498423" y="916127"/>
                  <a:pt x="498423" y="916127"/>
                </a:cubicBezTo>
                <a:cubicBezTo>
                  <a:pt x="503593" y="913119"/>
                  <a:pt x="508176" y="909211"/>
                  <a:pt x="511951" y="904571"/>
                </a:cubicBezTo>
                <a:cubicBezTo>
                  <a:pt x="511951" y="904571"/>
                  <a:pt x="511951" y="904571"/>
                  <a:pt x="511951" y="904571"/>
                </a:cubicBezTo>
                <a:cubicBezTo>
                  <a:pt x="513498" y="902623"/>
                  <a:pt x="516530" y="899335"/>
                  <a:pt x="516712" y="899128"/>
                </a:cubicBezTo>
                <a:lnTo>
                  <a:pt x="524579" y="891530"/>
                </a:lnTo>
                <a:lnTo>
                  <a:pt x="528585" y="888023"/>
                </a:lnTo>
                <a:cubicBezTo>
                  <a:pt x="533130" y="884211"/>
                  <a:pt x="537681" y="880400"/>
                  <a:pt x="542235" y="876613"/>
                </a:cubicBezTo>
                <a:lnTo>
                  <a:pt x="550479" y="869636"/>
                </a:lnTo>
                <a:lnTo>
                  <a:pt x="556238" y="864705"/>
                </a:lnTo>
                <a:lnTo>
                  <a:pt x="562497" y="859346"/>
                </a:lnTo>
                <a:lnTo>
                  <a:pt x="567746" y="854829"/>
                </a:lnTo>
                <a:lnTo>
                  <a:pt x="572774" y="850518"/>
                </a:lnTo>
                <a:lnTo>
                  <a:pt x="577645" y="846329"/>
                </a:lnTo>
                <a:lnTo>
                  <a:pt x="582942" y="841836"/>
                </a:lnTo>
                <a:lnTo>
                  <a:pt x="590699" y="835321"/>
                </a:lnTo>
                <a:cubicBezTo>
                  <a:pt x="594461" y="832058"/>
                  <a:pt x="598273" y="829306"/>
                  <a:pt x="598273" y="829306"/>
                </a:cubicBezTo>
                <a:cubicBezTo>
                  <a:pt x="599052" y="828710"/>
                  <a:pt x="606517" y="823364"/>
                  <a:pt x="606517" y="823364"/>
                </a:cubicBezTo>
                <a:cubicBezTo>
                  <a:pt x="608696" y="821939"/>
                  <a:pt x="614626" y="817275"/>
                  <a:pt x="614626" y="817275"/>
                </a:cubicBezTo>
                <a:cubicBezTo>
                  <a:pt x="618559" y="814341"/>
                  <a:pt x="624136" y="809847"/>
                  <a:pt x="624136" y="809847"/>
                </a:cubicBezTo>
                <a:cubicBezTo>
                  <a:pt x="626864" y="807753"/>
                  <a:pt x="631333" y="803503"/>
                  <a:pt x="631345" y="803503"/>
                </a:cubicBezTo>
                <a:lnTo>
                  <a:pt x="635400" y="799704"/>
                </a:lnTo>
                <a:cubicBezTo>
                  <a:pt x="640112" y="795382"/>
                  <a:pt x="642329" y="794833"/>
                  <a:pt x="642329" y="794833"/>
                </a:cubicBezTo>
                <a:cubicBezTo>
                  <a:pt x="643790" y="794359"/>
                  <a:pt x="645349" y="794273"/>
                  <a:pt x="646846" y="794590"/>
                </a:cubicBezTo>
                <a:lnTo>
                  <a:pt x="650122" y="795552"/>
                </a:lnTo>
                <a:cubicBezTo>
                  <a:pt x="650743" y="795759"/>
                  <a:pt x="651376" y="795893"/>
                  <a:pt x="652021" y="795954"/>
                </a:cubicBezTo>
                <a:lnTo>
                  <a:pt x="654323" y="796112"/>
                </a:lnTo>
                <a:cubicBezTo>
                  <a:pt x="655869" y="795053"/>
                  <a:pt x="659303" y="792885"/>
                  <a:pt x="659291" y="792885"/>
                </a:cubicBezTo>
                <a:cubicBezTo>
                  <a:pt x="665075" y="789232"/>
                  <a:pt x="666305" y="787844"/>
                  <a:pt x="666305" y="787856"/>
                </a:cubicBezTo>
                <a:cubicBezTo>
                  <a:pt x="668010" y="785908"/>
                  <a:pt x="675157" y="779527"/>
                  <a:pt x="675157" y="779527"/>
                </a:cubicBezTo>
                <a:cubicBezTo>
                  <a:pt x="687249" y="769286"/>
                  <a:pt x="714939" y="751812"/>
                  <a:pt x="714951" y="751825"/>
                </a:cubicBezTo>
                <a:cubicBezTo>
                  <a:pt x="729953" y="742704"/>
                  <a:pt x="739561" y="740184"/>
                  <a:pt x="739561" y="740184"/>
                </a:cubicBezTo>
                <a:cubicBezTo>
                  <a:pt x="748547" y="737322"/>
                  <a:pt x="757059" y="733146"/>
                  <a:pt x="764828" y="727800"/>
                </a:cubicBezTo>
                <a:lnTo>
                  <a:pt x="772450" y="722320"/>
                </a:lnTo>
                <a:cubicBezTo>
                  <a:pt x="781120" y="716792"/>
                  <a:pt x="787063" y="715379"/>
                  <a:pt x="787063" y="715392"/>
                </a:cubicBezTo>
                <a:cubicBezTo>
                  <a:pt x="790618" y="714320"/>
                  <a:pt x="794259" y="713590"/>
                  <a:pt x="797949" y="713212"/>
                </a:cubicBezTo>
                <a:cubicBezTo>
                  <a:pt x="795026" y="717206"/>
                  <a:pt x="792116" y="721200"/>
                  <a:pt x="789218" y="725207"/>
                </a:cubicBezTo>
                <a:lnTo>
                  <a:pt x="793760" y="722771"/>
                </a:lnTo>
                <a:cubicBezTo>
                  <a:pt x="803501" y="717559"/>
                  <a:pt x="817541" y="707964"/>
                  <a:pt x="817554" y="707988"/>
                </a:cubicBezTo>
                <a:cubicBezTo>
                  <a:pt x="826528" y="702460"/>
                  <a:pt x="841116" y="691063"/>
                  <a:pt x="841128" y="691063"/>
                </a:cubicBezTo>
                <a:cubicBezTo>
                  <a:pt x="854096" y="680468"/>
                  <a:pt x="862827" y="677668"/>
                  <a:pt x="862827" y="677668"/>
                </a:cubicBezTo>
                <a:cubicBezTo>
                  <a:pt x="866590" y="675707"/>
                  <a:pt x="869853" y="672907"/>
                  <a:pt x="872361" y="669497"/>
                </a:cubicBezTo>
                <a:cubicBezTo>
                  <a:pt x="875418" y="662776"/>
                  <a:pt x="888191" y="654666"/>
                  <a:pt x="888191" y="654666"/>
                </a:cubicBezTo>
                <a:lnTo>
                  <a:pt x="892319" y="651780"/>
                </a:lnTo>
                <a:cubicBezTo>
                  <a:pt x="896618" y="648699"/>
                  <a:pt x="900928" y="645618"/>
                  <a:pt x="905239" y="642562"/>
                </a:cubicBezTo>
                <a:cubicBezTo>
                  <a:pt x="911851" y="637716"/>
                  <a:pt x="919157" y="633905"/>
                  <a:pt x="926914" y="631274"/>
                </a:cubicBezTo>
                <a:cubicBezTo>
                  <a:pt x="930762" y="630130"/>
                  <a:pt x="934707" y="629374"/>
                  <a:pt x="938701" y="629021"/>
                </a:cubicBezTo>
                <a:cubicBezTo>
                  <a:pt x="944984" y="627694"/>
                  <a:pt x="951012" y="625320"/>
                  <a:pt x="956516" y="622007"/>
                </a:cubicBezTo>
                <a:lnTo>
                  <a:pt x="963554" y="617843"/>
                </a:lnTo>
                <a:cubicBezTo>
                  <a:pt x="968960" y="614653"/>
                  <a:pt x="974379" y="611475"/>
                  <a:pt x="979810" y="608308"/>
                </a:cubicBezTo>
                <a:cubicBezTo>
                  <a:pt x="989296" y="602792"/>
                  <a:pt x="998794" y="597313"/>
                  <a:pt x="1008304" y="591882"/>
                </a:cubicBezTo>
                <a:cubicBezTo>
                  <a:pt x="1017242" y="586938"/>
                  <a:pt x="1017509" y="585928"/>
                  <a:pt x="1017509" y="585928"/>
                </a:cubicBezTo>
                <a:cubicBezTo>
                  <a:pt x="1020675" y="582567"/>
                  <a:pt x="1024243" y="579608"/>
                  <a:pt x="1028128" y="577112"/>
                </a:cubicBezTo>
                <a:cubicBezTo>
                  <a:pt x="1036189" y="571839"/>
                  <a:pt x="1051093" y="567285"/>
                  <a:pt x="1051081" y="567297"/>
                </a:cubicBezTo>
                <a:lnTo>
                  <a:pt x="1060737" y="564058"/>
                </a:lnTo>
                <a:cubicBezTo>
                  <a:pt x="1063915" y="561525"/>
                  <a:pt x="1067081" y="559004"/>
                  <a:pt x="1070272" y="556484"/>
                </a:cubicBezTo>
                <a:cubicBezTo>
                  <a:pt x="1075155" y="552660"/>
                  <a:pt x="1079709" y="548447"/>
                  <a:pt x="1083886" y="543869"/>
                </a:cubicBezTo>
                <a:cubicBezTo>
                  <a:pt x="1087356" y="540216"/>
                  <a:pt x="1090108" y="535942"/>
                  <a:pt x="1092007" y="531278"/>
                </a:cubicBezTo>
                <a:cubicBezTo>
                  <a:pt x="1092007" y="531278"/>
                  <a:pt x="1100288" y="528550"/>
                  <a:pt x="1092129" y="530961"/>
                </a:cubicBezTo>
                <a:cubicBezTo>
                  <a:pt x="1087709" y="532386"/>
                  <a:pt x="1083094" y="533104"/>
                  <a:pt x="1078455" y="533104"/>
                </a:cubicBezTo>
                <a:cubicBezTo>
                  <a:pt x="1074936" y="533202"/>
                  <a:pt x="1082290" y="522693"/>
                  <a:pt x="1082278" y="522681"/>
                </a:cubicBezTo>
                <a:cubicBezTo>
                  <a:pt x="1091776" y="511357"/>
                  <a:pt x="1095673" y="508592"/>
                  <a:pt x="1095673" y="508592"/>
                </a:cubicBezTo>
                <a:cubicBezTo>
                  <a:pt x="1103600" y="502041"/>
                  <a:pt x="1111856" y="495892"/>
                  <a:pt x="1120404" y="490169"/>
                </a:cubicBezTo>
                <a:cubicBezTo>
                  <a:pt x="1137001" y="478345"/>
                  <a:pt x="1141689" y="486090"/>
                  <a:pt x="1141677" y="486077"/>
                </a:cubicBezTo>
                <a:cubicBezTo>
                  <a:pt x="1147376" y="492251"/>
                  <a:pt x="1143698" y="496172"/>
                  <a:pt x="1143698" y="496172"/>
                </a:cubicBezTo>
                <a:cubicBezTo>
                  <a:pt x="1141957" y="499070"/>
                  <a:pt x="1137318" y="502601"/>
                  <a:pt x="1137305" y="502601"/>
                </a:cubicBezTo>
                <a:lnTo>
                  <a:pt x="1140130" y="502224"/>
                </a:lnTo>
                <a:cubicBezTo>
                  <a:pt x="1141701" y="501993"/>
                  <a:pt x="1147169" y="501372"/>
                  <a:pt x="1147169" y="501359"/>
                </a:cubicBezTo>
                <a:cubicBezTo>
                  <a:pt x="1154767" y="500690"/>
                  <a:pt x="1150335" y="508592"/>
                  <a:pt x="1150347" y="508592"/>
                </a:cubicBezTo>
                <a:lnTo>
                  <a:pt x="1159017" y="501177"/>
                </a:lnTo>
                <a:cubicBezTo>
                  <a:pt x="1170987" y="490156"/>
                  <a:pt x="1177866" y="491959"/>
                  <a:pt x="1177854" y="491959"/>
                </a:cubicBezTo>
                <a:cubicBezTo>
                  <a:pt x="1185574" y="492714"/>
                  <a:pt x="1177270" y="501067"/>
                  <a:pt x="1177282" y="501067"/>
                </a:cubicBezTo>
                <a:cubicBezTo>
                  <a:pt x="1176259" y="502285"/>
                  <a:pt x="1170938" y="507874"/>
                  <a:pt x="1170950" y="507862"/>
                </a:cubicBezTo>
                <a:cubicBezTo>
                  <a:pt x="1171267" y="508349"/>
                  <a:pt x="1171681" y="508763"/>
                  <a:pt x="1172168" y="509079"/>
                </a:cubicBezTo>
                <a:cubicBezTo>
                  <a:pt x="1176442" y="512063"/>
                  <a:pt x="1188984" y="501201"/>
                  <a:pt x="1188996" y="501201"/>
                </a:cubicBezTo>
                <a:cubicBezTo>
                  <a:pt x="1193526" y="497000"/>
                  <a:pt x="1198068" y="492811"/>
                  <a:pt x="1202622" y="488634"/>
                </a:cubicBezTo>
                <a:cubicBezTo>
                  <a:pt x="1208418" y="483130"/>
                  <a:pt x="1213886" y="477261"/>
                  <a:pt x="1218963" y="471088"/>
                </a:cubicBezTo>
                <a:cubicBezTo>
                  <a:pt x="1222020" y="467471"/>
                  <a:pt x="1224540" y="463428"/>
                  <a:pt x="1226428" y="459081"/>
                </a:cubicBezTo>
                <a:lnTo>
                  <a:pt x="1210598" y="462162"/>
                </a:lnTo>
                <a:cubicBezTo>
                  <a:pt x="1196619" y="465352"/>
                  <a:pt x="1194281" y="464744"/>
                  <a:pt x="1194281" y="464731"/>
                </a:cubicBezTo>
                <a:cubicBezTo>
                  <a:pt x="1183699" y="464561"/>
                  <a:pt x="1191711" y="455233"/>
                  <a:pt x="1191724" y="455246"/>
                </a:cubicBezTo>
                <a:cubicBezTo>
                  <a:pt x="1194159" y="452518"/>
                  <a:pt x="1196594" y="449790"/>
                  <a:pt x="1199030" y="447075"/>
                </a:cubicBezTo>
                <a:cubicBezTo>
                  <a:pt x="1207554" y="437467"/>
                  <a:pt x="1220120" y="426155"/>
                  <a:pt x="1220120" y="426143"/>
                </a:cubicBezTo>
                <a:cubicBezTo>
                  <a:pt x="1231883" y="415184"/>
                  <a:pt x="1254288" y="404858"/>
                  <a:pt x="1254288" y="404870"/>
                </a:cubicBezTo>
                <a:cubicBezTo>
                  <a:pt x="1257686" y="403555"/>
                  <a:pt x="1260998" y="402008"/>
                  <a:pt x="1264176" y="400231"/>
                </a:cubicBezTo>
                <a:cubicBezTo>
                  <a:pt x="1271336" y="395993"/>
                  <a:pt x="1275537" y="395433"/>
                  <a:pt x="1275525" y="395445"/>
                </a:cubicBezTo>
                <a:cubicBezTo>
                  <a:pt x="1288298" y="392121"/>
                  <a:pt x="1306783" y="381661"/>
                  <a:pt x="1306783" y="381649"/>
                </a:cubicBezTo>
                <a:cubicBezTo>
                  <a:pt x="1313212" y="378142"/>
                  <a:pt x="1319836" y="375012"/>
                  <a:pt x="1326631" y="372285"/>
                </a:cubicBezTo>
                <a:cubicBezTo>
                  <a:pt x="1334144" y="369119"/>
                  <a:pt x="1336981" y="368632"/>
                  <a:pt x="1336981" y="368632"/>
                </a:cubicBezTo>
                <a:cubicBezTo>
                  <a:pt x="1346199" y="366513"/>
                  <a:pt x="1342169" y="377265"/>
                  <a:pt x="1342169" y="377277"/>
                </a:cubicBezTo>
                <a:cubicBezTo>
                  <a:pt x="1350291" y="373722"/>
                  <a:pt x="1358400" y="370202"/>
                  <a:pt x="1366522" y="366708"/>
                </a:cubicBezTo>
                <a:lnTo>
                  <a:pt x="1357000" y="365490"/>
                </a:lnTo>
                <a:cubicBezTo>
                  <a:pt x="1349694" y="364601"/>
                  <a:pt x="1352373" y="359097"/>
                  <a:pt x="1352373" y="359085"/>
                </a:cubicBezTo>
                <a:cubicBezTo>
                  <a:pt x="1359058" y="356077"/>
                  <a:pt x="1376836" y="348893"/>
                  <a:pt x="1376836" y="348905"/>
                </a:cubicBezTo>
                <a:cubicBezTo>
                  <a:pt x="1394931" y="342123"/>
                  <a:pt x="1408496" y="342561"/>
                  <a:pt x="1408496" y="342561"/>
                </a:cubicBezTo>
                <a:cubicBezTo>
                  <a:pt x="1404892" y="345496"/>
                  <a:pt x="1401299" y="348442"/>
                  <a:pt x="1397707" y="351389"/>
                </a:cubicBezTo>
                <a:cubicBezTo>
                  <a:pt x="1404283" y="350391"/>
                  <a:pt x="1410858" y="349405"/>
                  <a:pt x="1417434" y="348442"/>
                </a:cubicBezTo>
                <a:cubicBezTo>
                  <a:pt x="1424155" y="347347"/>
                  <a:pt x="1461709" y="339432"/>
                  <a:pt x="1461709" y="339492"/>
                </a:cubicBezTo>
                <a:cubicBezTo>
                  <a:pt x="1492796" y="332564"/>
                  <a:pt x="1496364" y="337678"/>
                  <a:pt x="1496364" y="337666"/>
                </a:cubicBezTo>
                <a:cubicBezTo>
                  <a:pt x="1500735" y="340783"/>
                  <a:pt x="1498970" y="345922"/>
                  <a:pt x="1498982" y="345934"/>
                </a:cubicBezTo>
                <a:cubicBezTo>
                  <a:pt x="1494111" y="349563"/>
                  <a:pt x="1489289" y="353216"/>
                  <a:pt x="1484516" y="356893"/>
                </a:cubicBezTo>
                <a:lnTo>
                  <a:pt x="1493295" y="356053"/>
                </a:lnTo>
                <a:cubicBezTo>
                  <a:pt x="1498958" y="355542"/>
                  <a:pt x="1506568" y="354032"/>
                  <a:pt x="1506556" y="354032"/>
                </a:cubicBezTo>
                <a:cubicBezTo>
                  <a:pt x="1506544" y="354032"/>
                  <a:pt x="1497606" y="356223"/>
                  <a:pt x="1507457" y="353837"/>
                </a:cubicBezTo>
                <a:cubicBezTo>
                  <a:pt x="1513716" y="352363"/>
                  <a:pt x="1520036" y="351207"/>
                  <a:pt x="1526404" y="350367"/>
                </a:cubicBezTo>
                <a:cubicBezTo>
                  <a:pt x="1545278" y="348869"/>
                  <a:pt x="1548323" y="353216"/>
                  <a:pt x="1548323" y="353204"/>
                </a:cubicBezTo>
                <a:cubicBezTo>
                  <a:pt x="1553632" y="356564"/>
                  <a:pt x="1543963" y="363749"/>
                  <a:pt x="1543951" y="363761"/>
                </a:cubicBezTo>
                <a:cubicBezTo>
                  <a:pt x="1540310" y="367012"/>
                  <a:pt x="1536657" y="370251"/>
                  <a:pt x="1532992" y="373503"/>
                </a:cubicBezTo>
                <a:cubicBezTo>
                  <a:pt x="1529741" y="376388"/>
                  <a:pt x="1526502" y="379274"/>
                  <a:pt x="1523250" y="382172"/>
                </a:cubicBezTo>
                <a:cubicBezTo>
                  <a:pt x="1513509" y="391378"/>
                  <a:pt x="1502684" y="390136"/>
                  <a:pt x="1502672" y="390136"/>
                </a:cubicBezTo>
                <a:lnTo>
                  <a:pt x="1499311" y="389966"/>
                </a:lnTo>
                <a:lnTo>
                  <a:pt x="1496741" y="389819"/>
                </a:lnTo>
                <a:cubicBezTo>
                  <a:pt x="1492017" y="389539"/>
                  <a:pt x="1490276" y="388541"/>
                  <a:pt x="1490276" y="388541"/>
                </a:cubicBezTo>
                <a:lnTo>
                  <a:pt x="1488412" y="387323"/>
                </a:lnTo>
                <a:cubicBezTo>
                  <a:pt x="1485685" y="385777"/>
                  <a:pt x="1481313" y="386288"/>
                  <a:pt x="1481313" y="386288"/>
                </a:cubicBezTo>
                <a:cubicBezTo>
                  <a:pt x="1477271" y="386288"/>
                  <a:pt x="1464984" y="391743"/>
                  <a:pt x="1464984" y="391743"/>
                </a:cubicBezTo>
                <a:cubicBezTo>
                  <a:pt x="1462549" y="392474"/>
                  <a:pt x="1451030" y="399305"/>
                  <a:pt x="1451030" y="399305"/>
                </a:cubicBezTo>
                <a:lnTo>
                  <a:pt x="1458165" y="400389"/>
                </a:lnTo>
                <a:cubicBezTo>
                  <a:pt x="1459785" y="400608"/>
                  <a:pt x="1461404" y="400718"/>
                  <a:pt x="1463036" y="400742"/>
                </a:cubicBezTo>
                <a:cubicBezTo>
                  <a:pt x="1469441" y="400657"/>
                  <a:pt x="1476431" y="401168"/>
                  <a:pt x="1476431" y="401168"/>
                </a:cubicBezTo>
                <a:cubicBezTo>
                  <a:pt x="1491481" y="403604"/>
                  <a:pt x="1485612" y="412359"/>
                  <a:pt x="1485624" y="412359"/>
                </a:cubicBezTo>
                <a:cubicBezTo>
                  <a:pt x="1482251" y="419506"/>
                  <a:pt x="1468223" y="427835"/>
                  <a:pt x="1468236" y="427860"/>
                </a:cubicBezTo>
                <a:cubicBezTo>
                  <a:pt x="1463730" y="430746"/>
                  <a:pt x="1456059" y="432657"/>
                  <a:pt x="1456059" y="432645"/>
                </a:cubicBezTo>
                <a:lnTo>
                  <a:pt x="1449970" y="434167"/>
                </a:lnTo>
                <a:cubicBezTo>
                  <a:pt x="1444138" y="435385"/>
                  <a:pt x="1438317" y="436603"/>
                  <a:pt x="1432484" y="437820"/>
                </a:cubicBezTo>
                <a:lnTo>
                  <a:pt x="1441873" y="441949"/>
                </a:lnTo>
                <a:cubicBezTo>
                  <a:pt x="1447961" y="444615"/>
                  <a:pt x="1447961" y="445443"/>
                  <a:pt x="1447961" y="445443"/>
                </a:cubicBezTo>
                <a:cubicBezTo>
                  <a:pt x="1449508" y="448658"/>
                  <a:pt x="1438548" y="452189"/>
                  <a:pt x="1438548" y="452189"/>
                </a:cubicBezTo>
                <a:lnTo>
                  <a:pt x="1432460" y="454004"/>
                </a:lnTo>
                <a:cubicBezTo>
                  <a:pt x="1429148" y="454868"/>
                  <a:pt x="1425836" y="455745"/>
                  <a:pt x="1422524" y="456634"/>
                </a:cubicBezTo>
                <a:cubicBezTo>
                  <a:pt x="1418469" y="457620"/>
                  <a:pt x="1414402" y="458606"/>
                  <a:pt x="1410347" y="459617"/>
                </a:cubicBezTo>
                <a:lnTo>
                  <a:pt x="1397208" y="462625"/>
                </a:lnTo>
                <a:lnTo>
                  <a:pt x="1385543" y="464963"/>
                </a:lnTo>
                <a:cubicBezTo>
                  <a:pt x="1383692" y="465377"/>
                  <a:pt x="1381780" y="465523"/>
                  <a:pt x="1379892" y="465377"/>
                </a:cubicBezTo>
                <a:cubicBezTo>
                  <a:pt x="1378005" y="465024"/>
                  <a:pt x="1376154" y="464500"/>
                  <a:pt x="1374364" y="463794"/>
                </a:cubicBezTo>
                <a:lnTo>
                  <a:pt x="1367691" y="461602"/>
                </a:lnTo>
                <a:cubicBezTo>
                  <a:pt x="1365524" y="460932"/>
                  <a:pt x="1363320" y="460372"/>
                  <a:pt x="1361091" y="459934"/>
                </a:cubicBezTo>
                <a:cubicBezTo>
                  <a:pt x="1356221" y="458813"/>
                  <a:pt x="1346747" y="463733"/>
                  <a:pt x="1346759" y="463721"/>
                </a:cubicBezTo>
                <a:lnTo>
                  <a:pt x="1342035" y="466083"/>
                </a:lnTo>
                <a:lnTo>
                  <a:pt x="1337602" y="468226"/>
                </a:lnTo>
                <a:lnTo>
                  <a:pt x="1331514" y="471075"/>
                </a:lnTo>
                <a:lnTo>
                  <a:pt x="1322722" y="475070"/>
                </a:lnTo>
                <a:lnTo>
                  <a:pt x="1312579" y="479697"/>
                </a:lnTo>
                <a:lnTo>
                  <a:pt x="1300402" y="485335"/>
                </a:lnTo>
                <a:cubicBezTo>
                  <a:pt x="1297772" y="487380"/>
                  <a:pt x="1294922" y="489134"/>
                  <a:pt x="1291927" y="490583"/>
                </a:cubicBezTo>
                <a:cubicBezTo>
                  <a:pt x="1281577" y="492689"/>
                  <a:pt x="1290709" y="481231"/>
                  <a:pt x="1290709" y="481243"/>
                </a:cubicBezTo>
                <a:cubicBezTo>
                  <a:pt x="1299817" y="469675"/>
                  <a:pt x="1319739" y="464683"/>
                  <a:pt x="1319739" y="464695"/>
                </a:cubicBezTo>
                <a:cubicBezTo>
                  <a:pt x="1327654" y="462527"/>
                  <a:pt x="1335313" y="459520"/>
                  <a:pt x="1342595" y="455745"/>
                </a:cubicBezTo>
                <a:cubicBezTo>
                  <a:pt x="1346698" y="453650"/>
                  <a:pt x="1357706" y="446941"/>
                  <a:pt x="1357706" y="446953"/>
                </a:cubicBezTo>
                <a:cubicBezTo>
                  <a:pt x="1357414" y="445139"/>
                  <a:pt x="1359180" y="442082"/>
                  <a:pt x="1359180" y="442082"/>
                </a:cubicBezTo>
                <a:cubicBezTo>
                  <a:pt x="1362699" y="436651"/>
                  <a:pt x="1371807" y="429905"/>
                  <a:pt x="1371807" y="429905"/>
                </a:cubicBezTo>
                <a:cubicBezTo>
                  <a:pt x="1376605" y="426252"/>
                  <a:pt x="1380550" y="422746"/>
                  <a:pt x="1380538" y="422758"/>
                </a:cubicBezTo>
                <a:cubicBezTo>
                  <a:pt x="1391229" y="413357"/>
                  <a:pt x="1392033" y="410898"/>
                  <a:pt x="1392033" y="410898"/>
                </a:cubicBezTo>
                <a:cubicBezTo>
                  <a:pt x="1394943" y="406343"/>
                  <a:pt x="1390243" y="405783"/>
                  <a:pt x="1390243" y="405783"/>
                </a:cubicBezTo>
                <a:lnTo>
                  <a:pt x="1389232" y="405625"/>
                </a:lnTo>
                <a:lnTo>
                  <a:pt x="1388014" y="405552"/>
                </a:lnTo>
                <a:lnTo>
                  <a:pt x="1386590" y="405552"/>
                </a:lnTo>
                <a:lnTo>
                  <a:pt x="1384849" y="405674"/>
                </a:lnTo>
                <a:lnTo>
                  <a:pt x="1383107" y="405881"/>
                </a:lnTo>
                <a:lnTo>
                  <a:pt x="1381889" y="406063"/>
                </a:lnTo>
                <a:lnTo>
                  <a:pt x="1379223" y="406514"/>
                </a:lnTo>
                <a:lnTo>
                  <a:pt x="1376593" y="406879"/>
                </a:lnTo>
                <a:lnTo>
                  <a:pt x="1374279" y="407110"/>
                </a:lnTo>
                <a:lnTo>
                  <a:pt x="1372391" y="407232"/>
                </a:lnTo>
                <a:lnTo>
                  <a:pt x="1370699" y="407232"/>
                </a:lnTo>
                <a:lnTo>
                  <a:pt x="1369019" y="407232"/>
                </a:lnTo>
                <a:lnTo>
                  <a:pt x="1367716" y="407171"/>
                </a:lnTo>
                <a:lnTo>
                  <a:pt x="1365780" y="406989"/>
                </a:lnTo>
                <a:lnTo>
                  <a:pt x="1363929" y="406721"/>
                </a:lnTo>
                <a:lnTo>
                  <a:pt x="1361566" y="406368"/>
                </a:lnTo>
                <a:lnTo>
                  <a:pt x="1359447" y="406246"/>
                </a:lnTo>
                <a:lnTo>
                  <a:pt x="1357463" y="406246"/>
                </a:lnTo>
                <a:cubicBezTo>
                  <a:pt x="1356245" y="406246"/>
                  <a:pt x="1353359" y="406441"/>
                  <a:pt x="1353359" y="406441"/>
                </a:cubicBezTo>
                <a:lnTo>
                  <a:pt x="1348488" y="406843"/>
                </a:lnTo>
                <a:lnTo>
                  <a:pt x="1344020" y="407257"/>
                </a:lnTo>
                <a:cubicBezTo>
                  <a:pt x="1341341" y="407561"/>
                  <a:pt x="1338759" y="408450"/>
                  <a:pt x="1336458" y="409838"/>
                </a:cubicBezTo>
                <a:lnTo>
                  <a:pt x="1335946" y="410167"/>
                </a:lnTo>
                <a:lnTo>
                  <a:pt x="1334729" y="410959"/>
                </a:lnTo>
                <a:lnTo>
                  <a:pt x="1331879" y="412688"/>
                </a:lnTo>
                <a:lnTo>
                  <a:pt x="1329176" y="414222"/>
                </a:lnTo>
                <a:lnTo>
                  <a:pt x="1326412" y="415707"/>
                </a:lnTo>
                <a:lnTo>
                  <a:pt x="1325060" y="416402"/>
                </a:lnTo>
                <a:lnTo>
                  <a:pt x="1321103" y="418350"/>
                </a:lnTo>
                <a:lnTo>
                  <a:pt x="1316963" y="420262"/>
                </a:lnTo>
                <a:lnTo>
                  <a:pt x="1312445" y="422234"/>
                </a:lnTo>
                <a:lnTo>
                  <a:pt x="1308889" y="423720"/>
                </a:lnTo>
                <a:lnTo>
                  <a:pt x="1304019" y="425705"/>
                </a:lnTo>
                <a:lnTo>
                  <a:pt x="1298649" y="427860"/>
                </a:lnTo>
                <a:lnTo>
                  <a:pt x="1293181" y="430064"/>
                </a:lnTo>
                <a:lnTo>
                  <a:pt x="1289906" y="431415"/>
                </a:lnTo>
                <a:lnTo>
                  <a:pt x="1284816" y="433583"/>
                </a:lnTo>
                <a:lnTo>
                  <a:pt x="1277704" y="436700"/>
                </a:lnTo>
                <a:lnTo>
                  <a:pt x="1271738" y="439318"/>
                </a:lnTo>
                <a:lnTo>
                  <a:pt x="1266867" y="441486"/>
                </a:lnTo>
                <a:cubicBezTo>
                  <a:pt x="1267293" y="441717"/>
                  <a:pt x="1267695" y="441985"/>
                  <a:pt x="1268085" y="442265"/>
                </a:cubicBezTo>
                <a:cubicBezTo>
                  <a:pt x="1268389" y="442448"/>
                  <a:pt x="1268742" y="442509"/>
                  <a:pt x="1269083" y="442423"/>
                </a:cubicBezTo>
                <a:lnTo>
                  <a:pt x="1271823" y="442095"/>
                </a:lnTo>
                <a:cubicBezTo>
                  <a:pt x="1273345" y="441888"/>
                  <a:pt x="1275939" y="441827"/>
                  <a:pt x="1275939" y="441839"/>
                </a:cubicBezTo>
                <a:cubicBezTo>
                  <a:pt x="1288700" y="440865"/>
                  <a:pt x="1278606" y="449961"/>
                  <a:pt x="1278630" y="449973"/>
                </a:cubicBezTo>
                <a:cubicBezTo>
                  <a:pt x="1277144" y="451605"/>
                  <a:pt x="1269668" y="457863"/>
                  <a:pt x="1269680" y="457876"/>
                </a:cubicBezTo>
                <a:cubicBezTo>
                  <a:pt x="1263190" y="462856"/>
                  <a:pt x="1265491" y="465608"/>
                  <a:pt x="1265491" y="465608"/>
                </a:cubicBezTo>
                <a:cubicBezTo>
                  <a:pt x="1266027" y="466399"/>
                  <a:pt x="1265722" y="466826"/>
                  <a:pt x="1265722" y="466826"/>
                </a:cubicBezTo>
                <a:cubicBezTo>
                  <a:pt x="1264005" y="470564"/>
                  <a:pt x="1256456" y="476945"/>
                  <a:pt x="1256456" y="476945"/>
                </a:cubicBezTo>
                <a:cubicBezTo>
                  <a:pt x="1253034" y="480111"/>
                  <a:pt x="1244376" y="487733"/>
                  <a:pt x="1244376" y="487733"/>
                </a:cubicBezTo>
                <a:cubicBezTo>
                  <a:pt x="1241320" y="490765"/>
                  <a:pt x="1238069" y="493578"/>
                  <a:pt x="1234635" y="496184"/>
                </a:cubicBezTo>
                <a:cubicBezTo>
                  <a:pt x="1230714" y="499168"/>
                  <a:pt x="1226464" y="501700"/>
                  <a:pt x="1221959" y="503709"/>
                </a:cubicBezTo>
                <a:cubicBezTo>
                  <a:pt x="1218927" y="505025"/>
                  <a:pt x="1215797" y="506120"/>
                  <a:pt x="1212607" y="506985"/>
                </a:cubicBezTo>
                <a:cubicBezTo>
                  <a:pt x="1210695" y="507448"/>
                  <a:pt x="1208832" y="508093"/>
                  <a:pt x="1207054" y="508933"/>
                </a:cubicBezTo>
                <a:cubicBezTo>
                  <a:pt x="1202257" y="511235"/>
                  <a:pt x="1197849" y="514255"/>
                  <a:pt x="1193964" y="517883"/>
                </a:cubicBezTo>
                <a:lnTo>
                  <a:pt x="1198141" y="518042"/>
                </a:lnTo>
                <a:lnTo>
                  <a:pt x="1208869" y="518480"/>
                </a:lnTo>
                <a:cubicBezTo>
                  <a:pt x="1210902" y="518480"/>
                  <a:pt x="1217392" y="519405"/>
                  <a:pt x="1217392" y="519405"/>
                </a:cubicBezTo>
                <a:cubicBezTo>
                  <a:pt x="1218464" y="519478"/>
                  <a:pt x="1222495" y="520465"/>
                  <a:pt x="1222482" y="520465"/>
                </a:cubicBezTo>
                <a:lnTo>
                  <a:pt x="1226209" y="521366"/>
                </a:lnTo>
                <a:lnTo>
                  <a:pt x="1230458" y="522413"/>
                </a:lnTo>
                <a:lnTo>
                  <a:pt x="1232382" y="522864"/>
                </a:lnTo>
                <a:cubicBezTo>
                  <a:pt x="1232382" y="522961"/>
                  <a:pt x="1232382" y="523058"/>
                  <a:pt x="1232382" y="523156"/>
                </a:cubicBezTo>
                <a:cubicBezTo>
                  <a:pt x="1232212" y="524398"/>
                  <a:pt x="1231871" y="525603"/>
                  <a:pt x="1231359" y="526748"/>
                </a:cubicBezTo>
                <a:cubicBezTo>
                  <a:pt x="1229947" y="529622"/>
                  <a:pt x="1225831" y="531046"/>
                  <a:pt x="1225831" y="531059"/>
                </a:cubicBezTo>
                <a:cubicBezTo>
                  <a:pt x="1224199" y="531814"/>
                  <a:pt x="1219743" y="533202"/>
                  <a:pt x="1219743" y="533214"/>
                </a:cubicBezTo>
                <a:cubicBezTo>
                  <a:pt x="1219036" y="533409"/>
                  <a:pt x="1217721" y="533884"/>
                  <a:pt x="1217733" y="533872"/>
                </a:cubicBezTo>
                <a:cubicBezTo>
                  <a:pt x="1216942" y="534176"/>
                  <a:pt x="1216126" y="534419"/>
                  <a:pt x="1215298" y="534614"/>
                </a:cubicBezTo>
                <a:cubicBezTo>
                  <a:pt x="1214945" y="534687"/>
                  <a:pt x="1213678" y="534785"/>
                  <a:pt x="1213678" y="534785"/>
                </a:cubicBezTo>
                <a:cubicBezTo>
                  <a:pt x="1211803" y="534980"/>
                  <a:pt x="1209952" y="535308"/>
                  <a:pt x="1208126" y="535759"/>
                </a:cubicBezTo>
                <a:cubicBezTo>
                  <a:pt x="1202464" y="537306"/>
                  <a:pt x="1197142" y="539875"/>
                  <a:pt x="1192406" y="543345"/>
                </a:cubicBezTo>
                <a:cubicBezTo>
                  <a:pt x="1191188" y="544185"/>
                  <a:pt x="1188339" y="546365"/>
                  <a:pt x="1188339" y="546389"/>
                </a:cubicBezTo>
                <a:lnTo>
                  <a:pt x="1184905" y="549178"/>
                </a:lnTo>
                <a:cubicBezTo>
                  <a:pt x="1183760" y="550140"/>
                  <a:pt x="1182615" y="551102"/>
                  <a:pt x="1181483" y="552076"/>
                </a:cubicBezTo>
                <a:lnTo>
                  <a:pt x="1177927" y="555120"/>
                </a:lnTo>
                <a:lnTo>
                  <a:pt x="1175833" y="556922"/>
                </a:lnTo>
                <a:lnTo>
                  <a:pt x="1173994" y="558517"/>
                </a:lnTo>
                <a:lnTo>
                  <a:pt x="1170804" y="561294"/>
                </a:lnTo>
                <a:lnTo>
                  <a:pt x="1168368" y="563413"/>
                </a:lnTo>
                <a:lnTo>
                  <a:pt x="1166420" y="565117"/>
                </a:lnTo>
                <a:lnTo>
                  <a:pt x="1164094" y="567151"/>
                </a:lnTo>
                <a:lnTo>
                  <a:pt x="1162195" y="567394"/>
                </a:lnTo>
                <a:lnTo>
                  <a:pt x="1160088" y="567687"/>
                </a:lnTo>
                <a:lnTo>
                  <a:pt x="1156849" y="568113"/>
                </a:lnTo>
                <a:lnTo>
                  <a:pt x="1154000" y="568502"/>
                </a:lnTo>
                <a:lnTo>
                  <a:pt x="1150128" y="569026"/>
                </a:lnTo>
                <a:lnTo>
                  <a:pt x="1146864" y="569477"/>
                </a:lnTo>
                <a:lnTo>
                  <a:pt x="1145549" y="569659"/>
                </a:lnTo>
                <a:lnTo>
                  <a:pt x="1144331" y="569830"/>
                </a:lnTo>
                <a:lnTo>
                  <a:pt x="1142797" y="570037"/>
                </a:lnTo>
                <a:lnTo>
                  <a:pt x="1143869" y="568819"/>
                </a:lnTo>
                <a:lnTo>
                  <a:pt x="1145086" y="567443"/>
                </a:lnTo>
                <a:lnTo>
                  <a:pt x="1146608" y="565702"/>
                </a:lnTo>
                <a:lnTo>
                  <a:pt x="1147826" y="564301"/>
                </a:lnTo>
                <a:lnTo>
                  <a:pt x="1149336" y="562499"/>
                </a:lnTo>
                <a:cubicBezTo>
                  <a:pt x="1149653" y="562110"/>
                  <a:pt x="1149969" y="561708"/>
                  <a:pt x="1150298" y="561282"/>
                </a:cubicBezTo>
                <a:lnTo>
                  <a:pt x="1151248" y="560064"/>
                </a:lnTo>
                <a:lnTo>
                  <a:pt x="1152100" y="558943"/>
                </a:lnTo>
                <a:lnTo>
                  <a:pt x="1152612" y="558262"/>
                </a:lnTo>
                <a:cubicBezTo>
                  <a:pt x="1152953" y="557787"/>
                  <a:pt x="1153294" y="557312"/>
                  <a:pt x="1153622" y="556825"/>
                </a:cubicBezTo>
                <a:cubicBezTo>
                  <a:pt x="1153951" y="556338"/>
                  <a:pt x="1154450" y="555607"/>
                  <a:pt x="1154840" y="554962"/>
                </a:cubicBezTo>
                <a:cubicBezTo>
                  <a:pt x="1155230" y="554317"/>
                  <a:pt x="1155595" y="553744"/>
                  <a:pt x="1155960" y="553087"/>
                </a:cubicBezTo>
                <a:lnTo>
                  <a:pt x="1156837" y="551418"/>
                </a:lnTo>
                <a:cubicBezTo>
                  <a:pt x="1157056" y="550919"/>
                  <a:pt x="1157275" y="550432"/>
                  <a:pt x="1157507" y="549933"/>
                </a:cubicBezTo>
                <a:cubicBezTo>
                  <a:pt x="1157738" y="549434"/>
                  <a:pt x="1157957" y="548715"/>
                  <a:pt x="1158176" y="548057"/>
                </a:cubicBezTo>
                <a:cubicBezTo>
                  <a:pt x="1158396" y="547400"/>
                  <a:pt x="1158469" y="546949"/>
                  <a:pt x="1158603" y="546389"/>
                </a:cubicBezTo>
                <a:lnTo>
                  <a:pt x="1158785" y="545257"/>
                </a:lnTo>
                <a:cubicBezTo>
                  <a:pt x="1158785" y="544940"/>
                  <a:pt x="1158785" y="544624"/>
                  <a:pt x="1158870" y="544307"/>
                </a:cubicBezTo>
                <a:lnTo>
                  <a:pt x="1158870" y="543223"/>
                </a:lnTo>
                <a:lnTo>
                  <a:pt x="1157519" y="544709"/>
                </a:lnTo>
                <a:lnTo>
                  <a:pt x="1156033" y="546365"/>
                </a:lnTo>
                <a:lnTo>
                  <a:pt x="1154353" y="548204"/>
                </a:lnTo>
                <a:lnTo>
                  <a:pt x="1153354" y="549226"/>
                </a:lnTo>
                <a:lnTo>
                  <a:pt x="1152587" y="549957"/>
                </a:lnTo>
                <a:lnTo>
                  <a:pt x="1151370" y="551016"/>
                </a:lnTo>
                <a:lnTo>
                  <a:pt x="1149482" y="552599"/>
                </a:lnTo>
                <a:lnTo>
                  <a:pt x="1147753" y="554049"/>
                </a:lnTo>
                <a:lnTo>
                  <a:pt x="1146365" y="555205"/>
                </a:lnTo>
                <a:lnTo>
                  <a:pt x="1142894" y="558091"/>
                </a:lnTo>
                <a:lnTo>
                  <a:pt x="1138742" y="561537"/>
                </a:lnTo>
                <a:lnTo>
                  <a:pt x="1134078" y="565422"/>
                </a:lnTo>
                <a:lnTo>
                  <a:pt x="1128282" y="570292"/>
                </a:lnTo>
                <a:lnTo>
                  <a:pt x="1124520" y="573434"/>
                </a:lnTo>
                <a:lnTo>
                  <a:pt x="1119576" y="577574"/>
                </a:lnTo>
                <a:lnTo>
                  <a:pt x="1115277" y="581227"/>
                </a:lnTo>
                <a:lnTo>
                  <a:pt x="1111174" y="584710"/>
                </a:lnTo>
                <a:lnTo>
                  <a:pt x="1106108" y="589069"/>
                </a:lnTo>
                <a:lnTo>
                  <a:pt x="1101371" y="593343"/>
                </a:lnTo>
                <a:lnTo>
                  <a:pt x="1097925" y="596424"/>
                </a:lnTo>
                <a:lnTo>
                  <a:pt x="1094078" y="599785"/>
                </a:lnTo>
                <a:cubicBezTo>
                  <a:pt x="1091922" y="601660"/>
                  <a:pt x="1084080" y="609405"/>
                  <a:pt x="1084080" y="609405"/>
                </a:cubicBezTo>
                <a:cubicBezTo>
                  <a:pt x="1079928" y="613606"/>
                  <a:pt x="1075532" y="617563"/>
                  <a:pt x="1070917" y="621240"/>
                </a:cubicBezTo>
                <a:cubicBezTo>
                  <a:pt x="1067410" y="623907"/>
                  <a:pt x="1063757" y="626367"/>
                  <a:pt x="1059958" y="628607"/>
                </a:cubicBezTo>
                <a:cubicBezTo>
                  <a:pt x="1058850" y="629301"/>
                  <a:pt x="1056037" y="631116"/>
                  <a:pt x="1056037" y="631128"/>
                </a:cubicBezTo>
                <a:cubicBezTo>
                  <a:pt x="1050606" y="634720"/>
                  <a:pt x="1044067" y="640102"/>
                  <a:pt x="1044067" y="640102"/>
                </a:cubicBezTo>
                <a:lnTo>
                  <a:pt x="1041973" y="641856"/>
                </a:lnTo>
                <a:lnTo>
                  <a:pt x="1040134" y="643427"/>
                </a:lnTo>
                <a:lnTo>
                  <a:pt x="1037260" y="645959"/>
                </a:lnTo>
                <a:lnTo>
                  <a:pt x="1034167" y="648760"/>
                </a:lnTo>
                <a:lnTo>
                  <a:pt x="1031732" y="651037"/>
                </a:lnTo>
                <a:lnTo>
                  <a:pt x="1030125" y="652535"/>
                </a:lnTo>
                <a:lnTo>
                  <a:pt x="1027044" y="655457"/>
                </a:lnTo>
                <a:lnTo>
                  <a:pt x="1025157" y="657259"/>
                </a:lnTo>
                <a:lnTo>
                  <a:pt x="1022514" y="659792"/>
                </a:lnTo>
                <a:lnTo>
                  <a:pt x="1021199" y="661010"/>
                </a:lnTo>
                <a:lnTo>
                  <a:pt x="1019275" y="662873"/>
                </a:lnTo>
                <a:cubicBezTo>
                  <a:pt x="1018459" y="663689"/>
                  <a:pt x="1017643" y="664480"/>
                  <a:pt x="1016840" y="665309"/>
                </a:cubicBezTo>
                <a:lnTo>
                  <a:pt x="1015537" y="666611"/>
                </a:lnTo>
                <a:lnTo>
                  <a:pt x="1013552" y="668609"/>
                </a:lnTo>
                <a:cubicBezTo>
                  <a:pt x="1013016" y="669156"/>
                  <a:pt x="1012468" y="669704"/>
                  <a:pt x="1011933" y="670264"/>
                </a:cubicBezTo>
                <a:cubicBezTo>
                  <a:pt x="1010946" y="671275"/>
                  <a:pt x="1009960" y="672298"/>
                  <a:pt x="1008986" y="673321"/>
                </a:cubicBezTo>
                <a:lnTo>
                  <a:pt x="1006441" y="676024"/>
                </a:lnTo>
                <a:lnTo>
                  <a:pt x="1004517" y="678118"/>
                </a:lnTo>
                <a:cubicBezTo>
                  <a:pt x="1003884" y="678824"/>
                  <a:pt x="1003299" y="679531"/>
                  <a:pt x="1002605" y="680249"/>
                </a:cubicBezTo>
                <a:lnTo>
                  <a:pt x="1001850" y="681102"/>
                </a:lnTo>
                <a:lnTo>
                  <a:pt x="1000170" y="683026"/>
                </a:lnTo>
                <a:lnTo>
                  <a:pt x="998550" y="684950"/>
                </a:lnTo>
                <a:lnTo>
                  <a:pt x="997065" y="686739"/>
                </a:lnTo>
                <a:cubicBezTo>
                  <a:pt x="996602" y="687300"/>
                  <a:pt x="996139" y="687872"/>
                  <a:pt x="995689" y="688445"/>
                </a:cubicBezTo>
                <a:lnTo>
                  <a:pt x="994191" y="690344"/>
                </a:lnTo>
                <a:lnTo>
                  <a:pt x="993229" y="691561"/>
                </a:lnTo>
                <a:lnTo>
                  <a:pt x="992011" y="693218"/>
                </a:lnTo>
                <a:lnTo>
                  <a:pt x="991366" y="694107"/>
                </a:lnTo>
                <a:lnTo>
                  <a:pt x="990574" y="695214"/>
                </a:lnTo>
                <a:cubicBezTo>
                  <a:pt x="990367" y="695507"/>
                  <a:pt x="990148" y="695799"/>
                  <a:pt x="989953" y="696091"/>
                </a:cubicBezTo>
                <a:lnTo>
                  <a:pt x="989101" y="697309"/>
                </a:lnTo>
                <a:lnTo>
                  <a:pt x="988589" y="698076"/>
                </a:lnTo>
                <a:lnTo>
                  <a:pt x="987968" y="699002"/>
                </a:lnTo>
                <a:lnTo>
                  <a:pt x="987530" y="699684"/>
                </a:lnTo>
                <a:lnTo>
                  <a:pt x="986714" y="700902"/>
                </a:lnTo>
                <a:lnTo>
                  <a:pt x="986093" y="701912"/>
                </a:lnTo>
                <a:lnTo>
                  <a:pt x="985338" y="703129"/>
                </a:lnTo>
                <a:cubicBezTo>
                  <a:pt x="985192" y="703398"/>
                  <a:pt x="985034" y="703666"/>
                  <a:pt x="984875" y="703921"/>
                </a:cubicBezTo>
                <a:lnTo>
                  <a:pt x="984072" y="705346"/>
                </a:lnTo>
                <a:lnTo>
                  <a:pt x="983560" y="706296"/>
                </a:lnTo>
                <a:lnTo>
                  <a:pt x="983073" y="707197"/>
                </a:lnTo>
                <a:cubicBezTo>
                  <a:pt x="982878" y="707599"/>
                  <a:pt x="982672" y="707988"/>
                  <a:pt x="982464" y="708415"/>
                </a:cubicBezTo>
                <a:lnTo>
                  <a:pt x="982026" y="709303"/>
                </a:lnTo>
                <a:cubicBezTo>
                  <a:pt x="981917" y="709510"/>
                  <a:pt x="981807" y="709742"/>
                  <a:pt x="981710" y="709961"/>
                </a:cubicBezTo>
                <a:lnTo>
                  <a:pt x="981235" y="710972"/>
                </a:lnTo>
                <a:cubicBezTo>
                  <a:pt x="981052" y="711386"/>
                  <a:pt x="980869" y="711788"/>
                  <a:pt x="980699" y="712190"/>
                </a:cubicBezTo>
                <a:cubicBezTo>
                  <a:pt x="980528" y="712591"/>
                  <a:pt x="980443" y="712798"/>
                  <a:pt x="980321" y="713103"/>
                </a:cubicBezTo>
                <a:lnTo>
                  <a:pt x="979956" y="714004"/>
                </a:lnTo>
                <a:lnTo>
                  <a:pt x="979579" y="715026"/>
                </a:lnTo>
                <a:lnTo>
                  <a:pt x="979323" y="715769"/>
                </a:lnTo>
                <a:cubicBezTo>
                  <a:pt x="979225" y="716037"/>
                  <a:pt x="979457" y="716415"/>
                  <a:pt x="979457" y="716427"/>
                </a:cubicBezTo>
                <a:lnTo>
                  <a:pt x="979676" y="716804"/>
                </a:lnTo>
                <a:lnTo>
                  <a:pt x="979859" y="717206"/>
                </a:lnTo>
                <a:lnTo>
                  <a:pt x="982939" y="715988"/>
                </a:lnTo>
                <a:cubicBezTo>
                  <a:pt x="992985" y="711349"/>
                  <a:pt x="993655" y="712043"/>
                  <a:pt x="993667" y="712031"/>
                </a:cubicBezTo>
                <a:cubicBezTo>
                  <a:pt x="995457" y="712213"/>
                  <a:pt x="995287" y="714466"/>
                  <a:pt x="995287" y="714466"/>
                </a:cubicBezTo>
                <a:cubicBezTo>
                  <a:pt x="995287" y="715136"/>
                  <a:pt x="995287" y="715794"/>
                  <a:pt x="995201" y="716463"/>
                </a:cubicBezTo>
                <a:cubicBezTo>
                  <a:pt x="995116" y="717133"/>
                  <a:pt x="995092" y="717949"/>
                  <a:pt x="995031" y="718704"/>
                </a:cubicBezTo>
                <a:lnTo>
                  <a:pt x="994921" y="720421"/>
                </a:lnTo>
                <a:cubicBezTo>
                  <a:pt x="994921" y="721103"/>
                  <a:pt x="994921" y="721772"/>
                  <a:pt x="994824" y="722442"/>
                </a:cubicBezTo>
                <a:cubicBezTo>
                  <a:pt x="994751" y="723599"/>
                  <a:pt x="994751" y="724743"/>
                  <a:pt x="994824" y="725900"/>
                </a:cubicBezTo>
                <a:cubicBezTo>
                  <a:pt x="994824" y="726193"/>
                  <a:pt x="995238" y="727459"/>
                  <a:pt x="995238" y="727459"/>
                </a:cubicBezTo>
                <a:lnTo>
                  <a:pt x="995567" y="728506"/>
                </a:lnTo>
                <a:cubicBezTo>
                  <a:pt x="995567" y="728689"/>
                  <a:pt x="995676" y="728871"/>
                  <a:pt x="995725" y="729054"/>
                </a:cubicBezTo>
                <a:cubicBezTo>
                  <a:pt x="996237" y="728738"/>
                  <a:pt x="998246" y="727642"/>
                  <a:pt x="998234" y="727654"/>
                </a:cubicBezTo>
                <a:cubicBezTo>
                  <a:pt x="999317" y="727082"/>
                  <a:pt x="1000365" y="726460"/>
                  <a:pt x="1001375" y="725778"/>
                </a:cubicBezTo>
                <a:lnTo>
                  <a:pt x="1004419" y="723477"/>
                </a:lnTo>
                <a:cubicBezTo>
                  <a:pt x="1008292" y="720591"/>
                  <a:pt x="1012322" y="717961"/>
                  <a:pt x="1016523" y="715586"/>
                </a:cubicBezTo>
                <a:cubicBezTo>
                  <a:pt x="1021199" y="712944"/>
                  <a:pt x="1026082" y="710691"/>
                  <a:pt x="1031135" y="708877"/>
                </a:cubicBezTo>
                <a:lnTo>
                  <a:pt x="1032877" y="708280"/>
                </a:lnTo>
                <a:lnTo>
                  <a:pt x="1035677" y="707428"/>
                </a:lnTo>
                <a:lnTo>
                  <a:pt x="1039196" y="706502"/>
                </a:lnTo>
                <a:lnTo>
                  <a:pt x="1042168" y="705857"/>
                </a:lnTo>
                <a:lnTo>
                  <a:pt x="1045979" y="705200"/>
                </a:lnTo>
                <a:lnTo>
                  <a:pt x="1049108" y="704810"/>
                </a:lnTo>
                <a:lnTo>
                  <a:pt x="1052080" y="704567"/>
                </a:lnTo>
                <a:lnTo>
                  <a:pt x="1055002" y="704433"/>
                </a:lnTo>
                <a:lnTo>
                  <a:pt x="1057681" y="704347"/>
                </a:lnTo>
                <a:lnTo>
                  <a:pt x="1059215" y="704165"/>
                </a:lnTo>
                <a:lnTo>
                  <a:pt x="1060774" y="703873"/>
                </a:lnTo>
                <a:lnTo>
                  <a:pt x="1064281" y="703033"/>
                </a:lnTo>
                <a:lnTo>
                  <a:pt x="1069346" y="701620"/>
                </a:lnTo>
                <a:lnTo>
                  <a:pt x="1073389" y="700524"/>
                </a:lnTo>
                <a:cubicBezTo>
                  <a:pt x="1075824" y="699866"/>
                  <a:pt x="1078162" y="699233"/>
                  <a:pt x="1080549" y="698587"/>
                </a:cubicBezTo>
                <a:cubicBezTo>
                  <a:pt x="1086796" y="697005"/>
                  <a:pt x="1092921" y="694983"/>
                  <a:pt x="1098887" y="692572"/>
                </a:cubicBezTo>
                <a:cubicBezTo>
                  <a:pt x="1103624" y="690661"/>
                  <a:pt x="1108227" y="688445"/>
                  <a:pt x="1112659" y="685912"/>
                </a:cubicBezTo>
                <a:cubicBezTo>
                  <a:pt x="1114681" y="684706"/>
                  <a:pt x="1116763" y="683622"/>
                  <a:pt x="1118894" y="682636"/>
                </a:cubicBezTo>
                <a:lnTo>
                  <a:pt x="1121646" y="681419"/>
                </a:lnTo>
                <a:lnTo>
                  <a:pt x="1125299" y="679982"/>
                </a:lnTo>
                <a:lnTo>
                  <a:pt x="1129950" y="678240"/>
                </a:lnTo>
                <a:lnTo>
                  <a:pt x="1135868" y="676073"/>
                </a:lnTo>
                <a:lnTo>
                  <a:pt x="1141360" y="673954"/>
                </a:lnTo>
                <a:lnTo>
                  <a:pt x="1139753" y="677084"/>
                </a:lnTo>
                <a:lnTo>
                  <a:pt x="1137196" y="681954"/>
                </a:lnTo>
                <a:lnTo>
                  <a:pt x="1134760" y="686995"/>
                </a:lnTo>
                <a:cubicBezTo>
                  <a:pt x="1133811" y="689029"/>
                  <a:pt x="1132325" y="693607"/>
                  <a:pt x="1132325" y="693607"/>
                </a:cubicBezTo>
                <a:cubicBezTo>
                  <a:pt x="1131619" y="695714"/>
                  <a:pt x="1130913" y="697833"/>
                  <a:pt x="1130218" y="699951"/>
                </a:cubicBezTo>
                <a:cubicBezTo>
                  <a:pt x="1127430" y="706588"/>
                  <a:pt x="1129366" y="710192"/>
                  <a:pt x="1129354" y="710192"/>
                </a:cubicBezTo>
                <a:cubicBezTo>
                  <a:pt x="1131460" y="716816"/>
                  <a:pt x="1147619" y="715148"/>
                  <a:pt x="1147619" y="715161"/>
                </a:cubicBezTo>
                <a:lnTo>
                  <a:pt x="1156557" y="708402"/>
                </a:lnTo>
                <a:cubicBezTo>
                  <a:pt x="1168990" y="699538"/>
                  <a:pt x="1171571" y="693534"/>
                  <a:pt x="1171559" y="693510"/>
                </a:cubicBezTo>
                <a:cubicBezTo>
                  <a:pt x="1177513" y="685279"/>
                  <a:pt x="1176624" y="677984"/>
                  <a:pt x="1176624" y="677997"/>
                </a:cubicBezTo>
                <a:cubicBezTo>
                  <a:pt x="1176454" y="675403"/>
                  <a:pt x="1176454" y="672809"/>
                  <a:pt x="1176624" y="670216"/>
                </a:cubicBezTo>
                <a:cubicBezTo>
                  <a:pt x="1177172" y="669302"/>
                  <a:pt x="1177063" y="668145"/>
                  <a:pt x="1176369" y="667354"/>
                </a:cubicBezTo>
                <a:cubicBezTo>
                  <a:pt x="1174895" y="665941"/>
                  <a:pt x="1174384" y="663798"/>
                  <a:pt x="1175078" y="661887"/>
                </a:cubicBezTo>
                <a:cubicBezTo>
                  <a:pt x="1177672" y="656468"/>
                  <a:pt x="1191322" y="646617"/>
                  <a:pt x="1191346" y="646641"/>
                </a:cubicBezTo>
                <a:cubicBezTo>
                  <a:pt x="1202062" y="637923"/>
                  <a:pt x="1212826" y="629253"/>
                  <a:pt x="1223639" y="620632"/>
                </a:cubicBezTo>
                <a:cubicBezTo>
                  <a:pt x="1231116" y="614385"/>
                  <a:pt x="1236827" y="606287"/>
                  <a:pt x="1240175" y="597130"/>
                </a:cubicBezTo>
                <a:cubicBezTo>
                  <a:pt x="1244863" y="589909"/>
                  <a:pt x="1235779" y="589824"/>
                  <a:pt x="1235779" y="589824"/>
                </a:cubicBezTo>
                <a:lnTo>
                  <a:pt x="1228266" y="589313"/>
                </a:lnTo>
                <a:cubicBezTo>
                  <a:pt x="1219195" y="588619"/>
                  <a:pt x="1230483" y="580375"/>
                  <a:pt x="1230495" y="580363"/>
                </a:cubicBezTo>
                <a:cubicBezTo>
                  <a:pt x="1235646" y="576430"/>
                  <a:pt x="1240589" y="572703"/>
                  <a:pt x="1240589" y="572703"/>
                </a:cubicBezTo>
                <a:cubicBezTo>
                  <a:pt x="1256711" y="560527"/>
                  <a:pt x="1250781" y="552186"/>
                  <a:pt x="1250769" y="552173"/>
                </a:cubicBezTo>
                <a:cubicBezTo>
                  <a:pt x="1250160" y="551041"/>
                  <a:pt x="1250233" y="549665"/>
                  <a:pt x="1250940" y="548593"/>
                </a:cubicBezTo>
                <a:cubicBezTo>
                  <a:pt x="1253533" y="540727"/>
                  <a:pt x="1263116" y="525141"/>
                  <a:pt x="1263116" y="525129"/>
                </a:cubicBezTo>
                <a:cubicBezTo>
                  <a:pt x="1270678" y="517774"/>
                  <a:pt x="1280018" y="512489"/>
                  <a:pt x="1290222" y="509786"/>
                </a:cubicBezTo>
                <a:cubicBezTo>
                  <a:pt x="1299172" y="507533"/>
                  <a:pt x="1307940" y="504611"/>
                  <a:pt x="1316439" y="501031"/>
                </a:cubicBezTo>
                <a:cubicBezTo>
                  <a:pt x="1318874" y="500008"/>
                  <a:pt x="1332439" y="492275"/>
                  <a:pt x="1332439" y="492275"/>
                </a:cubicBezTo>
                <a:cubicBezTo>
                  <a:pt x="1352653" y="489523"/>
                  <a:pt x="1355222" y="491606"/>
                  <a:pt x="1355234" y="491594"/>
                </a:cubicBezTo>
                <a:cubicBezTo>
                  <a:pt x="1357170" y="493006"/>
                  <a:pt x="1364026" y="491496"/>
                  <a:pt x="1364026" y="491496"/>
                </a:cubicBezTo>
                <a:cubicBezTo>
                  <a:pt x="1370419" y="490680"/>
                  <a:pt x="1376812" y="489901"/>
                  <a:pt x="1383205" y="489134"/>
                </a:cubicBezTo>
                <a:cubicBezTo>
                  <a:pt x="1381914" y="492945"/>
                  <a:pt x="1380635" y="496769"/>
                  <a:pt x="1379357" y="500580"/>
                </a:cubicBezTo>
                <a:cubicBezTo>
                  <a:pt x="1370833" y="515655"/>
                  <a:pt x="1395296" y="508982"/>
                  <a:pt x="1395284" y="509018"/>
                </a:cubicBezTo>
                <a:cubicBezTo>
                  <a:pt x="1409519" y="505634"/>
                  <a:pt x="1431741" y="484665"/>
                  <a:pt x="1431815" y="484726"/>
                </a:cubicBezTo>
                <a:cubicBezTo>
                  <a:pt x="1451297" y="467788"/>
                  <a:pt x="1457873" y="463051"/>
                  <a:pt x="1457849" y="463051"/>
                </a:cubicBezTo>
                <a:lnTo>
                  <a:pt x="1464302" y="467215"/>
                </a:lnTo>
                <a:cubicBezTo>
                  <a:pt x="1468236" y="469760"/>
                  <a:pt x="1472169" y="472318"/>
                  <a:pt x="1476077" y="474875"/>
                </a:cubicBezTo>
                <a:lnTo>
                  <a:pt x="1485113" y="481255"/>
                </a:lnTo>
                <a:cubicBezTo>
                  <a:pt x="1494172" y="485749"/>
                  <a:pt x="1489484" y="491947"/>
                  <a:pt x="1489496" y="491935"/>
                </a:cubicBezTo>
                <a:cubicBezTo>
                  <a:pt x="1488279" y="493895"/>
                  <a:pt x="1488717" y="494272"/>
                  <a:pt x="1488729" y="494272"/>
                </a:cubicBezTo>
                <a:cubicBezTo>
                  <a:pt x="1489776" y="497122"/>
                  <a:pt x="1496790" y="498595"/>
                  <a:pt x="1496790" y="498595"/>
                </a:cubicBezTo>
                <a:cubicBezTo>
                  <a:pt x="1502233" y="500458"/>
                  <a:pt x="1511902" y="499813"/>
                  <a:pt x="1511914" y="499813"/>
                </a:cubicBezTo>
                <a:cubicBezTo>
                  <a:pt x="1513619" y="499886"/>
                  <a:pt x="1522118" y="497682"/>
                  <a:pt x="1522118" y="497694"/>
                </a:cubicBezTo>
                <a:cubicBezTo>
                  <a:pt x="1527013" y="496452"/>
                  <a:pt x="1531969" y="495502"/>
                  <a:pt x="1536974" y="494869"/>
                </a:cubicBezTo>
                <a:cubicBezTo>
                  <a:pt x="1542831" y="494211"/>
                  <a:pt x="1541674" y="498230"/>
                  <a:pt x="1541686" y="498230"/>
                </a:cubicBezTo>
                <a:cubicBezTo>
                  <a:pt x="1541370" y="499362"/>
                  <a:pt x="1543233" y="499654"/>
                  <a:pt x="1543233" y="499642"/>
                </a:cubicBezTo>
                <a:cubicBezTo>
                  <a:pt x="1545705" y="500239"/>
                  <a:pt x="1548262" y="500410"/>
                  <a:pt x="1550794" y="500142"/>
                </a:cubicBezTo>
                <a:cubicBezTo>
                  <a:pt x="1555860" y="499837"/>
                  <a:pt x="1558369" y="501359"/>
                  <a:pt x="1558369" y="501359"/>
                </a:cubicBezTo>
                <a:cubicBezTo>
                  <a:pt x="1560804" y="502723"/>
                  <a:pt x="1560560" y="506230"/>
                  <a:pt x="1560548" y="506230"/>
                </a:cubicBezTo>
                <a:cubicBezTo>
                  <a:pt x="1560463" y="508227"/>
                  <a:pt x="1560500" y="510224"/>
                  <a:pt x="1560633" y="512221"/>
                </a:cubicBezTo>
                <a:cubicBezTo>
                  <a:pt x="1560670" y="514267"/>
                  <a:pt x="1560219" y="516288"/>
                  <a:pt x="1559330" y="518127"/>
                </a:cubicBezTo>
                <a:cubicBezTo>
                  <a:pt x="1558405" y="520562"/>
                  <a:pt x="1554764" y="523570"/>
                  <a:pt x="1554764" y="523570"/>
                </a:cubicBezTo>
                <a:cubicBezTo>
                  <a:pt x="1554228" y="523911"/>
                  <a:pt x="1553875" y="524471"/>
                  <a:pt x="1553790" y="525092"/>
                </a:cubicBezTo>
                <a:cubicBezTo>
                  <a:pt x="1553851" y="526103"/>
                  <a:pt x="1554058" y="527101"/>
                  <a:pt x="1554387" y="528063"/>
                </a:cubicBezTo>
                <a:cubicBezTo>
                  <a:pt x="1554484" y="528855"/>
                  <a:pt x="1554277" y="529658"/>
                  <a:pt x="1553826" y="530316"/>
                </a:cubicBezTo>
                <a:lnTo>
                  <a:pt x="1552938" y="531911"/>
                </a:lnTo>
                <a:lnTo>
                  <a:pt x="1550076" y="536563"/>
                </a:lnTo>
                <a:lnTo>
                  <a:pt x="1547251" y="540898"/>
                </a:lnTo>
                <a:lnTo>
                  <a:pt x="1543756" y="546280"/>
                </a:lnTo>
                <a:cubicBezTo>
                  <a:pt x="1544974" y="546962"/>
                  <a:pt x="1549199" y="548472"/>
                  <a:pt x="1549199" y="548472"/>
                </a:cubicBezTo>
                <a:cubicBezTo>
                  <a:pt x="1550247" y="548764"/>
                  <a:pt x="1551306" y="548946"/>
                  <a:pt x="1552390" y="549019"/>
                </a:cubicBezTo>
                <a:cubicBezTo>
                  <a:pt x="1555970" y="549506"/>
                  <a:pt x="1565139" y="543917"/>
                  <a:pt x="1565139" y="543930"/>
                </a:cubicBezTo>
                <a:cubicBezTo>
                  <a:pt x="1574685" y="538462"/>
                  <a:pt x="1578058" y="537756"/>
                  <a:pt x="1578058" y="537756"/>
                </a:cubicBezTo>
                <a:cubicBezTo>
                  <a:pt x="1583428" y="536319"/>
                  <a:pt x="1586485" y="537695"/>
                  <a:pt x="1586485" y="537683"/>
                </a:cubicBezTo>
                <a:lnTo>
                  <a:pt x="1585498" y="542079"/>
                </a:lnTo>
                <a:lnTo>
                  <a:pt x="1584476" y="546633"/>
                </a:lnTo>
                <a:cubicBezTo>
                  <a:pt x="1583976" y="548861"/>
                  <a:pt x="1583489" y="551077"/>
                  <a:pt x="1582990" y="553306"/>
                </a:cubicBezTo>
                <a:lnTo>
                  <a:pt x="1581711" y="559126"/>
                </a:lnTo>
                <a:cubicBezTo>
                  <a:pt x="1586071" y="558627"/>
                  <a:pt x="1590442" y="558140"/>
                  <a:pt x="1594814" y="557665"/>
                </a:cubicBezTo>
                <a:lnTo>
                  <a:pt x="1593596" y="559358"/>
                </a:lnTo>
                <a:lnTo>
                  <a:pt x="1590053" y="564447"/>
                </a:lnTo>
                <a:cubicBezTo>
                  <a:pt x="1589200" y="565665"/>
                  <a:pt x="1586680" y="568843"/>
                  <a:pt x="1586680" y="568856"/>
                </a:cubicBezTo>
                <a:cubicBezTo>
                  <a:pt x="1583392" y="572155"/>
                  <a:pt x="1580993" y="572509"/>
                  <a:pt x="1580993" y="572509"/>
                </a:cubicBezTo>
                <a:lnTo>
                  <a:pt x="1575233" y="573872"/>
                </a:lnTo>
                <a:cubicBezTo>
                  <a:pt x="1573663" y="574384"/>
                  <a:pt x="1561498" y="577038"/>
                  <a:pt x="1561498" y="577038"/>
                </a:cubicBezTo>
                <a:cubicBezTo>
                  <a:pt x="1557845" y="577939"/>
                  <a:pt x="1549577" y="578767"/>
                  <a:pt x="1549589" y="578767"/>
                </a:cubicBezTo>
                <a:cubicBezTo>
                  <a:pt x="1543817" y="579425"/>
                  <a:pt x="1538191" y="581008"/>
                  <a:pt x="1532931" y="583480"/>
                </a:cubicBezTo>
                <a:lnTo>
                  <a:pt x="1529716" y="584941"/>
                </a:lnTo>
                <a:lnTo>
                  <a:pt x="1525479" y="586841"/>
                </a:lnTo>
                <a:lnTo>
                  <a:pt x="1521412" y="588643"/>
                </a:lnTo>
                <a:lnTo>
                  <a:pt x="1518112" y="590080"/>
                </a:lnTo>
                <a:lnTo>
                  <a:pt x="1515043" y="591407"/>
                </a:lnTo>
                <a:lnTo>
                  <a:pt x="1511074" y="593100"/>
                </a:lnTo>
                <a:lnTo>
                  <a:pt x="1509089" y="593952"/>
                </a:lnTo>
                <a:lnTo>
                  <a:pt x="1506069" y="595231"/>
                </a:lnTo>
                <a:lnTo>
                  <a:pt x="1503634" y="596278"/>
                </a:lnTo>
                <a:lnTo>
                  <a:pt x="1501356" y="597240"/>
                </a:lnTo>
                <a:lnTo>
                  <a:pt x="1498495" y="598458"/>
                </a:lnTo>
                <a:lnTo>
                  <a:pt x="1494501" y="600138"/>
                </a:lnTo>
                <a:lnTo>
                  <a:pt x="1489630" y="602220"/>
                </a:lnTo>
                <a:lnTo>
                  <a:pt x="1485283" y="604071"/>
                </a:lnTo>
                <a:cubicBezTo>
                  <a:pt x="1484418" y="604485"/>
                  <a:pt x="1483481" y="604765"/>
                  <a:pt x="1482531" y="604899"/>
                </a:cubicBezTo>
                <a:lnTo>
                  <a:pt x="1480412" y="605130"/>
                </a:lnTo>
                <a:cubicBezTo>
                  <a:pt x="1479292" y="605240"/>
                  <a:pt x="1477088" y="605520"/>
                  <a:pt x="1477088" y="605508"/>
                </a:cubicBezTo>
                <a:lnTo>
                  <a:pt x="1479609" y="601855"/>
                </a:lnTo>
                <a:cubicBezTo>
                  <a:pt x="1481386" y="599079"/>
                  <a:pt x="1483554" y="596582"/>
                  <a:pt x="1486050" y="594439"/>
                </a:cubicBezTo>
                <a:lnTo>
                  <a:pt x="1489362" y="591310"/>
                </a:lnTo>
                <a:cubicBezTo>
                  <a:pt x="1491067" y="589642"/>
                  <a:pt x="1495146" y="585319"/>
                  <a:pt x="1495134" y="585307"/>
                </a:cubicBezTo>
                <a:cubicBezTo>
                  <a:pt x="1496729" y="583480"/>
                  <a:pt x="1498312" y="581653"/>
                  <a:pt x="1499895" y="579815"/>
                </a:cubicBezTo>
                <a:lnTo>
                  <a:pt x="1505618" y="572582"/>
                </a:lnTo>
                <a:cubicBezTo>
                  <a:pt x="1507299" y="570341"/>
                  <a:pt x="1508967" y="568088"/>
                  <a:pt x="1510647" y="565836"/>
                </a:cubicBezTo>
                <a:cubicBezTo>
                  <a:pt x="1512328" y="563583"/>
                  <a:pt x="1514093" y="561196"/>
                  <a:pt x="1515823" y="558871"/>
                </a:cubicBezTo>
                <a:lnTo>
                  <a:pt x="1519622" y="554000"/>
                </a:lnTo>
                <a:lnTo>
                  <a:pt x="1524493" y="548155"/>
                </a:lnTo>
                <a:lnTo>
                  <a:pt x="1529704" y="542067"/>
                </a:lnTo>
                <a:lnTo>
                  <a:pt x="1534015" y="537001"/>
                </a:lnTo>
                <a:lnTo>
                  <a:pt x="1530106" y="538085"/>
                </a:lnTo>
                <a:cubicBezTo>
                  <a:pt x="1526697" y="539132"/>
                  <a:pt x="1523372" y="540398"/>
                  <a:pt x="1520133" y="541896"/>
                </a:cubicBezTo>
                <a:cubicBezTo>
                  <a:pt x="1517698" y="543016"/>
                  <a:pt x="1513874" y="545342"/>
                  <a:pt x="1513874" y="545342"/>
                </a:cubicBezTo>
                <a:lnTo>
                  <a:pt x="1510428" y="547704"/>
                </a:lnTo>
                <a:lnTo>
                  <a:pt x="1507554" y="549994"/>
                </a:lnTo>
                <a:lnTo>
                  <a:pt x="1504291" y="552916"/>
                </a:lnTo>
                <a:lnTo>
                  <a:pt x="1501673" y="555266"/>
                </a:lnTo>
                <a:lnTo>
                  <a:pt x="1498422" y="558091"/>
                </a:lnTo>
                <a:cubicBezTo>
                  <a:pt x="1497509" y="558871"/>
                  <a:pt x="1496595" y="559650"/>
                  <a:pt x="1495670" y="560417"/>
                </a:cubicBezTo>
                <a:lnTo>
                  <a:pt x="1493356" y="562329"/>
                </a:lnTo>
                <a:lnTo>
                  <a:pt x="1490129" y="564874"/>
                </a:lnTo>
                <a:lnTo>
                  <a:pt x="1486939" y="567309"/>
                </a:lnTo>
                <a:lnTo>
                  <a:pt x="1482836" y="570195"/>
                </a:lnTo>
                <a:lnTo>
                  <a:pt x="1479609" y="572326"/>
                </a:lnTo>
                <a:lnTo>
                  <a:pt x="1477539" y="573617"/>
                </a:lnTo>
                <a:lnTo>
                  <a:pt x="1473325" y="576052"/>
                </a:lnTo>
                <a:lnTo>
                  <a:pt x="1469295" y="578232"/>
                </a:lnTo>
                <a:lnTo>
                  <a:pt x="1465471" y="580192"/>
                </a:lnTo>
                <a:lnTo>
                  <a:pt x="1463279" y="581276"/>
                </a:lnTo>
                <a:lnTo>
                  <a:pt x="1459103" y="583261"/>
                </a:lnTo>
                <a:lnTo>
                  <a:pt x="1454573" y="585246"/>
                </a:lnTo>
                <a:lnTo>
                  <a:pt x="1449325" y="587352"/>
                </a:lnTo>
                <a:lnTo>
                  <a:pt x="1445513" y="588801"/>
                </a:lnTo>
                <a:lnTo>
                  <a:pt x="1441105" y="590457"/>
                </a:lnTo>
                <a:lnTo>
                  <a:pt x="1436149" y="592320"/>
                </a:lnTo>
                <a:lnTo>
                  <a:pt x="1432022" y="593928"/>
                </a:lnTo>
                <a:lnTo>
                  <a:pt x="1429124" y="595146"/>
                </a:lnTo>
                <a:lnTo>
                  <a:pt x="1426018" y="596473"/>
                </a:lnTo>
                <a:lnTo>
                  <a:pt x="1422463" y="598080"/>
                </a:lnTo>
                <a:lnTo>
                  <a:pt x="1416520" y="600808"/>
                </a:lnTo>
                <a:lnTo>
                  <a:pt x="1407607" y="605045"/>
                </a:lnTo>
                <a:cubicBezTo>
                  <a:pt x="1402736" y="607346"/>
                  <a:pt x="1397890" y="609660"/>
                  <a:pt x="1393080" y="611974"/>
                </a:cubicBezTo>
                <a:lnTo>
                  <a:pt x="1380903" y="617904"/>
                </a:lnTo>
                <a:lnTo>
                  <a:pt x="1372379" y="622178"/>
                </a:lnTo>
                <a:cubicBezTo>
                  <a:pt x="1367448" y="624321"/>
                  <a:pt x="1362845" y="627146"/>
                  <a:pt x="1358693" y="630568"/>
                </a:cubicBezTo>
                <a:cubicBezTo>
                  <a:pt x="1354784" y="633405"/>
                  <a:pt x="1345481" y="640699"/>
                  <a:pt x="1345493" y="640711"/>
                </a:cubicBezTo>
                <a:cubicBezTo>
                  <a:pt x="1341377" y="643962"/>
                  <a:pt x="1332610" y="650538"/>
                  <a:pt x="1332610" y="650550"/>
                </a:cubicBezTo>
                <a:cubicBezTo>
                  <a:pt x="1328616" y="653521"/>
                  <a:pt x="1324938" y="656894"/>
                  <a:pt x="1321651" y="660632"/>
                </a:cubicBezTo>
                <a:cubicBezTo>
                  <a:pt x="1320360" y="662276"/>
                  <a:pt x="1319203" y="664018"/>
                  <a:pt x="1318192" y="665844"/>
                </a:cubicBezTo>
                <a:cubicBezTo>
                  <a:pt x="1320896" y="664834"/>
                  <a:pt x="1323416" y="663397"/>
                  <a:pt x="1325681" y="661607"/>
                </a:cubicBezTo>
                <a:cubicBezTo>
                  <a:pt x="1332427" y="655190"/>
                  <a:pt x="1336385" y="652048"/>
                  <a:pt x="1336372" y="652048"/>
                </a:cubicBezTo>
                <a:cubicBezTo>
                  <a:pt x="1343971" y="646203"/>
                  <a:pt x="1351971" y="640918"/>
                  <a:pt x="1360324" y="636218"/>
                </a:cubicBezTo>
                <a:cubicBezTo>
                  <a:pt x="1378419" y="626087"/>
                  <a:pt x="1382644" y="625502"/>
                  <a:pt x="1382644" y="625502"/>
                </a:cubicBezTo>
                <a:cubicBezTo>
                  <a:pt x="1410030" y="616638"/>
                  <a:pt x="1398998" y="628230"/>
                  <a:pt x="1398998" y="628218"/>
                </a:cubicBezTo>
                <a:cubicBezTo>
                  <a:pt x="1397318" y="629837"/>
                  <a:pt x="1392910" y="634562"/>
                  <a:pt x="1392910" y="634562"/>
                </a:cubicBezTo>
                <a:cubicBezTo>
                  <a:pt x="1383168" y="644924"/>
                  <a:pt x="1388721" y="652499"/>
                  <a:pt x="1388721" y="652499"/>
                </a:cubicBezTo>
                <a:cubicBezTo>
                  <a:pt x="1393677" y="660279"/>
                  <a:pt x="1411577" y="654093"/>
                  <a:pt x="1411589" y="654118"/>
                </a:cubicBezTo>
                <a:cubicBezTo>
                  <a:pt x="1418067" y="651914"/>
                  <a:pt x="1426603" y="649551"/>
                  <a:pt x="1426603" y="649551"/>
                </a:cubicBezTo>
                <a:cubicBezTo>
                  <a:pt x="1439048" y="646142"/>
                  <a:pt x="1438938" y="646666"/>
                  <a:pt x="1438926" y="646641"/>
                </a:cubicBezTo>
                <a:cubicBezTo>
                  <a:pt x="1439888" y="646678"/>
                  <a:pt x="1440850" y="646787"/>
                  <a:pt x="1441799" y="646958"/>
                </a:cubicBezTo>
                <a:cubicBezTo>
                  <a:pt x="1442494" y="647092"/>
                  <a:pt x="1443188" y="647189"/>
                  <a:pt x="1443894" y="647238"/>
                </a:cubicBezTo>
                <a:lnTo>
                  <a:pt x="1441203" y="649126"/>
                </a:lnTo>
                <a:lnTo>
                  <a:pt x="1438694" y="650879"/>
                </a:lnTo>
                <a:lnTo>
                  <a:pt x="1435114" y="653387"/>
                </a:lnTo>
                <a:lnTo>
                  <a:pt x="1430000" y="657041"/>
                </a:lnTo>
                <a:lnTo>
                  <a:pt x="1426688" y="659378"/>
                </a:lnTo>
                <a:lnTo>
                  <a:pt x="1422475" y="662361"/>
                </a:lnTo>
                <a:lnTo>
                  <a:pt x="1417604" y="665747"/>
                </a:lnTo>
                <a:lnTo>
                  <a:pt x="1412307" y="669497"/>
                </a:lnTo>
                <a:lnTo>
                  <a:pt x="1406219" y="673808"/>
                </a:lnTo>
                <a:cubicBezTo>
                  <a:pt x="1404404" y="675098"/>
                  <a:pt x="1402517" y="676292"/>
                  <a:pt x="1400569" y="677364"/>
                </a:cubicBezTo>
                <a:cubicBezTo>
                  <a:pt x="1399327" y="678021"/>
                  <a:pt x="1398048" y="678569"/>
                  <a:pt x="1396721" y="679031"/>
                </a:cubicBezTo>
                <a:lnTo>
                  <a:pt x="1395162" y="679519"/>
                </a:lnTo>
                <a:cubicBezTo>
                  <a:pt x="1394480" y="679701"/>
                  <a:pt x="1392289" y="680602"/>
                  <a:pt x="1392289" y="680602"/>
                </a:cubicBezTo>
                <a:cubicBezTo>
                  <a:pt x="1389731" y="681686"/>
                  <a:pt x="1387332" y="683123"/>
                  <a:pt x="1385177" y="684877"/>
                </a:cubicBezTo>
                <a:lnTo>
                  <a:pt x="1384191" y="685729"/>
                </a:lnTo>
                <a:lnTo>
                  <a:pt x="1383253" y="686594"/>
                </a:lnTo>
                <a:lnTo>
                  <a:pt x="1382571" y="687288"/>
                </a:lnTo>
                <a:lnTo>
                  <a:pt x="1381475" y="688505"/>
                </a:lnTo>
                <a:lnTo>
                  <a:pt x="1380647" y="689455"/>
                </a:lnTo>
                <a:lnTo>
                  <a:pt x="1379880" y="690381"/>
                </a:lnTo>
                <a:cubicBezTo>
                  <a:pt x="1379125" y="691367"/>
                  <a:pt x="1378358" y="692341"/>
                  <a:pt x="1377603" y="693315"/>
                </a:cubicBezTo>
                <a:lnTo>
                  <a:pt x="1375472" y="696116"/>
                </a:lnTo>
                <a:lnTo>
                  <a:pt x="1373134" y="699087"/>
                </a:lnTo>
                <a:cubicBezTo>
                  <a:pt x="1367691" y="706113"/>
                  <a:pt x="1363101" y="708208"/>
                  <a:pt x="1363088" y="708195"/>
                </a:cubicBezTo>
                <a:cubicBezTo>
                  <a:pt x="1355673" y="712068"/>
                  <a:pt x="1351995" y="709206"/>
                  <a:pt x="1351995" y="709206"/>
                </a:cubicBezTo>
                <a:cubicBezTo>
                  <a:pt x="1350047" y="707647"/>
                  <a:pt x="1352543" y="704153"/>
                  <a:pt x="1352543" y="704140"/>
                </a:cubicBezTo>
                <a:cubicBezTo>
                  <a:pt x="1355441" y="700231"/>
                  <a:pt x="1360909" y="693510"/>
                  <a:pt x="1360909" y="693510"/>
                </a:cubicBezTo>
                <a:cubicBezTo>
                  <a:pt x="1363527" y="690429"/>
                  <a:pt x="1366327" y="687507"/>
                  <a:pt x="1369274" y="684743"/>
                </a:cubicBezTo>
                <a:cubicBezTo>
                  <a:pt x="1371442" y="682806"/>
                  <a:pt x="1373694" y="680980"/>
                  <a:pt x="1376045" y="679275"/>
                </a:cubicBezTo>
                <a:cubicBezTo>
                  <a:pt x="1376580" y="678946"/>
                  <a:pt x="1377067" y="678569"/>
                  <a:pt x="1377494" y="678118"/>
                </a:cubicBezTo>
                <a:cubicBezTo>
                  <a:pt x="1379345" y="676073"/>
                  <a:pt x="1379052" y="675451"/>
                  <a:pt x="1379052" y="675440"/>
                </a:cubicBezTo>
                <a:lnTo>
                  <a:pt x="1377287" y="676572"/>
                </a:lnTo>
                <a:lnTo>
                  <a:pt x="1375180" y="677899"/>
                </a:lnTo>
                <a:lnTo>
                  <a:pt x="1372489" y="679604"/>
                </a:lnTo>
                <a:lnTo>
                  <a:pt x="1369859" y="681260"/>
                </a:lnTo>
                <a:lnTo>
                  <a:pt x="1367423" y="682758"/>
                </a:lnTo>
                <a:cubicBezTo>
                  <a:pt x="1366206" y="683550"/>
                  <a:pt x="1364988" y="684317"/>
                  <a:pt x="1363770" y="685108"/>
                </a:cubicBezTo>
                <a:lnTo>
                  <a:pt x="1360276" y="687348"/>
                </a:lnTo>
                <a:lnTo>
                  <a:pt x="1355015" y="690794"/>
                </a:lnTo>
                <a:lnTo>
                  <a:pt x="1351460" y="693230"/>
                </a:lnTo>
                <a:lnTo>
                  <a:pt x="1346065" y="697017"/>
                </a:lnTo>
                <a:lnTo>
                  <a:pt x="1342095" y="699927"/>
                </a:lnTo>
                <a:lnTo>
                  <a:pt x="1338442" y="702728"/>
                </a:lnTo>
                <a:lnTo>
                  <a:pt x="1333998" y="706381"/>
                </a:lnTo>
                <a:cubicBezTo>
                  <a:pt x="1331563" y="708439"/>
                  <a:pt x="1329030" y="710472"/>
                  <a:pt x="1329030" y="710472"/>
                </a:cubicBezTo>
                <a:lnTo>
                  <a:pt x="1322941" y="714856"/>
                </a:lnTo>
                <a:lnTo>
                  <a:pt x="1317097" y="718874"/>
                </a:lnTo>
                <a:cubicBezTo>
                  <a:pt x="1316061" y="719593"/>
                  <a:pt x="1315282" y="720092"/>
                  <a:pt x="1315282" y="720092"/>
                </a:cubicBezTo>
                <a:cubicBezTo>
                  <a:pt x="1314442" y="720470"/>
                  <a:pt x="1313626" y="720896"/>
                  <a:pt x="1312847" y="721383"/>
                </a:cubicBezTo>
                <a:cubicBezTo>
                  <a:pt x="1312396" y="721578"/>
                  <a:pt x="1312043" y="722320"/>
                  <a:pt x="1312031" y="722320"/>
                </a:cubicBezTo>
                <a:cubicBezTo>
                  <a:pt x="1310314" y="725036"/>
                  <a:pt x="1304092" y="730552"/>
                  <a:pt x="1304092" y="730552"/>
                </a:cubicBezTo>
                <a:cubicBezTo>
                  <a:pt x="1301388" y="732987"/>
                  <a:pt x="1287957" y="743301"/>
                  <a:pt x="1287969" y="743301"/>
                </a:cubicBezTo>
                <a:cubicBezTo>
                  <a:pt x="1278910" y="750412"/>
                  <a:pt x="1275415" y="757219"/>
                  <a:pt x="1275403" y="757219"/>
                </a:cubicBezTo>
                <a:cubicBezTo>
                  <a:pt x="1270082" y="765183"/>
                  <a:pt x="1271945" y="768312"/>
                  <a:pt x="1271945" y="768312"/>
                </a:cubicBezTo>
                <a:cubicBezTo>
                  <a:pt x="1274246" y="772160"/>
                  <a:pt x="1269120" y="776836"/>
                  <a:pt x="1269132" y="776836"/>
                </a:cubicBezTo>
                <a:lnTo>
                  <a:pt x="1266514" y="779150"/>
                </a:lnTo>
                <a:cubicBezTo>
                  <a:pt x="1265649" y="779929"/>
                  <a:pt x="1264772" y="780696"/>
                  <a:pt x="1263896" y="781463"/>
                </a:cubicBezTo>
                <a:lnTo>
                  <a:pt x="1260937" y="784033"/>
                </a:lnTo>
                <a:cubicBezTo>
                  <a:pt x="1256785" y="787686"/>
                  <a:pt x="1252303" y="790949"/>
                  <a:pt x="1247542" y="793774"/>
                </a:cubicBezTo>
                <a:cubicBezTo>
                  <a:pt x="1245302" y="794931"/>
                  <a:pt x="1243122" y="796222"/>
                  <a:pt x="1241028" y="797634"/>
                </a:cubicBezTo>
                <a:cubicBezTo>
                  <a:pt x="1237022" y="799717"/>
                  <a:pt x="1226744" y="808594"/>
                  <a:pt x="1226756" y="808594"/>
                </a:cubicBezTo>
                <a:cubicBezTo>
                  <a:pt x="1218866" y="815778"/>
                  <a:pt x="1210695" y="822658"/>
                  <a:pt x="1210695" y="822670"/>
                </a:cubicBezTo>
                <a:cubicBezTo>
                  <a:pt x="1208004" y="824886"/>
                  <a:pt x="1208369" y="825702"/>
                  <a:pt x="1208369" y="825702"/>
                </a:cubicBezTo>
                <a:cubicBezTo>
                  <a:pt x="1207882" y="828600"/>
                  <a:pt x="1206823" y="831376"/>
                  <a:pt x="1205252" y="833860"/>
                </a:cubicBezTo>
                <a:cubicBezTo>
                  <a:pt x="1203547" y="837233"/>
                  <a:pt x="1197349" y="844820"/>
                  <a:pt x="1197361" y="844820"/>
                </a:cubicBezTo>
                <a:cubicBezTo>
                  <a:pt x="1195279" y="847328"/>
                  <a:pt x="1193209" y="849849"/>
                  <a:pt x="1191139" y="852357"/>
                </a:cubicBezTo>
                <a:cubicBezTo>
                  <a:pt x="1189008" y="854975"/>
                  <a:pt x="1187194" y="857837"/>
                  <a:pt x="1185733" y="860881"/>
                </a:cubicBezTo>
                <a:cubicBezTo>
                  <a:pt x="1184649" y="863474"/>
                  <a:pt x="1183577" y="866080"/>
                  <a:pt x="1182494" y="868686"/>
                </a:cubicBezTo>
                <a:lnTo>
                  <a:pt x="1178767" y="876491"/>
                </a:lnTo>
                <a:lnTo>
                  <a:pt x="1173641" y="877015"/>
                </a:lnTo>
                <a:cubicBezTo>
                  <a:pt x="1172703" y="876942"/>
                  <a:pt x="1171827" y="876504"/>
                  <a:pt x="1171206" y="875797"/>
                </a:cubicBezTo>
                <a:lnTo>
                  <a:pt x="1168673" y="878233"/>
                </a:lnTo>
                <a:cubicBezTo>
                  <a:pt x="1169696" y="881095"/>
                  <a:pt x="1170706" y="883968"/>
                  <a:pt x="1171729" y="886842"/>
                </a:cubicBezTo>
                <a:cubicBezTo>
                  <a:pt x="1175078" y="897387"/>
                  <a:pt x="1173446" y="903427"/>
                  <a:pt x="1173446" y="903414"/>
                </a:cubicBezTo>
                <a:cubicBezTo>
                  <a:pt x="1172594" y="908979"/>
                  <a:pt x="1167041" y="915092"/>
                  <a:pt x="1167053" y="915104"/>
                </a:cubicBezTo>
                <a:cubicBezTo>
                  <a:pt x="1163096" y="919512"/>
                  <a:pt x="1163546" y="921619"/>
                  <a:pt x="1163546" y="921619"/>
                </a:cubicBezTo>
                <a:cubicBezTo>
                  <a:pt x="1164167" y="923433"/>
                  <a:pt x="1163741" y="925454"/>
                  <a:pt x="1162414" y="926843"/>
                </a:cubicBezTo>
                <a:cubicBezTo>
                  <a:pt x="1160527" y="928852"/>
                  <a:pt x="1158420" y="930654"/>
                  <a:pt x="1156131" y="932200"/>
                </a:cubicBezTo>
                <a:cubicBezTo>
                  <a:pt x="1153951" y="933759"/>
                  <a:pt x="1149567" y="936840"/>
                  <a:pt x="1149567" y="936840"/>
                </a:cubicBezTo>
                <a:cubicBezTo>
                  <a:pt x="1146572" y="938959"/>
                  <a:pt x="1143832" y="941406"/>
                  <a:pt x="1141397" y="944146"/>
                </a:cubicBezTo>
                <a:cubicBezTo>
                  <a:pt x="1140106" y="945595"/>
                  <a:pt x="1138949" y="947154"/>
                  <a:pt x="1137914" y="948797"/>
                </a:cubicBezTo>
                <a:lnTo>
                  <a:pt x="1136002" y="952560"/>
                </a:lnTo>
                <a:lnTo>
                  <a:pt x="1133945" y="955081"/>
                </a:lnTo>
                <a:lnTo>
                  <a:pt x="1128197" y="960049"/>
                </a:lnTo>
                <a:lnTo>
                  <a:pt x="1124118" y="963921"/>
                </a:lnTo>
                <a:lnTo>
                  <a:pt x="1118370" y="970010"/>
                </a:lnTo>
                <a:lnTo>
                  <a:pt x="1113414" y="975855"/>
                </a:lnTo>
                <a:lnTo>
                  <a:pt x="1109506" y="980725"/>
                </a:lnTo>
                <a:lnTo>
                  <a:pt x="1106035" y="985121"/>
                </a:lnTo>
                <a:lnTo>
                  <a:pt x="1100531" y="991916"/>
                </a:lnTo>
                <a:cubicBezTo>
                  <a:pt x="1098011" y="994765"/>
                  <a:pt x="1095490" y="997602"/>
                  <a:pt x="1092994" y="1000440"/>
                </a:cubicBezTo>
                <a:lnTo>
                  <a:pt x="1089341" y="1005432"/>
                </a:lnTo>
                <a:cubicBezTo>
                  <a:pt x="1088841" y="1006309"/>
                  <a:pt x="1088342" y="1007174"/>
                  <a:pt x="1087855" y="1008050"/>
                </a:cubicBezTo>
                <a:lnTo>
                  <a:pt x="1085956" y="1012203"/>
                </a:lnTo>
                <a:cubicBezTo>
                  <a:pt x="1085164" y="1014638"/>
                  <a:pt x="1084385" y="1017195"/>
                  <a:pt x="1083593" y="1019703"/>
                </a:cubicBezTo>
                <a:cubicBezTo>
                  <a:pt x="1083045" y="1021883"/>
                  <a:pt x="1082510" y="1024075"/>
                  <a:pt x="1081961" y="1026255"/>
                </a:cubicBezTo>
                <a:cubicBezTo>
                  <a:pt x="1080452" y="1029153"/>
                  <a:pt x="1080902" y="1032684"/>
                  <a:pt x="1083094" y="1035107"/>
                </a:cubicBezTo>
                <a:cubicBezTo>
                  <a:pt x="1085140" y="1039077"/>
                  <a:pt x="1105353" y="1053141"/>
                  <a:pt x="1105341" y="1053153"/>
                </a:cubicBezTo>
                <a:cubicBezTo>
                  <a:pt x="1120587" y="1062042"/>
                  <a:pt x="1109469" y="1079735"/>
                  <a:pt x="1109493" y="1079735"/>
                </a:cubicBezTo>
                <a:cubicBezTo>
                  <a:pt x="1105451" y="1087662"/>
                  <a:pt x="1097024" y="1092192"/>
                  <a:pt x="1097024" y="1092180"/>
                </a:cubicBezTo>
                <a:lnTo>
                  <a:pt x="1095198" y="1091948"/>
                </a:lnTo>
                <a:cubicBezTo>
                  <a:pt x="1091252" y="1091388"/>
                  <a:pt x="1087307" y="1090828"/>
                  <a:pt x="1083350" y="1090293"/>
                </a:cubicBezTo>
                <a:cubicBezTo>
                  <a:pt x="1078929" y="1089526"/>
                  <a:pt x="1074607" y="1088332"/>
                  <a:pt x="1070418" y="1086737"/>
                </a:cubicBezTo>
                <a:cubicBezTo>
                  <a:pt x="1067982" y="1085958"/>
                  <a:pt x="1062393" y="1081757"/>
                  <a:pt x="1062393" y="1081769"/>
                </a:cubicBezTo>
                <a:cubicBezTo>
                  <a:pt x="1060628" y="1080429"/>
                  <a:pt x="1059106" y="1078773"/>
                  <a:pt x="1057912" y="1076898"/>
                </a:cubicBezTo>
                <a:cubicBezTo>
                  <a:pt x="1056950" y="1075254"/>
                  <a:pt x="1056427" y="1073379"/>
                  <a:pt x="1056390" y="1071467"/>
                </a:cubicBezTo>
                <a:cubicBezTo>
                  <a:pt x="1056573" y="1068642"/>
                  <a:pt x="1055453" y="1067814"/>
                  <a:pt x="1055453" y="1067814"/>
                </a:cubicBezTo>
                <a:cubicBezTo>
                  <a:pt x="1053638" y="1066036"/>
                  <a:pt x="1050143" y="1066596"/>
                  <a:pt x="1050143" y="1066596"/>
                </a:cubicBezTo>
                <a:lnTo>
                  <a:pt x="1047708" y="1066791"/>
                </a:lnTo>
                <a:lnTo>
                  <a:pt x="1043665" y="1066986"/>
                </a:lnTo>
                <a:lnTo>
                  <a:pt x="1038076" y="1067205"/>
                </a:lnTo>
                <a:lnTo>
                  <a:pt x="1033899" y="1070517"/>
                </a:lnTo>
                <a:lnTo>
                  <a:pt x="1028773" y="1074609"/>
                </a:lnTo>
                <a:lnTo>
                  <a:pt x="1023233" y="1079053"/>
                </a:lnTo>
                <a:cubicBezTo>
                  <a:pt x="1021540" y="1080393"/>
                  <a:pt x="1019872" y="1081744"/>
                  <a:pt x="1018191" y="1083096"/>
                </a:cubicBezTo>
                <a:lnTo>
                  <a:pt x="1015305" y="1082658"/>
                </a:lnTo>
                <a:cubicBezTo>
                  <a:pt x="1013442" y="1082353"/>
                  <a:pt x="1011567" y="1082171"/>
                  <a:pt x="1009692" y="1082098"/>
                </a:cubicBezTo>
                <a:cubicBezTo>
                  <a:pt x="1004992" y="1082195"/>
                  <a:pt x="1000413" y="1083559"/>
                  <a:pt x="996419" y="1086043"/>
                </a:cubicBezTo>
                <a:cubicBezTo>
                  <a:pt x="995555" y="1086603"/>
                  <a:pt x="994714" y="1087200"/>
                  <a:pt x="993911" y="1087857"/>
                </a:cubicBezTo>
                <a:lnTo>
                  <a:pt x="993290" y="1088381"/>
                </a:lnTo>
                <a:lnTo>
                  <a:pt x="992803" y="1088782"/>
                </a:lnTo>
                <a:lnTo>
                  <a:pt x="992401" y="1089111"/>
                </a:lnTo>
                <a:cubicBezTo>
                  <a:pt x="992230" y="1089233"/>
                  <a:pt x="992072" y="1089379"/>
                  <a:pt x="991914" y="1089501"/>
                </a:cubicBezTo>
                <a:lnTo>
                  <a:pt x="991232" y="1090037"/>
                </a:lnTo>
                <a:lnTo>
                  <a:pt x="990684" y="1090463"/>
                </a:lnTo>
                <a:lnTo>
                  <a:pt x="990343" y="1090731"/>
                </a:lnTo>
                <a:lnTo>
                  <a:pt x="989856" y="1091096"/>
                </a:lnTo>
                <a:lnTo>
                  <a:pt x="989077" y="1091681"/>
                </a:lnTo>
                <a:lnTo>
                  <a:pt x="988797" y="1091888"/>
                </a:lnTo>
                <a:lnTo>
                  <a:pt x="988334" y="1092228"/>
                </a:lnTo>
                <a:lnTo>
                  <a:pt x="987664" y="1092716"/>
                </a:lnTo>
                <a:lnTo>
                  <a:pt x="986739" y="1093386"/>
                </a:lnTo>
                <a:lnTo>
                  <a:pt x="985874" y="1093994"/>
                </a:lnTo>
                <a:lnTo>
                  <a:pt x="984997" y="1094628"/>
                </a:lnTo>
                <a:lnTo>
                  <a:pt x="984157" y="1095212"/>
                </a:lnTo>
                <a:lnTo>
                  <a:pt x="982939" y="1096065"/>
                </a:lnTo>
                <a:lnTo>
                  <a:pt x="982014" y="1096722"/>
                </a:lnTo>
                <a:lnTo>
                  <a:pt x="981308" y="1097209"/>
                </a:lnTo>
                <a:lnTo>
                  <a:pt x="980261" y="1097952"/>
                </a:lnTo>
                <a:lnTo>
                  <a:pt x="979043" y="1098780"/>
                </a:lnTo>
                <a:lnTo>
                  <a:pt x="978056" y="1099498"/>
                </a:lnTo>
                <a:lnTo>
                  <a:pt x="977070" y="1100205"/>
                </a:lnTo>
                <a:lnTo>
                  <a:pt x="975974" y="1101032"/>
                </a:lnTo>
                <a:lnTo>
                  <a:pt x="974964" y="1101800"/>
                </a:lnTo>
                <a:lnTo>
                  <a:pt x="974148" y="1102433"/>
                </a:lnTo>
                <a:lnTo>
                  <a:pt x="973015" y="1103334"/>
                </a:lnTo>
                <a:lnTo>
                  <a:pt x="972126" y="1104065"/>
                </a:lnTo>
                <a:lnTo>
                  <a:pt x="971420" y="1104661"/>
                </a:lnTo>
                <a:lnTo>
                  <a:pt x="970872" y="1105149"/>
                </a:lnTo>
                <a:lnTo>
                  <a:pt x="970336" y="1105611"/>
                </a:lnTo>
                <a:lnTo>
                  <a:pt x="969691" y="1106196"/>
                </a:lnTo>
                <a:lnTo>
                  <a:pt x="969119" y="1106719"/>
                </a:lnTo>
                <a:lnTo>
                  <a:pt x="968741" y="1107084"/>
                </a:lnTo>
                <a:lnTo>
                  <a:pt x="967523" y="1108302"/>
                </a:lnTo>
                <a:lnTo>
                  <a:pt x="966732" y="1109118"/>
                </a:lnTo>
                <a:lnTo>
                  <a:pt x="966147" y="1109739"/>
                </a:lnTo>
                <a:lnTo>
                  <a:pt x="965612" y="1110299"/>
                </a:lnTo>
                <a:lnTo>
                  <a:pt x="965295" y="1110591"/>
                </a:lnTo>
                <a:lnTo>
                  <a:pt x="964711" y="1111127"/>
                </a:lnTo>
                <a:lnTo>
                  <a:pt x="964175" y="1111578"/>
                </a:lnTo>
                <a:lnTo>
                  <a:pt x="963566" y="1112089"/>
                </a:lnTo>
                <a:lnTo>
                  <a:pt x="962909" y="1112588"/>
                </a:lnTo>
                <a:lnTo>
                  <a:pt x="962117" y="1113173"/>
                </a:lnTo>
                <a:lnTo>
                  <a:pt x="961679" y="1113489"/>
                </a:lnTo>
                <a:lnTo>
                  <a:pt x="960704" y="1114171"/>
                </a:lnTo>
                <a:lnTo>
                  <a:pt x="959852" y="1114744"/>
                </a:lnTo>
                <a:lnTo>
                  <a:pt x="958257" y="1115766"/>
                </a:lnTo>
                <a:lnTo>
                  <a:pt x="957039" y="1116533"/>
                </a:lnTo>
                <a:lnTo>
                  <a:pt x="955822" y="1117313"/>
                </a:lnTo>
                <a:lnTo>
                  <a:pt x="954506" y="1118129"/>
                </a:lnTo>
                <a:lnTo>
                  <a:pt x="954007" y="1118433"/>
                </a:lnTo>
                <a:lnTo>
                  <a:pt x="952717" y="1119224"/>
                </a:lnTo>
                <a:cubicBezTo>
                  <a:pt x="952217" y="1119541"/>
                  <a:pt x="951718" y="1119858"/>
                  <a:pt x="951206" y="1120162"/>
                </a:cubicBezTo>
                <a:lnTo>
                  <a:pt x="949684" y="1121148"/>
                </a:lnTo>
                <a:lnTo>
                  <a:pt x="948576" y="1121867"/>
                </a:lnTo>
                <a:lnTo>
                  <a:pt x="947712" y="1122452"/>
                </a:lnTo>
                <a:lnTo>
                  <a:pt x="948418" y="1123511"/>
                </a:lnTo>
                <a:lnTo>
                  <a:pt x="949344" y="1124863"/>
                </a:lnTo>
                <a:lnTo>
                  <a:pt x="950269" y="1126226"/>
                </a:lnTo>
                <a:lnTo>
                  <a:pt x="951730" y="1128394"/>
                </a:lnTo>
                <a:cubicBezTo>
                  <a:pt x="952108" y="1128930"/>
                  <a:pt x="952473" y="1129478"/>
                  <a:pt x="952838" y="1130014"/>
                </a:cubicBezTo>
                <a:lnTo>
                  <a:pt x="954178" y="1131998"/>
                </a:lnTo>
                <a:cubicBezTo>
                  <a:pt x="952485" y="1132643"/>
                  <a:pt x="950829" y="1133374"/>
                  <a:pt x="949210" y="1134202"/>
                </a:cubicBezTo>
                <a:cubicBezTo>
                  <a:pt x="944692" y="1136662"/>
                  <a:pt x="940333" y="1139414"/>
                  <a:pt x="936180" y="1142458"/>
                </a:cubicBezTo>
                <a:lnTo>
                  <a:pt x="934488" y="1143676"/>
                </a:lnTo>
                <a:lnTo>
                  <a:pt x="933270" y="1144553"/>
                </a:lnTo>
                <a:cubicBezTo>
                  <a:pt x="930713" y="1146367"/>
                  <a:pt x="928058" y="1148048"/>
                  <a:pt x="925319" y="1149582"/>
                </a:cubicBezTo>
                <a:cubicBezTo>
                  <a:pt x="923991" y="1150324"/>
                  <a:pt x="922615" y="1150994"/>
                  <a:pt x="921215" y="1151591"/>
                </a:cubicBezTo>
                <a:cubicBezTo>
                  <a:pt x="919997" y="1152126"/>
                  <a:pt x="918451" y="1152650"/>
                  <a:pt x="918451" y="1152650"/>
                </a:cubicBezTo>
                <a:cubicBezTo>
                  <a:pt x="917891" y="1152845"/>
                  <a:pt x="917318" y="1153015"/>
                  <a:pt x="916734" y="1153161"/>
                </a:cubicBezTo>
                <a:cubicBezTo>
                  <a:pt x="916076" y="1153722"/>
                  <a:pt x="915066" y="1154514"/>
                  <a:pt x="915066" y="1154525"/>
                </a:cubicBezTo>
                <a:lnTo>
                  <a:pt x="913848" y="1155390"/>
                </a:lnTo>
                <a:lnTo>
                  <a:pt x="912789" y="1156157"/>
                </a:lnTo>
                <a:lnTo>
                  <a:pt x="911510" y="1157034"/>
                </a:lnTo>
                <a:lnTo>
                  <a:pt x="910451" y="1157716"/>
                </a:lnTo>
                <a:lnTo>
                  <a:pt x="908941" y="1158654"/>
                </a:lnTo>
                <a:lnTo>
                  <a:pt x="907723" y="1159408"/>
                </a:lnTo>
                <a:lnTo>
                  <a:pt x="906603" y="1160041"/>
                </a:lnTo>
                <a:lnTo>
                  <a:pt x="904606" y="1161125"/>
                </a:lnTo>
                <a:lnTo>
                  <a:pt x="904411" y="1161223"/>
                </a:lnTo>
                <a:lnTo>
                  <a:pt x="901976" y="1162440"/>
                </a:lnTo>
                <a:lnTo>
                  <a:pt x="899394" y="1163719"/>
                </a:lnTo>
                <a:lnTo>
                  <a:pt x="895960" y="1165400"/>
                </a:lnTo>
                <a:lnTo>
                  <a:pt x="893099" y="1166849"/>
                </a:lnTo>
                <a:lnTo>
                  <a:pt x="890298" y="1168322"/>
                </a:lnTo>
                <a:cubicBezTo>
                  <a:pt x="886487" y="1170367"/>
                  <a:pt x="883028" y="1172986"/>
                  <a:pt x="880008" y="1176079"/>
                </a:cubicBezTo>
                <a:lnTo>
                  <a:pt x="878024" y="1178112"/>
                </a:lnTo>
                <a:lnTo>
                  <a:pt x="876014" y="1180292"/>
                </a:lnTo>
                <a:lnTo>
                  <a:pt x="874590" y="1181875"/>
                </a:lnTo>
                <a:lnTo>
                  <a:pt x="872982" y="1183701"/>
                </a:lnTo>
                <a:lnTo>
                  <a:pt x="870961" y="1186063"/>
                </a:lnTo>
                <a:lnTo>
                  <a:pt x="869634" y="1187671"/>
                </a:lnTo>
                <a:lnTo>
                  <a:pt x="867479" y="1190338"/>
                </a:lnTo>
                <a:lnTo>
                  <a:pt x="863241" y="1195720"/>
                </a:lnTo>
                <a:cubicBezTo>
                  <a:pt x="862291" y="1196937"/>
                  <a:pt x="861354" y="1198094"/>
                  <a:pt x="860416" y="1199287"/>
                </a:cubicBezTo>
                <a:cubicBezTo>
                  <a:pt x="857981" y="1202368"/>
                  <a:pt x="852014" y="1209090"/>
                  <a:pt x="852014" y="1209029"/>
                </a:cubicBezTo>
                <a:cubicBezTo>
                  <a:pt x="844708" y="1216883"/>
                  <a:pt x="834625" y="1232323"/>
                  <a:pt x="834638" y="1232335"/>
                </a:cubicBezTo>
                <a:cubicBezTo>
                  <a:pt x="822339" y="1248092"/>
                  <a:pt x="828488" y="1253949"/>
                  <a:pt x="828476" y="1253937"/>
                </a:cubicBezTo>
                <a:cubicBezTo>
                  <a:pt x="834491" y="1261341"/>
                  <a:pt x="832129" y="1270754"/>
                  <a:pt x="832129" y="1270766"/>
                </a:cubicBezTo>
                <a:cubicBezTo>
                  <a:pt x="830083" y="1278595"/>
                  <a:pt x="831143" y="1288154"/>
                  <a:pt x="831131" y="1288154"/>
                </a:cubicBezTo>
                <a:cubicBezTo>
                  <a:pt x="830899" y="1291271"/>
                  <a:pt x="834479" y="1302669"/>
                  <a:pt x="834491" y="1302669"/>
                </a:cubicBezTo>
                <a:cubicBezTo>
                  <a:pt x="835819" y="1308831"/>
                  <a:pt x="840215" y="1310487"/>
                  <a:pt x="840202" y="1310487"/>
                </a:cubicBezTo>
                <a:cubicBezTo>
                  <a:pt x="844598" y="1313348"/>
                  <a:pt x="844635" y="1315138"/>
                  <a:pt x="844635" y="1315138"/>
                </a:cubicBezTo>
                <a:cubicBezTo>
                  <a:pt x="847752" y="1321446"/>
                  <a:pt x="856178" y="1323832"/>
                  <a:pt x="856178" y="1323820"/>
                </a:cubicBezTo>
                <a:cubicBezTo>
                  <a:pt x="872191" y="1327924"/>
                  <a:pt x="873859" y="1327717"/>
                  <a:pt x="873859" y="1327717"/>
                </a:cubicBezTo>
                <a:cubicBezTo>
                  <a:pt x="881348" y="1327497"/>
                  <a:pt x="888654" y="1323041"/>
                  <a:pt x="888642" y="1323028"/>
                </a:cubicBezTo>
                <a:cubicBezTo>
                  <a:pt x="891698" y="1321190"/>
                  <a:pt x="891747" y="1321458"/>
                  <a:pt x="891747" y="1321458"/>
                </a:cubicBezTo>
                <a:cubicBezTo>
                  <a:pt x="892709" y="1321519"/>
                  <a:pt x="894937" y="1321336"/>
                  <a:pt x="894925" y="1321336"/>
                </a:cubicBezTo>
                <a:cubicBezTo>
                  <a:pt x="902024" y="1321080"/>
                  <a:pt x="911461" y="1310998"/>
                  <a:pt x="911474" y="1310986"/>
                </a:cubicBezTo>
                <a:cubicBezTo>
                  <a:pt x="917635" y="1303680"/>
                  <a:pt x="943206" y="1286182"/>
                  <a:pt x="943231" y="1286230"/>
                </a:cubicBezTo>
                <a:cubicBezTo>
                  <a:pt x="958245" y="1274979"/>
                  <a:pt x="956625" y="1266857"/>
                  <a:pt x="956625" y="1266845"/>
                </a:cubicBezTo>
                <a:cubicBezTo>
                  <a:pt x="956443" y="1264361"/>
                  <a:pt x="956272" y="1261864"/>
                  <a:pt x="956102" y="1259368"/>
                </a:cubicBezTo>
                <a:cubicBezTo>
                  <a:pt x="956686" y="1257371"/>
                  <a:pt x="955602" y="1249931"/>
                  <a:pt x="955602" y="1249943"/>
                </a:cubicBezTo>
                <a:cubicBezTo>
                  <a:pt x="955298" y="1247873"/>
                  <a:pt x="955408" y="1245754"/>
                  <a:pt x="955895" y="1243721"/>
                </a:cubicBezTo>
                <a:cubicBezTo>
                  <a:pt x="957417" y="1239033"/>
                  <a:pt x="965040" y="1232299"/>
                  <a:pt x="965052" y="1232299"/>
                </a:cubicBezTo>
                <a:cubicBezTo>
                  <a:pt x="970373" y="1227136"/>
                  <a:pt x="982525" y="1216152"/>
                  <a:pt x="982525" y="1216152"/>
                </a:cubicBezTo>
                <a:cubicBezTo>
                  <a:pt x="989052" y="1210636"/>
                  <a:pt x="996090" y="1205741"/>
                  <a:pt x="1003530" y="1201540"/>
                </a:cubicBezTo>
                <a:cubicBezTo>
                  <a:pt x="1010167" y="1197522"/>
                  <a:pt x="1012773" y="1198703"/>
                  <a:pt x="1012773" y="1198691"/>
                </a:cubicBezTo>
                <a:cubicBezTo>
                  <a:pt x="1017790" y="1199360"/>
                  <a:pt x="1013990" y="1206241"/>
                  <a:pt x="1013990" y="1206241"/>
                </a:cubicBezTo>
                <a:cubicBezTo>
                  <a:pt x="1012968" y="1208359"/>
                  <a:pt x="1012152" y="1210588"/>
                  <a:pt x="1011555" y="1212865"/>
                </a:cubicBezTo>
                <a:cubicBezTo>
                  <a:pt x="1011263" y="1214765"/>
                  <a:pt x="1011786" y="1215300"/>
                  <a:pt x="1011786" y="1215300"/>
                </a:cubicBezTo>
                <a:cubicBezTo>
                  <a:pt x="1013844" y="1218831"/>
                  <a:pt x="1014368" y="1227221"/>
                  <a:pt x="1014380" y="1227221"/>
                </a:cubicBezTo>
                <a:cubicBezTo>
                  <a:pt x="1015391" y="1234528"/>
                  <a:pt x="1010203" y="1250357"/>
                  <a:pt x="1010228" y="1250357"/>
                </a:cubicBezTo>
                <a:cubicBezTo>
                  <a:pt x="1007451" y="1256616"/>
                  <a:pt x="1008669" y="1258491"/>
                  <a:pt x="1008669" y="1258491"/>
                </a:cubicBezTo>
                <a:cubicBezTo>
                  <a:pt x="1009875" y="1261219"/>
                  <a:pt x="1010459" y="1264190"/>
                  <a:pt x="1010398" y="1267173"/>
                </a:cubicBezTo>
                <a:cubicBezTo>
                  <a:pt x="1010581" y="1271058"/>
                  <a:pt x="1006745" y="1278205"/>
                  <a:pt x="1006745" y="1278205"/>
                </a:cubicBezTo>
                <a:cubicBezTo>
                  <a:pt x="1009400" y="1277451"/>
                  <a:pt x="1011993" y="1276538"/>
                  <a:pt x="1014538" y="1275466"/>
                </a:cubicBezTo>
                <a:cubicBezTo>
                  <a:pt x="1026192" y="1270924"/>
                  <a:pt x="1043337" y="1254351"/>
                  <a:pt x="1043349" y="1254364"/>
                </a:cubicBezTo>
                <a:cubicBezTo>
                  <a:pt x="1050314" y="1248336"/>
                  <a:pt x="1057924" y="1243088"/>
                  <a:pt x="1066034" y="1238716"/>
                </a:cubicBezTo>
                <a:cubicBezTo>
                  <a:pt x="1075130" y="1234320"/>
                  <a:pt x="1077761" y="1233955"/>
                  <a:pt x="1077761" y="1233955"/>
                </a:cubicBezTo>
                <a:cubicBezTo>
                  <a:pt x="1079684" y="1233419"/>
                  <a:pt x="1096026" y="1229937"/>
                  <a:pt x="1096026" y="1229949"/>
                </a:cubicBezTo>
                <a:cubicBezTo>
                  <a:pt x="1096391" y="1230217"/>
                  <a:pt x="1099228" y="1233322"/>
                  <a:pt x="1099228" y="1233322"/>
                </a:cubicBezTo>
                <a:cubicBezTo>
                  <a:pt x="1101591" y="1236122"/>
                  <a:pt x="1102553" y="1239848"/>
                  <a:pt x="1101822" y="1243441"/>
                </a:cubicBezTo>
                <a:cubicBezTo>
                  <a:pt x="1101396" y="1245219"/>
                  <a:pt x="1101323" y="1247058"/>
                  <a:pt x="1101591" y="1248872"/>
                </a:cubicBezTo>
                <a:cubicBezTo>
                  <a:pt x="1102248" y="1252233"/>
                  <a:pt x="1102894" y="1255593"/>
                  <a:pt x="1103563" y="1258954"/>
                </a:cubicBezTo>
                <a:cubicBezTo>
                  <a:pt x="1104598" y="1264641"/>
                  <a:pt x="1105475" y="1270851"/>
                  <a:pt x="1105475" y="1270851"/>
                </a:cubicBezTo>
                <a:cubicBezTo>
                  <a:pt x="1105779" y="1273432"/>
                  <a:pt x="1106608" y="1275916"/>
                  <a:pt x="1107910" y="1278157"/>
                </a:cubicBezTo>
                <a:cubicBezTo>
                  <a:pt x="1110650" y="1282322"/>
                  <a:pt x="1115472" y="1284623"/>
                  <a:pt x="1120428" y="1284136"/>
                </a:cubicBezTo>
                <a:cubicBezTo>
                  <a:pt x="1122669" y="1284148"/>
                  <a:pt x="1124909" y="1283916"/>
                  <a:pt x="1127101" y="1283454"/>
                </a:cubicBezTo>
                <a:cubicBezTo>
                  <a:pt x="1129451" y="1282869"/>
                  <a:pt x="1131826" y="1282419"/>
                  <a:pt x="1134225" y="1282102"/>
                </a:cubicBezTo>
                <a:cubicBezTo>
                  <a:pt x="1138012" y="1281652"/>
                  <a:pt x="1141750" y="1280909"/>
                  <a:pt x="1145427" y="1279874"/>
                </a:cubicBezTo>
                <a:cubicBezTo>
                  <a:pt x="1161976" y="1274869"/>
                  <a:pt x="1167991" y="1264994"/>
                  <a:pt x="1168003" y="1264970"/>
                </a:cubicBezTo>
                <a:cubicBezTo>
                  <a:pt x="1169976" y="1262766"/>
                  <a:pt x="1172058" y="1260659"/>
                  <a:pt x="1174250" y="1258662"/>
                </a:cubicBezTo>
                <a:cubicBezTo>
                  <a:pt x="1176612" y="1256202"/>
                  <a:pt x="1179157" y="1253925"/>
                  <a:pt x="1181860" y="1251843"/>
                </a:cubicBezTo>
                <a:cubicBezTo>
                  <a:pt x="1189264" y="1246156"/>
                  <a:pt x="1197690" y="1241955"/>
                  <a:pt x="1206689" y="1239459"/>
                </a:cubicBezTo>
                <a:cubicBezTo>
                  <a:pt x="1218500" y="1236524"/>
                  <a:pt x="1224747" y="1239033"/>
                  <a:pt x="1224747" y="1239033"/>
                </a:cubicBezTo>
                <a:lnTo>
                  <a:pt x="1229752" y="1231264"/>
                </a:lnTo>
                <a:cubicBezTo>
                  <a:pt x="1232419" y="1227173"/>
                  <a:pt x="1236620" y="1220305"/>
                  <a:pt x="1236632" y="1220305"/>
                </a:cubicBezTo>
                <a:cubicBezTo>
                  <a:pt x="1238629" y="1217601"/>
                  <a:pt x="1239688" y="1214338"/>
                  <a:pt x="1239664" y="1210977"/>
                </a:cubicBezTo>
                <a:cubicBezTo>
                  <a:pt x="1239591" y="1210308"/>
                  <a:pt x="1239481" y="1209650"/>
                  <a:pt x="1239335" y="1209005"/>
                </a:cubicBezTo>
                <a:lnTo>
                  <a:pt x="1239189" y="1207337"/>
                </a:lnTo>
                <a:cubicBezTo>
                  <a:pt x="1238799" y="1199957"/>
                  <a:pt x="1246264" y="1191847"/>
                  <a:pt x="1246264" y="1191847"/>
                </a:cubicBezTo>
                <a:cubicBezTo>
                  <a:pt x="1250392" y="1187293"/>
                  <a:pt x="1254921" y="1183129"/>
                  <a:pt x="1259817" y="1179403"/>
                </a:cubicBezTo>
                <a:lnTo>
                  <a:pt x="1262459" y="1177357"/>
                </a:lnTo>
                <a:cubicBezTo>
                  <a:pt x="1264407" y="1175884"/>
                  <a:pt x="1268279" y="1172779"/>
                  <a:pt x="1268279" y="1172779"/>
                </a:cubicBezTo>
                <a:cubicBezTo>
                  <a:pt x="1272188" y="1169795"/>
                  <a:pt x="1277790" y="1164608"/>
                  <a:pt x="1277790" y="1164608"/>
                </a:cubicBezTo>
                <a:cubicBezTo>
                  <a:pt x="1280468" y="1162087"/>
                  <a:pt x="1282965" y="1159372"/>
                  <a:pt x="1285242" y="1156486"/>
                </a:cubicBezTo>
                <a:cubicBezTo>
                  <a:pt x="1286484" y="1154903"/>
                  <a:pt x="1287616" y="1153223"/>
                  <a:pt x="1288639" y="1151481"/>
                </a:cubicBezTo>
                <a:cubicBezTo>
                  <a:pt x="1289845" y="1149155"/>
                  <a:pt x="1291647" y="1147183"/>
                  <a:pt x="1293863" y="1145795"/>
                </a:cubicBezTo>
                <a:cubicBezTo>
                  <a:pt x="1295324" y="1144820"/>
                  <a:pt x="1296871" y="1143993"/>
                  <a:pt x="1298490" y="1143298"/>
                </a:cubicBezTo>
                <a:cubicBezTo>
                  <a:pt x="1299708" y="1142750"/>
                  <a:pt x="1301900" y="1141959"/>
                  <a:pt x="1301900" y="1141947"/>
                </a:cubicBezTo>
                <a:cubicBezTo>
                  <a:pt x="1301900" y="1141935"/>
                  <a:pt x="1303264" y="1141496"/>
                  <a:pt x="1303434" y="1141435"/>
                </a:cubicBezTo>
                <a:cubicBezTo>
                  <a:pt x="1303604" y="1141387"/>
                  <a:pt x="1303787" y="1141362"/>
                  <a:pt x="1303970" y="1141362"/>
                </a:cubicBezTo>
                <a:cubicBezTo>
                  <a:pt x="1304469" y="1141350"/>
                  <a:pt x="1304968" y="1141435"/>
                  <a:pt x="1305443" y="1141606"/>
                </a:cubicBezTo>
                <a:cubicBezTo>
                  <a:pt x="1307757" y="1142568"/>
                  <a:pt x="1307672" y="1143664"/>
                  <a:pt x="1307659" y="1143664"/>
                </a:cubicBezTo>
                <a:cubicBezTo>
                  <a:pt x="1306868" y="1146123"/>
                  <a:pt x="1305626" y="1148425"/>
                  <a:pt x="1304006" y="1150446"/>
                </a:cubicBezTo>
                <a:cubicBezTo>
                  <a:pt x="1300353" y="1154842"/>
                  <a:pt x="1300122" y="1156194"/>
                  <a:pt x="1300134" y="1156181"/>
                </a:cubicBezTo>
                <a:cubicBezTo>
                  <a:pt x="1299635" y="1158495"/>
                  <a:pt x="1304932" y="1158178"/>
                  <a:pt x="1304932" y="1158167"/>
                </a:cubicBezTo>
                <a:lnTo>
                  <a:pt x="1311982" y="1150544"/>
                </a:lnTo>
                <a:cubicBezTo>
                  <a:pt x="1314235" y="1148108"/>
                  <a:pt x="1319520" y="1141898"/>
                  <a:pt x="1319520" y="1141886"/>
                </a:cubicBezTo>
                <a:lnTo>
                  <a:pt x="1327374" y="1131889"/>
                </a:lnTo>
                <a:cubicBezTo>
                  <a:pt x="1330601" y="1132218"/>
                  <a:pt x="1333815" y="1132534"/>
                  <a:pt x="1337030" y="1132875"/>
                </a:cubicBezTo>
                <a:cubicBezTo>
                  <a:pt x="1348415" y="1123791"/>
                  <a:pt x="1358291" y="1126482"/>
                  <a:pt x="1358291" y="1126482"/>
                </a:cubicBezTo>
                <a:cubicBezTo>
                  <a:pt x="1363040" y="1128503"/>
                  <a:pt x="1378188" y="1120394"/>
                  <a:pt x="1378200" y="1120394"/>
                </a:cubicBezTo>
                <a:cubicBezTo>
                  <a:pt x="1392812" y="1113502"/>
                  <a:pt x="1400118" y="1112186"/>
                  <a:pt x="1400118" y="1112175"/>
                </a:cubicBezTo>
                <a:cubicBezTo>
                  <a:pt x="1414730" y="1109191"/>
                  <a:pt x="1422036" y="1103346"/>
                  <a:pt x="1422036" y="1103346"/>
                </a:cubicBezTo>
                <a:cubicBezTo>
                  <a:pt x="1425020" y="1101191"/>
                  <a:pt x="1427674" y="1098621"/>
                  <a:pt x="1429915" y="1095699"/>
                </a:cubicBezTo>
                <a:cubicBezTo>
                  <a:pt x="1432752" y="1092387"/>
                  <a:pt x="1433738" y="1092228"/>
                  <a:pt x="1433738" y="1092228"/>
                </a:cubicBezTo>
                <a:lnTo>
                  <a:pt x="1436844" y="1090597"/>
                </a:lnTo>
                <a:cubicBezTo>
                  <a:pt x="1442360" y="1087772"/>
                  <a:pt x="1447888" y="1084959"/>
                  <a:pt x="1453428" y="1082146"/>
                </a:cubicBezTo>
                <a:lnTo>
                  <a:pt x="1463754" y="1076983"/>
                </a:lnTo>
                <a:lnTo>
                  <a:pt x="1464083" y="1079638"/>
                </a:lnTo>
                <a:cubicBezTo>
                  <a:pt x="1464217" y="1081038"/>
                  <a:pt x="1464497" y="1082438"/>
                  <a:pt x="1464887" y="1083790"/>
                </a:cubicBezTo>
                <a:cubicBezTo>
                  <a:pt x="1464558" y="1084387"/>
                  <a:pt x="1467322" y="1084131"/>
                  <a:pt x="1467322" y="1084131"/>
                </a:cubicBezTo>
                <a:lnTo>
                  <a:pt x="1470500" y="1083948"/>
                </a:lnTo>
                <a:cubicBezTo>
                  <a:pt x="1470598" y="1082731"/>
                  <a:pt x="1470939" y="1076557"/>
                  <a:pt x="1470927" y="1076557"/>
                </a:cubicBezTo>
                <a:cubicBezTo>
                  <a:pt x="1470878" y="1075376"/>
                  <a:pt x="1471097" y="1074207"/>
                  <a:pt x="1471572" y="1073123"/>
                </a:cubicBezTo>
                <a:cubicBezTo>
                  <a:pt x="1473399" y="1069239"/>
                  <a:pt x="1483554" y="1067035"/>
                  <a:pt x="1483566" y="1067035"/>
                </a:cubicBezTo>
                <a:cubicBezTo>
                  <a:pt x="1488997" y="1066365"/>
                  <a:pt x="1487511" y="1070371"/>
                  <a:pt x="1487524" y="1070359"/>
                </a:cubicBezTo>
                <a:cubicBezTo>
                  <a:pt x="1486732" y="1073342"/>
                  <a:pt x="1483030" y="1079845"/>
                  <a:pt x="1483030" y="1079845"/>
                </a:cubicBezTo>
                <a:cubicBezTo>
                  <a:pt x="1488620" y="1079138"/>
                  <a:pt x="1491018" y="1079930"/>
                  <a:pt x="1491018" y="1079930"/>
                </a:cubicBezTo>
                <a:cubicBezTo>
                  <a:pt x="1496754" y="1081464"/>
                  <a:pt x="1495037" y="1087029"/>
                  <a:pt x="1495037" y="1087017"/>
                </a:cubicBezTo>
                <a:cubicBezTo>
                  <a:pt x="1497923" y="1086177"/>
                  <a:pt x="1516651" y="1081172"/>
                  <a:pt x="1516651" y="1081196"/>
                </a:cubicBezTo>
                <a:cubicBezTo>
                  <a:pt x="1528340" y="1078164"/>
                  <a:pt x="1534368" y="1080442"/>
                  <a:pt x="1534368" y="1080442"/>
                </a:cubicBezTo>
                <a:cubicBezTo>
                  <a:pt x="1536474" y="1080722"/>
                  <a:pt x="1539896" y="1083096"/>
                  <a:pt x="1539896" y="1083108"/>
                </a:cubicBezTo>
                <a:cubicBezTo>
                  <a:pt x="1540773" y="1083595"/>
                  <a:pt x="1541674" y="1083997"/>
                  <a:pt x="1542624" y="1084326"/>
                </a:cubicBezTo>
                <a:cubicBezTo>
                  <a:pt x="1545047" y="1084910"/>
                  <a:pt x="1547531" y="1085129"/>
                  <a:pt x="1550015" y="1084971"/>
                </a:cubicBezTo>
                <a:cubicBezTo>
                  <a:pt x="1553705" y="1084594"/>
                  <a:pt x="1557419" y="1084472"/>
                  <a:pt x="1561133" y="1084582"/>
                </a:cubicBezTo>
                <a:cubicBezTo>
                  <a:pt x="1562630" y="1084789"/>
                  <a:pt x="1564140" y="1084910"/>
                  <a:pt x="1565650" y="1084947"/>
                </a:cubicBezTo>
                <a:cubicBezTo>
                  <a:pt x="1575757" y="1085227"/>
                  <a:pt x="1588056" y="1078018"/>
                  <a:pt x="1588056" y="1078018"/>
                </a:cubicBezTo>
                <a:cubicBezTo>
                  <a:pt x="1599015" y="1071345"/>
                  <a:pt x="1613298" y="1067705"/>
                  <a:pt x="1613298" y="1067705"/>
                </a:cubicBezTo>
                <a:cubicBezTo>
                  <a:pt x="1620178" y="1065768"/>
                  <a:pt x="1629128" y="1063455"/>
                  <a:pt x="1629128" y="1063455"/>
                </a:cubicBezTo>
                <a:cubicBezTo>
                  <a:pt x="1635302" y="1061835"/>
                  <a:pt x="1639759" y="1060362"/>
                  <a:pt x="1639759" y="1060362"/>
                </a:cubicBezTo>
                <a:cubicBezTo>
                  <a:pt x="1641609" y="1059887"/>
                  <a:pt x="1641865" y="1060045"/>
                  <a:pt x="1641865" y="1060045"/>
                </a:cubicBezTo>
                <a:cubicBezTo>
                  <a:pt x="1643923" y="1060496"/>
                  <a:pt x="1647844" y="1060971"/>
                  <a:pt x="1647844" y="1060959"/>
                </a:cubicBezTo>
                <a:cubicBezTo>
                  <a:pt x="1649135" y="1061104"/>
                  <a:pt x="1658340" y="1061677"/>
                  <a:pt x="1658328" y="1061665"/>
                </a:cubicBezTo>
                <a:lnTo>
                  <a:pt x="1666852" y="1062176"/>
                </a:lnTo>
                <a:cubicBezTo>
                  <a:pt x="1677811" y="1062834"/>
                  <a:pt x="1683254" y="1066414"/>
                  <a:pt x="1683242" y="1066401"/>
                </a:cubicBezTo>
                <a:cubicBezTo>
                  <a:pt x="1686298" y="1067936"/>
                  <a:pt x="1688734" y="1072356"/>
                  <a:pt x="1688734" y="1072344"/>
                </a:cubicBezTo>
                <a:cubicBezTo>
                  <a:pt x="1689282" y="1073074"/>
                  <a:pt x="1689951" y="1073708"/>
                  <a:pt x="1690706" y="1074231"/>
                </a:cubicBezTo>
                <a:cubicBezTo>
                  <a:pt x="1692691" y="1076131"/>
                  <a:pt x="1701179" y="1078761"/>
                  <a:pt x="1701179" y="1078761"/>
                </a:cubicBezTo>
                <a:cubicBezTo>
                  <a:pt x="1702019" y="1079029"/>
                  <a:pt x="1705538" y="1080417"/>
                  <a:pt x="1705538" y="1080417"/>
                </a:cubicBezTo>
                <a:cubicBezTo>
                  <a:pt x="1710214" y="1082853"/>
                  <a:pt x="1710530" y="1085690"/>
                  <a:pt x="1710543" y="1085690"/>
                </a:cubicBezTo>
                <a:cubicBezTo>
                  <a:pt x="1710944" y="1088040"/>
                  <a:pt x="1712357" y="1090098"/>
                  <a:pt x="1714403" y="1091315"/>
                </a:cubicBezTo>
                <a:cubicBezTo>
                  <a:pt x="1720491" y="1094968"/>
                  <a:pt x="1731170" y="1091315"/>
                  <a:pt x="1731170" y="1091315"/>
                </a:cubicBezTo>
                <a:cubicBezTo>
                  <a:pt x="1739195" y="1088430"/>
                  <a:pt x="1741947" y="1088661"/>
                  <a:pt x="1741935" y="1088661"/>
                </a:cubicBezTo>
                <a:cubicBezTo>
                  <a:pt x="1747779" y="1088661"/>
                  <a:pt x="1748205" y="1093130"/>
                  <a:pt x="1748205" y="1093130"/>
                </a:cubicBezTo>
                <a:cubicBezTo>
                  <a:pt x="1749898" y="1091912"/>
                  <a:pt x="1752589" y="1090134"/>
                  <a:pt x="1752601" y="1090134"/>
                </a:cubicBezTo>
                <a:cubicBezTo>
                  <a:pt x="1757935" y="1087078"/>
                  <a:pt x="1763804" y="1085069"/>
                  <a:pt x="1769893" y="1084228"/>
                </a:cubicBezTo>
                <a:cubicBezTo>
                  <a:pt x="1775128" y="1083376"/>
                  <a:pt x="1781655" y="1082609"/>
                  <a:pt x="1781655" y="1082609"/>
                </a:cubicBezTo>
                <a:cubicBezTo>
                  <a:pt x="1787549" y="1081842"/>
                  <a:pt x="1794405" y="1080600"/>
                  <a:pt x="1794405" y="1080587"/>
                </a:cubicBezTo>
                <a:cubicBezTo>
                  <a:pt x="1806106" y="1078749"/>
                  <a:pt x="1811988" y="1080587"/>
                  <a:pt x="1811988" y="1080587"/>
                </a:cubicBezTo>
                <a:cubicBezTo>
                  <a:pt x="1817894" y="1082122"/>
                  <a:pt x="1820122" y="1085020"/>
                  <a:pt x="1820110" y="1085008"/>
                </a:cubicBezTo>
                <a:cubicBezTo>
                  <a:pt x="1824079" y="1082304"/>
                  <a:pt x="1828415" y="1080149"/>
                  <a:pt x="1832969" y="1078603"/>
                </a:cubicBezTo>
                <a:cubicBezTo>
                  <a:pt x="1840774" y="1076167"/>
                  <a:pt x="1852098" y="1075205"/>
                  <a:pt x="1852098" y="1075218"/>
                </a:cubicBezTo>
                <a:cubicBezTo>
                  <a:pt x="1858382" y="1074633"/>
                  <a:pt x="1864592" y="1073427"/>
                  <a:pt x="1870632" y="1071625"/>
                </a:cubicBezTo>
                <a:cubicBezTo>
                  <a:pt x="1873274" y="1070956"/>
                  <a:pt x="1877110" y="1069531"/>
                  <a:pt x="1877110" y="1069543"/>
                </a:cubicBezTo>
                <a:cubicBezTo>
                  <a:pt x="1878047" y="1069202"/>
                  <a:pt x="1879813" y="1068496"/>
                  <a:pt x="1879801" y="1068496"/>
                </a:cubicBezTo>
                <a:cubicBezTo>
                  <a:pt x="1881408" y="1067899"/>
                  <a:pt x="1884671" y="1066353"/>
                  <a:pt x="1884671" y="1066353"/>
                </a:cubicBezTo>
                <a:lnTo>
                  <a:pt x="1886096" y="1065659"/>
                </a:lnTo>
                <a:lnTo>
                  <a:pt x="1887228" y="1065086"/>
                </a:lnTo>
                <a:cubicBezTo>
                  <a:pt x="1888471" y="1064490"/>
                  <a:pt x="1889749" y="1063979"/>
                  <a:pt x="1891052" y="1063540"/>
                </a:cubicBezTo>
                <a:cubicBezTo>
                  <a:pt x="1892903" y="1062943"/>
                  <a:pt x="1894778" y="1062468"/>
                  <a:pt x="1896690" y="1062103"/>
                </a:cubicBezTo>
                <a:cubicBezTo>
                  <a:pt x="1897494" y="1061921"/>
                  <a:pt x="1900343" y="1061555"/>
                  <a:pt x="1900343" y="1061568"/>
                </a:cubicBezTo>
                <a:lnTo>
                  <a:pt x="1903619" y="1061324"/>
                </a:lnTo>
                <a:lnTo>
                  <a:pt x="1907698" y="1061166"/>
                </a:lnTo>
                <a:lnTo>
                  <a:pt x="1912155" y="1061166"/>
                </a:lnTo>
                <a:lnTo>
                  <a:pt x="1915990" y="1061275"/>
                </a:lnTo>
                <a:lnTo>
                  <a:pt x="1919521" y="1061470"/>
                </a:lnTo>
                <a:lnTo>
                  <a:pt x="1923321" y="1061823"/>
                </a:lnTo>
                <a:lnTo>
                  <a:pt x="1927108" y="1062310"/>
                </a:lnTo>
                <a:lnTo>
                  <a:pt x="1929799" y="1062748"/>
                </a:lnTo>
                <a:lnTo>
                  <a:pt x="1931187" y="1063004"/>
                </a:lnTo>
                <a:lnTo>
                  <a:pt x="1934438" y="1063698"/>
                </a:lnTo>
                <a:lnTo>
                  <a:pt x="1939613" y="1064916"/>
                </a:lnTo>
                <a:cubicBezTo>
                  <a:pt x="1940222" y="1065062"/>
                  <a:pt x="1943839" y="1065634"/>
                  <a:pt x="1943827" y="1065634"/>
                </a:cubicBezTo>
                <a:cubicBezTo>
                  <a:pt x="1946006" y="1065866"/>
                  <a:pt x="1948186" y="1065988"/>
                  <a:pt x="1950378" y="1065999"/>
                </a:cubicBezTo>
                <a:cubicBezTo>
                  <a:pt x="1951486" y="1065999"/>
                  <a:pt x="1954822" y="1065695"/>
                  <a:pt x="1954822" y="1065708"/>
                </a:cubicBezTo>
                <a:cubicBezTo>
                  <a:pt x="1956040" y="1065586"/>
                  <a:pt x="1959413" y="1064989"/>
                  <a:pt x="1959413" y="1064989"/>
                </a:cubicBezTo>
                <a:lnTo>
                  <a:pt x="1961215" y="1064599"/>
                </a:lnTo>
                <a:lnTo>
                  <a:pt x="1963176" y="1064112"/>
                </a:lnTo>
                <a:lnTo>
                  <a:pt x="1964698" y="1063759"/>
                </a:lnTo>
                <a:lnTo>
                  <a:pt x="1966366" y="1063394"/>
                </a:lnTo>
                <a:lnTo>
                  <a:pt x="1967937" y="1063077"/>
                </a:lnTo>
                <a:lnTo>
                  <a:pt x="1969690" y="1062773"/>
                </a:lnTo>
                <a:lnTo>
                  <a:pt x="1972320" y="1062420"/>
                </a:lnTo>
                <a:lnTo>
                  <a:pt x="1974817" y="1062213"/>
                </a:lnTo>
                <a:lnTo>
                  <a:pt x="1976740" y="1062213"/>
                </a:lnTo>
                <a:lnTo>
                  <a:pt x="1979091" y="1062310"/>
                </a:lnTo>
                <a:lnTo>
                  <a:pt x="1981015" y="1062517"/>
                </a:lnTo>
                <a:lnTo>
                  <a:pt x="1982683" y="1062810"/>
                </a:lnTo>
                <a:lnTo>
                  <a:pt x="1984217" y="1063163"/>
                </a:lnTo>
                <a:lnTo>
                  <a:pt x="1986105" y="1063759"/>
                </a:lnTo>
                <a:lnTo>
                  <a:pt x="1987468" y="1064344"/>
                </a:lnTo>
                <a:lnTo>
                  <a:pt x="1988917" y="1065221"/>
                </a:lnTo>
                <a:lnTo>
                  <a:pt x="1990354" y="1066231"/>
                </a:lnTo>
                <a:cubicBezTo>
                  <a:pt x="1990914" y="1066681"/>
                  <a:pt x="1991487" y="1067120"/>
                  <a:pt x="1992059" y="1067558"/>
                </a:cubicBezTo>
                <a:lnTo>
                  <a:pt x="1993179" y="1068508"/>
                </a:lnTo>
                <a:lnTo>
                  <a:pt x="1994263" y="1069507"/>
                </a:lnTo>
                <a:cubicBezTo>
                  <a:pt x="1994701" y="1069945"/>
                  <a:pt x="1995140" y="1070371"/>
                  <a:pt x="1995578" y="1070821"/>
                </a:cubicBezTo>
                <a:lnTo>
                  <a:pt x="1996698" y="1072039"/>
                </a:lnTo>
                <a:lnTo>
                  <a:pt x="1997685" y="1073257"/>
                </a:lnTo>
                <a:cubicBezTo>
                  <a:pt x="1997989" y="1073671"/>
                  <a:pt x="1998282" y="1074061"/>
                  <a:pt x="1998574" y="1074475"/>
                </a:cubicBezTo>
                <a:lnTo>
                  <a:pt x="1999633" y="1076119"/>
                </a:lnTo>
                <a:lnTo>
                  <a:pt x="2000558" y="1077823"/>
                </a:lnTo>
                <a:close/>
                <a:moveTo>
                  <a:pt x="1122036" y="844625"/>
                </a:moveTo>
                <a:cubicBezTo>
                  <a:pt x="1101335" y="853465"/>
                  <a:pt x="1084494" y="876808"/>
                  <a:pt x="1084531" y="876808"/>
                </a:cubicBezTo>
                <a:cubicBezTo>
                  <a:pt x="1112611" y="858579"/>
                  <a:pt x="1122048" y="844698"/>
                  <a:pt x="1122036" y="844673"/>
                </a:cubicBezTo>
                <a:close/>
                <a:moveTo>
                  <a:pt x="944887" y="894330"/>
                </a:moveTo>
                <a:cubicBezTo>
                  <a:pt x="947773" y="892358"/>
                  <a:pt x="950659" y="890385"/>
                  <a:pt x="953544" y="888437"/>
                </a:cubicBezTo>
                <a:cubicBezTo>
                  <a:pt x="959523" y="884674"/>
                  <a:pt x="966781" y="879389"/>
                  <a:pt x="966781" y="879389"/>
                </a:cubicBezTo>
                <a:cubicBezTo>
                  <a:pt x="972942" y="874933"/>
                  <a:pt x="979116" y="870500"/>
                  <a:pt x="985302" y="866080"/>
                </a:cubicBezTo>
                <a:cubicBezTo>
                  <a:pt x="987713" y="864156"/>
                  <a:pt x="990367" y="862574"/>
                  <a:pt x="993217" y="861380"/>
                </a:cubicBezTo>
                <a:cubicBezTo>
                  <a:pt x="994032" y="861307"/>
                  <a:pt x="999816" y="859785"/>
                  <a:pt x="999816" y="859785"/>
                </a:cubicBezTo>
                <a:cubicBezTo>
                  <a:pt x="1008645" y="856436"/>
                  <a:pt x="1016888" y="851724"/>
                  <a:pt x="1024256" y="845818"/>
                </a:cubicBezTo>
                <a:cubicBezTo>
                  <a:pt x="1041790" y="833045"/>
                  <a:pt x="1054625" y="833239"/>
                  <a:pt x="1054612" y="833239"/>
                </a:cubicBezTo>
                <a:cubicBezTo>
                  <a:pt x="1055793" y="833239"/>
                  <a:pt x="1056963" y="833057"/>
                  <a:pt x="1058083" y="832716"/>
                </a:cubicBezTo>
                <a:cubicBezTo>
                  <a:pt x="1062247" y="829805"/>
                  <a:pt x="1062564" y="830572"/>
                  <a:pt x="1062564" y="830585"/>
                </a:cubicBezTo>
                <a:cubicBezTo>
                  <a:pt x="1062564" y="831194"/>
                  <a:pt x="1060676" y="833544"/>
                  <a:pt x="1060676" y="833544"/>
                </a:cubicBezTo>
                <a:cubicBezTo>
                  <a:pt x="1060433" y="837258"/>
                  <a:pt x="1053188" y="839790"/>
                  <a:pt x="1053188" y="839803"/>
                </a:cubicBezTo>
                <a:cubicBezTo>
                  <a:pt x="1051008" y="840570"/>
                  <a:pt x="1048914" y="841544"/>
                  <a:pt x="1046917" y="842713"/>
                </a:cubicBezTo>
                <a:cubicBezTo>
                  <a:pt x="1042046" y="845660"/>
                  <a:pt x="1030612" y="853977"/>
                  <a:pt x="1030624" y="853977"/>
                </a:cubicBezTo>
                <a:cubicBezTo>
                  <a:pt x="1019957" y="860491"/>
                  <a:pt x="1010812" y="870744"/>
                  <a:pt x="1010812" y="870744"/>
                </a:cubicBezTo>
                <a:cubicBezTo>
                  <a:pt x="1005941" y="875322"/>
                  <a:pt x="998964" y="887512"/>
                  <a:pt x="998976" y="887512"/>
                </a:cubicBezTo>
                <a:cubicBezTo>
                  <a:pt x="994386" y="894294"/>
                  <a:pt x="990392" y="901466"/>
                  <a:pt x="987067" y="908955"/>
                </a:cubicBezTo>
                <a:cubicBezTo>
                  <a:pt x="984437" y="915615"/>
                  <a:pt x="983633" y="922873"/>
                  <a:pt x="984766" y="929948"/>
                </a:cubicBezTo>
                <a:cubicBezTo>
                  <a:pt x="986446" y="930934"/>
                  <a:pt x="989417" y="934965"/>
                  <a:pt x="989430" y="934977"/>
                </a:cubicBezTo>
                <a:cubicBezTo>
                  <a:pt x="998648" y="926453"/>
                  <a:pt x="1006477" y="911305"/>
                  <a:pt x="1006477" y="911305"/>
                </a:cubicBezTo>
                <a:cubicBezTo>
                  <a:pt x="1007817" y="904389"/>
                  <a:pt x="1009875" y="892857"/>
                  <a:pt x="1009875" y="892869"/>
                </a:cubicBezTo>
                <a:cubicBezTo>
                  <a:pt x="1012675" y="880351"/>
                  <a:pt x="1028603" y="863718"/>
                  <a:pt x="1028615" y="863754"/>
                </a:cubicBezTo>
                <a:cubicBezTo>
                  <a:pt x="1034374" y="858494"/>
                  <a:pt x="1042569" y="847584"/>
                  <a:pt x="1042569" y="847596"/>
                </a:cubicBezTo>
                <a:cubicBezTo>
                  <a:pt x="1046649" y="846037"/>
                  <a:pt x="1046661" y="846378"/>
                  <a:pt x="1046661" y="846378"/>
                </a:cubicBezTo>
                <a:cubicBezTo>
                  <a:pt x="1063708" y="839072"/>
                  <a:pt x="1067288" y="842920"/>
                  <a:pt x="1067361" y="842908"/>
                </a:cubicBezTo>
                <a:cubicBezTo>
                  <a:pt x="1068652" y="845222"/>
                  <a:pt x="1057510" y="862147"/>
                  <a:pt x="1057523" y="862135"/>
                </a:cubicBezTo>
                <a:cubicBezTo>
                  <a:pt x="1062832" y="859590"/>
                  <a:pt x="1068141" y="857057"/>
                  <a:pt x="1073462" y="854561"/>
                </a:cubicBezTo>
                <a:cubicBezTo>
                  <a:pt x="1074972" y="857155"/>
                  <a:pt x="1076482" y="859748"/>
                  <a:pt x="1078004" y="862342"/>
                </a:cubicBezTo>
                <a:cubicBezTo>
                  <a:pt x="1085054" y="849897"/>
                  <a:pt x="1092190" y="837477"/>
                  <a:pt x="1099411" y="825081"/>
                </a:cubicBezTo>
                <a:cubicBezTo>
                  <a:pt x="1102273" y="824058"/>
                  <a:pt x="1114900" y="821160"/>
                  <a:pt x="1114888" y="821160"/>
                </a:cubicBezTo>
                <a:cubicBezTo>
                  <a:pt x="1117323" y="807985"/>
                  <a:pt x="1103441" y="813854"/>
                  <a:pt x="1103441" y="813854"/>
                </a:cubicBezTo>
                <a:cubicBezTo>
                  <a:pt x="1094516" y="817312"/>
                  <a:pt x="1085603" y="820807"/>
                  <a:pt x="1076713" y="824350"/>
                </a:cubicBezTo>
                <a:cubicBezTo>
                  <a:pt x="1071307" y="826688"/>
                  <a:pt x="1061870" y="830122"/>
                  <a:pt x="1061870" y="830122"/>
                </a:cubicBezTo>
                <a:cubicBezTo>
                  <a:pt x="1046588" y="835431"/>
                  <a:pt x="1046454" y="819285"/>
                  <a:pt x="1046466" y="819273"/>
                </a:cubicBezTo>
                <a:cubicBezTo>
                  <a:pt x="1033899" y="825714"/>
                  <a:pt x="1026545" y="822584"/>
                  <a:pt x="1026545" y="822573"/>
                </a:cubicBezTo>
                <a:cubicBezTo>
                  <a:pt x="1024803" y="823230"/>
                  <a:pt x="1010715" y="831741"/>
                  <a:pt x="1010715" y="831778"/>
                </a:cubicBezTo>
                <a:cubicBezTo>
                  <a:pt x="999244" y="839461"/>
                  <a:pt x="977594" y="861319"/>
                  <a:pt x="976547" y="862354"/>
                </a:cubicBezTo>
                <a:cubicBezTo>
                  <a:pt x="954470" y="883250"/>
                  <a:pt x="944887" y="894330"/>
                  <a:pt x="944887" y="894330"/>
                </a:cubicBezTo>
                <a:close/>
                <a:moveTo>
                  <a:pt x="516822" y="901466"/>
                </a:moveTo>
                <a:lnTo>
                  <a:pt x="516822" y="901466"/>
                </a:lnTo>
                <a:cubicBezTo>
                  <a:pt x="516189" y="902038"/>
                  <a:pt x="516262" y="901941"/>
                  <a:pt x="516773" y="901466"/>
                </a:cubicBezTo>
                <a:close/>
                <a:moveTo>
                  <a:pt x="1154682" y="1073854"/>
                </a:moveTo>
                <a:cubicBezTo>
                  <a:pt x="1154682" y="1073854"/>
                  <a:pt x="1156265" y="1068362"/>
                  <a:pt x="1153878" y="1065464"/>
                </a:cubicBezTo>
                <a:cubicBezTo>
                  <a:pt x="1153878" y="1065464"/>
                  <a:pt x="1152733" y="1063710"/>
                  <a:pt x="1143321" y="1065793"/>
                </a:cubicBezTo>
                <a:cubicBezTo>
                  <a:pt x="1143321" y="1065793"/>
                  <a:pt x="1140532" y="1072259"/>
                  <a:pt x="1143089" y="1072856"/>
                </a:cubicBezTo>
                <a:cubicBezTo>
                  <a:pt x="1145756" y="1073354"/>
                  <a:pt x="1148447" y="1073659"/>
                  <a:pt x="1151150" y="1073756"/>
                </a:cubicBezTo>
                <a:close/>
                <a:moveTo>
                  <a:pt x="1370066" y="1025244"/>
                </a:moveTo>
                <a:cubicBezTo>
                  <a:pt x="1367801" y="1025889"/>
                  <a:pt x="1365609" y="1026742"/>
                  <a:pt x="1363490" y="1027777"/>
                </a:cubicBezTo>
                <a:cubicBezTo>
                  <a:pt x="1362431" y="1028288"/>
                  <a:pt x="1361323" y="1028690"/>
                  <a:pt x="1360190" y="1028994"/>
                </a:cubicBezTo>
                <a:lnTo>
                  <a:pt x="1359131" y="1029299"/>
                </a:lnTo>
                <a:lnTo>
                  <a:pt x="1355052" y="1031320"/>
                </a:lnTo>
                <a:cubicBezTo>
                  <a:pt x="1355052" y="1031320"/>
                  <a:pt x="1354893" y="1031479"/>
                  <a:pt x="1354893" y="1031490"/>
                </a:cubicBezTo>
                <a:lnTo>
                  <a:pt x="1352714" y="1033731"/>
                </a:lnTo>
                <a:lnTo>
                  <a:pt x="1350376" y="1036532"/>
                </a:lnTo>
                <a:cubicBezTo>
                  <a:pt x="1349158" y="1038054"/>
                  <a:pt x="1349913" y="1038772"/>
                  <a:pt x="1349913" y="1038785"/>
                </a:cubicBezTo>
                <a:cubicBezTo>
                  <a:pt x="1350899" y="1039747"/>
                  <a:pt x="1352190" y="1040331"/>
                  <a:pt x="1353566" y="1040441"/>
                </a:cubicBezTo>
                <a:cubicBezTo>
                  <a:pt x="1359265" y="1039978"/>
                  <a:pt x="1366961" y="1034352"/>
                  <a:pt x="1366961" y="1034352"/>
                </a:cubicBezTo>
                <a:cubicBezTo>
                  <a:pt x="1369177" y="1032928"/>
                  <a:pt x="1371089" y="1031089"/>
                  <a:pt x="1372586" y="1028921"/>
                </a:cubicBezTo>
                <a:cubicBezTo>
                  <a:pt x="1374145" y="1026583"/>
                  <a:pt x="1373329" y="1026084"/>
                  <a:pt x="1373329" y="1026084"/>
                </a:cubicBezTo>
                <a:cubicBezTo>
                  <a:pt x="1372294" y="1024842"/>
                  <a:pt x="1370066" y="1025280"/>
                  <a:pt x="1370066" y="1025280"/>
                </a:cubicBezTo>
                <a:close/>
                <a:moveTo>
                  <a:pt x="1233478" y="1103882"/>
                </a:moveTo>
                <a:cubicBezTo>
                  <a:pt x="1235913" y="1103029"/>
                  <a:pt x="1237131" y="1102554"/>
                  <a:pt x="1237131" y="1102567"/>
                </a:cubicBezTo>
                <a:lnTo>
                  <a:pt x="1242404" y="1100192"/>
                </a:lnTo>
                <a:lnTo>
                  <a:pt x="1247494" y="1097867"/>
                </a:lnTo>
                <a:lnTo>
                  <a:pt x="1255482" y="1094214"/>
                </a:lnTo>
                <a:lnTo>
                  <a:pt x="1260352" y="1092010"/>
                </a:lnTo>
                <a:lnTo>
                  <a:pt x="1269327" y="1087906"/>
                </a:lnTo>
                <a:cubicBezTo>
                  <a:pt x="1272858" y="1086274"/>
                  <a:pt x="1276231" y="1084326"/>
                  <a:pt x="1279409" y="1082098"/>
                </a:cubicBezTo>
                <a:cubicBezTo>
                  <a:pt x="1282076" y="1080198"/>
                  <a:pt x="1284463" y="1077945"/>
                  <a:pt x="1286533" y="1075400"/>
                </a:cubicBezTo>
                <a:cubicBezTo>
                  <a:pt x="1288116" y="1073903"/>
                  <a:pt x="1289906" y="1072648"/>
                  <a:pt x="1291842" y="1071662"/>
                </a:cubicBezTo>
                <a:lnTo>
                  <a:pt x="1295884" y="1069299"/>
                </a:lnTo>
                <a:cubicBezTo>
                  <a:pt x="1301522" y="1066304"/>
                  <a:pt x="1302216" y="1065513"/>
                  <a:pt x="1302216" y="1065501"/>
                </a:cubicBezTo>
                <a:lnTo>
                  <a:pt x="1304457" y="1063297"/>
                </a:lnTo>
                <a:cubicBezTo>
                  <a:pt x="1306515" y="1061263"/>
                  <a:pt x="1308792" y="1059461"/>
                  <a:pt x="1311252" y="1057926"/>
                </a:cubicBezTo>
                <a:cubicBezTo>
                  <a:pt x="1314101" y="1056100"/>
                  <a:pt x="1317255" y="1054797"/>
                  <a:pt x="1320567" y="1054066"/>
                </a:cubicBezTo>
                <a:cubicBezTo>
                  <a:pt x="1321224" y="1053957"/>
                  <a:pt x="1321845" y="1053701"/>
                  <a:pt x="1322393" y="1053336"/>
                </a:cubicBezTo>
                <a:cubicBezTo>
                  <a:pt x="1324500" y="1052069"/>
                  <a:pt x="1326302" y="1050353"/>
                  <a:pt x="1327654" y="1048294"/>
                </a:cubicBezTo>
                <a:cubicBezTo>
                  <a:pt x="1328153" y="1044714"/>
                  <a:pt x="1323087" y="1044763"/>
                  <a:pt x="1323087" y="1044776"/>
                </a:cubicBezTo>
                <a:cubicBezTo>
                  <a:pt x="1321797" y="1044922"/>
                  <a:pt x="1320518" y="1045092"/>
                  <a:pt x="1319227" y="1045250"/>
                </a:cubicBezTo>
                <a:lnTo>
                  <a:pt x="1315574" y="1046030"/>
                </a:lnTo>
                <a:lnTo>
                  <a:pt x="1311532" y="1047077"/>
                </a:lnTo>
                <a:lnTo>
                  <a:pt x="1307879" y="1048075"/>
                </a:lnTo>
                <a:lnTo>
                  <a:pt x="1303239" y="1049585"/>
                </a:lnTo>
                <a:lnTo>
                  <a:pt x="1298369" y="1051253"/>
                </a:lnTo>
                <a:lnTo>
                  <a:pt x="1294253" y="1052605"/>
                </a:lnTo>
                <a:lnTo>
                  <a:pt x="1290015" y="1053823"/>
                </a:lnTo>
                <a:lnTo>
                  <a:pt x="1286752" y="1054468"/>
                </a:lnTo>
                <a:lnTo>
                  <a:pt x="1284682" y="1054724"/>
                </a:lnTo>
                <a:cubicBezTo>
                  <a:pt x="1283294" y="1054748"/>
                  <a:pt x="1281905" y="1054992"/>
                  <a:pt x="1280590" y="1055455"/>
                </a:cubicBezTo>
                <a:lnTo>
                  <a:pt x="1278618" y="1056356"/>
                </a:lnTo>
                <a:lnTo>
                  <a:pt x="1275549" y="1058000"/>
                </a:lnTo>
                <a:lnTo>
                  <a:pt x="1268608" y="1061859"/>
                </a:lnTo>
                <a:lnTo>
                  <a:pt x="1260766" y="1066365"/>
                </a:lnTo>
                <a:lnTo>
                  <a:pt x="1254300" y="1070018"/>
                </a:lnTo>
                <a:lnTo>
                  <a:pt x="1252523" y="1070919"/>
                </a:lnTo>
                <a:lnTo>
                  <a:pt x="1246653" y="1073720"/>
                </a:lnTo>
                <a:cubicBezTo>
                  <a:pt x="1244157" y="1074938"/>
                  <a:pt x="1241977" y="1076715"/>
                  <a:pt x="1240297" y="1078931"/>
                </a:cubicBezTo>
                <a:cubicBezTo>
                  <a:pt x="1241271" y="1079589"/>
                  <a:pt x="1242379" y="1080003"/>
                  <a:pt x="1243548" y="1080149"/>
                </a:cubicBezTo>
                <a:cubicBezTo>
                  <a:pt x="1245984" y="1079978"/>
                  <a:pt x="1248431" y="1080027"/>
                  <a:pt x="1250854" y="1080295"/>
                </a:cubicBezTo>
                <a:cubicBezTo>
                  <a:pt x="1254788" y="1080393"/>
                  <a:pt x="1254154" y="1083035"/>
                  <a:pt x="1254167" y="1083035"/>
                </a:cubicBezTo>
                <a:cubicBezTo>
                  <a:pt x="1255129" y="1085020"/>
                  <a:pt x="1242988" y="1092034"/>
                  <a:pt x="1243000" y="1092046"/>
                </a:cubicBezTo>
                <a:cubicBezTo>
                  <a:pt x="1230008" y="1099815"/>
                  <a:pt x="1227913" y="1105574"/>
                  <a:pt x="1227913" y="1105574"/>
                </a:cubicBezTo>
                <a:lnTo>
                  <a:pt x="1229740" y="1104990"/>
                </a:lnTo>
                <a:close/>
                <a:moveTo>
                  <a:pt x="1173105" y="1118421"/>
                </a:moveTo>
                <a:lnTo>
                  <a:pt x="1174323" y="1117690"/>
                </a:lnTo>
                <a:cubicBezTo>
                  <a:pt x="1176929" y="1116363"/>
                  <a:pt x="1179437" y="1114841"/>
                  <a:pt x="1181824" y="1113160"/>
                </a:cubicBezTo>
                <a:cubicBezTo>
                  <a:pt x="1184369" y="1110944"/>
                  <a:pt x="1187084" y="1108923"/>
                  <a:pt x="1189958" y="1107145"/>
                </a:cubicBezTo>
                <a:cubicBezTo>
                  <a:pt x="1194415" y="1104345"/>
                  <a:pt x="1199310" y="1102323"/>
                  <a:pt x="1204436" y="1101167"/>
                </a:cubicBezTo>
                <a:cubicBezTo>
                  <a:pt x="1206031" y="1100911"/>
                  <a:pt x="1207602" y="1100558"/>
                  <a:pt x="1209161" y="1100119"/>
                </a:cubicBezTo>
                <a:cubicBezTo>
                  <a:pt x="1213240" y="1098719"/>
                  <a:pt x="1217015" y="1096539"/>
                  <a:pt x="1220254" y="1093702"/>
                </a:cubicBezTo>
                <a:cubicBezTo>
                  <a:pt x="1222884" y="1091437"/>
                  <a:pt x="1225210" y="1088868"/>
                  <a:pt x="1227207" y="1086031"/>
                </a:cubicBezTo>
                <a:cubicBezTo>
                  <a:pt x="1230945" y="1080880"/>
                  <a:pt x="1224479" y="1082244"/>
                  <a:pt x="1224479" y="1082244"/>
                </a:cubicBezTo>
                <a:lnTo>
                  <a:pt x="1219377" y="1083255"/>
                </a:lnTo>
                <a:lnTo>
                  <a:pt x="1212376" y="1084984"/>
                </a:lnTo>
                <a:cubicBezTo>
                  <a:pt x="1207834" y="1086116"/>
                  <a:pt x="1203292" y="1087260"/>
                  <a:pt x="1198750" y="1088417"/>
                </a:cubicBezTo>
                <a:cubicBezTo>
                  <a:pt x="1194354" y="1089586"/>
                  <a:pt x="1189958" y="1090768"/>
                  <a:pt x="1185562" y="1091973"/>
                </a:cubicBezTo>
                <a:cubicBezTo>
                  <a:pt x="1181373" y="1093081"/>
                  <a:pt x="1172983" y="1094774"/>
                  <a:pt x="1172983" y="1094774"/>
                </a:cubicBezTo>
                <a:cubicBezTo>
                  <a:pt x="1170597" y="1095224"/>
                  <a:pt x="1168186" y="1095516"/>
                  <a:pt x="1165763" y="1095638"/>
                </a:cubicBezTo>
                <a:lnTo>
                  <a:pt x="1161111" y="1095784"/>
                </a:lnTo>
                <a:lnTo>
                  <a:pt x="1157081" y="1096028"/>
                </a:lnTo>
                <a:cubicBezTo>
                  <a:pt x="1150310" y="1096844"/>
                  <a:pt x="1147924" y="1098268"/>
                  <a:pt x="1147924" y="1098281"/>
                </a:cubicBezTo>
                <a:cubicBezTo>
                  <a:pt x="1141762" y="1101580"/>
                  <a:pt x="1129573" y="1105453"/>
                  <a:pt x="1129561" y="1105453"/>
                </a:cubicBezTo>
                <a:lnTo>
                  <a:pt x="1119454" y="1108704"/>
                </a:lnTo>
                <a:cubicBezTo>
                  <a:pt x="1118115" y="1109142"/>
                  <a:pt x="1111576" y="1111541"/>
                  <a:pt x="1111576" y="1111541"/>
                </a:cubicBezTo>
                <a:cubicBezTo>
                  <a:pt x="1102431" y="1115243"/>
                  <a:pt x="1093676" y="1119846"/>
                  <a:pt x="1085456" y="1125301"/>
                </a:cubicBezTo>
                <a:cubicBezTo>
                  <a:pt x="1078698" y="1129551"/>
                  <a:pt x="1065206" y="1140815"/>
                  <a:pt x="1065218" y="1140815"/>
                </a:cubicBezTo>
                <a:cubicBezTo>
                  <a:pt x="1060396" y="1144906"/>
                  <a:pt x="1056001" y="1149460"/>
                  <a:pt x="1052067" y="1154416"/>
                </a:cubicBezTo>
                <a:cubicBezTo>
                  <a:pt x="1049608" y="1157752"/>
                  <a:pt x="1047465" y="1161308"/>
                  <a:pt x="1045675" y="1165046"/>
                </a:cubicBezTo>
                <a:cubicBezTo>
                  <a:pt x="1044019" y="1168699"/>
                  <a:pt x="1044457" y="1173716"/>
                  <a:pt x="1044457" y="1173716"/>
                </a:cubicBezTo>
                <a:cubicBezTo>
                  <a:pt x="1054758" y="1165424"/>
                  <a:pt x="1064049" y="1156218"/>
                  <a:pt x="1064049" y="1156218"/>
                </a:cubicBezTo>
                <a:cubicBezTo>
                  <a:pt x="1066022" y="1154245"/>
                  <a:pt x="1070138" y="1149545"/>
                  <a:pt x="1070138" y="1149545"/>
                </a:cubicBezTo>
                <a:cubicBezTo>
                  <a:pt x="1074984" y="1143396"/>
                  <a:pt x="1081669" y="1138927"/>
                  <a:pt x="1089207" y="1136796"/>
                </a:cubicBezTo>
                <a:cubicBezTo>
                  <a:pt x="1099569" y="1133947"/>
                  <a:pt x="1105037" y="1130135"/>
                  <a:pt x="1105037" y="1130123"/>
                </a:cubicBezTo>
                <a:cubicBezTo>
                  <a:pt x="1108751" y="1127809"/>
                  <a:pt x="1112659" y="1125788"/>
                  <a:pt x="1116702" y="1124108"/>
                </a:cubicBezTo>
                <a:cubicBezTo>
                  <a:pt x="1126444" y="1120455"/>
                  <a:pt x="1132763" y="1118799"/>
                  <a:pt x="1132763" y="1118799"/>
                </a:cubicBezTo>
                <a:cubicBezTo>
                  <a:pt x="1138511" y="1117045"/>
                  <a:pt x="1145074" y="1114354"/>
                  <a:pt x="1145074" y="1114354"/>
                </a:cubicBezTo>
                <a:cubicBezTo>
                  <a:pt x="1148070" y="1115571"/>
                  <a:pt x="1152636" y="1114707"/>
                  <a:pt x="1152648" y="1114695"/>
                </a:cubicBezTo>
                <a:cubicBezTo>
                  <a:pt x="1156423" y="1114013"/>
                  <a:pt x="1162938" y="1111943"/>
                  <a:pt x="1162938" y="1111943"/>
                </a:cubicBezTo>
                <a:cubicBezTo>
                  <a:pt x="1165190" y="1111249"/>
                  <a:pt x="1169343" y="1110189"/>
                  <a:pt x="1169343" y="1110177"/>
                </a:cubicBezTo>
                <a:cubicBezTo>
                  <a:pt x="1169927" y="1111529"/>
                  <a:pt x="1170560" y="1112868"/>
                  <a:pt x="1171108" y="1114220"/>
                </a:cubicBezTo>
                <a:cubicBezTo>
                  <a:pt x="1171656" y="1115571"/>
                  <a:pt x="1172496" y="1117021"/>
                  <a:pt x="1173117" y="1118421"/>
                </a:cubicBezTo>
                <a:close/>
                <a:moveTo>
                  <a:pt x="1045504" y="553318"/>
                </a:moveTo>
                <a:cubicBezTo>
                  <a:pt x="1045504" y="553318"/>
                  <a:pt x="1041254" y="555108"/>
                  <a:pt x="1026959" y="567041"/>
                </a:cubicBezTo>
                <a:cubicBezTo>
                  <a:pt x="1020420" y="572496"/>
                  <a:pt x="1013905" y="577964"/>
                  <a:pt x="1007415" y="583456"/>
                </a:cubicBezTo>
                <a:cubicBezTo>
                  <a:pt x="1007415" y="583456"/>
                  <a:pt x="1036725" y="575175"/>
                  <a:pt x="1057449" y="560746"/>
                </a:cubicBezTo>
                <a:cubicBezTo>
                  <a:pt x="1062710" y="557154"/>
                  <a:pt x="1067532" y="552989"/>
                  <a:pt x="1071855" y="548313"/>
                </a:cubicBezTo>
                <a:cubicBezTo>
                  <a:pt x="1071855" y="548313"/>
                  <a:pt x="1059410" y="545086"/>
                  <a:pt x="1045516" y="553318"/>
                </a:cubicBezTo>
                <a:close/>
                <a:moveTo>
                  <a:pt x="716729" y="737505"/>
                </a:moveTo>
                <a:cubicBezTo>
                  <a:pt x="721454" y="735228"/>
                  <a:pt x="725862" y="732366"/>
                  <a:pt x="729868" y="728981"/>
                </a:cubicBezTo>
                <a:lnTo>
                  <a:pt x="737625" y="722016"/>
                </a:lnTo>
                <a:cubicBezTo>
                  <a:pt x="741582" y="718460"/>
                  <a:pt x="748913" y="712275"/>
                  <a:pt x="748913" y="712275"/>
                </a:cubicBezTo>
                <a:cubicBezTo>
                  <a:pt x="757424" y="705248"/>
                  <a:pt x="765948" y="698247"/>
                  <a:pt x="774484" y="691294"/>
                </a:cubicBezTo>
                <a:cubicBezTo>
                  <a:pt x="775909" y="690831"/>
                  <a:pt x="777358" y="690490"/>
                  <a:pt x="778831" y="690259"/>
                </a:cubicBezTo>
                <a:cubicBezTo>
                  <a:pt x="783422" y="689589"/>
                  <a:pt x="783702" y="692913"/>
                  <a:pt x="783702" y="692901"/>
                </a:cubicBezTo>
                <a:lnTo>
                  <a:pt x="784286" y="697625"/>
                </a:lnTo>
                <a:cubicBezTo>
                  <a:pt x="785041" y="699854"/>
                  <a:pt x="788183" y="699136"/>
                  <a:pt x="788183" y="699136"/>
                </a:cubicBezTo>
                <a:cubicBezTo>
                  <a:pt x="783811" y="704006"/>
                  <a:pt x="779440" y="708913"/>
                  <a:pt x="775093" y="713857"/>
                </a:cubicBezTo>
                <a:cubicBezTo>
                  <a:pt x="775738" y="714259"/>
                  <a:pt x="776420" y="714588"/>
                  <a:pt x="777126" y="714832"/>
                </a:cubicBezTo>
                <a:cubicBezTo>
                  <a:pt x="781717" y="716256"/>
                  <a:pt x="788560" y="713334"/>
                  <a:pt x="788560" y="713334"/>
                </a:cubicBezTo>
                <a:cubicBezTo>
                  <a:pt x="793869" y="711337"/>
                  <a:pt x="804865" y="705407"/>
                  <a:pt x="804865" y="705419"/>
                </a:cubicBezTo>
                <a:cubicBezTo>
                  <a:pt x="807812" y="703641"/>
                  <a:pt x="810966" y="702241"/>
                  <a:pt x="814254" y="701230"/>
                </a:cubicBezTo>
                <a:cubicBezTo>
                  <a:pt x="816080" y="700755"/>
                  <a:pt x="817870" y="700146"/>
                  <a:pt x="819611" y="699416"/>
                </a:cubicBezTo>
                <a:cubicBezTo>
                  <a:pt x="824397" y="697614"/>
                  <a:pt x="835612" y="690612"/>
                  <a:pt x="835612" y="690612"/>
                </a:cubicBezTo>
                <a:cubicBezTo>
                  <a:pt x="843758" y="685741"/>
                  <a:pt x="854522" y="678362"/>
                  <a:pt x="854535" y="678362"/>
                </a:cubicBezTo>
                <a:cubicBezTo>
                  <a:pt x="857372" y="676438"/>
                  <a:pt x="864848" y="671153"/>
                  <a:pt x="864848" y="671141"/>
                </a:cubicBezTo>
                <a:lnTo>
                  <a:pt x="871156" y="666575"/>
                </a:lnTo>
                <a:lnTo>
                  <a:pt x="873275" y="665028"/>
                </a:lnTo>
                <a:lnTo>
                  <a:pt x="875941" y="663056"/>
                </a:lnTo>
                <a:lnTo>
                  <a:pt x="883065" y="657746"/>
                </a:lnTo>
                <a:cubicBezTo>
                  <a:pt x="885890" y="655530"/>
                  <a:pt x="893427" y="650111"/>
                  <a:pt x="893440" y="650100"/>
                </a:cubicBezTo>
                <a:cubicBezTo>
                  <a:pt x="898785" y="646203"/>
                  <a:pt x="904983" y="642233"/>
                  <a:pt x="904983" y="642245"/>
                </a:cubicBezTo>
                <a:cubicBezTo>
                  <a:pt x="910365" y="638727"/>
                  <a:pt x="915930" y="635499"/>
                  <a:pt x="921653" y="632589"/>
                </a:cubicBezTo>
                <a:cubicBezTo>
                  <a:pt x="927742" y="629472"/>
                  <a:pt x="934622" y="626647"/>
                  <a:pt x="934622" y="626647"/>
                </a:cubicBezTo>
                <a:lnTo>
                  <a:pt x="939030" y="624918"/>
                </a:lnTo>
                <a:cubicBezTo>
                  <a:pt x="943681" y="622909"/>
                  <a:pt x="948199" y="620632"/>
                  <a:pt x="952595" y="618111"/>
                </a:cubicBezTo>
                <a:lnTo>
                  <a:pt x="955712" y="616309"/>
                </a:lnTo>
                <a:lnTo>
                  <a:pt x="962543" y="612217"/>
                </a:lnTo>
                <a:cubicBezTo>
                  <a:pt x="965514" y="610439"/>
                  <a:pt x="968485" y="608649"/>
                  <a:pt x="971457" y="606884"/>
                </a:cubicBezTo>
                <a:cubicBezTo>
                  <a:pt x="974172" y="605447"/>
                  <a:pt x="976778" y="603791"/>
                  <a:pt x="979213" y="601916"/>
                </a:cubicBezTo>
                <a:cubicBezTo>
                  <a:pt x="982099" y="599480"/>
                  <a:pt x="982538" y="598604"/>
                  <a:pt x="982525" y="598604"/>
                </a:cubicBezTo>
                <a:lnTo>
                  <a:pt x="983000" y="597751"/>
                </a:lnTo>
                <a:cubicBezTo>
                  <a:pt x="983889" y="596266"/>
                  <a:pt x="984900" y="594853"/>
                  <a:pt x="986032" y="593538"/>
                </a:cubicBezTo>
                <a:cubicBezTo>
                  <a:pt x="988334" y="591030"/>
                  <a:pt x="990854" y="588716"/>
                  <a:pt x="993558" y="586658"/>
                </a:cubicBezTo>
                <a:lnTo>
                  <a:pt x="996212" y="584649"/>
                </a:lnTo>
                <a:lnTo>
                  <a:pt x="999865" y="581994"/>
                </a:lnTo>
                <a:lnTo>
                  <a:pt x="1003177" y="579559"/>
                </a:lnTo>
                <a:lnTo>
                  <a:pt x="1004127" y="578743"/>
                </a:lnTo>
                <a:cubicBezTo>
                  <a:pt x="1007780" y="575090"/>
                  <a:pt x="1008036" y="573337"/>
                  <a:pt x="1008048" y="573349"/>
                </a:cubicBezTo>
                <a:cubicBezTo>
                  <a:pt x="1008913" y="570621"/>
                  <a:pt x="1002179" y="571218"/>
                  <a:pt x="1002179" y="571230"/>
                </a:cubicBezTo>
                <a:lnTo>
                  <a:pt x="1001180" y="571328"/>
                </a:lnTo>
                <a:lnTo>
                  <a:pt x="999622" y="571559"/>
                </a:lnTo>
                <a:lnTo>
                  <a:pt x="996529" y="572216"/>
                </a:lnTo>
                <a:lnTo>
                  <a:pt x="991816" y="573434"/>
                </a:lnTo>
                <a:lnTo>
                  <a:pt x="983950" y="575602"/>
                </a:lnTo>
                <a:lnTo>
                  <a:pt x="984462" y="574080"/>
                </a:lnTo>
                <a:lnTo>
                  <a:pt x="985472" y="571120"/>
                </a:lnTo>
                <a:cubicBezTo>
                  <a:pt x="985825" y="570098"/>
                  <a:pt x="986166" y="569063"/>
                  <a:pt x="986519" y="568040"/>
                </a:cubicBezTo>
                <a:cubicBezTo>
                  <a:pt x="986982" y="566822"/>
                  <a:pt x="987433" y="565604"/>
                  <a:pt x="987883" y="564314"/>
                </a:cubicBezTo>
                <a:cubicBezTo>
                  <a:pt x="988419" y="562877"/>
                  <a:pt x="988943" y="561440"/>
                  <a:pt x="989466" y="560015"/>
                </a:cubicBezTo>
                <a:lnTo>
                  <a:pt x="989941" y="558396"/>
                </a:lnTo>
                <a:cubicBezTo>
                  <a:pt x="990014" y="558030"/>
                  <a:pt x="990099" y="557653"/>
                  <a:pt x="990172" y="557288"/>
                </a:cubicBezTo>
                <a:lnTo>
                  <a:pt x="990465" y="555364"/>
                </a:lnTo>
                <a:lnTo>
                  <a:pt x="990465" y="553781"/>
                </a:lnTo>
                <a:cubicBezTo>
                  <a:pt x="990306" y="549263"/>
                  <a:pt x="983390" y="551077"/>
                  <a:pt x="983390" y="551089"/>
                </a:cubicBezTo>
                <a:lnTo>
                  <a:pt x="981271" y="551552"/>
                </a:lnTo>
                <a:lnTo>
                  <a:pt x="979566" y="552003"/>
                </a:lnTo>
                <a:lnTo>
                  <a:pt x="975475" y="553220"/>
                </a:lnTo>
                <a:cubicBezTo>
                  <a:pt x="970434" y="554962"/>
                  <a:pt x="965758" y="557604"/>
                  <a:pt x="961666" y="561026"/>
                </a:cubicBezTo>
                <a:lnTo>
                  <a:pt x="959402" y="563108"/>
                </a:lnTo>
                <a:lnTo>
                  <a:pt x="956966" y="565544"/>
                </a:lnTo>
                <a:lnTo>
                  <a:pt x="953752" y="569197"/>
                </a:lnTo>
                <a:lnTo>
                  <a:pt x="950038" y="573653"/>
                </a:lnTo>
                <a:cubicBezTo>
                  <a:pt x="948820" y="575163"/>
                  <a:pt x="947602" y="576685"/>
                  <a:pt x="946384" y="578207"/>
                </a:cubicBezTo>
                <a:lnTo>
                  <a:pt x="941940" y="583760"/>
                </a:lnTo>
                <a:lnTo>
                  <a:pt x="937349" y="583602"/>
                </a:lnTo>
                <a:lnTo>
                  <a:pt x="934780" y="583602"/>
                </a:lnTo>
                <a:lnTo>
                  <a:pt x="932539" y="583821"/>
                </a:lnTo>
                <a:lnTo>
                  <a:pt x="931115" y="584101"/>
                </a:lnTo>
                <a:cubicBezTo>
                  <a:pt x="927121" y="584990"/>
                  <a:pt x="920947" y="589714"/>
                  <a:pt x="920947" y="589727"/>
                </a:cubicBezTo>
                <a:lnTo>
                  <a:pt x="919364" y="590884"/>
                </a:lnTo>
                <a:lnTo>
                  <a:pt x="915078" y="594098"/>
                </a:lnTo>
                <a:cubicBezTo>
                  <a:pt x="912715" y="596022"/>
                  <a:pt x="910146" y="597654"/>
                  <a:pt x="907394" y="598969"/>
                </a:cubicBezTo>
                <a:lnTo>
                  <a:pt x="904240" y="600564"/>
                </a:lnTo>
                <a:lnTo>
                  <a:pt x="891163" y="607213"/>
                </a:lnTo>
                <a:cubicBezTo>
                  <a:pt x="885232" y="610233"/>
                  <a:pt x="879314" y="613265"/>
                  <a:pt x="873384" y="616321"/>
                </a:cubicBezTo>
                <a:lnTo>
                  <a:pt x="868587" y="615542"/>
                </a:lnTo>
                <a:cubicBezTo>
                  <a:pt x="861962" y="614020"/>
                  <a:pt x="858748" y="614324"/>
                  <a:pt x="858748" y="614324"/>
                </a:cubicBezTo>
                <a:cubicBezTo>
                  <a:pt x="852586" y="614494"/>
                  <a:pt x="843612" y="620960"/>
                  <a:pt x="843624" y="620960"/>
                </a:cubicBezTo>
                <a:lnTo>
                  <a:pt x="831886" y="629155"/>
                </a:lnTo>
                <a:cubicBezTo>
                  <a:pt x="823070" y="635354"/>
                  <a:pt x="817273" y="636814"/>
                  <a:pt x="817273" y="636814"/>
                </a:cubicBezTo>
                <a:cubicBezTo>
                  <a:pt x="812512" y="638422"/>
                  <a:pt x="807922" y="640504"/>
                  <a:pt x="803599" y="643062"/>
                </a:cubicBezTo>
                <a:cubicBezTo>
                  <a:pt x="799946" y="645058"/>
                  <a:pt x="794357" y="649150"/>
                  <a:pt x="794369" y="649150"/>
                </a:cubicBezTo>
                <a:lnTo>
                  <a:pt x="789498" y="652608"/>
                </a:lnTo>
                <a:lnTo>
                  <a:pt x="782387" y="657479"/>
                </a:lnTo>
                <a:lnTo>
                  <a:pt x="782155" y="657649"/>
                </a:lnTo>
                <a:lnTo>
                  <a:pt x="774654" y="662800"/>
                </a:lnTo>
                <a:cubicBezTo>
                  <a:pt x="759714" y="673431"/>
                  <a:pt x="752736" y="680237"/>
                  <a:pt x="752736" y="680237"/>
                </a:cubicBezTo>
                <a:lnTo>
                  <a:pt x="741521" y="691050"/>
                </a:lnTo>
                <a:cubicBezTo>
                  <a:pt x="737552" y="695044"/>
                  <a:pt x="733582" y="699038"/>
                  <a:pt x="729624" y="703044"/>
                </a:cubicBezTo>
                <a:cubicBezTo>
                  <a:pt x="724486" y="708256"/>
                  <a:pt x="719359" y="713480"/>
                  <a:pt x="714257" y="718716"/>
                </a:cubicBezTo>
                <a:cubicBezTo>
                  <a:pt x="710300" y="722747"/>
                  <a:pt x="699730" y="734156"/>
                  <a:pt x="699743" y="734156"/>
                </a:cubicBezTo>
                <a:cubicBezTo>
                  <a:pt x="692217" y="743192"/>
                  <a:pt x="699280" y="742839"/>
                  <a:pt x="699268" y="742850"/>
                </a:cubicBezTo>
                <a:cubicBezTo>
                  <a:pt x="705514" y="742729"/>
                  <a:pt x="716790" y="737505"/>
                  <a:pt x="716790" y="737505"/>
                </a:cubicBezTo>
                <a:close/>
                <a:moveTo>
                  <a:pt x="829389" y="613642"/>
                </a:moveTo>
                <a:cubicBezTo>
                  <a:pt x="835320" y="610817"/>
                  <a:pt x="842601" y="606519"/>
                  <a:pt x="842589" y="606531"/>
                </a:cubicBezTo>
                <a:cubicBezTo>
                  <a:pt x="847886" y="603377"/>
                  <a:pt x="852964" y="599882"/>
                  <a:pt x="857798" y="596047"/>
                </a:cubicBezTo>
                <a:cubicBezTo>
                  <a:pt x="859771" y="594342"/>
                  <a:pt x="866492" y="589057"/>
                  <a:pt x="866492" y="589057"/>
                </a:cubicBezTo>
                <a:lnTo>
                  <a:pt x="870839" y="585745"/>
                </a:lnTo>
                <a:lnTo>
                  <a:pt x="877926" y="580533"/>
                </a:lnTo>
                <a:cubicBezTo>
                  <a:pt x="880861" y="578439"/>
                  <a:pt x="883795" y="576332"/>
                  <a:pt x="886742" y="574250"/>
                </a:cubicBezTo>
                <a:cubicBezTo>
                  <a:pt x="889689" y="572168"/>
                  <a:pt x="892539" y="570134"/>
                  <a:pt x="895437" y="568088"/>
                </a:cubicBezTo>
                <a:cubicBezTo>
                  <a:pt x="898335" y="566043"/>
                  <a:pt x="903960" y="562085"/>
                  <a:pt x="903960" y="562097"/>
                </a:cubicBezTo>
                <a:cubicBezTo>
                  <a:pt x="910718" y="557592"/>
                  <a:pt x="915297" y="554219"/>
                  <a:pt x="915285" y="554219"/>
                </a:cubicBezTo>
                <a:cubicBezTo>
                  <a:pt x="918828" y="551820"/>
                  <a:pt x="922031" y="548959"/>
                  <a:pt x="924795" y="545695"/>
                </a:cubicBezTo>
                <a:cubicBezTo>
                  <a:pt x="924527" y="545099"/>
                  <a:pt x="924259" y="544478"/>
                  <a:pt x="924003" y="543905"/>
                </a:cubicBezTo>
                <a:lnTo>
                  <a:pt x="921836" y="544831"/>
                </a:lnTo>
                <a:lnTo>
                  <a:pt x="915748" y="547375"/>
                </a:lnTo>
                <a:cubicBezTo>
                  <a:pt x="913605" y="548289"/>
                  <a:pt x="910536" y="549982"/>
                  <a:pt x="910548" y="549982"/>
                </a:cubicBezTo>
                <a:lnTo>
                  <a:pt x="907784" y="551637"/>
                </a:lnTo>
                <a:lnTo>
                  <a:pt x="905799" y="552855"/>
                </a:lnTo>
                <a:lnTo>
                  <a:pt x="900624" y="555972"/>
                </a:lnTo>
                <a:lnTo>
                  <a:pt x="895083" y="559333"/>
                </a:lnTo>
                <a:lnTo>
                  <a:pt x="889994" y="562451"/>
                </a:lnTo>
                <a:lnTo>
                  <a:pt x="884027" y="566104"/>
                </a:lnTo>
                <a:cubicBezTo>
                  <a:pt x="881421" y="567723"/>
                  <a:pt x="878815" y="569379"/>
                  <a:pt x="876222" y="571048"/>
                </a:cubicBezTo>
                <a:lnTo>
                  <a:pt x="870316" y="574883"/>
                </a:lnTo>
                <a:cubicBezTo>
                  <a:pt x="868307" y="576235"/>
                  <a:pt x="866297" y="577562"/>
                  <a:pt x="864300" y="578914"/>
                </a:cubicBezTo>
                <a:lnTo>
                  <a:pt x="859430" y="582226"/>
                </a:lnTo>
                <a:cubicBezTo>
                  <a:pt x="857822" y="583346"/>
                  <a:pt x="849420" y="589593"/>
                  <a:pt x="849420" y="589593"/>
                </a:cubicBezTo>
                <a:lnTo>
                  <a:pt x="849238" y="589727"/>
                </a:lnTo>
                <a:cubicBezTo>
                  <a:pt x="846059" y="592223"/>
                  <a:pt x="842893" y="594731"/>
                  <a:pt x="839728" y="597240"/>
                </a:cubicBezTo>
                <a:lnTo>
                  <a:pt x="832032" y="603535"/>
                </a:lnTo>
                <a:lnTo>
                  <a:pt x="824969" y="609380"/>
                </a:lnTo>
                <a:cubicBezTo>
                  <a:pt x="823447" y="610427"/>
                  <a:pt x="822120" y="611730"/>
                  <a:pt x="821048" y="613228"/>
                </a:cubicBezTo>
                <a:lnTo>
                  <a:pt x="816701" y="619535"/>
                </a:lnTo>
                <a:lnTo>
                  <a:pt x="819721" y="618196"/>
                </a:lnTo>
                <a:cubicBezTo>
                  <a:pt x="822558" y="616954"/>
                  <a:pt x="829450" y="613654"/>
                  <a:pt x="829450" y="613642"/>
                </a:cubicBezTo>
                <a:close/>
                <a:moveTo>
                  <a:pt x="887997" y="578731"/>
                </a:moveTo>
                <a:cubicBezTo>
                  <a:pt x="879034" y="586987"/>
                  <a:pt x="875357" y="594184"/>
                  <a:pt x="875357" y="594184"/>
                </a:cubicBezTo>
                <a:lnTo>
                  <a:pt x="881056" y="591748"/>
                </a:lnTo>
                <a:cubicBezTo>
                  <a:pt x="890943" y="587730"/>
                  <a:pt x="894000" y="585660"/>
                  <a:pt x="894000" y="585660"/>
                </a:cubicBezTo>
                <a:cubicBezTo>
                  <a:pt x="904874" y="579072"/>
                  <a:pt x="904959" y="579425"/>
                  <a:pt x="904959" y="579425"/>
                </a:cubicBezTo>
                <a:cubicBezTo>
                  <a:pt x="910974" y="576624"/>
                  <a:pt x="918268" y="573142"/>
                  <a:pt x="918268" y="573118"/>
                </a:cubicBezTo>
                <a:cubicBezTo>
                  <a:pt x="929227" y="567760"/>
                  <a:pt x="938896" y="562560"/>
                  <a:pt x="938969" y="562560"/>
                </a:cubicBezTo>
                <a:cubicBezTo>
                  <a:pt x="952363" y="555254"/>
                  <a:pt x="964138" y="547948"/>
                  <a:pt x="964138" y="547948"/>
                </a:cubicBezTo>
                <a:cubicBezTo>
                  <a:pt x="968449" y="545196"/>
                  <a:pt x="972760" y="542456"/>
                  <a:pt x="977070" y="539729"/>
                </a:cubicBezTo>
                <a:cubicBezTo>
                  <a:pt x="982878" y="536076"/>
                  <a:pt x="996553" y="528124"/>
                  <a:pt x="996553" y="528136"/>
                </a:cubicBezTo>
                <a:lnTo>
                  <a:pt x="1005966" y="522754"/>
                </a:lnTo>
                <a:cubicBezTo>
                  <a:pt x="1008998" y="521025"/>
                  <a:pt x="1012030" y="519296"/>
                  <a:pt x="1015074" y="517579"/>
                </a:cubicBezTo>
                <a:cubicBezTo>
                  <a:pt x="1018934" y="515363"/>
                  <a:pt x="1024182" y="512306"/>
                  <a:pt x="1024170" y="512306"/>
                </a:cubicBezTo>
                <a:cubicBezTo>
                  <a:pt x="1033096" y="506717"/>
                  <a:pt x="1035677" y="502382"/>
                  <a:pt x="1035665" y="502382"/>
                </a:cubicBezTo>
                <a:cubicBezTo>
                  <a:pt x="1037918" y="499411"/>
                  <a:pt x="1039330" y="495892"/>
                  <a:pt x="1039757" y="492190"/>
                </a:cubicBezTo>
                <a:cubicBezTo>
                  <a:pt x="1032828" y="495904"/>
                  <a:pt x="1025899" y="499630"/>
                  <a:pt x="1018983" y="503393"/>
                </a:cubicBezTo>
                <a:lnTo>
                  <a:pt x="1012310" y="501359"/>
                </a:lnTo>
                <a:lnTo>
                  <a:pt x="1003165" y="506230"/>
                </a:lnTo>
                <a:cubicBezTo>
                  <a:pt x="997868" y="509043"/>
                  <a:pt x="995676" y="510565"/>
                  <a:pt x="995676" y="510553"/>
                </a:cubicBezTo>
                <a:cubicBezTo>
                  <a:pt x="993594" y="512063"/>
                  <a:pt x="991865" y="514035"/>
                  <a:pt x="990635" y="516300"/>
                </a:cubicBezTo>
                <a:cubicBezTo>
                  <a:pt x="989198" y="518553"/>
                  <a:pt x="987567" y="520684"/>
                  <a:pt x="985764" y="522657"/>
                </a:cubicBezTo>
                <a:cubicBezTo>
                  <a:pt x="976595" y="532812"/>
                  <a:pt x="961411" y="536295"/>
                  <a:pt x="961411" y="536307"/>
                </a:cubicBezTo>
                <a:lnTo>
                  <a:pt x="957539" y="537354"/>
                </a:lnTo>
                <a:lnTo>
                  <a:pt x="955517" y="538073"/>
                </a:lnTo>
                <a:cubicBezTo>
                  <a:pt x="954275" y="538645"/>
                  <a:pt x="952923" y="538998"/>
                  <a:pt x="951560" y="539108"/>
                </a:cubicBezTo>
                <a:lnTo>
                  <a:pt x="950196" y="539315"/>
                </a:lnTo>
                <a:cubicBezTo>
                  <a:pt x="948418" y="539570"/>
                  <a:pt x="944400" y="540630"/>
                  <a:pt x="944400" y="540630"/>
                </a:cubicBezTo>
                <a:cubicBezTo>
                  <a:pt x="931590" y="543796"/>
                  <a:pt x="914457" y="557495"/>
                  <a:pt x="914469" y="557495"/>
                </a:cubicBezTo>
                <a:cubicBezTo>
                  <a:pt x="889677" y="576393"/>
                  <a:pt x="888070" y="578743"/>
                  <a:pt x="888057" y="578731"/>
                </a:cubicBezTo>
                <a:close/>
                <a:moveTo>
                  <a:pt x="1004285" y="498145"/>
                </a:moveTo>
                <a:cubicBezTo>
                  <a:pt x="1020371" y="489389"/>
                  <a:pt x="1025765" y="480671"/>
                  <a:pt x="1025753" y="480659"/>
                </a:cubicBezTo>
                <a:cubicBezTo>
                  <a:pt x="1020274" y="481596"/>
                  <a:pt x="1011141" y="485785"/>
                  <a:pt x="1011141" y="485785"/>
                </a:cubicBezTo>
                <a:cubicBezTo>
                  <a:pt x="986860" y="497877"/>
                  <a:pt x="983049" y="507022"/>
                  <a:pt x="983037" y="506997"/>
                </a:cubicBezTo>
                <a:cubicBezTo>
                  <a:pt x="990404" y="504744"/>
                  <a:pt x="997552" y="501773"/>
                  <a:pt x="1004346" y="498145"/>
                </a:cubicBezTo>
                <a:close/>
                <a:moveTo>
                  <a:pt x="1066972" y="479283"/>
                </a:moveTo>
                <a:cubicBezTo>
                  <a:pt x="1066972" y="479283"/>
                  <a:pt x="1069480" y="479124"/>
                  <a:pt x="1077931" y="476007"/>
                </a:cubicBezTo>
                <a:cubicBezTo>
                  <a:pt x="1077931" y="476007"/>
                  <a:pt x="1079392" y="475447"/>
                  <a:pt x="1080659" y="474789"/>
                </a:cubicBezTo>
                <a:cubicBezTo>
                  <a:pt x="1083691" y="472987"/>
                  <a:pt x="1086540" y="470917"/>
                  <a:pt x="1089182" y="468591"/>
                </a:cubicBezTo>
                <a:cubicBezTo>
                  <a:pt x="1089182" y="468591"/>
                  <a:pt x="1092300" y="466156"/>
                  <a:pt x="1089925" y="464817"/>
                </a:cubicBezTo>
                <a:cubicBezTo>
                  <a:pt x="1087514" y="463623"/>
                  <a:pt x="1084750" y="463319"/>
                  <a:pt x="1082132" y="463964"/>
                </a:cubicBezTo>
                <a:cubicBezTo>
                  <a:pt x="1079550" y="464622"/>
                  <a:pt x="1077006" y="465438"/>
                  <a:pt x="1074521" y="466399"/>
                </a:cubicBezTo>
                <a:lnTo>
                  <a:pt x="1070868" y="467617"/>
                </a:lnTo>
                <a:cubicBezTo>
                  <a:pt x="1070868" y="467617"/>
                  <a:pt x="1062430" y="474789"/>
                  <a:pt x="1061541" y="477006"/>
                </a:cubicBezTo>
                <a:cubicBezTo>
                  <a:pt x="1061785" y="476969"/>
                  <a:pt x="1060445" y="480573"/>
                  <a:pt x="1067033" y="479283"/>
                </a:cubicBezTo>
                <a:close/>
                <a:moveTo>
                  <a:pt x="1114230" y="462625"/>
                </a:moveTo>
                <a:cubicBezTo>
                  <a:pt x="1120781" y="459642"/>
                  <a:pt x="1127016" y="456037"/>
                  <a:pt x="1132873" y="451848"/>
                </a:cubicBezTo>
                <a:cubicBezTo>
                  <a:pt x="1138353" y="447793"/>
                  <a:pt x="1143564" y="443398"/>
                  <a:pt x="1148471" y="438673"/>
                </a:cubicBezTo>
                <a:cubicBezTo>
                  <a:pt x="1152965" y="434301"/>
                  <a:pt x="1157470" y="429942"/>
                  <a:pt x="1161988" y="425583"/>
                </a:cubicBezTo>
                <a:lnTo>
                  <a:pt x="1154280" y="426801"/>
                </a:lnTo>
                <a:cubicBezTo>
                  <a:pt x="1153294" y="426971"/>
                  <a:pt x="1152332" y="427275"/>
                  <a:pt x="1151430" y="427714"/>
                </a:cubicBezTo>
                <a:lnTo>
                  <a:pt x="1142907" y="431598"/>
                </a:lnTo>
                <a:lnTo>
                  <a:pt x="1136404" y="434581"/>
                </a:lnTo>
                <a:cubicBezTo>
                  <a:pt x="1136404" y="434581"/>
                  <a:pt x="1126882" y="439062"/>
                  <a:pt x="1121792" y="442009"/>
                </a:cubicBezTo>
                <a:cubicBezTo>
                  <a:pt x="1121792" y="442009"/>
                  <a:pt x="1101091" y="453139"/>
                  <a:pt x="1097438" y="463161"/>
                </a:cubicBezTo>
                <a:cubicBezTo>
                  <a:pt x="1097438" y="463161"/>
                  <a:pt x="1095843" y="466521"/>
                  <a:pt x="1100982" y="466509"/>
                </a:cubicBezTo>
                <a:cubicBezTo>
                  <a:pt x="1101030" y="466436"/>
                  <a:pt x="1105061" y="466960"/>
                  <a:pt x="1114291" y="462576"/>
                </a:cubicBezTo>
                <a:close/>
                <a:moveTo>
                  <a:pt x="1035848" y="525129"/>
                </a:moveTo>
                <a:cubicBezTo>
                  <a:pt x="1034959" y="526614"/>
                  <a:pt x="1034070" y="528100"/>
                  <a:pt x="1033193" y="529585"/>
                </a:cubicBezTo>
                <a:cubicBezTo>
                  <a:pt x="1029954" y="534894"/>
                  <a:pt x="1034837" y="534249"/>
                  <a:pt x="1034837" y="534261"/>
                </a:cubicBezTo>
                <a:lnTo>
                  <a:pt x="1042265" y="533567"/>
                </a:lnTo>
                <a:cubicBezTo>
                  <a:pt x="1046843" y="533104"/>
                  <a:pt x="1053480" y="531619"/>
                  <a:pt x="1053480" y="531619"/>
                </a:cubicBezTo>
                <a:cubicBezTo>
                  <a:pt x="1060238" y="529926"/>
                  <a:pt x="1066643" y="527040"/>
                  <a:pt x="1072391" y="523095"/>
                </a:cubicBezTo>
                <a:lnTo>
                  <a:pt x="1077943" y="519332"/>
                </a:lnTo>
                <a:lnTo>
                  <a:pt x="1084032" y="515010"/>
                </a:lnTo>
                <a:cubicBezTo>
                  <a:pt x="1087027" y="512732"/>
                  <a:pt x="1090035" y="510468"/>
                  <a:pt x="1093043" y="508215"/>
                </a:cubicBezTo>
                <a:cubicBezTo>
                  <a:pt x="1105524" y="498632"/>
                  <a:pt x="1106802" y="496732"/>
                  <a:pt x="1106790" y="496720"/>
                </a:cubicBezTo>
                <a:cubicBezTo>
                  <a:pt x="1111807" y="491654"/>
                  <a:pt x="1111089" y="486772"/>
                  <a:pt x="1111089" y="486772"/>
                </a:cubicBezTo>
                <a:cubicBezTo>
                  <a:pt x="1110711" y="485675"/>
                  <a:pt x="1110796" y="484470"/>
                  <a:pt x="1111332" y="483447"/>
                </a:cubicBezTo>
                <a:cubicBezTo>
                  <a:pt x="1111612" y="482875"/>
                  <a:pt x="1111892" y="482302"/>
                  <a:pt x="1112160" y="481730"/>
                </a:cubicBezTo>
                <a:lnTo>
                  <a:pt x="1113828" y="478552"/>
                </a:lnTo>
                <a:cubicBezTo>
                  <a:pt x="1115290" y="476019"/>
                  <a:pt x="1116751" y="473486"/>
                  <a:pt x="1118224" y="470954"/>
                </a:cubicBezTo>
                <a:lnTo>
                  <a:pt x="1112550" y="472926"/>
                </a:lnTo>
                <a:cubicBezTo>
                  <a:pt x="1104464" y="475593"/>
                  <a:pt x="1101384" y="477505"/>
                  <a:pt x="1101384" y="477505"/>
                </a:cubicBezTo>
                <a:cubicBezTo>
                  <a:pt x="1099131" y="478723"/>
                  <a:pt x="1096890" y="479940"/>
                  <a:pt x="1094650" y="481158"/>
                </a:cubicBezTo>
                <a:lnTo>
                  <a:pt x="1083520" y="487356"/>
                </a:lnTo>
                <a:cubicBezTo>
                  <a:pt x="1078357" y="490205"/>
                  <a:pt x="1073206" y="493043"/>
                  <a:pt x="1068068" y="495880"/>
                </a:cubicBezTo>
                <a:cubicBezTo>
                  <a:pt x="1055124" y="503295"/>
                  <a:pt x="1056171" y="508057"/>
                  <a:pt x="1056159" y="508057"/>
                </a:cubicBezTo>
                <a:cubicBezTo>
                  <a:pt x="1056414" y="509116"/>
                  <a:pt x="1056342" y="510236"/>
                  <a:pt x="1055940" y="511259"/>
                </a:cubicBezTo>
                <a:cubicBezTo>
                  <a:pt x="1055526" y="515692"/>
                  <a:pt x="1035897" y="525129"/>
                  <a:pt x="1035909" y="525129"/>
                </a:cubicBezTo>
                <a:close/>
                <a:moveTo>
                  <a:pt x="1136782" y="465645"/>
                </a:moveTo>
                <a:cubicBezTo>
                  <a:pt x="1135418" y="467081"/>
                  <a:pt x="1134066" y="468518"/>
                  <a:pt x="1132702" y="469943"/>
                </a:cubicBezTo>
                <a:lnTo>
                  <a:pt x="1129841" y="473085"/>
                </a:lnTo>
                <a:cubicBezTo>
                  <a:pt x="1128234" y="474875"/>
                  <a:pt x="1127016" y="476981"/>
                  <a:pt x="1126261" y="479270"/>
                </a:cubicBezTo>
                <a:cubicBezTo>
                  <a:pt x="1125981" y="480330"/>
                  <a:pt x="1125956" y="481450"/>
                  <a:pt x="1126188" y="482522"/>
                </a:cubicBezTo>
                <a:cubicBezTo>
                  <a:pt x="1126529" y="483593"/>
                  <a:pt x="1127028" y="484616"/>
                  <a:pt x="1127661" y="485542"/>
                </a:cubicBezTo>
                <a:cubicBezTo>
                  <a:pt x="1127661" y="485542"/>
                  <a:pt x="1129756" y="484324"/>
                  <a:pt x="1133007" y="482656"/>
                </a:cubicBezTo>
                <a:lnTo>
                  <a:pt x="1136051" y="481048"/>
                </a:lnTo>
                <a:cubicBezTo>
                  <a:pt x="1138608" y="479709"/>
                  <a:pt x="1141056" y="478162"/>
                  <a:pt x="1143357" y="476421"/>
                </a:cubicBezTo>
                <a:lnTo>
                  <a:pt x="1145330" y="474899"/>
                </a:lnTo>
                <a:lnTo>
                  <a:pt x="1146548" y="473962"/>
                </a:lnTo>
                <a:lnTo>
                  <a:pt x="1148191" y="472744"/>
                </a:lnTo>
                <a:lnTo>
                  <a:pt x="1150481" y="471173"/>
                </a:lnTo>
                <a:lnTo>
                  <a:pt x="1152222" y="470028"/>
                </a:lnTo>
                <a:cubicBezTo>
                  <a:pt x="1152222" y="470028"/>
                  <a:pt x="1158237" y="466071"/>
                  <a:pt x="1165190" y="462466"/>
                </a:cubicBezTo>
                <a:lnTo>
                  <a:pt x="1169744" y="460031"/>
                </a:lnTo>
                <a:lnTo>
                  <a:pt x="1173799" y="457985"/>
                </a:lnTo>
                <a:cubicBezTo>
                  <a:pt x="1177233" y="456378"/>
                  <a:pt x="1180545" y="454503"/>
                  <a:pt x="1183675" y="452360"/>
                </a:cubicBezTo>
                <a:cubicBezTo>
                  <a:pt x="1183675" y="452360"/>
                  <a:pt x="1188046" y="449267"/>
                  <a:pt x="1189020" y="448524"/>
                </a:cubicBezTo>
                <a:lnTo>
                  <a:pt x="1192929" y="445480"/>
                </a:lnTo>
                <a:lnTo>
                  <a:pt x="1195170" y="443641"/>
                </a:lnTo>
                <a:cubicBezTo>
                  <a:pt x="1195170" y="443641"/>
                  <a:pt x="1197922" y="441315"/>
                  <a:pt x="1199115" y="440268"/>
                </a:cubicBezTo>
                <a:cubicBezTo>
                  <a:pt x="1199115" y="440268"/>
                  <a:pt x="1201733" y="437906"/>
                  <a:pt x="1202439" y="437248"/>
                </a:cubicBezTo>
                <a:cubicBezTo>
                  <a:pt x="1202439" y="437248"/>
                  <a:pt x="1207310" y="432560"/>
                  <a:pt x="1209137" y="430563"/>
                </a:cubicBezTo>
                <a:cubicBezTo>
                  <a:pt x="1209137" y="430563"/>
                  <a:pt x="1211462" y="427982"/>
                  <a:pt x="1211815" y="427543"/>
                </a:cubicBezTo>
                <a:cubicBezTo>
                  <a:pt x="1211815" y="427543"/>
                  <a:pt x="1213471" y="425522"/>
                  <a:pt x="1214312" y="424329"/>
                </a:cubicBezTo>
                <a:lnTo>
                  <a:pt x="1207006" y="427141"/>
                </a:lnTo>
                <a:lnTo>
                  <a:pt x="1204205" y="428225"/>
                </a:lnTo>
                <a:cubicBezTo>
                  <a:pt x="1204205" y="428225"/>
                  <a:pt x="1196424" y="431087"/>
                  <a:pt x="1190141" y="434314"/>
                </a:cubicBezTo>
                <a:lnTo>
                  <a:pt x="1184564" y="437017"/>
                </a:lnTo>
                <a:cubicBezTo>
                  <a:pt x="1181179" y="438685"/>
                  <a:pt x="1177684" y="440110"/>
                  <a:pt x="1174092" y="441279"/>
                </a:cubicBezTo>
                <a:cubicBezTo>
                  <a:pt x="1168782" y="443044"/>
                  <a:pt x="1163656" y="445285"/>
                  <a:pt x="1158761" y="447976"/>
                </a:cubicBezTo>
                <a:cubicBezTo>
                  <a:pt x="1154572" y="450338"/>
                  <a:pt x="1150602" y="453066"/>
                  <a:pt x="1146889" y="456122"/>
                </a:cubicBezTo>
                <a:cubicBezTo>
                  <a:pt x="1143382" y="459118"/>
                  <a:pt x="1140021" y="462296"/>
                  <a:pt x="1136843" y="465645"/>
                </a:cubicBezTo>
                <a:close/>
                <a:moveTo>
                  <a:pt x="1160514" y="441778"/>
                </a:moveTo>
                <a:cubicBezTo>
                  <a:pt x="1165592" y="441206"/>
                  <a:pt x="1170585" y="440073"/>
                  <a:pt x="1175407" y="438393"/>
                </a:cubicBezTo>
                <a:cubicBezTo>
                  <a:pt x="1187060" y="434167"/>
                  <a:pt x="1191480" y="428311"/>
                  <a:pt x="1191480" y="428298"/>
                </a:cubicBezTo>
                <a:cubicBezTo>
                  <a:pt x="1192454" y="426740"/>
                  <a:pt x="1193063" y="424974"/>
                  <a:pt x="1193246" y="423135"/>
                </a:cubicBezTo>
                <a:cubicBezTo>
                  <a:pt x="1193733" y="421820"/>
                  <a:pt x="1192028" y="421455"/>
                  <a:pt x="1192028" y="421455"/>
                </a:cubicBezTo>
                <a:cubicBezTo>
                  <a:pt x="1188643" y="420237"/>
                  <a:pt x="1183212" y="422672"/>
                  <a:pt x="1183212" y="422672"/>
                </a:cubicBezTo>
                <a:cubicBezTo>
                  <a:pt x="1177793" y="425035"/>
                  <a:pt x="1172606" y="427921"/>
                  <a:pt x="1167735" y="431282"/>
                </a:cubicBezTo>
                <a:cubicBezTo>
                  <a:pt x="1157336" y="439002"/>
                  <a:pt x="1155644" y="442046"/>
                  <a:pt x="1155631" y="442046"/>
                </a:cubicBezTo>
                <a:lnTo>
                  <a:pt x="1157507" y="441973"/>
                </a:lnTo>
                <a:cubicBezTo>
                  <a:pt x="1158420" y="441973"/>
                  <a:pt x="1160575" y="441778"/>
                  <a:pt x="1160575" y="441778"/>
                </a:cubicBezTo>
                <a:close/>
                <a:moveTo>
                  <a:pt x="1122669" y="425047"/>
                </a:moveTo>
                <a:cubicBezTo>
                  <a:pt x="1122669" y="425047"/>
                  <a:pt x="1129683" y="423513"/>
                  <a:pt x="1132739" y="422612"/>
                </a:cubicBezTo>
                <a:cubicBezTo>
                  <a:pt x="1139692" y="420663"/>
                  <a:pt x="1146475" y="418155"/>
                  <a:pt x="1153038" y="415135"/>
                </a:cubicBezTo>
                <a:cubicBezTo>
                  <a:pt x="1153038" y="415135"/>
                  <a:pt x="1166749" y="408559"/>
                  <a:pt x="1168941" y="406002"/>
                </a:cubicBezTo>
                <a:cubicBezTo>
                  <a:pt x="1168941" y="406002"/>
                  <a:pt x="1170451" y="404334"/>
                  <a:pt x="1171827" y="402520"/>
                </a:cubicBezTo>
                <a:cubicBezTo>
                  <a:pt x="1171827" y="402520"/>
                  <a:pt x="1173872" y="399768"/>
                  <a:pt x="1174104" y="399610"/>
                </a:cubicBezTo>
                <a:lnTo>
                  <a:pt x="1170828" y="399756"/>
                </a:lnTo>
                <a:cubicBezTo>
                  <a:pt x="1168782" y="399756"/>
                  <a:pt x="1166749" y="399963"/>
                  <a:pt x="1164740" y="400364"/>
                </a:cubicBezTo>
                <a:cubicBezTo>
                  <a:pt x="1164740" y="400364"/>
                  <a:pt x="1158992" y="401984"/>
                  <a:pt x="1155571" y="403080"/>
                </a:cubicBezTo>
                <a:cubicBezTo>
                  <a:pt x="1152648" y="404030"/>
                  <a:pt x="1149713" y="404967"/>
                  <a:pt x="1146791" y="405929"/>
                </a:cubicBezTo>
                <a:lnTo>
                  <a:pt x="1140569" y="408024"/>
                </a:lnTo>
                <a:lnTo>
                  <a:pt x="1137939" y="408913"/>
                </a:lnTo>
                <a:cubicBezTo>
                  <a:pt x="1135734" y="409656"/>
                  <a:pt x="1133591" y="410569"/>
                  <a:pt x="1131534" y="411640"/>
                </a:cubicBezTo>
                <a:lnTo>
                  <a:pt x="1129524" y="412602"/>
                </a:lnTo>
                <a:lnTo>
                  <a:pt x="1127211" y="413820"/>
                </a:lnTo>
                <a:lnTo>
                  <a:pt x="1125786" y="414526"/>
                </a:lnTo>
                <a:cubicBezTo>
                  <a:pt x="1124921" y="414977"/>
                  <a:pt x="1124106" y="415513"/>
                  <a:pt x="1123351" y="416121"/>
                </a:cubicBezTo>
                <a:lnTo>
                  <a:pt x="1121134" y="418021"/>
                </a:lnTo>
                <a:cubicBezTo>
                  <a:pt x="1121134" y="418021"/>
                  <a:pt x="1119612" y="419385"/>
                  <a:pt x="1119247" y="419738"/>
                </a:cubicBezTo>
                <a:cubicBezTo>
                  <a:pt x="1119247" y="419738"/>
                  <a:pt x="1117165" y="421637"/>
                  <a:pt x="1117530" y="422575"/>
                </a:cubicBezTo>
                <a:lnTo>
                  <a:pt x="1117944" y="423294"/>
                </a:lnTo>
                <a:cubicBezTo>
                  <a:pt x="1119186" y="424548"/>
                  <a:pt x="1120915" y="425193"/>
                  <a:pt x="1122669" y="425047"/>
                </a:cubicBezTo>
                <a:close/>
                <a:moveTo>
                  <a:pt x="1176710" y="414964"/>
                </a:moveTo>
                <a:cubicBezTo>
                  <a:pt x="1195559" y="417132"/>
                  <a:pt x="1219146" y="396444"/>
                  <a:pt x="1219170" y="396456"/>
                </a:cubicBezTo>
                <a:cubicBezTo>
                  <a:pt x="1189715" y="398343"/>
                  <a:pt x="1176661" y="414989"/>
                  <a:pt x="1176685" y="414964"/>
                </a:cubicBezTo>
                <a:close/>
                <a:moveTo>
                  <a:pt x="1205569" y="391828"/>
                </a:moveTo>
                <a:cubicBezTo>
                  <a:pt x="1205569" y="391828"/>
                  <a:pt x="1212083" y="390903"/>
                  <a:pt x="1226562" y="384328"/>
                </a:cubicBezTo>
                <a:cubicBezTo>
                  <a:pt x="1228315" y="383597"/>
                  <a:pt x="1229947" y="382635"/>
                  <a:pt x="1231432" y="381454"/>
                </a:cubicBezTo>
                <a:cubicBezTo>
                  <a:pt x="1231432" y="381454"/>
                  <a:pt x="1234647" y="378824"/>
                  <a:pt x="1234976" y="376741"/>
                </a:cubicBezTo>
                <a:cubicBezTo>
                  <a:pt x="1234976" y="376741"/>
                  <a:pt x="1234075" y="374659"/>
                  <a:pt x="1229971" y="375280"/>
                </a:cubicBezTo>
                <a:cubicBezTo>
                  <a:pt x="1224565" y="376303"/>
                  <a:pt x="1219243" y="377752"/>
                  <a:pt x="1214056" y="379591"/>
                </a:cubicBezTo>
                <a:cubicBezTo>
                  <a:pt x="1209709" y="381137"/>
                  <a:pt x="1205483" y="382988"/>
                  <a:pt x="1201392" y="385119"/>
                </a:cubicBezTo>
                <a:cubicBezTo>
                  <a:pt x="1201392" y="385119"/>
                  <a:pt x="1195852" y="387993"/>
                  <a:pt x="1193708" y="389417"/>
                </a:cubicBezTo>
                <a:cubicBezTo>
                  <a:pt x="1193331" y="389722"/>
                  <a:pt x="1193039" y="390099"/>
                  <a:pt x="1192832" y="390526"/>
                </a:cubicBezTo>
                <a:cubicBezTo>
                  <a:pt x="1192710" y="390781"/>
                  <a:pt x="1192576" y="391037"/>
                  <a:pt x="1192442" y="391305"/>
                </a:cubicBezTo>
                <a:lnTo>
                  <a:pt x="1191821" y="392449"/>
                </a:lnTo>
                <a:cubicBezTo>
                  <a:pt x="1196387" y="393095"/>
                  <a:pt x="1201039" y="392925"/>
                  <a:pt x="1205544" y="391950"/>
                </a:cubicBezTo>
                <a:close/>
                <a:moveTo>
                  <a:pt x="1226805" y="395896"/>
                </a:moveTo>
                <a:lnTo>
                  <a:pt x="1224662" y="399549"/>
                </a:lnTo>
                <a:cubicBezTo>
                  <a:pt x="1224662" y="399549"/>
                  <a:pt x="1223444" y="402447"/>
                  <a:pt x="1218902" y="406465"/>
                </a:cubicBezTo>
                <a:lnTo>
                  <a:pt x="1216370" y="408426"/>
                </a:lnTo>
                <a:cubicBezTo>
                  <a:pt x="1215335" y="409144"/>
                  <a:pt x="1214470" y="410069"/>
                  <a:pt x="1213849" y="411165"/>
                </a:cubicBezTo>
                <a:lnTo>
                  <a:pt x="1212169" y="413601"/>
                </a:lnTo>
                <a:cubicBezTo>
                  <a:pt x="1215712" y="413905"/>
                  <a:pt x="1219280" y="413442"/>
                  <a:pt x="1222628" y="412225"/>
                </a:cubicBezTo>
                <a:cubicBezTo>
                  <a:pt x="1222628" y="412225"/>
                  <a:pt x="1226111" y="411007"/>
                  <a:pt x="1229935" y="409083"/>
                </a:cubicBezTo>
                <a:lnTo>
                  <a:pt x="1235426" y="406404"/>
                </a:lnTo>
                <a:cubicBezTo>
                  <a:pt x="1235426" y="406404"/>
                  <a:pt x="1252194" y="398429"/>
                  <a:pt x="1261680" y="394641"/>
                </a:cubicBezTo>
                <a:cubicBezTo>
                  <a:pt x="1261680" y="394641"/>
                  <a:pt x="1296359" y="381819"/>
                  <a:pt x="1296469" y="381831"/>
                </a:cubicBezTo>
                <a:cubicBezTo>
                  <a:pt x="1309340" y="377886"/>
                  <a:pt x="1330235" y="367938"/>
                  <a:pt x="1334010" y="366001"/>
                </a:cubicBezTo>
                <a:cubicBezTo>
                  <a:pt x="1334010" y="366001"/>
                  <a:pt x="1351752" y="356966"/>
                  <a:pt x="1361396" y="350866"/>
                </a:cubicBezTo>
                <a:cubicBezTo>
                  <a:pt x="1361396" y="350866"/>
                  <a:pt x="1371697" y="344485"/>
                  <a:pt x="1374790" y="338494"/>
                </a:cubicBezTo>
                <a:cubicBezTo>
                  <a:pt x="1375838" y="336692"/>
                  <a:pt x="1376239" y="334573"/>
                  <a:pt x="1375911" y="332515"/>
                </a:cubicBezTo>
                <a:cubicBezTo>
                  <a:pt x="1375911" y="332515"/>
                  <a:pt x="1365585" y="334268"/>
                  <a:pt x="1351070" y="340917"/>
                </a:cubicBezTo>
                <a:cubicBezTo>
                  <a:pt x="1346844" y="342853"/>
                  <a:pt x="1342619" y="344802"/>
                  <a:pt x="1338406" y="346762"/>
                </a:cubicBezTo>
                <a:cubicBezTo>
                  <a:pt x="1333304" y="349112"/>
                  <a:pt x="1328202" y="351475"/>
                  <a:pt x="1323112" y="353861"/>
                </a:cubicBezTo>
                <a:cubicBezTo>
                  <a:pt x="1317510" y="356455"/>
                  <a:pt x="1311909" y="359073"/>
                  <a:pt x="1306320" y="361703"/>
                </a:cubicBezTo>
                <a:cubicBezTo>
                  <a:pt x="1301534" y="363944"/>
                  <a:pt x="1296749" y="366196"/>
                  <a:pt x="1291963" y="368449"/>
                </a:cubicBezTo>
                <a:lnTo>
                  <a:pt x="1284207" y="372102"/>
                </a:lnTo>
                <a:lnTo>
                  <a:pt x="1281150" y="373551"/>
                </a:lnTo>
                <a:cubicBezTo>
                  <a:pt x="1281150" y="373551"/>
                  <a:pt x="1270264" y="379055"/>
                  <a:pt x="1262142" y="379226"/>
                </a:cubicBezTo>
                <a:cubicBezTo>
                  <a:pt x="1254593" y="379116"/>
                  <a:pt x="1247165" y="381064"/>
                  <a:pt x="1240650" y="384863"/>
                </a:cubicBezTo>
                <a:cubicBezTo>
                  <a:pt x="1240650" y="384863"/>
                  <a:pt x="1231688" y="389685"/>
                  <a:pt x="1226781" y="395957"/>
                </a:cubicBezTo>
                <a:close/>
                <a:moveTo>
                  <a:pt x="1275513" y="354494"/>
                </a:moveTo>
                <a:cubicBezTo>
                  <a:pt x="1287580" y="350379"/>
                  <a:pt x="1291062" y="348308"/>
                  <a:pt x="1291062" y="348296"/>
                </a:cubicBezTo>
                <a:lnTo>
                  <a:pt x="1294253" y="346616"/>
                </a:lnTo>
                <a:lnTo>
                  <a:pt x="1302460" y="342172"/>
                </a:lnTo>
                <a:cubicBezTo>
                  <a:pt x="1314710" y="335498"/>
                  <a:pt x="1326984" y="328899"/>
                  <a:pt x="1339295" y="322360"/>
                </a:cubicBezTo>
                <a:cubicBezTo>
                  <a:pt x="1344981" y="319340"/>
                  <a:pt x="1350656" y="316332"/>
                  <a:pt x="1356342" y="313324"/>
                </a:cubicBezTo>
                <a:lnTo>
                  <a:pt x="1363868" y="309379"/>
                </a:lnTo>
                <a:cubicBezTo>
                  <a:pt x="1368738" y="306810"/>
                  <a:pt x="1369554" y="306481"/>
                  <a:pt x="1369542" y="306481"/>
                </a:cubicBezTo>
                <a:cubicBezTo>
                  <a:pt x="1370626" y="306079"/>
                  <a:pt x="1371612" y="305458"/>
                  <a:pt x="1372452" y="304667"/>
                </a:cubicBezTo>
                <a:cubicBezTo>
                  <a:pt x="1376373" y="301245"/>
                  <a:pt x="1376471" y="300332"/>
                  <a:pt x="1376471" y="300332"/>
                </a:cubicBezTo>
                <a:cubicBezTo>
                  <a:pt x="1376799" y="297896"/>
                  <a:pt x="1370468" y="298603"/>
                  <a:pt x="1370468" y="298603"/>
                </a:cubicBezTo>
                <a:lnTo>
                  <a:pt x="1362090" y="299686"/>
                </a:lnTo>
                <a:cubicBezTo>
                  <a:pt x="1348866" y="301610"/>
                  <a:pt x="1340805" y="303449"/>
                  <a:pt x="1340805" y="303449"/>
                </a:cubicBezTo>
                <a:cubicBezTo>
                  <a:pt x="1316902" y="308502"/>
                  <a:pt x="1307623" y="315906"/>
                  <a:pt x="1307623" y="315894"/>
                </a:cubicBezTo>
                <a:cubicBezTo>
                  <a:pt x="1296907" y="322883"/>
                  <a:pt x="1286216" y="329922"/>
                  <a:pt x="1275561" y="336996"/>
                </a:cubicBezTo>
                <a:cubicBezTo>
                  <a:pt x="1269802" y="340844"/>
                  <a:pt x="1264042" y="344704"/>
                  <a:pt x="1258294" y="348588"/>
                </a:cubicBezTo>
                <a:cubicBezTo>
                  <a:pt x="1249978" y="355383"/>
                  <a:pt x="1264200" y="356382"/>
                  <a:pt x="1264188" y="356394"/>
                </a:cubicBezTo>
                <a:cubicBezTo>
                  <a:pt x="1268036" y="356309"/>
                  <a:pt x="1271847" y="355688"/>
                  <a:pt x="1275525" y="354567"/>
                </a:cubicBezTo>
                <a:close/>
                <a:moveTo>
                  <a:pt x="1362053" y="292770"/>
                </a:moveTo>
                <a:cubicBezTo>
                  <a:pt x="1371125" y="291443"/>
                  <a:pt x="1384057" y="286949"/>
                  <a:pt x="1384045" y="286949"/>
                </a:cubicBezTo>
                <a:cubicBezTo>
                  <a:pt x="1397829" y="282444"/>
                  <a:pt x="1399168" y="282225"/>
                  <a:pt x="1399168" y="282212"/>
                </a:cubicBezTo>
                <a:cubicBezTo>
                  <a:pt x="1397378" y="283881"/>
                  <a:pt x="1395674" y="285646"/>
                  <a:pt x="1394066" y="287485"/>
                </a:cubicBezTo>
                <a:cubicBezTo>
                  <a:pt x="1391448" y="290286"/>
                  <a:pt x="1393567" y="291832"/>
                  <a:pt x="1393567" y="291832"/>
                </a:cubicBezTo>
                <a:cubicBezTo>
                  <a:pt x="1394066" y="292295"/>
                  <a:pt x="1394566" y="292770"/>
                  <a:pt x="1395065" y="293220"/>
                </a:cubicBezTo>
                <a:cubicBezTo>
                  <a:pt x="1393847" y="294365"/>
                  <a:pt x="1392629" y="295510"/>
                  <a:pt x="1391412" y="296642"/>
                </a:cubicBezTo>
                <a:cubicBezTo>
                  <a:pt x="1388367" y="299431"/>
                  <a:pt x="1382547" y="303778"/>
                  <a:pt x="1382547" y="303778"/>
                </a:cubicBezTo>
                <a:lnTo>
                  <a:pt x="1376459" y="307991"/>
                </a:lnTo>
                <a:lnTo>
                  <a:pt x="1372708" y="310426"/>
                </a:lnTo>
                <a:cubicBezTo>
                  <a:pt x="1363868" y="315760"/>
                  <a:pt x="1354662" y="320460"/>
                  <a:pt x="1345152" y="324479"/>
                </a:cubicBezTo>
                <a:lnTo>
                  <a:pt x="1340659" y="326366"/>
                </a:lnTo>
                <a:cubicBezTo>
                  <a:pt x="1328762" y="331334"/>
                  <a:pt x="1327033" y="333988"/>
                  <a:pt x="1327033" y="333976"/>
                </a:cubicBezTo>
                <a:lnTo>
                  <a:pt x="1324171" y="336668"/>
                </a:lnTo>
                <a:cubicBezTo>
                  <a:pt x="1317657" y="342476"/>
                  <a:pt x="1303982" y="349405"/>
                  <a:pt x="1303994" y="349405"/>
                </a:cubicBezTo>
                <a:cubicBezTo>
                  <a:pt x="1301936" y="350525"/>
                  <a:pt x="1299878" y="351657"/>
                  <a:pt x="1297845" y="352790"/>
                </a:cubicBezTo>
                <a:cubicBezTo>
                  <a:pt x="1296286" y="353703"/>
                  <a:pt x="1294728" y="354628"/>
                  <a:pt x="1293169" y="355566"/>
                </a:cubicBezTo>
                <a:lnTo>
                  <a:pt x="1287397" y="359389"/>
                </a:lnTo>
                <a:lnTo>
                  <a:pt x="1281930" y="363323"/>
                </a:lnTo>
                <a:lnTo>
                  <a:pt x="1278350" y="366014"/>
                </a:lnTo>
                <a:cubicBezTo>
                  <a:pt x="1276767" y="367207"/>
                  <a:pt x="1275500" y="368778"/>
                  <a:pt x="1274697" y="370592"/>
                </a:cubicBezTo>
                <a:lnTo>
                  <a:pt x="1272943" y="373624"/>
                </a:lnTo>
                <a:lnTo>
                  <a:pt x="1278070" y="371712"/>
                </a:lnTo>
                <a:cubicBezTo>
                  <a:pt x="1287129" y="368327"/>
                  <a:pt x="1300451" y="362385"/>
                  <a:pt x="1300451" y="362397"/>
                </a:cubicBezTo>
                <a:cubicBezTo>
                  <a:pt x="1307891" y="359109"/>
                  <a:pt x="1328457" y="348917"/>
                  <a:pt x="1328457" y="348929"/>
                </a:cubicBezTo>
                <a:cubicBezTo>
                  <a:pt x="1342181" y="342050"/>
                  <a:pt x="1348537" y="339079"/>
                  <a:pt x="1348537" y="339079"/>
                </a:cubicBezTo>
                <a:cubicBezTo>
                  <a:pt x="1360288" y="333380"/>
                  <a:pt x="1372599" y="329008"/>
                  <a:pt x="1372586" y="328996"/>
                </a:cubicBezTo>
                <a:cubicBezTo>
                  <a:pt x="1387357" y="324405"/>
                  <a:pt x="1403942" y="315943"/>
                  <a:pt x="1403942" y="315943"/>
                </a:cubicBezTo>
                <a:cubicBezTo>
                  <a:pt x="1423839" y="307419"/>
                  <a:pt x="1424642" y="300916"/>
                  <a:pt x="1424642" y="300904"/>
                </a:cubicBezTo>
                <a:cubicBezTo>
                  <a:pt x="1425738" y="299260"/>
                  <a:pt x="1427199" y="297896"/>
                  <a:pt x="1428916" y="296922"/>
                </a:cubicBezTo>
                <a:lnTo>
                  <a:pt x="1433105" y="294487"/>
                </a:lnTo>
                <a:cubicBezTo>
                  <a:pt x="1455438" y="281239"/>
                  <a:pt x="1469904" y="273786"/>
                  <a:pt x="1469904" y="273786"/>
                </a:cubicBezTo>
                <a:cubicBezTo>
                  <a:pt x="1483444" y="266480"/>
                  <a:pt x="1487317" y="264179"/>
                  <a:pt x="1487317" y="264179"/>
                </a:cubicBezTo>
                <a:cubicBezTo>
                  <a:pt x="1492467" y="261183"/>
                  <a:pt x="1497630" y="258188"/>
                  <a:pt x="1502806" y="255204"/>
                </a:cubicBezTo>
                <a:cubicBezTo>
                  <a:pt x="1514508" y="248434"/>
                  <a:pt x="1526611" y="242382"/>
                  <a:pt x="1539056" y="237073"/>
                </a:cubicBezTo>
                <a:lnTo>
                  <a:pt x="1551744" y="231179"/>
                </a:lnTo>
                <a:cubicBezTo>
                  <a:pt x="1562496" y="226163"/>
                  <a:pt x="1587495" y="213998"/>
                  <a:pt x="1587508" y="214034"/>
                </a:cubicBezTo>
                <a:cubicBezTo>
                  <a:pt x="1593499" y="211063"/>
                  <a:pt x="1628726" y="193760"/>
                  <a:pt x="1628751" y="193797"/>
                </a:cubicBezTo>
                <a:cubicBezTo>
                  <a:pt x="1636970" y="189778"/>
                  <a:pt x="1645214" y="185784"/>
                  <a:pt x="1653470" y="181802"/>
                </a:cubicBezTo>
                <a:cubicBezTo>
                  <a:pt x="1656490" y="180024"/>
                  <a:pt x="1692825" y="163671"/>
                  <a:pt x="1692850" y="163720"/>
                </a:cubicBezTo>
                <a:cubicBezTo>
                  <a:pt x="1697282" y="161747"/>
                  <a:pt x="1701727" y="159787"/>
                  <a:pt x="1706171" y="157826"/>
                </a:cubicBezTo>
                <a:lnTo>
                  <a:pt x="1714597" y="154100"/>
                </a:lnTo>
                <a:cubicBezTo>
                  <a:pt x="1717069" y="152992"/>
                  <a:pt x="1719468" y="151738"/>
                  <a:pt x="1721782" y="150350"/>
                </a:cubicBezTo>
                <a:lnTo>
                  <a:pt x="1723767" y="149241"/>
                </a:lnTo>
                <a:lnTo>
                  <a:pt x="1721660" y="148791"/>
                </a:lnTo>
                <a:cubicBezTo>
                  <a:pt x="1721307" y="148730"/>
                  <a:pt x="1720954" y="148730"/>
                  <a:pt x="1720601" y="148791"/>
                </a:cubicBezTo>
                <a:lnTo>
                  <a:pt x="1707109" y="151336"/>
                </a:lnTo>
                <a:cubicBezTo>
                  <a:pt x="1688247" y="155184"/>
                  <a:pt x="1669750" y="160688"/>
                  <a:pt x="1651850" y="167774"/>
                </a:cubicBezTo>
                <a:lnTo>
                  <a:pt x="1641122" y="172244"/>
                </a:lnTo>
                <a:lnTo>
                  <a:pt x="1625938" y="178466"/>
                </a:lnTo>
                <a:cubicBezTo>
                  <a:pt x="1601852" y="189060"/>
                  <a:pt x="1560901" y="200616"/>
                  <a:pt x="1560901" y="200664"/>
                </a:cubicBezTo>
                <a:cubicBezTo>
                  <a:pt x="1538764" y="207337"/>
                  <a:pt x="1531604" y="210041"/>
                  <a:pt x="1531592" y="210028"/>
                </a:cubicBezTo>
                <a:cubicBezTo>
                  <a:pt x="1504924" y="219015"/>
                  <a:pt x="1472071" y="233615"/>
                  <a:pt x="1472071" y="233639"/>
                </a:cubicBezTo>
                <a:cubicBezTo>
                  <a:pt x="1447535" y="244891"/>
                  <a:pt x="1435991" y="251016"/>
                  <a:pt x="1435991" y="250979"/>
                </a:cubicBezTo>
                <a:lnTo>
                  <a:pt x="1425787" y="256239"/>
                </a:lnTo>
                <a:lnTo>
                  <a:pt x="1411832" y="263485"/>
                </a:lnTo>
                <a:cubicBezTo>
                  <a:pt x="1399314" y="269999"/>
                  <a:pt x="1387941" y="275381"/>
                  <a:pt x="1387941" y="275381"/>
                </a:cubicBezTo>
                <a:cubicBezTo>
                  <a:pt x="1385177" y="276904"/>
                  <a:pt x="1370955" y="283016"/>
                  <a:pt x="1370955" y="283029"/>
                </a:cubicBezTo>
                <a:cubicBezTo>
                  <a:pt x="1367606" y="284271"/>
                  <a:pt x="1364343" y="285756"/>
                  <a:pt x="1361213" y="287473"/>
                </a:cubicBezTo>
                <a:lnTo>
                  <a:pt x="1357974" y="289263"/>
                </a:lnTo>
                <a:lnTo>
                  <a:pt x="1354711" y="291126"/>
                </a:lnTo>
                <a:lnTo>
                  <a:pt x="1350668" y="293367"/>
                </a:lnTo>
                <a:cubicBezTo>
                  <a:pt x="1354479" y="293647"/>
                  <a:pt x="1358303" y="293476"/>
                  <a:pt x="1362066" y="292843"/>
                </a:cubicBezTo>
                <a:close/>
                <a:moveTo>
                  <a:pt x="2147618" y="155707"/>
                </a:moveTo>
                <a:lnTo>
                  <a:pt x="2150054" y="154636"/>
                </a:lnTo>
                <a:cubicBezTo>
                  <a:pt x="2150054" y="154636"/>
                  <a:pt x="2154693" y="152359"/>
                  <a:pt x="2163667" y="148973"/>
                </a:cubicBezTo>
                <a:lnTo>
                  <a:pt x="2169878" y="146648"/>
                </a:lnTo>
                <a:lnTo>
                  <a:pt x="2174967" y="144736"/>
                </a:lnTo>
                <a:lnTo>
                  <a:pt x="2176624" y="144091"/>
                </a:lnTo>
                <a:lnTo>
                  <a:pt x="2177671" y="143652"/>
                </a:lnTo>
                <a:cubicBezTo>
                  <a:pt x="2177671" y="143652"/>
                  <a:pt x="2181774" y="142337"/>
                  <a:pt x="2181263" y="139658"/>
                </a:cubicBezTo>
                <a:cubicBezTo>
                  <a:pt x="2181092" y="138708"/>
                  <a:pt x="2180910" y="137771"/>
                  <a:pt x="2180727" y="136821"/>
                </a:cubicBezTo>
                <a:lnTo>
                  <a:pt x="2192673" y="134069"/>
                </a:lnTo>
                <a:cubicBezTo>
                  <a:pt x="2192673" y="134069"/>
                  <a:pt x="2201489" y="132169"/>
                  <a:pt x="2203157" y="129198"/>
                </a:cubicBezTo>
                <a:cubicBezTo>
                  <a:pt x="2203157" y="129198"/>
                  <a:pt x="2205738" y="123792"/>
                  <a:pt x="2200600" y="120675"/>
                </a:cubicBezTo>
                <a:cubicBezTo>
                  <a:pt x="2200600" y="120675"/>
                  <a:pt x="2198286" y="118446"/>
                  <a:pt x="2185513" y="117777"/>
                </a:cubicBezTo>
                <a:cubicBezTo>
                  <a:pt x="2182761" y="117618"/>
                  <a:pt x="2180009" y="117618"/>
                  <a:pt x="2177257" y="117777"/>
                </a:cubicBezTo>
                <a:cubicBezTo>
                  <a:pt x="2174614" y="117862"/>
                  <a:pt x="2171972" y="117630"/>
                  <a:pt x="2169378" y="117082"/>
                </a:cubicBezTo>
                <a:cubicBezTo>
                  <a:pt x="2168356" y="116754"/>
                  <a:pt x="2167418" y="116206"/>
                  <a:pt x="2166626" y="115475"/>
                </a:cubicBezTo>
                <a:cubicBezTo>
                  <a:pt x="2166626" y="115475"/>
                  <a:pt x="2180837" y="109557"/>
                  <a:pt x="2191236" y="107292"/>
                </a:cubicBezTo>
                <a:cubicBezTo>
                  <a:pt x="2191236" y="107292"/>
                  <a:pt x="2197227" y="105904"/>
                  <a:pt x="2201830" y="105015"/>
                </a:cubicBezTo>
                <a:cubicBezTo>
                  <a:pt x="2206079" y="104370"/>
                  <a:pt x="2210244" y="103335"/>
                  <a:pt x="2214299" y="101910"/>
                </a:cubicBezTo>
                <a:cubicBezTo>
                  <a:pt x="2214299" y="101910"/>
                  <a:pt x="2232223" y="96479"/>
                  <a:pt x="2247395" y="86397"/>
                </a:cubicBezTo>
                <a:cubicBezTo>
                  <a:pt x="2249234" y="84887"/>
                  <a:pt x="2251048" y="83389"/>
                  <a:pt x="2252948" y="81879"/>
                </a:cubicBezTo>
                <a:lnTo>
                  <a:pt x="2256711" y="79091"/>
                </a:lnTo>
                <a:cubicBezTo>
                  <a:pt x="2256711" y="79091"/>
                  <a:pt x="2259146" y="77179"/>
                  <a:pt x="2259451" y="76874"/>
                </a:cubicBezTo>
                <a:lnTo>
                  <a:pt x="2260279" y="76059"/>
                </a:lnTo>
                <a:cubicBezTo>
                  <a:pt x="2260279" y="76059"/>
                  <a:pt x="2264175" y="73063"/>
                  <a:pt x="2258635" y="68753"/>
                </a:cubicBezTo>
                <a:lnTo>
                  <a:pt x="2256406" y="66950"/>
                </a:lnTo>
                <a:cubicBezTo>
                  <a:pt x="2256406" y="66950"/>
                  <a:pt x="2254263" y="65148"/>
                  <a:pt x="2253618" y="64515"/>
                </a:cubicBezTo>
                <a:lnTo>
                  <a:pt x="2256224" y="63736"/>
                </a:lnTo>
                <a:lnTo>
                  <a:pt x="2259463" y="62774"/>
                </a:lnTo>
                <a:lnTo>
                  <a:pt x="2261594" y="62189"/>
                </a:lnTo>
                <a:lnTo>
                  <a:pt x="2263396" y="61726"/>
                </a:lnTo>
                <a:cubicBezTo>
                  <a:pt x="2263396" y="61726"/>
                  <a:pt x="2273332" y="59449"/>
                  <a:pt x="2275841" y="57124"/>
                </a:cubicBezTo>
                <a:cubicBezTo>
                  <a:pt x="2275841" y="57124"/>
                  <a:pt x="2278617" y="54786"/>
                  <a:pt x="2277801" y="52606"/>
                </a:cubicBezTo>
                <a:cubicBezTo>
                  <a:pt x="2277801" y="52606"/>
                  <a:pt x="2277691" y="50499"/>
                  <a:pt x="2269813" y="50073"/>
                </a:cubicBezTo>
                <a:cubicBezTo>
                  <a:pt x="2267317" y="49939"/>
                  <a:pt x="2264833" y="49671"/>
                  <a:pt x="2262361" y="49282"/>
                </a:cubicBezTo>
                <a:lnTo>
                  <a:pt x="2269509" y="45495"/>
                </a:lnTo>
                <a:lnTo>
                  <a:pt x="2274939" y="42609"/>
                </a:lnTo>
                <a:cubicBezTo>
                  <a:pt x="2274939" y="42609"/>
                  <a:pt x="2290964" y="33817"/>
                  <a:pt x="2301278" y="30870"/>
                </a:cubicBezTo>
                <a:cubicBezTo>
                  <a:pt x="2313114" y="27059"/>
                  <a:pt x="2324962" y="23296"/>
                  <a:pt x="2336834" y="19594"/>
                </a:cubicBezTo>
                <a:lnTo>
                  <a:pt x="2352104" y="15004"/>
                </a:lnTo>
                <a:cubicBezTo>
                  <a:pt x="2355672" y="13969"/>
                  <a:pt x="2359240" y="12934"/>
                  <a:pt x="2362795" y="11923"/>
                </a:cubicBezTo>
                <a:lnTo>
                  <a:pt x="2377286" y="7820"/>
                </a:lnTo>
                <a:lnTo>
                  <a:pt x="2383265" y="6102"/>
                </a:lnTo>
                <a:lnTo>
                  <a:pt x="2387015" y="5019"/>
                </a:lnTo>
                <a:cubicBezTo>
                  <a:pt x="2388489" y="4593"/>
                  <a:pt x="2389913" y="3996"/>
                  <a:pt x="2391241" y="3229"/>
                </a:cubicBezTo>
                <a:cubicBezTo>
                  <a:pt x="2393104" y="2084"/>
                  <a:pt x="2393846" y="1597"/>
                  <a:pt x="2393846" y="1609"/>
                </a:cubicBezTo>
                <a:lnTo>
                  <a:pt x="2395210" y="781"/>
                </a:lnTo>
                <a:lnTo>
                  <a:pt x="2396197" y="221"/>
                </a:lnTo>
                <a:cubicBezTo>
                  <a:pt x="2390522" y="-132"/>
                  <a:pt x="2384823" y="-59"/>
                  <a:pt x="2379149" y="416"/>
                </a:cubicBezTo>
                <a:cubicBezTo>
                  <a:pt x="2379149" y="416"/>
                  <a:pt x="2371404" y="927"/>
                  <a:pt x="2357231" y="3363"/>
                </a:cubicBezTo>
                <a:lnTo>
                  <a:pt x="2346844" y="5177"/>
                </a:lnTo>
                <a:lnTo>
                  <a:pt x="2340999" y="6151"/>
                </a:lnTo>
                <a:lnTo>
                  <a:pt x="2337346" y="6711"/>
                </a:lnTo>
                <a:lnTo>
                  <a:pt x="2333035" y="7308"/>
                </a:lnTo>
                <a:lnTo>
                  <a:pt x="2324865" y="8416"/>
                </a:lnTo>
                <a:cubicBezTo>
                  <a:pt x="2318325" y="9342"/>
                  <a:pt x="2311787" y="10279"/>
                  <a:pt x="2305272" y="11217"/>
                </a:cubicBezTo>
                <a:cubicBezTo>
                  <a:pt x="2299585" y="12033"/>
                  <a:pt x="2293875" y="12885"/>
                  <a:pt x="2288127" y="13798"/>
                </a:cubicBezTo>
                <a:lnTo>
                  <a:pt x="2273880" y="15978"/>
                </a:lnTo>
                <a:cubicBezTo>
                  <a:pt x="2273880" y="15978"/>
                  <a:pt x="2274355" y="14212"/>
                  <a:pt x="2271627" y="13543"/>
                </a:cubicBezTo>
                <a:cubicBezTo>
                  <a:pt x="2271627" y="13543"/>
                  <a:pt x="2269801" y="12544"/>
                  <a:pt x="2255968" y="13421"/>
                </a:cubicBezTo>
                <a:cubicBezTo>
                  <a:pt x="2255968" y="13421"/>
                  <a:pt x="2243243" y="13969"/>
                  <a:pt x="2227693" y="15503"/>
                </a:cubicBezTo>
                <a:cubicBezTo>
                  <a:pt x="2227693" y="15503"/>
                  <a:pt x="2210427" y="17025"/>
                  <a:pt x="2188423" y="20654"/>
                </a:cubicBezTo>
                <a:cubicBezTo>
                  <a:pt x="2188423" y="20654"/>
                  <a:pt x="2170986" y="23199"/>
                  <a:pt x="2141822" y="29896"/>
                </a:cubicBezTo>
                <a:cubicBezTo>
                  <a:pt x="2141822" y="29896"/>
                  <a:pt x="2125895" y="33708"/>
                  <a:pt x="2116153" y="36325"/>
                </a:cubicBezTo>
                <a:cubicBezTo>
                  <a:pt x="2114619" y="36727"/>
                  <a:pt x="2113085" y="37153"/>
                  <a:pt x="2111551" y="37543"/>
                </a:cubicBezTo>
                <a:lnTo>
                  <a:pt x="2101809" y="40125"/>
                </a:lnTo>
                <a:lnTo>
                  <a:pt x="2094503" y="42012"/>
                </a:lnTo>
                <a:lnTo>
                  <a:pt x="2085054" y="44448"/>
                </a:lnTo>
                <a:lnTo>
                  <a:pt x="2079038" y="45945"/>
                </a:lnTo>
                <a:lnTo>
                  <a:pt x="2068286" y="48624"/>
                </a:lnTo>
                <a:lnTo>
                  <a:pt x="2060188" y="50633"/>
                </a:lnTo>
                <a:lnTo>
                  <a:pt x="2052493" y="52509"/>
                </a:lnTo>
                <a:lnTo>
                  <a:pt x="2044359" y="54469"/>
                </a:lnTo>
                <a:lnTo>
                  <a:pt x="2038952" y="55760"/>
                </a:lnTo>
                <a:lnTo>
                  <a:pt x="2027774" y="58475"/>
                </a:lnTo>
                <a:lnTo>
                  <a:pt x="2020468" y="60289"/>
                </a:lnTo>
                <a:lnTo>
                  <a:pt x="2014318" y="61860"/>
                </a:lnTo>
                <a:cubicBezTo>
                  <a:pt x="2014318" y="61860"/>
                  <a:pt x="2000717" y="65306"/>
                  <a:pt x="1986032" y="69897"/>
                </a:cubicBezTo>
                <a:lnTo>
                  <a:pt x="1979505" y="71967"/>
                </a:lnTo>
                <a:lnTo>
                  <a:pt x="1969130" y="75218"/>
                </a:lnTo>
                <a:lnTo>
                  <a:pt x="1956356" y="79152"/>
                </a:lnTo>
                <a:cubicBezTo>
                  <a:pt x="1951486" y="80625"/>
                  <a:pt x="1946615" y="82111"/>
                  <a:pt x="1941744" y="83596"/>
                </a:cubicBezTo>
                <a:cubicBezTo>
                  <a:pt x="1936277" y="85216"/>
                  <a:pt x="1930809" y="86859"/>
                  <a:pt x="1925366" y="88528"/>
                </a:cubicBezTo>
                <a:cubicBezTo>
                  <a:pt x="1920593" y="89952"/>
                  <a:pt x="1915832" y="91389"/>
                  <a:pt x="1911071" y="92826"/>
                </a:cubicBezTo>
                <a:lnTo>
                  <a:pt x="1903327" y="95164"/>
                </a:lnTo>
                <a:cubicBezTo>
                  <a:pt x="1899162" y="96382"/>
                  <a:pt x="1895010" y="97697"/>
                  <a:pt x="1890845" y="98963"/>
                </a:cubicBezTo>
                <a:lnTo>
                  <a:pt x="1880763" y="101947"/>
                </a:lnTo>
                <a:lnTo>
                  <a:pt x="1863715" y="106744"/>
                </a:lnTo>
                <a:lnTo>
                  <a:pt x="1853657" y="109545"/>
                </a:lnTo>
                <a:cubicBezTo>
                  <a:pt x="1848616" y="110982"/>
                  <a:pt x="1843575" y="112431"/>
                  <a:pt x="1838521" y="113892"/>
                </a:cubicBezTo>
                <a:lnTo>
                  <a:pt x="1831215" y="116120"/>
                </a:lnTo>
                <a:cubicBezTo>
                  <a:pt x="1831215" y="116120"/>
                  <a:pt x="1816152" y="120833"/>
                  <a:pt x="1804682" y="125496"/>
                </a:cubicBezTo>
                <a:cubicBezTo>
                  <a:pt x="1802758" y="126288"/>
                  <a:pt x="1800834" y="127104"/>
                  <a:pt x="1798922" y="127932"/>
                </a:cubicBezTo>
                <a:lnTo>
                  <a:pt x="1797144" y="128711"/>
                </a:lnTo>
                <a:lnTo>
                  <a:pt x="1796085" y="129186"/>
                </a:lnTo>
                <a:lnTo>
                  <a:pt x="1795330" y="129515"/>
                </a:lnTo>
                <a:lnTo>
                  <a:pt x="1795123" y="129588"/>
                </a:lnTo>
                <a:lnTo>
                  <a:pt x="1794879" y="129673"/>
                </a:lnTo>
                <a:lnTo>
                  <a:pt x="1794551" y="129783"/>
                </a:lnTo>
                <a:lnTo>
                  <a:pt x="1793211" y="130185"/>
                </a:lnTo>
                <a:lnTo>
                  <a:pt x="1791774" y="130599"/>
                </a:lnTo>
                <a:cubicBezTo>
                  <a:pt x="1791774" y="130599"/>
                  <a:pt x="1779938" y="134154"/>
                  <a:pt x="1775396" y="135737"/>
                </a:cubicBezTo>
                <a:cubicBezTo>
                  <a:pt x="1775396" y="135737"/>
                  <a:pt x="1761527" y="140413"/>
                  <a:pt x="1755329" y="142970"/>
                </a:cubicBezTo>
                <a:cubicBezTo>
                  <a:pt x="1755329" y="142970"/>
                  <a:pt x="1743651" y="147403"/>
                  <a:pt x="1730050" y="153930"/>
                </a:cubicBezTo>
                <a:lnTo>
                  <a:pt x="1727115" y="155293"/>
                </a:lnTo>
                <a:lnTo>
                  <a:pt x="1724290" y="156584"/>
                </a:lnTo>
                <a:lnTo>
                  <a:pt x="1721855" y="157656"/>
                </a:lnTo>
                <a:lnTo>
                  <a:pt x="1717435" y="159628"/>
                </a:lnTo>
                <a:lnTo>
                  <a:pt x="1712868" y="161638"/>
                </a:lnTo>
                <a:lnTo>
                  <a:pt x="1706890" y="164219"/>
                </a:lnTo>
                <a:lnTo>
                  <a:pt x="1699498" y="167361"/>
                </a:lnTo>
                <a:lnTo>
                  <a:pt x="1692874" y="170137"/>
                </a:lnTo>
                <a:lnTo>
                  <a:pt x="1685032" y="173413"/>
                </a:lnTo>
                <a:lnTo>
                  <a:pt x="1671930" y="178904"/>
                </a:lnTo>
                <a:lnTo>
                  <a:pt x="1664831" y="181912"/>
                </a:lnTo>
                <a:lnTo>
                  <a:pt x="1658949" y="184445"/>
                </a:lnTo>
                <a:lnTo>
                  <a:pt x="1654882" y="186223"/>
                </a:lnTo>
                <a:lnTo>
                  <a:pt x="1652288" y="187379"/>
                </a:lnTo>
                <a:lnTo>
                  <a:pt x="1648964" y="189072"/>
                </a:lnTo>
                <a:lnTo>
                  <a:pt x="1646371" y="190521"/>
                </a:lnTo>
                <a:lnTo>
                  <a:pt x="1644215" y="191739"/>
                </a:lnTo>
                <a:lnTo>
                  <a:pt x="1642547" y="192664"/>
                </a:lnTo>
                <a:cubicBezTo>
                  <a:pt x="1643448" y="194503"/>
                  <a:pt x="1644337" y="196317"/>
                  <a:pt x="1645238" y="198156"/>
                </a:cubicBezTo>
                <a:lnTo>
                  <a:pt x="1631101" y="204025"/>
                </a:lnTo>
                <a:cubicBezTo>
                  <a:pt x="1616976" y="209906"/>
                  <a:pt x="1602887" y="215861"/>
                  <a:pt x="1588847" y="221913"/>
                </a:cubicBezTo>
                <a:cubicBezTo>
                  <a:pt x="1577571" y="226784"/>
                  <a:pt x="1566320" y="231679"/>
                  <a:pt x="1555105" y="236586"/>
                </a:cubicBezTo>
                <a:cubicBezTo>
                  <a:pt x="1547665" y="239837"/>
                  <a:pt x="1540237" y="243137"/>
                  <a:pt x="1532797" y="246486"/>
                </a:cubicBezTo>
                <a:lnTo>
                  <a:pt x="1539714" y="250431"/>
                </a:lnTo>
                <a:cubicBezTo>
                  <a:pt x="1539714" y="250431"/>
                  <a:pt x="1541004" y="250881"/>
                  <a:pt x="1542149" y="251259"/>
                </a:cubicBezTo>
                <a:lnTo>
                  <a:pt x="1543257" y="251588"/>
                </a:lnTo>
                <a:cubicBezTo>
                  <a:pt x="1543257" y="251588"/>
                  <a:pt x="1545839" y="252124"/>
                  <a:pt x="1545071" y="253828"/>
                </a:cubicBezTo>
                <a:cubicBezTo>
                  <a:pt x="1545071" y="253828"/>
                  <a:pt x="1544706" y="257481"/>
                  <a:pt x="1549455" y="257408"/>
                </a:cubicBezTo>
                <a:cubicBezTo>
                  <a:pt x="1549455" y="257408"/>
                  <a:pt x="1552877" y="257956"/>
                  <a:pt x="1565041" y="254717"/>
                </a:cubicBezTo>
                <a:cubicBezTo>
                  <a:pt x="1569023" y="253658"/>
                  <a:pt x="1573005" y="252611"/>
                  <a:pt x="1576987" y="251563"/>
                </a:cubicBezTo>
                <a:cubicBezTo>
                  <a:pt x="1583197" y="249834"/>
                  <a:pt x="1589261" y="247630"/>
                  <a:pt x="1595130" y="244976"/>
                </a:cubicBezTo>
                <a:cubicBezTo>
                  <a:pt x="1595130" y="244976"/>
                  <a:pt x="1607563" y="239216"/>
                  <a:pt x="1630334" y="232129"/>
                </a:cubicBezTo>
                <a:cubicBezTo>
                  <a:pt x="1630334" y="232129"/>
                  <a:pt x="1644605" y="227782"/>
                  <a:pt x="1653616" y="225408"/>
                </a:cubicBezTo>
                <a:lnTo>
                  <a:pt x="1663248" y="222875"/>
                </a:lnTo>
                <a:cubicBezTo>
                  <a:pt x="1663248" y="222875"/>
                  <a:pt x="1680161" y="217541"/>
                  <a:pt x="1691011" y="219830"/>
                </a:cubicBezTo>
                <a:cubicBezTo>
                  <a:pt x="1691011" y="219830"/>
                  <a:pt x="1711919" y="221767"/>
                  <a:pt x="1706719" y="236318"/>
                </a:cubicBezTo>
                <a:cubicBezTo>
                  <a:pt x="1705757" y="238985"/>
                  <a:pt x="1704564" y="241554"/>
                  <a:pt x="1703139" y="244002"/>
                </a:cubicBezTo>
                <a:cubicBezTo>
                  <a:pt x="1703139" y="244002"/>
                  <a:pt x="1700022" y="248678"/>
                  <a:pt x="1705160" y="251003"/>
                </a:cubicBezTo>
                <a:lnTo>
                  <a:pt x="1709775" y="249627"/>
                </a:lnTo>
                <a:cubicBezTo>
                  <a:pt x="1715218" y="247898"/>
                  <a:pt x="1720735" y="246461"/>
                  <a:pt x="1726324" y="245292"/>
                </a:cubicBezTo>
                <a:lnTo>
                  <a:pt x="1734714" y="243661"/>
                </a:lnTo>
                <a:cubicBezTo>
                  <a:pt x="1734714" y="243661"/>
                  <a:pt x="1743895" y="241639"/>
                  <a:pt x="1745673" y="243563"/>
                </a:cubicBezTo>
                <a:cubicBezTo>
                  <a:pt x="1745673" y="243563"/>
                  <a:pt x="1747451" y="243941"/>
                  <a:pt x="1744967" y="247216"/>
                </a:cubicBezTo>
                <a:cubicBezTo>
                  <a:pt x="1744967" y="247216"/>
                  <a:pt x="1727249" y="251527"/>
                  <a:pt x="1719322" y="255131"/>
                </a:cubicBezTo>
                <a:cubicBezTo>
                  <a:pt x="1719322" y="255131"/>
                  <a:pt x="1715669" y="256934"/>
                  <a:pt x="1720284" y="259673"/>
                </a:cubicBezTo>
                <a:cubicBezTo>
                  <a:pt x="1720284" y="259673"/>
                  <a:pt x="1724315" y="261074"/>
                  <a:pt x="1725557" y="261415"/>
                </a:cubicBezTo>
                <a:lnTo>
                  <a:pt x="1735164" y="263850"/>
                </a:lnTo>
                <a:cubicBezTo>
                  <a:pt x="1735164" y="263850"/>
                  <a:pt x="1733581" y="269281"/>
                  <a:pt x="1719249" y="274188"/>
                </a:cubicBezTo>
                <a:cubicBezTo>
                  <a:pt x="1719249" y="274188"/>
                  <a:pt x="1695407" y="282712"/>
                  <a:pt x="1687017" y="297689"/>
                </a:cubicBezTo>
                <a:cubicBezTo>
                  <a:pt x="1687017" y="297689"/>
                  <a:pt x="1681379" y="306932"/>
                  <a:pt x="1686104" y="313799"/>
                </a:cubicBezTo>
                <a:cubicBezTo>
                  <a:pt x="1687358" y="315614"/>
                  <a:pt x="1688880" y="317209"/>
                  <a:pt x="1690633" y="318548"/>
                </a:cubicBezTo>
                <a:cubicBezTo>
                  <a:pt x="1690633" y="318548"/>
                  <a:pt x="1692850" y="319340"/>
                  <a:pt x="1693787" y="323419"/>
                </a:cubicBezTo>
                <a:lnTo>
                  <a:pt x="1696016" y="328582"/>
                </a:lnTo>
                <a:lnTo>
                  <a:pt x="1697233" y="331724"/>
                </a:lnTo>
                <a:cubicBezTo>
                  <a:pt x="1697830" y="332941"/>
                  <a:pt x="1698451" y="334159"/>
                  <a:pt x="1699035" y="335377"/>
                </a:cubicBezTo>
                <a:cubicBezTo>
                  <a:pt x="1699035" y="335377"/>
                  <a:pt x="1701678" y="340016"/>
                  <a:pt x="1709434" y="343499"/>
                </a:cubicBezTo>
                <a:lnTo>
                  <a:pt x="1716290" y="346604"/>
                </a:lnTo>
                <a:lnTo>
                  <a:pt x="1722208" y="349197"/>
                </a:lnTo>
                <a:lnTo>
                  <a:pt x="1724899" y="350476"/>
                </a:lnTo>
                <a:cubicBezTo>
                  <a:pt x="1724899" y="350476"/>
                  <a:pt x="1730013" y="354592"/>
                  <a:pt x="1741764" y="348771"/>
                </a:cubicBezTo>
                <a:cubicBezTo>
                  <a:pt x="1741764" y="348771"/>
                  <a:pt x="1753539" y="343206"/>
                  <a:pt x="1763743" y="342123"/>
                </a:cubicBezTo>
                <a:cubicBezTo>
                  <a:pt x="1763743" y="342123"/>
                  <a:pt x="1772925" y="340808"/>
                  <a:pt x="1780961" y="343231"/>
                </a:cubicBezTo>
                <a:cubicBezTo>
                  <a:pt x="1780961" y="343231"/>
                  <a:pt x="1787245" y="344448"/>
                  <a:pt x="1791920" y="343097"/>
                </a:cubicBezTo>
                <a:cubicBezTo>
                  <a:pt x="1791920" y="343097"/>
                  <a:pt x="1802332" y="341672"/>
                  <a:pt x="1813023" y="331857"/>
                </a:cubicBezTo>
                <a:lnTo>
                  <a:pt x="1817979" y="326987"/>
                </a:lnTo>
                <a:cubicBezTo>
                  <a:pt x="1820305" y="324734"/>
                  <a:pt x="1822789" y="322664"/>
                  <a:pt x="1825419" y="320789"/>
                </a:cubicBezTo>
                <a:cubicBezTo>
                  <a:pt x="1825419" y="320789"/>
                  <a:pt x="1836914" y="312265"/>
                  <a:pt x="1837303" y="305032"/>
                </a:cubicBezTo>
                <a:cubicBezTo>
                  <a:pt x="1837401" y="304131"/>
                  <a:pt x="1837377" y="303218"/>
                  <a:pt x="1837218" y="302316"/>
                </a:cubicBezTo>
                <a:cubicBezTo>
                  <a:pt x="1837218" y="302316"/>
                  <a:pt x="1856859" y="293927"/>
                  <a:pt x="1866662" y="280569"/>
                </a:cubicBezTo>
                <a:cubicBezTo>
                  <a:pt x="1867977" y="279180"/>
                  <a:pt x="1869049" y="277585"/>
                  <a:pt x="1869840" y="275856"/>
                </a:cubicBezTo>
                <a:cubicBezTo>
                  <a:pt x="1872568" y="271984"/>
                  <a:pt x="1875721" y="268441"/>
                  <a:pt x="1879241" y="265287"/>
                </a:cubicBezTo>
                <a:cubicBezTo>
                  <a:pt x="1879241" y="265287"/>
                  <a:pt x="1886340" y="257920"/>
                  <a:pt x="1895679" y="255375"/>
                </a:cubicBezTo>
                <a:lnTo>
                  <a:pt x="1897433" y="254875"/>
                </a:lnTo>
                <a:cubicBezTo>
                  <a:pt x="1903607" y="253475"/>
                  <a:pt x="1909622" y="251442"/>
                  <a:pt x="1915369" y="248787"/>
                </a:cubicBezTo>
                <a:cubicBezTo>
                  <a:pt x="1919765" y="246644"/>
                  <a:pt x="1923857" y="243953"/>
                  <a:pt x="1927546" y="240751"/>
                </a:cubicBezTo>
                <a:cubicBezTo>
                  <a:pt x="1931759" y="241688"/>
                  <a:pt x="1936143" y="241505"/>
                  <a:pt x="1940259" y="240227"/>
                </a:cubicBezTo>
                <a:cubicBezTo>
                  <a:pt x="1940259" y="240227"/>
                  <a:pt x="1945446" y="239082"/>
                  <a:pt x="1967048" y="229913"/>
                </a:cubicBezTo>
                <a:cubicBezTo>
                  <a:pt x="1967048" y="229913"/>
                  <a:pt x="1980113" y="224263"/>
                  <a:pt x="1981794" y="223338"/>
                </a:cubicBezTo>
                <a:cubicBezTo>
                  <a:pt x="1989344" y="219879"/>
                  <a:pt x="1996625" y="215885"/>
                  <a:pt x="2003603" y="211380"/>
                </a:cubicBezTo>
                <a:lnTo>
                  <a:pt x="2007159" y="209030"/>
                </a:lnTo>
                <a:lnTo>
                  <a:pt x="2011554" y="206217"/>
                </a:lnTo>
                <a:cubicBezTo>
                  <a:pt x="2011554" y="206217"/>
                  <a:pt x="2020078" y="200908"/>
                  <a:pt x="2021612" y="200031"/>
                </a:cubicBezTo>
                <a:lnTo>
                  <a:pt x="2026885" y="196865"/>
                </a:lnTo>
                <a:lnTo>
                  <a:pt x="2029418" y="195367"/>
                </a:lnTo>
                <a:lnTo>
                  <a:pt x="2032425" y="193565"/>
                </a:lnTo>
                <a:lnTo>
                  <a:pt x="2036626" y="191032"/>
                </a:lnTo>
                <a:cubicBezTo>
                  <a:pt x="2042106" y="190862"/>
                  <a:pt x="2047549" y="190022"/>
                  <a:pt x="2052834" y="188524"/>
                </a:cubicBezTo>
                <a:cubicBezTo>
                  <a:pt x="2052834" y="188524"/>
                  <a:pt x="2055707" y="187842"/>
                  <a:pt x="2076091" y="181218"/>
                </a:cubicBezTo>
                <a:lnTo>
                  <a:pt x="2090046" y="176737"/>
                </a:lnTo>
                <a:lnTo>
                  <a:pt x="2101845" y="172877"/>
                </a:lnTo>
                <a:cubicBezTo>
                  <a:pt x="2103976" y="172146"/>
                  <a:pt x="2106120" y="171440"/>
                  <a:pt x="2108250" y="170721"/>
                </a:cubicBezTo>
                <a:cubicBezTo>
                  <a:pt x="2108250" y="170721"/>
                  <a:pt x="2127271" y="164475"/>
                  <a:pt x="2143563" y="157424"/>
                </a:cubicBezTo>
                <a:close/>
                <a:moveTo>
                  <a:pt x="2182469" y="203197"/>
                </a:moveTo>
                <a:cubicBezTo>
                  <a:pt x="2186353" y="202747"/>
                  <a:pt x="2190225" y="202296"/>
                  <a:pt x="2194109" y="201870"/>
                </a:cubicBezTo>
                <a:cubicBezTo>
                  <a:pt x="2201063" y="201054"/>
                  <a:pt x="2208016" y="200226"/>
                  <a:pt x="2214944" y="199361"/>
                </a:cubicBezTo>
                <a:cubicBezTo>
                  <a:pt x="2234732" y="197279"/>
                  <a:pt x="2239517" y="194929"/>
                  <a:pt x="2239517" y="194917"/>
                </a:cubicBezTo>
                <a:lnTo>
                  <a:pt x="2244522" y="192737"/>
                </a:lnTo>
                <a:lnTo>
                  <a:pt x="2252339" y="189401"/>
                </a:lnTo>
                <a:cubicBezTo>
                  <a:pt x="2255651" y="188110"/>
                  <a:pt x="2258976" y="186819"/>
                  <a:pt x="2262312" y="185541"/>
                </a:cubicBezTo>
                <a:lnTo>
                  <a:pt x="2272382" y="181961"/>
                </a:lnTo>
                <a:cubicBezTo>
                  <a:pt x="2279214" y="179732"/>
                  <a:pt x="2286057" y="177528"/>
                  <a:pt x="2292888" y="175324"/>
                </a:cubicBezTo>
                <a:cubicBezTo>
                  <a:pt x="2299110" y="173376"/>
                  <a:pt x="2303214" y="171817"/>
                  <a:pt x="2303214" y="171817"/>
                </a:cubicBezTo>
                <a:cubicBezTo>
                  <a:pt x="2305418" y="170916"/>
                  <a:pt x="2309948" y="168456"/>
                  <a:pt x="2309936" y="168456"/>
                </a:cubicBezTo>
                <a:lnTo>
                  <a:pt x="2316523" y="164596"/>
                </a:lnTo>
                <a:cubicBezTo>
                  <a:pt x="2319239" y="162161"/>
                  <a:pt x="2318545" y="159969"/>
                  <a:pt x="2318533" y="159969"/>
                </a:cubicBezTo>
                <a:cubicBezTo>
                  <a:pt x="2317217" y="157083"/>
                  <a:pt x="2301083" y="155098"/>
                  <a:pt x="2301083" y="155098"/>
                </a:cubicBezTo>
                <a:cubicBezTo>
                  <a:pt x="2296699" y="154441"/>
                  <a:pt x="2292218" y="154745"/>
                  <a:pt x="2287956" y="155987"/>
                </a:cubicBezTo>
                <a:lnTo>
                  <a:pt x="2281990" y="157619"/>
                </a:lnTo>
                <a:lnTo>
                  <a:pt x="2273466" y="159933"/>
                </a:lnTo>
                <a:cubicBezTo>
                  <a:pt x="2270276" y="160785"/>
                  <a:pt x="2267012" y="161309"/>
                  <a:pt x="2263725" y="161504"/>
                </a:cubicBezTo>
                <a:cubicBezTo>
                  <a:pt x="2255469" y="162137"/>
                  <a:pt x="2244083" y="165778"/>
                  <a:pt x="2244095" y="165778"/>
                </a:cubicBezTo>
                <a:lnTo>
                  <a:pt x="2235279" y="168298"/>
                </a:lnTo>
                <a:cubicBezTo>
                  <a:pt x="2222068" y="171805"/>
                  <a:pt x="2215796" y="171221"/>
                  <a:pt x="2215796" y="171221"/>
                </a:cubicBezTo>
                <a:cubicBezTo>
                  <a:pt x="2212606" y="171221"/>
                  <a:pt x="2201744" y="178271"/>
                  <a:pt x="2201757" y="178283"/>
                </a:cubicBezTo>
                <a:cubicBezTo>
                  <a:pt x="2199674" y="177431"/>
                  <a:pt x="2195559" y="176335"/>
                  <a:pt x="2195559" y="176310"/>
                </a:cubicBezTo>
                <a:cubicBezTo>
                  <a:pt x="2182298" y="173193"/>
                  <a:pt x="2172751" y="176919"/>
                  <a:pt x="2172764" y="176931"/>
                </a:cubicBezTo>
                <a:cubicBezTo>
                  <a:pt x="2159113" y="181388"/>
                  <a:pt x="2154389" y="184981"/>
                  <a:pt x="2154401" y="184968"/>
                </a:cubicBezTo>
                <a:cubicBezTo>
                  <a:pt x="2147691" y="189267"/>
                  <a:pt x="2147253" y="192007"/>
                  <a:pt x="2147265" y="192019"/>
                </a:cubicBezTo>
                <a:cubicBezTo>
                  <a:pt x="2151296" y="193358"/>
                  <a:pt x="2158821" y="190606"/>
                  <a:pt x="2158809" y="190606"/>
                </a:cubicBezTo>
                <a:lnTo>
                  <a:pt x="2164447" y="188621"/>
                </a:lnTo>
                <a:cubicBezTo>
                  <a:pt x="2172215" y="185626"/>
                  <a:pt x="2177037" y="187842"/>
                  <a:pt x="2177037" y="187866"/>
                </a:cubicBezTo>
                <a:cubicBezTo>
                  <a:pt x="2173786" y="190862"/>
                  <a:pt x="2170523" y="193870"/>
                  <a:pt x="2167296" y="196877"/>
                </a:cubicBezTo>
                <a:lnTo>
                  <a:pt x="2179242" y="197035"/>
                </a:lnTo>
                <a:cubicBezTo>
                  <a:pt x="2176685" y="199374"/>
                  <a:pt x="2174127" y="201711"/>
                  <a:pt x="2171582" y="204062"/>
                </a:cubicBezTo>
                <a:close/>
                <a:moveTo>
                  <a:pt x="4338720" y="924079"/>
                </a:moveTo>
                <a:cubicBezTo>
                  <a:pt x="4336674" y="923762"/>
                  <a:pt x="4334665" y="923299"/>
                  <a:pt x="4332693" y="922690"/>
                </a:cubicBezTo>
                <a:lnTo>
                  <a:pt x="4331889" y="922447"/>
                </a:lnTo>
                <a:lnTo>
                  <a:pt x="4330830" y="922155"/>
                </a:lnTo>
                <a:lnTo>
                  <a:pt x="4330123" y="922008"/>
                </a:lnTo>
                <a:lnTo>
                  <a:pt x="4329064" y="921826"/>
                </a:lnTo>
                <a:lnTo>
                  <a:pt x="4328053" y="921704"/>
                </a:lnTo>
                <a:lnTo>
                  <a:pt x="4327420" y="921704"/>
                </a:lnTo>
                <a:lnTo>
                  <a:pt x="4326275" y="921643"/>
                </a:lnTo>
                <a:lnTo>
                  <a:pt x="4318677" y="921643"/>
                </a:lnTo>
                <a:lnTo>
                  <a:pt x="4315316" y="919537"/>
                </a:lnTo>
                <a:lnTo>
                  <a:pt x="4311663" y="917259"/>
                </a:lnTo>
                <a:lnTo>
                  <a:pt x="4305502" y="913412"/>
                </a:lnTo>
                <a:lnTo>
                  <a:pt x="4301216" y="910745"/>
                </a:lnTo>
                <a:lnTo>
                  <a:pt x="4299827" y="909880"/>
                </a:lnTo>
                <a:cubicBezTo>
                  <a:pt x="4299827" y="909820"/>
                  <a:pt x="4299827" y="909759"/>
                  <a:pt x="4299827" y="909698"/>
                </a:cubicBezTo>
                <a:cubicBezTo>
                  <a:pt x="4299827" y="909637"/>
                  <a:pt x="4299827" y="909576"/>
                  <a:pt x="4299827" y="909515"/>
                </a:cubicBezTo>
                <a:cubicBezTo>
                  <a:pt x="4299827" y="909454"/>
                  <a:pt x="4299827" y="909308"/>
                  <a:pt x="4299827" y="909211"/>
                </a:cubicBezTo>
                <a:cubicBezTo>
                  <a:pt x="4299827" y="908724"/>
                  <a:pt x="4299827" y="908237"/>
                  <a:pt x="4299827" y="907737"/>
                </a:cubicBezTo>
                <a:cubicBezTo>
                  <a:pt x="4299742" y="906800"/>
                  <a:pt x="4300132" y="905886"/>
                  <a:pt x="4300875" y="905302"/>
                </a:cubicBezTo>
                <a:cubicBezTo>
                  <a:pt x="4302250" y="904096"/>
                  <a:pt x="4303371" y="902611"/>
                  <a:pt x="4304150" y="900954"/>
                </a:cubicBezTo>
                <a:cubicBezTo>
                  <a:pt x="4307267" y="894525"/>
                  <a:pt x="4303907" y="884991"/>
                  <a:pt x="4303907" y="884991"/>
                </a:cubicBezTo>
                <a:lnTo>
                  <a:pt x="4302689" y="881581"/>
                </a:lnTo>
                <a:cubicBezTo>
                  <a:pt x="4302117" y="880023"/>
                  <a:pt x="4301471" y="878464"/>
                  <a:pt x="4300960" y="876893"/>
                </a:cubicBezTo>
                <a:lnTo>
                  <a:pt x="4298792" y="871292"/>
                </a:lnTo>
                <a:cubicBezTo>
                  <a:pt x="4296211" y="863718"/>
                  <a:pt x="4293179" y="861270"/>
                  <a:pt x="4293191" y="861270"/>
                </a:cubicBezTo>
                <a:lnTo>
                  <a:pt x="4291377" y="859614"/>
                </a:lnTo>
                <a:lnTo>
                  <a:pt x="4290159" y="858457"/>
                </a:lnTo>
                <a:cubicBezTo>
                  <a:pt x="4289453" y="857739"/>
                  <a:pt x="4288759" y="857008"/>
                  <a:pt x="4288052" y="856278"/>
                </a:cubicBezTo>
                <a:cubicBezTo>
                  <a:pt x="4287346" y="855548"/>
                  <a:pt x="4286591" y="854659"/>
                  <a:pt x="4285848" y="853842"/>
                </a:cubicBezTo>
                <a:lnTo>
                  <a:pt x="4282524" y="849909"/>
                </a:lnTo>
                <a:cubicBezTo>
                  <a:pt x="4279979" y="846865"/>
                  <a:pt x="4274743" y="839413"/>
                  <a:pt x="4274743" y="839401"/>
                </a:cubicBezTo>
                <a:lnTo>
                  <a:pt x="4273526" y="837538"/>
                </a:lnTo>
                <a:lnTo>
                  <a:pt x="4272003" y="834737"/>
                </a:lnTo>
                <a:cubicBezTo>
                  <a:pt x="4271675" y="833982"/>
                  <a:pt x="4271334" y="833239"/>
                  <a:pt x="4271005" y="832484"/>
                </a:cubicBezTo>
                <a:lnTo>
                  <a:pt x="4269617" y="829464"/>
                </a:lnTo>
                <a:lnTo>
                  <a:pt x="4267936" y="826006"/>
                </a:lnTo>
                <a:lnTo>
                  <a:pt x="4266719" y="823571"/>
                </a:lnTo>
                <a:lnTo>
                  <a:pt x="4265257" y="820697"/>
                </a:lnTo>
                <a:lnTo>
                  <a:pt x="4264161" y="818542"/>
                </a:lnTo>
                <a:cubicBezTo>
                  <a:pt x="4263760" y="817726"/>
                  <a:pt x="4263346" y="816922"/>
                  <a:pt x="4262944" y="816107"/>
                </a:cubicBezTo>
                <a:lnTo>
                  <a:pt x="4259388" y="815400"/>
                </a:lnTo>
                <a:lnTo>
                  <a:pt x="4253604" y="814256"/>
                </a:lnTo>
                <a:lnTo>
                  <a:pt x="4249951" y="813537"/>
                </a:lnTo>
                <a:lnTo>
                  <a:pt x="4240806" y="811747"/>
                </a:lnTo>
                <a:lnTo>
                  <a:pt x="4236313" y="810883"/>
                </a:lnTo>
                <a:lnTo>
                  <a:pt x="4234011" y="810444"/>
                </a:lnTo>
                <a:lnTo>
                  <a:pt x="4232221" y="810103"/>
                </a:lnTo>
                <a:lnTo>
                  <a:pt x="4230602" y="809799"/>
                </a:lnTo>
                <a:lnTo>
                  <a:pt x="4229384" y="809556"/>
                </a:lnTo>
                <a:cubicBezTo>
                  <a:pt x="4228995" y="809494"/>
                  <a:pt x="4228605" y="809409"/>
                  <a:pt x="4228167" y="809336"/>
                </a:cubicBezTo>
                <a:lnTo>
                  <a:pt x="4227119" y="809154"/>
                </a:lnTo>
                <a:lnTo>
                  <a:pt x="4226632" y="809068"/>
                </a:lnTo>
                <a:lnTo>
                  <a:pt x="4225074" y="808776"/>
                </a:lnTo>
                <a:cubicBezTo>
                  <a:pt x="4224355" y="808594"/>
                  <a:pt x="4223661" y="808374"/>
                  <a:pt x="4222979" y="808094"/>
                </a:cubicBezTo>
                <a:cubicBezTo>
                  <a:pt x="4221177" y="807351"/>
                  <a:pt x="4218303" y="806426"/>
                  <a:pt x="4218303" y="806438"/>
                </a:cubicBezTo>
                <a:cubicBezTo>
                  <a:pt x="4214224" y="805074"/>
                  <a:pt x="4210047" y="804015"/>
                  <a:pt x="4205810" y="803260"/>
                </a:cubicBezTo>
                <a:cubicBezTo>
                  <a:pt x="4200172" y="802286"/>
                  <a:pt x="4194473" y="801652"/>
                  <a:pt x="4188762" y="801372"/>
                </a:cubicBezTo>
                <a:lnTo>
                  <a:pt x="4185255" y="801239"/>
                </a:lnTo>
                <a:lnTo>
                  <a:pt x="4181907" y="801166"/>
                </a:lnTo>
                <a:cubicBezTo>
                  <a:pt x="4182150" y="802030"/>
                  <a:pt x="4182272" y="802931"/>
                  <a:pt x="4182284" y="803832"/>
                </a:cubicBezTo>
                <a:cubicBezTo>
                  <a:pt x="4182540" y="811370"/>
                  <a:pt x="4170875" y="811503"/>
                  <a:pt x="4170875" y="811503"/>
                </a:cubicBezTo>
                <a:lnTo>
                  <a:pt x="4165577" y="811662"/>
                </a:lnTo>
                <a:lnTo>
                  <a:pt x="4160232" y="811467"/>
                </a:lnTo>
                <a:lnTo>
                  <a:pt x="4157358" y="811296"/>
                </a:lnTo>
                <a:lnTo>
                  <a:pt x="4153267" y="811211"/>
                </a:lnTo>
                <a:lnTo>
                  <a:pt x="4153047" y="811211"/>
                </a:lnTo>
                <a:lnTo>
                  <a:pt x="4148676" y="811443"/>
                </a:lnTo>
                <a:lnTo>
                  <a:pt x="4144780" y="811930"/>
                </a:lnTo>
                <a:lnTo>
                  <a:pt x="4139787" y="812892"/>
                </a:lnTo>
                <a:lnTo>
                  <a:pt x="4134234" y="814292"/>
                </a:lnTo>
                <a:lnTo>
                  <a:pt x="4128036" y="816240"/>
                </a:lnTo>
                <a:lnTo>
                  <a:pt x="4122374" y="818067"/>
                </a:lnTo>
                <a:lnTo>
                  <a:pt x="4116882" y="819626"/>
                </a:lnTo>
                <a:cubicBezTo>
                  <a:pt x="4109138" y="821927"/>
                  <a:pt x="4099591" y="821452"/>
                  <a:pt x="4099603" y="821452"/>
                </a:cubicBezTo>
                <a:lnTo>
                  <a:pt x="4098483" y="821452"/>
                </a:lnTo>
                <a:cubicBezTo>
                  <a:pt x="4093162" y="821062"/>
                  <a:pt x="4092492" y="822366"/>
                  <a:pt x="4092492" y="822366"/>
                </a:cubicBezTo>
                <a:lnTo>
                  <a:pt x="4091615" y="823266"/>
                </a:lnTo>
                <a:cubicBezTo>
                  <a:pt x="4088096" y="826628"/>
                  <a:pt x="4078586" y="825544"/>
                  <a:pt x="4078574" y="825555"/>
                </a:cubicBezTo>
                <a:lnTo>
                  <a:pt x="4075189" y="825251"/>
                </a:lnTo>
                <a:cubicBezTo>
                  <a:pt x="4072412" y="824898"/>
                  <a:pt x="4069612" y="824862"/>
                  <a:pt x="4066823" y="825130"/>
                </a:cubicBezTo>
                <a:lnTo>
                  <a:pt x="4064887" y="825337"/>
                </a:lnTo>
                <a:lnTo>
                  <a:pt x="4058799" y="826226"/>
                </a:lnTo>
                <a:lnTo>
                  <a:pt x="4053526" y="826919"/>
                </a:lnTo>
                <a:cubicBezTo>
                  <a:pt x="4053405" y="828430"/>
                  <a:pt x="4053270" y="829939"/>
                  <a:pt x="4053149" y="831449"/>
                </a:cubicBezTo>
                <a:cubicBezTo>
                  <a:pt x="4053064" y="832326"/>
                  <a:pt x="4052990" y="833215"/>
                  <a:pt x="4052905" y="834092"/>
                </a:cubicBezTo>
                <a:cubicBezTo>
                  <a:pt x="4052905" y="834737"/>
                  <a:pt x="4052820" y="835394"/>
                  <a:pt x="4052771" y="836040"/>
                </a:cubicBezTo>
                <a:cubicBezTo>
                  <a:pt x="4052723" y="836685"/>
                  <a:pt x="4052771" y="837452"/>
                  <a:pt x="4052771" y="838147"/>
                </a:cubicBezTo>
                <a:cubicBezTo>
                  <a:pt x="4052771" y="838597"/>
                  <a:pt x="4052771" y="839048"/>
                  <a:pt x="4052771" y="839498"/>
                </a:cubicBezTo>
                <a:cubicBezTo>
                  <a:pt x="4052771" y="839949"/>
                  <a:pt x="4052771" y="840338"/>
                  <a:pt x="4052771" y="840716"/>
                </a:cubicBezTo>
                <a:lnTo>
                  <a:pt x="4052954" y="842469"/>
                </a:lnTo>
                <a:lnTo>
                  <a:pt x="4053137" y="844527"/>
                </a:lnTo>
                <a:cubicBezTo>
                  <a:pt x="4053137" y="845258"/>
                  <a:pt x="4053137" y="845989"/>
                  <a:pt x="4053137" y="846719"/>
                </a:cubicBezTo>
                <a:cubicBezTo>
                  <a:pt x="4053137" y="847449"/>
                  <a:pt x="4052990" y="847815"/>
                  <a:pt x="4052929" y="848363"/>
                </a:cubicBezTo>
                <a:cubicBezTo>
                  <a:pt x="4051809" y="857070"/>
                  <a:pt x="4043188" y="862196"/>
                  <a:pt x="4043188" y="862196"/>
                </a:cubicBezTo>
                <a:lnTo>
                  <a:pt x="4042190" y="863024"/>
                </a:lnTo>
                <a:cubicBezTo>
                  <a:pt x="4034798" y="869319"/>
                  <a:pt x="4037148" y="876041"/>
                  <a:pt x="4037148" y="876041"/>
                </a:cubicBezTo>
                <a:cubicBezTo>
                  <a:pt x="4037258" y="876443"/>
                  <a:pt x="4037380" y="876845"/>
                  <a:pt x="4037489" y="877258"/>
                </a:cubicBezTo>
                <a:cubicBezTo>
                  <a:pt x="4037782" y="878172"/>
                  <a:pt x="4037818" y="879146"/>
                  <a:pt x="4037587" y="880084"/>
                </a:cubicBezTo>
                <a:cubicBezTo>
                  <a:pt x="4036807" y="883737"/>
                  <a:pt x="4029964" y="883298"/>
                  <a:pt x="4029964" y="883286"/>
                </a:cubicBezTo>
                <a:cubicBezTo>
                  <a:pt x="4026615" y="883079"/>
                  <a:pt x="4025300" y="884077"/>
                  <a:pt x="4025288" y="884077"/>
                </a:cubicBezTo>
                <a:lnTo>
                  <a:pt x="4023803" y="884881"/>
                </a:lnTo>
                <a:lnTo>
                  <a:pt x="4022098" y="885953"/>
                </a:lnTo>
                <a:cubicBezTo>
                  <a:pt x="4021063" y="886488"/>
                  <a:pt x="4020235" y="887341"/>
                  <a:pt x="4019723" y="888388"/>
                </a:cubicBezTo>
                <a:cubicBezTo>
                  <a:pt x="4019297" y="889386"/>
                  <a:pt x="4018225" y="889959"/>
                  <a:pt x="4017154" y="889740"/>
                </a:cubicBezTo>
                <a:lnTo>
                  <a:pt x="4015851" y="889740"/>
                </a:lnTo>
                <a:cubicBezTo>
                  <a:pt x="4012502" y="889643"/>
                  <a:pt x="4004088" y="891396"/>
                  <a:pt x="4004100" y="891408"/>
                </a:cubicBezTo>
                <a:lnTo>
                  <a:pt x="3998828" y="892626"/>
                </a:lnTo>
                <a:lnTo>
                  <a:pt x="3995430" y="893344"/>
                </a:lnTo>
                <a:lnTo>
                  <a:pt x="3992277" y="893880"/>
                </a:lnTo>
                <a:cubicBezTo>
                  <a:pt x="3986261" y="895134"/>
                  <a:pt x="3980088" y="892663"/>
                  <a:pt x="3976605" y="887597"/>
                </a:cubicBezTo>
                <a:lnTo>
                  <a:pt x="3973427" y="883712"/>
                </a:lnTo>
                <a:lnTo>
                  <a:pt x="3972051" y="881460"/>
                </a:lnTo>
                <a:cubicBezTo>
                  <a:pt x="3971698" y="880900"/>
                  <a:pt x="3971357" y="880327"/>
                  <a:pt x="3971004" y="879755"/>
                </a:cubicBezTo>
                <a:lnTo>
                  <a:pt x="3968483" y="874300"/>
                </a:lnTo>
                <a:lnTo>
                  <a:pt x="3965914" y="868418"/>
                </a:lnTo>
                <a:cubicBezTo>
                  <a:pt x="3964964" y="866227"/>
                  <a:pt x="3964026" y="864034"/>
                  <a:pt x="3963065" y="861843"/>
                </a:cubicBezTo>
                <a:cubicBezTo>
                  <a:pt x="3962309" y="860053"/>
                  <a:pt x="3961542" y="858263"/>
                  <a:pt x="3960775" y="856473"/>
                </a:cubicBezTo>
                <a:cubicBezTo>
                  <a:pt x="3959850" y="854269"/>
                  <a:pt x="3958912" y="852065"/>
                  <a:pt x="3957974" y="849860"/>
                </a:cubicBezTo>
                <a:cubicBezTo>
                  <a:pt x="3957037" y="847657"/>
                  <a:pt x="3956051" y="845343"/>
                  <a:pt x="3955040" y="842932"/>
                </a:cubicBezTo>
                <a:cubicBezTo>
                  <a:pt x="3954650" y="841982"/>
                  <a:pt x="3954248" y="841032"/>
                  <a:pt x="3953822" y="840083"/>
                </a:cubicBezTo>
                <a:cubicBezTo>
                  <a:pt x="3953396" y="839133"/>
                  <a:pt x="3953067" y="838281"/>
                  <a:pt x="3952678" y="837379"/>
                </a:cubicBezTo>
                <a:cubicBezTo>
                  <a:pt x="3952495" y="836941"/>
                  <a:pt x="3952312" y="836503"/>
                  <a:pt x="3952117" y="836065"/>
                </a:cubicBezTo>
                <a:lnTo>
                  <a:pt x="3950900" y="833008"/>
                </a:lnTo>
                <a:lnTo>
                  <a:pt x="3950133" y="830658"/>
                </a:lnTo>
                <a:cubicBezTo>
                  <a:pt x="3949840" y="829684"/>
                  <a:pt x="3949560" y="828710"/>
                  <a:pt x="3949268" y="827748"/>
                </a:cubicBezTo>
                <a:cubicBezTo>
                  <a:pt x="3949097" y="827212"/>
                  <a:pt x="3948939" y="826676"/>
                  <a:pt x="3948781" y="826140"/>
                </a:cubicBezTo>
                <a:lnTo>
                  <a:pt x="3948124" y="824204"/>
                </a:lnTo>
                <a:lnTo>
                  <a:pt x="3947539" y="822706"/>
                </a:lnTo>
                <a:cubicBezTo>
                  <a:pt x="3947271" y="822109"/>
                  <a:pt x="3947015" y="821489"/>
                  <a:pt x="3946747" y="820904"/>
                </a:cubicBezTo>
                <a:lnTo>
                  <a:pt x="3945773" y="818724"/>
                </a:lnTo>
                <a:cubicBezTo>
                  <a:pt x="3945152" y="817422"/>
                  <a:pt x="3944556" y="816107"/>
                  <a:pt x="3943922" y="814803"/>
                </a:cubicBezTo>
                <a:cubicBezTo>
                  <a:pt x="3943423" y="813756"/>
                  <a:pt x="3942912" y="812709"/>
                  <a:pt x="3942400" y="811674"/>
                </a:cubicBezTo>
                <a:lnTo>
                  <a:pt x="3941049" y="808934"/>
                </a:lnTo>
                <a:lnTo>
                  <a:pt x="3939429" y="805683"/>
                </a:lnTo>
                <a:cubicBezTo>
                  <a:pt x="3939210" y="805257"/>
                  <a:pt x="3938991" y="804830"/>
                  <a:pt x="3938784" y="804405"/>
                </a:cubicBezTo>
                <a:cubicBezTo>
                  <a:pt x="3938577" y="803978"/>
                  <a:pt x="3938285" y="803418"/>
                  <a:pt x="3938041" y="802931"/>
                </a:cubicBezTo>
                <a:lnTo>
                  <a:pt x="3937603" y="802066"/>
                </a:lnTo>
                <a:lnTo>
                  <a:pt x="3937164" y="801385"/>
                </a:lnTo>
                <a:cubicBezTo>
                  <a:pt x="3936969" y="801092"/>
                  <a:pt x="3936775" y="800812"/>
                  <a:pt x="3936568" y="800532"/>
                </a:cubicBezTo>
                <a:lnTo>
                  <a:pt x="3936068" y="799838"/>
                </a:lnTo>
                <a:lnTo>
                  <a:pt x="3935594" y="799156"/>
                </a:lnTo>
                <a:lnTo>
                  <a:pt x="3935204" y="798499"/>
                </a:lnTo>
                <a:lnTo>
                  <a:pt x="3934936" y="797963"/>
                </a:lnTo>
                <a:lnTo>
                  <a:pt x="3934534" y="796745"/>
                </a:lnTo>
                <a:lnTo>
                  <a:pt x="3934096" y="795357"/>
                </a:lnTo>
                <a:lnTo>
                  <a:pt x="3933219" y="792776"/>
                </a:lnTo>
                <a:lnTo>
                  <a:pt x="3931612" y="788416"/>
                </a:lnTo>
                <a:lnTo>
                  <a:pt x="3930491" y="785567"/>
                </a:lnTo>
                <a:cubicBezTo>
                  <a:pt x="3929883" y="784020"/>
                  <a:pt x="3929274" y="782486"/>
                  <a:pt x="3928653" y="780940"/>
                </a:cubicBezTo>
                <a:lnTo>
                  <a:pt x="3927435" y="778005"/>
                </a:lnTo>
                <a:lnTo>
                  <a:pt x="3926302" y="775095"/>
                </a:lnTo>
                <a:cubicBezTo>
                  <a:pt x="3925535" y="772939"/>
                  <a:pt x="3924768" y="770784"/>
                  <a:pt x="3923989" y="768641"/>
                </a:cubicBezTo>
                <a:lnTo>
                  <a:pt x="3923039" y="765585"/>
                </a:lnTo>
                <a:lnTo>
                  <a:pt x="3922491" y="763624"/>
                </a:lnTo>
                <a:cubicBezTo>
                  <a:pt x="3922321" y="762906"/>
                  <a:pt x="3922138" y="762175"/>
                  <a:pt x="3921956" y="761445"/>
                </a:cubicBezTo>
                <a:cubicBezTo>
                  <a:pt x="3921079" y="757901"/>
                  <a:pt x="3920640" y="754272"/>
                  <a:pt x="3920677" y="750619"/>
                </a:cubicBezTo>
                <a:cubicBezTo>
                  <a:pt x="3920677" y="749852"/>
                  <a:pt x="3920750" y="749085"/>
                  <a:pt x="3920774" y="748330"/>
                </a:cubicBezTo>
                <a:lnTo>
                  <a:pt x="3921066" y="745615"/>
                </a:lnTo>
                <a:lnTo>
                  <a:pt x="3921176" y="743532"/>
                </a:lnTo>
                <a:lnTo>
                  <a:pt x="3921066" y="740354"/>
                </a:lnTo>
                <a:cubicBezTo>
                  <a:pt x="3920945" y="739197"/>
                  <a:pt x="3920811" y="738028"/>
                  <a:pt x="3920689" y="736860"/>
                </a:cubicBezTo>
                <a:cubicBezTo>
                  <a:pt x="3920592" y="736263"/>
                  <a:pt x="3920506" y="735642"/>
                  <a:pt x="3920421" y="735082"/>
                </a:cubicBezTo>
                <a:lnTo>
                  <a:pt x="3920129" y="733377"/>
                </a:lnTo>
                <a:cubicBezTo>
                  <a:pt x="3920031" y="732817"/>
                  <a:pt x="3919922" y="732257"/>
                  <a:pt x="3919825" y="731696"/>
                </a:cubicBezTo>
                <a:cubicBezTo>
                  <a:pt x="3919727" y="731136"/>
                  <a:pt x="3919666" y="730869"/>
                  <a:pt x="3919593" y="730479"/>
                </a:cubicBezTo>
                <a:cubicBezTo>
                  <a:pt x="3919520" y="730089"/>
                  <a:pt x="3919362" y="729261"/>
                  <a:pt x="3919252" y="728701"/>
                </a:cubicBezTo>
                <a:cubicBezTo>
                  <a:pt x="3919252" y="728421"/>
                  <a:pt x="3919155" y="728141"/>
                  <a:pt x="3919094" y="727861"/>
                </a:cubicBezTo>
                <a:lnTo>
                  <a:pt x="3918911" y="726814"/>
                </a:lnTo>
                <a:lnTo>
                  <a:pt x="3918728" y="725742"/>
                </a:lnTo>
                <a:cubicBezTo>
                  <a:pt x="3918668" y="725413"/>
                  <a:pt x="3918619" y="725085"/>
                  <a:pt x="3918558" y="724756"/>
                </a:cubicBezTo>
                <a:lnTo>
                  <a:pt x="3918375" y="723538"/>
                </a:lnTo>
                <a:cubicBezTo>
                  <a:pt x="3918375" y="723161"/>
                  <a:pt x="3918266" y="722771"/>
                  <a:pt x="3918217" y="722381"/>
                </a:cubicBezTo>
                <a:cubicBezTo>
                  <a:pt x="3918168" y="721992"/>
                  <a:pt x="3918217" y="721858"/>
                  <a:pt x="3918132" y="721602"/>
                </a:cubicBezTo>
                <a:cubicBezTo>
                  <a:pt x="3918046" y="721346"/>
                  <a:pt x="3918132" y="721103"/>
                  <a:pt x="3918046" y="720847"/>
                </a:cubicBezTo>
                <a:cubicBezTo>
                  <a:pt x="3917961" y="720591"/>
                  <a:pt x="3917986" y="720141"/>
                  <a:pt x="3917961" y="719788"/>
                </a:cubicBezTo>
                <a:cubicBezTo>
                  <a:pt x="3917998" y="718254"/>
                  <a:pt x="3918278" y="716743"/>
                  <a:pt x="3918765" y="715294"/>
                </a:cubicBezTo>
                <a:lnTo>
                  <a:pt x="3919337" y="713699"/>
                </a:lnTo>
                <a:lnTo>
                  <a:pt x="3919861" y="712238"/>
                </a:lnTo>
                <a:cubicBezTo>
                  <a:pt x="3919995" y="711824"/>
                  <a:pt x="3920117" y="711410"/>
                  <a:pt x="3920251" y="711020"/>
                </a:cubicBezTo>
                <a:lnTo>
                  <a:pt x="3917389" y="710144"/>
                </a:lnTo>
                <a:cubicBezTo>
                  <a:pt x="3917097" y="710619"/>
                  <a:pt x="3916804" y="711093"/>
                  <a:pt x="3916524" y="711568"/>
                </a:cubicBezTo>
                <a:lnTo>
                  <a:pt x="3916111" y="712238"/>
                </a:lnTo>
                <a:lnTo>
                  <a:pt x="3915733" y="712957"/>
                </a:lnTo>
                <a:lnTo>
                  <a:pt x="3915319" y="713992"/>
                </a:lnTo>
                <a:cubicBezTo>
                  <a:pt x="3915173" y="714332"/>
                  <a:pt x="3915039" y="714661"/>
                  <a:pt x="3914893" y="714990"/>
                </a:cubicBezTo>
                <a:cubicBezTo>
                  <a:pt x="3914454" y="716086"/>
                  <a:pt x="3913724" y="717048"/>
                  <a:pt x="3912762" y="717742"/>
                </a:cubicBezTo>
                <a:cubicBezTo>
                  <a:pt x="3911142" y="719154"/>
                  <a:pt x="3906673" y="718959"/>
                  <a:pt x="3906673" y="718959"/>
                </a:cubicBezTo>
                <a:lnTo>
                  <a:pt x="3905370" y="718959"/>
                </a:lnTo>
                <a:lnTo>
                  <a:pt x="3903629" y="718874"/>
                </a:lnTo>
                <a:lnTo>
                  <a:pt x="3901194" y="718692"/>
                </a:lnTo>
                <a:cubicBezTo>
                  <a:pt x="3895532" y="718229"/>
                  <a:pt x="3890819" y="717657"/>
                  <a:pt x="3890819" y="717645"/>
                </a:cubicBezTo>
                <a:cubicBezTo>
                  <a:pt x="3888055" y="717328"/>
                  <a:pt x="3885948" y="716841"/>
                  <a:pt x="3885948" y="716853"/>
                </a:cubicBezTo>
                <a:cubicBezTo>
                  <a:pt x="3884159" y="716512"/>
                  <a:pt x="3882478" y="715769"/>
                  <a:pt x="3881005" y="714697"/>
                </a:cubicBezTo>
                <a:lnTo>
                  <a:pt x="3880250" y="714101"/>
                </a:lnTo>
                <a:lnTo>
                  <a:pt x="3879409" y="713358"/>
                </a:lnTo>
                <a:lnTo>
                  <a:pt x="3878192" y="712141"/>
                </a:lnTo>
                <a:lnTo>
                  <a:pt x="3877059" y="710923"/>
                </a:lnTo>
                <a:lnTo>
                  <a:pt x="3875842" y="709632"/>
                </a:lnTo>
                <a:lnTo>
                  <a:pt x="3874819" y="708536"/>
                </a:lnTo>
                <a:cubicBezTo>
                  <a:pt x="3873297" y="707197"/>
                  <a:pt x="3870155" y="704250"/>
                  <a:pt x="3870155" y="704250"/>
                </a:cubicBezTo>
                <a:lnTo>
                  <a:pt x="3869242" y="703483"/>
                </a:lnTo>
                <a:lnTo>
                  <a:pt x="3868304" y="702728"/>
                </a:lnTo>
                <a:lnTo>
                  <a:pt x="3864225" y="699562"/>
                </a:lnTo>
                <a:lnTo>
                  <a:pt x="3863494" y="699002"/>
                </a:lnTo>
                <a:lnTo>
                  <a:pt x="3862983" y="698612"/>
                </a:lnTo>
                <a:lnTo>
                  <a:pt x="3862070" y="697954"/>
                </a:lnTo>
                <a:lnTo>
                  <a:pt x="3860974" y="697175"/>
                </a:lnTo>
                <a:lnTo>
                  <a:pt x="3859914" y="696432"/>
                </a:lnTo>
                <a:lnTo>
                  <a:pt x="3858916" y="695702"/>
                </a:lnTo>
                <a:lnTo>
                  <a:pt x="3857698" y="694740"/>
                </a:lnTo>
                <a:lnTo>
                  <a:pt x="3856553" y="693754"/>
                </a:lnTo>
                <a:lnTo>
                  <a:pt x="3855835" y="693035"/>
                </a:lnTo>
                <a:cubicBezTo>
                  <a:pt x="3853327" y="690368"/>
                  <a:pt x="3853984" y="688030"/>
                  <a:pt x="3853984" y="688043"/>
                </a:cubicBezTo>
                <a:lnTo>
                  <a:pt x="3863726" y="687860"/>
                </a:lnTo>
                <a:lnTo>
                  <a:pt x="3861668" y="686642"/>
                </a:lnTo>
                <a:lnTo>
                  <a:pt x="3858210" y="684572"/>
                </a:lnTo>
                <a:lnTo>
                  <a:pt x="3854788" y="682478"/>
                </a:lnTo>
                <a:lnTo>
                  <a:pt x="3852011" y="680737"/>
                </a:lnTo>
                <a:lnTo>
                  <a:pt x="3848773" y="678642"/>
                </a:lnTo>
                <a:lnTo>
                  <a:pt x="3844961" y="676109"/>
                </a:lnTo>
                <a:cubicBezTo>
                  <a:pt x="3837302" y="671020"/>
                  <a:pt x="3830044" y="665357"/>
                  <a:pt x="3823250" y="659171"/>
                </a:cubicBezTo>
                <a:cubicBezTo>
                  <a:pt x="3816212" y="653083"/>
                  <a:pt x="3808199" y="642867"/>
                  <a:pt x="3808199" y="642867"/>
                </a:cubicBezTo>
                <a:lnTo>
                  <a:pt x="3803438" y="641905"/>
                </a:lnTo>
                <a:lnTo>
                  <a:pt x="3797666" y="640687"/>
                </a:lnTo>
                <a:lnTo>
                  <a:pt x="3789885" y="639080"/>
                </a:lnTo>
                <a:lnTo>
                  <a:pt x="3786646" y="638446"/>
                </a:lnTo>
                <a:lnTo>
                  <a:pt x="3781532" y="637496"/>
                </a:lnTo>
                <a:lnTo>
                  <a:pt x="3776661" y="636681"/>
                </a:lnTo>
                <a:lnTo>
                  <a:pt x="3773410" y="636181"/>
                </a:lnTo>
                <a:lnTo>
                  <a:pt x="3770731" y="635816"/>
                </a:lnTo>
                <a:lnTo>
                  <a:pt x="3766213" y="635256"/>
                </a:lnTo>
                <a:lnTo>
                  <a:pt x="3762560" y="634793"/>
                </a:lnTo>
                <a:lnTo>
                  <a:pt x="3758238" y="634221"/>
                </a:lnTo>
                <a:lnTo>
                  <a:pt x="3751723" y="633283"/>
                </a:lnTo>
                <a:lnTo>
                  <a:pt x="3744259" y="632066"/>
                </a:lnTo>
                <a:lnTo>
                  <a:pt x="3739765" y="631299"/>
                </a:lnTo>
                <a:cubicBezTo>
                  <a:pt x="3720843" y="627840"/>
                  <a:pt x="3707448" y="623871"/>
                  <a:pt x="3707448" y="623871"/>
                </a:cubicBezTo>
                <a:lnTo>
                  <a:pt x="3701128" y="621935"/>
                </a:lnTo>
                <a:lnTo>
                  <a:pt x="3696477" y="620473"/>
                </a:lnTo>
                <a:lnTo>
                  <a:pt x="3690145" y="618513"/>
                </a:lnTo>
                <a:lnTo>
                  <a:pt x="3681621" y="615907"/>
                </a:lnTo>
                <a:cubicBezTo>
                  <a:pt x="3676969" y="614507"/>
                  <a:pt x="3672306" y="613118"/>
                  <a:pt x="3667642" y="611742"/>
                </a:cubicBezTo>
                <a:lnTo>
                  <a:pt x="3662369" y="610220"/>
                </a:lnTo>
                <a:lnTo>
                  <a:pt x="3653444" y="607700"/>
                </a:lnTo>
                <a:lnTo>
                  <a:pt x="3648817" y="606482"/>
                </a:lnTo>
                <a:lnTo>
                  <a:pt x="3644676" y="605264"/>
                </a:lnTo>
                <a:cubicBezTo>
                  <a:pt x="3642265" y="604558"/>
                  <a:pt x="3639988" y="603426"/>
                  <a:pt x="3637991" y="601903"/>
                </a:cubicBezTo>
                <a:cubicBezTo>
                  <a:pt x="3636664" y="600844"/>
                  <a:pt x="3635580" y="599505"/>
                  <a:pt x="3634838" y="597983"/>
                </a:cubicBezTo>
                <a:cubicBezTo>
                  <a:pt x="3634423" y="596789"/>
                  <a:pt x="3633863" y="595669"/>
                  <a:pt x="3633157" y="594622"/>
                </a:cubicBezTo>
                <a:lnTo>
                  <a:pt x="3632025" y="592881"/>
                </a:lnTo>
                <a:lnTo>
                  <a:pt x="3630868" y="591115"/>
                </a:lnTo>
                <a:cubicBezTo>
                  <a:pt x="3629869" y="589581"/>
                  <a:pt x="3628481" y="588314"/>
                  <a:pt x="3626862" y="587462"/>
                </a:cubicBezTo>
                <a:cubicBezTo>
                  <a:pt x="3624974" y="586244"/>
                  <a:pt x="3617486" y="586682"/>
                  <a:pt x="3617254" y="586695"/>
                </a:cubicBezTo>
                <a:lnTo>
                  <a:pt x="3614697" y="586804"/>
                </a:lnTo>
                <a:lnTo>
                  <a:pt x="3611653" y="586902"/>
                </a:lnTo>
                <a:lnTo>
                  <a:pt x="3609461" y="586902"/>
                </a:lnTo>
                <a:lnTo>
                  <a:pt x="3608036" y="586902"/>
                </a:lnTo>
                <a:cubicBezTo>
                  <a:pt x="3603360" y="586975"/>
                  <a:pt x="3598015" y="586463"/>
                  <a:pt x="3598015" y="586475"/>
                </a:cubicBezTo>
                <a:cubicBezTo>
                  <a:pt x="3583403" y="585404"/>
                  <a:pt x="3566732" y="577952"/>
                  <a:pt x="3566732" y="577952"/>
                </a:cubicBezTo>
                <a:lnTo>
                  <a:pt x="3562166" y="575955"/>
                </a:lnTo>
                <a:lnTo>
                  <a:pt x="3558099" y="574080"/>
                </a:lnTo>
                <a:lnTo>
                  <a:pt x="3552863" y="571559"/>
                </a:lnTo>
                <a:lnTo>
                  <a:pt x="3547091" y="568734"/>
                </a:lnTo>
                <a:lnTo>
                  <a:pt x="3541003" y="565787"/>
                </a:lnTo>
                <a:lnTo>
                  <a:pt x="3536132" y="563522"/>
                </a:lnTo>
                <a:cubicBezTo>
                  <a:pt x="3536132" y="563522"/>
                  <a:pt x="3533855" y="562536"/>
                  <a:pt x="3533855" y="562524"/>
                </a:cubicBezTo>
                <a:lnTo>
                  <a:pt x="3531748" y="561635"/>
                </a:lnTo>
                <a:lnTo>
                  <a:pt x="3530226" y="561014"/>
                </a:lnTo>
                <a:lnTo>
                  <a:pt x="3529508" y="560722"/>
                </a:lnTo>
                <a:lnTo>
                  <a:pt x="3528387" y="560283"/>
                </a:lnTo>
                <a:lnTo>
                  <a:pt x="3527365" y="559796"/>
                </a:lnTo>
                <a:lnTo>
                  <a:pt x="3526317" y="559199"/>
                </a:lnTo>
                <a:cubicBezTo>
                  <a:pt x="3524040" y="557629"/>
                  <a:pt x="3522141" y="555583"/>
                  <a:pt x="3520752" y="553196"/>
                </a:cubicBezTo>
                <a:cubicBezTo>
                  <a:pt x="3520472" y="552575"/>
                  <a:pt x="3520192" y="551978"/>
                  <a:pt x="3519900" y="551321"/>
                </a:cubicBezTo>
                <a:lnTo>
                  <a:pt x="3519596" y="550359"/>
                </a:lnTo>
                <a:cubicBezTo>
                  <a:pt x="3519486" y="550055"/>
                  <a:pt x="3519389" y="549750"/>
                  <a:pt x="3519279" y="549458"/>
                </a:cubicBezTo>
                <a:cubicBezTo>
                  <a:pt x="3519170" y="549166"/>
                  <a:pt x="3519072" y="548946"/>
                  <a:pt x="3518963" y="548691"/>
                </a:cubicBezTo>
                <a:lnTo>
                  <a:pt x="3518074" y="547023"/>
                </a:lnTo>
                <a:cubicBezTo>
                  <a:pt x="3517842" y="546682"/>
                  <a:pt x="3517623" y="546328"/>
                  <a:pt x="3517404" y="545987"/>
                </a:cubicBezTo>
                <a:lnTo>
                  <a:pt x="3516673" y="545001"/>
                </a:lnTo>
                <a:lnTo>
                  <a:pt x="3515553" y="543625"/>
                </a:lnTo>
                <a:lnTo>
                  <a:pt x="3514591" y="542566"/>
                </a:lnTo>
                <a:cubicBezTo>
                  <a:pt x="3514092" y="542054"/>
                  <a:pt x="3513593" y="541555"/>
                  <a:pt x="3513106" y="541044"/>
                </a:cubicBezTo>
                <a:lnTo>
                  <a:pt x="3511730" y="539729"/>
                </a:lnTo>
                <a:lnTo>
                  <a:pt x="3510049" y="538194"/>
                </a:lnTo>
                <a:lnTo>
                  <a:pt x="3509039" y="537293"/>
                </a:lnTo>
                <a:cubicBezTo>
                  <a:pt x="3507821" y="536148"/>
                  <a:pt x="3506518" y="535089"/>
                  <a:pt x="3505142" y="534139"/>
                </a:cubicBezTo>
                <a:cubicBezTo>
                  <a:pt x="3502098" y="532325"/>
                  <a:pt x="3498822" y="530925"/>
                  <a:pt x="3495401" y="529975"/>
                </a:cubicBezTo>
                <a:cubicBezTo>
                  <a:pt x="3486207" y="527540"/>
                  <a:pt x="3482724" y="527820"/>
                  <a:pt x="3482736" y="527820"/>
                </a:cubicBezTo>
                <a:cubicBezTo>
                  <a:pt x="3480009" y="527820"/>
                  <a:pt x="3477306" y="528221"/>
                  <a:pt x="3474700" y="529037"/>
                </a:cubicBezTo>
                <a:cubicBezTo>
                  <a:pt x="3463972" y="532593"/>
                  <a:pt x="3469135" y="538608"/>
                  <a:pt x="3469123" y="538608"/>
                </a:cubicBezTo>
                <a:lnTo>
                  <a:pt x="3470511" y="541044"/>
                </a:lnTo>
                <a:cubicBezTo>
                  <a:pt x="3473129" y="545610"/>
                  <a:pt x="3476526" y="549677"/>
                  <a:pt x="3480557" y="553062"/>
                </a:cubicBezTo>
                <a:cubicBezTo>
                  <a:pt x="3484222" y="556106"/>
                  <a:pt x="3488155" y="558785"/>
                  <a:pt x="3492332" y="561074"/>
                </a:cubicBezTo>
                <a:lnTo>
                  <a:pt x="3500052" y="565945"/>
                </a:lnTo>
                <a:cubicBezTo>
                  <a:pt x="3503888" y="568490"/>
                  <a:pt x="3507711" y="571035"/>
                  <a:pt x="3511535" y="573604"/>
                </a:cubicBezTo>
                <a:lnTo>
                  <a:pt x="3518147" y="572582"/>
                </a:lnTo>
                <a:cubicBezTo>
                  <a:pt x="3517075" y="574907"/>
                  <a:pt x="3515991" y="577221"/>
                  <a:pt x="3514920" y="579547"/>
                </a:cubicBezTo>
                <a:lnTo>
                  <a:pt x="3524783" y="578329"/>
                </a:lnTo>
                <a:cubicBezTo>
                  <a:pt x="3527036" y="579973"/>
                  <a:pt x="3529021" y="581934"/>
                  <a:pt x="3530689" y="584162"/>
                </a:cubicBezTo>
                <a:cubicBezTo>
                  <a:pt x="3533904" y="589422"/>
                  <a:pt x="3532771" y="594049"/>
                  <a:pt x="3529788" y="597557"/>
                </a:cubicBezTo>
                <a:cubicBezTo>
                  <a:pt x="3526805" y="601063"/>
                  <a:pt x="3537739" y="603133"/>
                  <a:pt x="3537739" y="603133"/>
                </a:cubicBezTo>
                <a:cubicBezTo>
                  <a:pt x="3561436" y="608832"/>
                  <a:pt x="3569216" y="608296"/>
                  <a:pt x="3569229" y="608296"/>
                </a:cubicBezTo>
                <a:cubicBezTo>
                  <a:pt x="3589065" y="609611"/>
                  <a:pt x="3603227" y="596923"/>
                  <a:pt x="3603227" y="596911"/>
                </a:cubicBezTo>
                <a:cubicBezTo>
                  <a:pt x="3607172" y="594476"/>
                  <a:pt x="3611592" y="592929"/>
                  <a:pt x="3616183" y="592357"/>
                </a:cubicBezTo>
                <a:cubicBezTo>
                  <a:pt x="3616572" y="593416"/>
                  <a:pt x="3616974" y="594488"/>
                  <a:pt x="3617400" y="595547"/>
                </a:cubicBezTo>
                <a:lnTo>
                  <a:pt x="3618143" y="597629"/>
                </a:lnTo>
                <a:lnTo>
                  <a:pt x="3619361" y="600430"/>
                </a:lnTo>
                <a:lnTo>
                  <a:pt x="3620457" y="602452"/>
                </a:lnTo>
                <a:lnTo>
                  <a:pt x="3621833" y="604570"/>
                </a:lnTo>
                <a:cubicBezTo>
                  <a:pt x="3622514" y="605520"/>
                  <a:pt x="3623172" y="606470"/>
                  <a:pt x="3623842" y="607420"/>
                </a:cubicBezTo>
                <a:cubicBezTo>
                  <a:pt x="3625060" y="609039"/>
                  <a:pt x="3626277" y="610659"/>
                  <a:pt x="3627568" y="612290"/>
                </a:cubicBezTo>
                <a:lnTo>
                  <a:pt x="3633267" y="619183"/>
                </a:lnTo>
                <a:cubicBezTo>
                  <a:pt x="3638320" y="624650"/>
                  <a:pt x="3642777" y="625892"/>
                  <a:pt x="3642765" y="625892"/>
                </a:cubicBezTo>
                <a:cubicBezTo>
                  <a:pt x="3646259" y="627073"/>
                  <a:pt x="3649925" y="627706"/>
                  <a:pt x="3653614" y="627791"/>
                </a:cubicBezTo>
                <a:cubicBezTo>
                  <a:pt x="3655879" y="627791"/>
                  <a:pt x="3659410" y="629752"/>
                  <a:pt x="3659410" y="629764"/>
                </a:cubicBezTo>
                <a:lnTo>
                  <a:pt x="3661200" y="630799"/>
                </a:lnTo>
                <a:lnTo>
                  <a:pt x="3663161" y="632114"/>
                </a:lnTo>
                <a:lnTo>
                  <a:pt x="3664841" y="633466"/>
                </a:lnTo>
                <a:lnTo>
                  <a:pt x="3667910" y="636181"/>
                </a:lnTo>
                <a:cubicBezTo>
                  <a:pt x="3668933" y="637119"/>
                  <a:pt x="3669943" y="638081"/>
                  <a:pt x="3670966" y="639031"/>
                </a:cubicBezTo>
                <a:lnTo>
                  <a:pt x="3674132" y="642173"/>
                </a:lnTo>
                <a:cubicBezTo>
                  <a:pt x="3675691" y="643853"/>
                  <a:pt x="3677249" y="645521"/>
                  <a:pt x="3678796" y="647213"/>
                </a:cubicBezTo>
                <a:cubicBezTo>
                  <a:pt x="3682973" y="651281"/>
                  <a:pt x="3680793" y="654215"/>
                  <a:pt x="3680793" y="654215"/>
                </a:cubicBezTo>
                <a:cubicBezTo>
                  <a:pt x="3680537" y="654495"/>
                  <a:pt x="3680281" y="654763"/>
                  <a:pt x="3680014" y="655031"/>
                </a:cubicBezTo>
                <a:lnTo>
                  <a:pt x="3675143" y="659086"/>
                </a:lnTo>
                <a:cubicBezTo>
                  <a:pt x="3673986" y="659975"/>
                  <a:pt x="3672817" y="660876"/>
                  <a:pt x="3671648" y="661753"/>
                </a:cubicBezTo>
                <a:lnTo>
                  <a:pt x="3667776" y="664602"/>
                </a:lnTo>
                <a:lnTo>
                  <a:pt x="3664476" y="667038"/>
                </a:lnTo>
                <a:lnTo>
                  <a:pt x="3662138" y="668767"/>
                </a:lnTo>
                <a:lnTo>
                  <a:pt x="3660665" y="669582"/>
                </a:lnTo>
                <a:cubicBezTo>
                  <a:pt x="3659885" y="669863"/>
                  <a:pt x="3659045" y="669960"/>
                  <a:pt x="3658229" y="669851"/>
                </a:cubicBezTo>
                <a:cubicBezTo>
                  <a:pt x="3656902" y="669765"/>
                  <a:pt x="3655575" y="669765"/>
                  <a:pt x="3654247" y="669851"/>
                </a:cubicBezTo>
                <a:cubicBezTo>
                  <a:pt x="3648646" y="670216"/>
                  <a:pt x="3647794" y="674246"/>
                  <a:pt x="3647794" y="674258"/>
                </a:cubicBezTo>
                <a:cubicBezTo>
                  <a:pt x="3647453" y="675756"/>
                  <a:pt x="3647234" y="677266"/>
                  <a:pt x="3647148" y="678800"/>
                </a:cubicBezTo>
                <a:cubicBezTo>
                  <a:pt x="3646832" y="682855"/>
                  <a:pt x="3644823" y="683415"/>
                  <a:pt x="3644823" y="683403"/>
                </a:cubicBezTo>
                <a:cubicBezTo>
                  <a:pt x="3642777" y="684438"/>
                  <a:pt x="3637516" y="684390"/>
                  <a:pt x="3637322" y="684402"/>
                </a:cubicBezTo>
                <a:lnTo>
                  <a:pt x="3635629" y="684402"/>
                </a:lnTo>
                <a:cubicBezTo>
                  <a:pt x="3627702" y="684170"/>
                  <a:pt x="3623245" y="687421"/>
                  <a:pt x="3623245" y="687410"/>
                </a:cubicBezTo>
                <a:lnTo>
                  <a:pt x="3622125" y="688237"/>
                </a:lnTo>
                <a:lnTo>
                  <a:pt x="3621467" y="688688"/>
                </a:lnTo>
                <a:lnTo>
                  <a:pt x="3619860" y="689492"/>
                </a:lnTo>
                <a:lnTo>
                  <a:pt x="3618496" y="689991"/>
                </a:lnTo>
                <a:cubicBezTo>
                  <a:pt x="3616986" y="690466"/>
                  <a:pt x="3615403" y="690648"/>
                  <a:pt x="3613820" y="690514"/>
                </a:cubicBezTo>
                <a:cubicBezTo>
                  <a:pt x="3598855" y="688079"/>
                  <a:pt x="3594070" y="695190"/>
                  <a:pt x="3594070" y="695190"/>
                </a:cubicBezTo>
                <a:lnTo>
                  <a:pt x="3584730" y="695373"/>
                </a:lnTo>
                <a:lnTo>
                  <a:pt x="3575341" y="695580"/>
                </a:lnTo>
                <a:lnTo>
                  <a:pt x="3569058" y="695738"/>
                </a:lnTo>
                <a:lnTo>
                  <a:pt x="3557295" y="696116"/>
                </a:lnTo>
                <a:lnTo>
                  <a:pt x="3553241" y="696274"/>
                </a:lnTo>
                <a:lnTo>
                  <a:pt x="3547761" y="696530"/>
                </a:lnTo>
                <a:lnTo>
                  <a:pt x="3544485" y="696700"/>
                </a:lnTo>
                <a:cubicBezTo>
                  <a:pt x="3540430" y="697382"/>
                  <a:pt x="3539322" y="699818"/>
                  <a:pt x="3539310" y="699805"/>
                </a:cubicBezTo>
                <a:cubicBezTo>
                  <a:pt x="3539310" y="700146"/>
                  <a:pt x="3539176" y="700475"/>
                  <a:pt x="3539103" y="700816"/>
                </a:cubicBezTo>
                <a:cubicBezTo>
                  <a:pt x="3539030" y="701157"/>
                  <a:pt x="3538945" y="701815"/>
                  <a:pt x="3538872" y="702314"/>
                </a:cubicBezTo>
                <a:lnTo>
                  <a:pt x="3538555" y="703154"/>
                </a:lnTo>
                <a:cubicBezTo>
                  <a:pt x="3535669" y="709559"/>
                  <a:pt x="3516357" y="709242"/>
                  <a:pt x="3516357" y="709242"/>
                </a:cubicBezTo>
                <a:cubicBezTo>
                  <a:pt x="3513824" y="709242"/>
                  <a:pt x="3511291" y="709218"/>
                  <a:pt x="3508758" y="709169"/>
                </a:cubicBezTo>
                <a:lnTo>
                  <a:pt x="3501647" y="708902"/>
                </a:lnTo>
                <a:lnTo>
                  <a:pt x="3495936" y="708670"/>
                </a:lnTo>
                <a:lnTo>
                  <a:pt x="3492283" y="708670"/>
                </a:lnTo>
                <a:cubicBezTo>
                  <a:pt x="3490676" y="708755"/>
                  <a:pt x="3489069" y="708828"/>
                  <a:pt x="3487412" y="708926"/>
                </a:cubicBezTo>
                <a:lnTo>
                  <a:pt x="3484514" y="709315"/>
                </a:lnTo>
                <a:lnTo>
                  <a:pt x="3480557" y="710265"/>
                </a:lnTo>
                <a:lnTo>
                  <a:pt x="3477817" y="711288"/>
                </a:lnTo>
                <a:lnTo>
                  <a:pt x="3475662" y="711995"/>
                </a:lnTo>
                <a:lnTo>
                  <a:pt x="3472886" y="712408"/>
                </a:lnTo>
                <a:lnTo>
                  <a:pt x="3468867" y="712628"/>
                </a:lnTo>
                <a:lnTo>
                  <a:pt x="3465494" y="712713"/>
                </a:lnTo>
                <a:lnTo>
                  <a:pt x="3460964" y="712847"/>
                </a:lnTo>
                <a:lnTo>
                  <a:pt x="3456739" y="712713"/>
                </a:lnTo>
                <a:cubicBezTo>
                  <a:pt x="3450821" y="712603"/>
                  <a:pt x="3449847" y="713407"/>
                  <a:pt x="3449847" y="713419"/>
                </a:cubicBezTo>
                <a:cubicBezTo>
                  <a:pt x="3444099" y="715854"/>
                  <a:pt x="3431679" y="715939"/>
                  <a:pt x="3431679" y="715939"/>
                </a:cubicBezTo>
                <a:lnTo>
                  <a:pt x="3427222" y="716013"/>
                </a:lnTo>
                <a:lnTo>
                  <a:pt x="3423119" y="716074"/>
                </a:lnTo>
                <a:cubicBezTo>
                  <a:pt x="3419234" y="716183"/>
                  <a:pt x="3415362" y="716658"/>
                  <a:pt x="3411563" y="717486"/>
                </a:cubicBezTo>
                <a:lnTo>
                  <a:pt x="3409493" y="718022"/>
                </a:lnTo>
                <a:lnTo>
                  <a:pt x="3407472" y="718424"/>
                </a:lnTo>
                <a:lnTo>
                  <a:pt x="3405633" y="718692"/>
                </a:lnTo>
                <a:cubicBezTo>
                  <a:pt x="3396342" y="719666"/>
                  <a:pt x="3386941" y="718789"/>
                  <a:pt x="3377991" y="716110"/>
                </a:cubicBezTo>
                <a:cubicBezTo>
                  <a:pt x="3371477" y="713675"/>
                  <a:pt x="3370527" y="711081"/>
                  <a:pt x="3370527" y="711081"/>
                </a:cubicBezTo>
                <a:cubicBezTo>
                  <a:pt x="3369869" y="709985"/>
                  <a:pt x="3370332" y="709340"/>
                  <a:pt x="3370344" y="709340"/>
                </a:cubicBezTo>
                <a:cubicBezTo>
                  <a:pt x="3370478" y="709011"/>
                  <a:pt x="3370624" y="708695"/>
                  <a:pt x="3370758" y="708366"/>
                </a:cubicBezTo>
                <a:cubicBezTo>
                  <a:pt x="3370892" y="708037"/>
                  <a:pt x="3371038" y="707331"/>
                  <a:pt x="3371184" y="706831"/>
                </a:cubicBezTo>
                <a:lnTo>
                  <a:pt x="3371330" y="705614"/>
                </a:lnTo>
                <a:cubicBezTo>
                  <a:pt x="3371330" y="705260"/>
                  <a:pt x="3371330" y="704895"/>
                  <a:pt x="3371330" y="704542"/>
                </a:cubicBezTo>
                <a:cubicBezTo>
                  <a:pt x="3371258" y="703958"/>
                  <a:pt x="3371184" y="703324"/>
                  <a:pt x="3371099" y="702789"/>
                </a:cubicBezTo>
                <a:cubicBezTo>
                  <a:pt x="3370758" y="701705"/>
                  <a:pt x="3370405" y="700609"/>
                  <a:pt x="3370052" y="699525"/>
                </a:cubicBezTo>
                <a:cubicBezTo>
                  <a:pt x="3369662" y="698685"/>
                  <a:pt x="3369260" y="697857"/>
                  <a:pt x="3368834" y="697017"/>
                </a:cubicBezTo>
                <a:lnTo>
                  <a:pt x="3367702" y="694910"/>
                </a:lnTo>
                <a:cubicBezTo>
                  <a:pt x="3367300" y="694216"/>
                  <a:pt x="3366898" y="693522"/>
                  <a:pt x="3366484" y="692816"/>
                </a:cubicBezTo>
                <a:lnTo>
                  <a:pt x="3365644" y="691281"/>
                </a:lnTo>
                <a:lnTo>
                  <a:pt x="3364658" y="689334"/>
                </a:lnTo>
                <a:cubicBezTo>
                  <a:pt x="3364499" y="689017"/>
                  <a:pt x="3364353" y="688676"/>
                  <a:pt x="3364207" y="688347"/>
                </a:cubicBezTo>
                <a:lnTo>
                  <a:pt x="3363562" y="686666"/>
                </a:lnTo>
                <a:cubicBezTo>
                  <a:pt x="3363379" y="685948"/>
                  <a:pt x="3363184" y="685242"/>
                  <a:pt x="3362989" y="684535"/>
                </a:cubicBezTo>
                <a:lnTo>
                  <a:pt x="3362113" y="681540"/>
                </a:lnTo>
                <a:cubicBezTo>
                  <a:pt x="3361991" y="680627"/>
                  <a:pt x="3361857" y="679713"/>
                  <a:pt x="3361735" y="678813"/>
                </a:cubicBezTo>
                <a:lnTo>
                  <a:pt x="3361991" y="677010"/>
                </a:lnTo>
                <a:lnTo>
                  <a:pt x="3362173" y="674855"/>
                </a:lnTo>
                <a:cubicBezTo>
                  <a:pt x="3362563" y="665114"/>
                  <a:pt x="3351446" y="658599"/>
                  <a:pt x="3351446" y="658623"/>
                </a:cubicBezTo>
                <a:lnTo>
                  <a:pt x="3349010" y="657162"/>
                </a:lnTo>
                <a:lnTo>
                  <a:pt x="3345930" y="655335"/>
                </a:lnTo>
                <a:cubicBezTo>
                  <a:pt x="3342423" y="652937"/>
                  <a:pt x="3339512" y="649771"/>
                  <a:pt x="3337406" y="646081"/>
                </a:cubicBezTo>
                <a:cubicBezTo>
                  <a:pt x="3337138" y="645509"/>
                  <a:pt x="3336858" y="644924"/>
                  <a:pt x="3336590" y="644340"/>
                </a:cubicBezTo>
                <a:lnTo>
                  <a:pt x="3335372" y="642196"/>
                </a:lnTo>
                <a:cubicBezTo>
                  <a:pt x="3330501" y="633953"/>
                  <a:pt x="3318848" y="628096"/>
                  <a:pt x="3318848" y="628108"/>
                </a:cubicBezTo>
                <a:lnTo>
                  <a:pt x="3316413" y="627000"/>
                </a:lnTo>
                <a:lnTo>
                  <a:pt x="3313917" y="625953"/>
                </a:lnTo>
                <a:cubicBezTo>
                  <a:pt x="3310763" y="624528"/>
                  <a:pt x="3307719" y="622860"/>
                  <a:pt x="3304833" y="620960"/>
                </a:cubicBezTo>
                <a:lnTo>
                  <a:pt x="3303457" y="619937"/>
                </a:lnTo>
                <a:cubicBezTo>
                  <a:pt x="3302884" y="619463"/>
                  <a:pt x="3302239" y="618988"/>
                  <a:pt x="3301740" y="618501"/>
                </a:cubicBezTo>
                <a:lnTo>
                  <a:pt x="3300949" y="617770"/>
                </a:lnTo>
                <a:cubicBezTo>
                  <a:pt x="3295043" y="612607"/>
                  <a:pt x="3293082" y="603012"/>
                  <a:pt x="3293082" y="603024"/>
                </a:cubicBezTo>
                <a:cubicBezTo>
                  <a:pt x="3290415" y="592783"/>
                  <a:pt x="3286153" y="588412"/>
                  <a:pt x="3286153" y="588412"/>
                </a:cubicBezTo>
                <a:cubicBezTo>
                  <a:pt x="3285715" y="587888"/>
                  <a:pt x="3285265" y="587377"/>
                  <a:pt x="3284826" y="586865"/>
                </a:cubicBezTo>
                <a:cubicBezTo>
                  <a:pt x="3278738" y="579864"/>
                  <a:pt x="3267913" y="574530"/>
                  <a:pt x="3267925" y="574542"/>
                </a:cubicBezTo>
                <a:lnTo>
                  <a:pt x="3265563" y="573385"/>
                </a:lnTo>
                <a:lnTo>
                  <a:pt x="3263687" y="572460"/>
                </a:lnTo>
                <a:cubicBezTo>
                  <a:pt x="3260034" y="570463"/>
                  <a:pt x="3259937" y="569148"/>
                  <a:pt x="3259924" y="569160"/>
                </a:cubicBezTo>
                <a:lnTo>
                  <a:pt x="3259401" y="568137"/>
                </a:lnTo>
                <a:lnTo>
                  <a:pt x="3258670" y="566919"/>
                </a:lnTo>
                <a:lnTo>
                  <a:pt x="3257453" y="565142"/>
                </a:lnTo>
                <a:lnTo>
                  <a:pt x="3256686" y="564106"/>
                </a:lnTo>
                <a:lnTo>
                  <a:pt x="3255772" y="562974"/>
                </a:lnTo>
                <a:lnTo>
                  <a:pt x="3254616" y="561635"/>
                </a:lnTo>
                <a:lnTo>
                  <a:pt x="3253398" y="560417"/>
                </a:lnTo>
                <a:lnTo>
                  <a:pt x="3251632" y="558627"/>
                </a:lnTo>
                <a:lnTo>
                  <a:pt x="3250049" y="557141"/>
                </a:lnTo>
                <a:lnTo>
                  <a:pt x="3247675" y="554998"/>
                </a:lnTo>
                <a:lnTo>
                  <a:pt x="3245239" y="552965"/>
                </a:lnTo>
                <a:lnTo>
                  <a:pt x="3243023" y="551114"/>
                </a:lnTo>
                <a:lnTo>
                  <a:pt x="3240442" y="548995"/>
                </a:lnTo>
                <a:lnTo>
                  <a:pt x="3238408" y="547315"/>
                </a:lnTo>
                <a:lnTo>
                  <a:pt x="3236180" y="545452"/>
                </a:lnTo>
                <a:lnTo>
                  <a:pt x="3233988" y="543552"/>
                </a:lnTo>
                <a:lnTo>
                  <a:pt x="3231078" y="540922"/>
                </a:lnTo>
                <a:lnTo>
                  <a:pt x="3227339" y="537269"/>
                </a:lnTo>
                <a:lnTo>
                  <a:pt x="3224295" y="534152"/>
                </a:lnTo>
                <a:cubicBezTo>
                  <a:pt x="3218560" y="527661"/>
                  <a:pt x="3216100" y="526845"/>
                  <a:pt x="3216100" y="526845"/>
                </a:cubicBezTo>
                <a:cubicBezTo>
                  <a:pt x="3212751" y="524763"/>
                  <a:pt x="3206870" y="523947"/>
                  <a:pt x="3206870" y="523947"/>
                </a:cubicBezTo>
                <a:cubicBezTo>
                  <a:pt x="3206578" y="524154"/>
                  <a:pt x="3206298" y="524374"/>
                  <a:pt x="3206018" y="524593"/>
                </a:cubicBezTo>
                <a:lnTo>
                  <a:pt x="3202365" y="527357"/>
                </a:lnTo>
                <a:lnTo>
                  <a:pt x="3196629" y="525555"/>
                </a:lnTo>
                <a:lnTo>
                  <a:pt x="3185987" y="522243"/>
                </a:lnTo>
                <a:cubicBezTo>
                  <a:pt x="3186876" y="523582"/>
                  <a:pt x="3187764" y="524921"/>
                  <a:pt x="3188641" y="526261"/>
                </a:cubicBezTo>
                <a:lnTo>
                  <a:pt x="3191077" y="530084"/>
                </a:lnTo>
                <a:cubicBezTo>
                  <a:pt x="3191807" y="531229"/>
                  <a:pt x="3192538" y="532362"/>
                  <a:pt x="3193256" y="533506"/>
                </a:cubicBezTo>
                <a:lnTo>
                  <a:pt x="3196581" y="538243"/>
                </a:lnTo>
                <a:lnTo>
                  <a:pt x="3198919" y="541153"/>
                </a:lnTo>
                <a:lnTo>
                  <a:pt x="3199954" y="542371"/>
                </a:lnTo>
                <a:cubicBezTo>
                  <a:pt x="3202450" y="545111"/>
                  <a:pt x="3204946" y="547863"/>
                  <a:pt x="3207418" y="550615"/>
                </a:cubicBezTo>
                <a:lnTo>
                  <a:pt x="3212289" y="556642"/>
                </a:lnTo>
                <a:lnTo>
                  <a:pt x="3215577" y="560977"/>
                </a:lnTo>
                <a:lnTo>
                  <a:pt x="3220386" y="567626"/>
                </a:lnTo>
                <a:lnTo>
                  <a:pt x="3223382" y="571815"/>
                </a:lnTo>
                <a:lnTo>
                  <a:pt x="3227035" y="576941"/>
                </a:lnTo>
                <a:lnTo>
                  <a:pt x="3229349" y="579961"/>
                </a:lnTo>
                <a:lnTo>
                  <a:pt x="3231090" y="581714"/>
                </a:lnTo>
                <a:lnTo>
                  <a:pt x="3232953" y="583115"/>
                </a:lnTo>
                <a:lnTo>
                  <a:pt x="3234560" y="584077"/>
                </a:lnTo>
                <a:lnTo>
                  <a:pt x="3236679" y="585112"/>
                </a:lnTo>
                <a:lnTo>
                  <a:pt x="3239114" y="586134"/>
                </a:lnTo>
                <a:lnTo>
                  <a:pt x="3240770" y="586950"/>
                </a:lnTo>
                <a:lnTo>
                  <a:pt x="3243620" y="588558"/>
                </a:lnTo>
                <a:lnTo>
                  <a:pt x="3245800" y="590043"/>
                </a:lnTo>
                <a:cubicBezTo>
                  <a:pt x="3250999" y="593234"/>
                  <a:pt x="3256612" y="602622"/>
                  <a:pt x="3256612" y="602622"/>
                </a:cubicBezTo>
                <a:cubicBezTo>
                  <a:pt x="3259803" y="607493"/>
                  <a:pt x="3263030" y="616771"/>
                  <a:pt x="3263030" y="616784"/>
                </a:cubicBezTo>
                <a:cubicBezTo>
                  <a:pt x="3263748" y="619852"/>
                  <a:pt x="3264247" y="622969"/>
                  <a:pt x="3264540" y="626111"/>
                </a:cubicBezTo>
                <a:cubicBezTo>
                  <a:pt x="3264540" y="626562"/>
                  <a:pt x="3264540" y="627012"/>
                  <a:pt x="3264540" y="627463"/>
                </a:cubicBezTo>
                <a:lnTo>
                  <a:pt x="3264795" y="629898"/>
                </a:lnTo>
                <a:cubicBezTo>
                  <a:pt x="3265002" y="630556"/>
                  <a:pt x="3265197" y="631213"/>
                  <a:pt x="3265404" y="631871"/>
                </a:cubicBezTo>
                <a:lnTo>
                  <a:pt x="3266305" y="633661"/>
                </a:lnTo>
                <a:lnTo>
                  <a:pt x="3267146" y="634878"/>
                </a:lnTo>
                <a:cubicBezTo>
                  <a:pt x="3272187" y="641064"/>
                  <a:pt x="3282147" y="644145"/>
                  <a:pt x="3282147" y="644120"/>
                </a:cubicBezTo>
                <a:lnTo>
                  <a:pt x="3283365" y="644669"/>
                </a:lnTo>
                <a:lnTo>
                  <a:pt x="3286202" y="646130"/>
                </a:lnTo>
                <a:lnTo>
                  <a:pt x="3287907" y="647165"/>
                </a:lnTo>
                <a:cubicBezTo>
                  <a:pt x="3296078" y="652596"/>
                  <a:pt x="3296881" y="658964"/>
                  <a:pt x="3296881" y="658952"/>
                </a:cubicBezTo>
                <a:cubicBezTo>
                  <a:pt x="3297027" y="660048"/>
                  <a:pt x="3297186" y="661144"/>
                  <a:pt x="3297332" y="662240"/>
                </a:cubicBezTo>
                <a:cubicBezTo>
                  <a:pt x="3297466" y="663153"/>
                  <a:pt x="3297588" y="664078"/>
                  <a:pt x="3297721" y="664992"/>
                </a:cubicBezTo>
                <a:cubicBezTo>
                  <a:pt x="3297916" y="665698"/>
                  <a:pt x="3298123" y="666392"/>
                  <a:pt x="3298318" y="667086"/>
                </a:cubicBezTo>
                <a:cubicBezTo>
                  <a:pt x="3301155" y="675671"/>
                  <a:pt x="3312334" y="680700"/>
                  <a:pt x="3312334" y="680700"/>
                </a:cubicBezTo>
                <a:cubicBezTo>
                  <a:pt x="3317071" y="682928"/>
                  <a:pt x="3322002" y="684718"/>
                  <a:pt x="3327068" y="686046"/>
                </a:cubicBezTo>
                <a:cubicBezTo>
                  <a:pt x="3336273" y="688298"/>
                  <a:pt x="3340085" y="692463"/>
                  <a:pt x="3340073" y="692450"/>
                </a:cubicBezTo>
                <a:lnTo>
                  <a:pt x="3343275" y="695361"/>
                </a:lnTo>
                <a:lnTo>
                  <a:pt x="3349887" y="700743"/>
                </a:lnTo>
                <a:cubicBezTo>
                  <a:pt x="3353138" y="703178"/>
                  <a:pt x="3356341" y="705614"/>
                  <a:pt x="3359519" y="708049"/>
                </a:cubicBezTo>
                <a:lnTo>
                  <a:pt x="3365376" y="712786"/>
                </a:lnTo>
                <a:lnTo>
                  <a:pt x="3371172" y="717559"/>
                </a:lnTo>
                <a:cubicBezTo>
                  <a:pt x="3376384" y="721480"/>
                  <a:pt x="3374119" y="724561"/>
                  <a:pt x="3374119" y="724561"/>
                </a:cubicBezTo>
                <a:cubicBezTo>
                  <a:pt x="3372487" y="726887"/>
                  <a:pt x="3372804" y="727983"/>
                  <a:pt x="3372816" y="727971"/>
                </a:cubicBezTo>
                <a:cubicBezTo>
                  <a:pt x="3372670" y="731624"/>
                  <a:pt x="3379465" y="734935"/>
                  <a:pt x="3379465" y="734948"/>
                </a:cubicBezTo>
                <a:lnTo>
                  <a:pt x="3381900" y="736251"/>
                </a:lnTo>
                <a:lnTo>
                  <a:pt x="3383848" y="737468"/>
                </a:lnTo>
                <a:cubicBezTo>
                  <a:pt x="3385650" y="738698"/>
                  <a:pt x="3387526" y="739819"/>
                  <a:pt x="3389474" y="740805"/>
                </a:cubicBezTo>
                <a:cubicBezTo>
                  <a:pt x="3394747" y="743106"/>
                  <a:pt x="3400604" y="743739"/>
                  <a:pt x="3406242" y="742607"/>
                </a:cubicBezTo>
                <a:lnTo>
                  <a:pt x="3409675" y="742144"/>
                </a:lnTo>
                <a:cubicBezTo>
                  <a:pt x="3414461" y="741645"/>
                  <a:pt x="3419295" y="742144"/>
                  <a:pt x="3423874" y="743630"/>
                </a:cubicBezTo>
                <a:lnTo>
                  <a:pt x="3425018" y="744007"/>
                </a:lnTo>
                <a:lnTo>
                  <a:pt x="3426017" y="744299"/>
                </a:lnTo>
                <a:cubicBezTo>
                  <a:pt x="3435186" y="746735"/>
                  <a:pt x="3440117" y="743264"/>
                  <a:pt x="3440117" y="743264"/>
                </a:cubicBezTo>
                <a:cubicBezTo>
                  <a:pt x="3442322" y="742303"/>
                  <a:pt x="3444659" y="741694"/>
                  <a:pt x="3447046" y="741462"/>
                </a:cubicBezTo>
                <a:cubicBezTo>
                  <a:pt x="3448093" y="741341"/>
                  <a:pt x="3449153" y="741401"/>
                  <a:pt x="3450176" y="741621"/>
                </a:cubicBezTo>
                <a:cubicBezTo>
                  <a:pt x="3451077" y="741913"/>
                  <a:pt x="3452112" y="742181"/>
                  <a:pt x="3452124" y="742193"/>
                </a:cubicBezTo>
                <a:cubicBezTo>
                  <a:pt x="3456532" y="743521"/>
                  <a:pt x="3465799" y="743106"/>
                  <a:pt x="3465811" y="743119"/>
                </a:cubicBezTo>
                <a:cubicBezTo>
                  <a:pt x="3467808" y="743094"/>
                  <a:pt x="3469817" y="743204"/>
                  <a:pt x="3471802" y="743459"/>
                </a:cubicBezTo>
                <a:cubicBezTo>
                  <a:pt x="3484088" y="745188"/>
                  <a:pt x="3499200" y="742083"/>
                  <a:pt x="3499200" y="742083"/>
                </a:cubicBezTo>
                <a:cubicBezTo>
                  <a:pt x="3505678" y="740951"/>
                  <a:pt x="3507723" y="741206"/>
                  <a:pt x="3507723" y="741206"/>
                </a:cubicBezTo>
                <a:cubicBezTo>
                  <a:pt x="3512594" y="741304"/>
                  <a:pt x="3518074" y="745444"/>
                  <a:pt x="3518086" y="745444"/>
                </a:cubicBezTo>
                <a:cubicBezTo>
                  <a:pt x="3517648" y="746820"/>
                  <a:pt x="3517209" y="748196"/>
                  <a:pt x="3516783" y="749572"/>
                </a:cubicBezTo>
                <a:cubicBezTo>
                  <a:pt x="3515833" y="752580"/>
                  <a:pt x="3514896" y="755587"/>
                  <a:pt x="3513946" y="758595"/>
                </a:cubicBezTo>
                <a:lnTo>
                  <a:pt x="3512959" y="761761"/>
                </a:lnTo>
                <a:cubicBezTo>
                  <a:pt x="3512351" y="763637"/>
                  <a:pt x="3511754" y="765524"/>
                  <a:pt x="3511157" y="767411"/>
                </a:cubicBezTo>
                <a:lnTo>
                  <a:pt x="3510342" y="769981"/>
                </a:lnTo>
                <a:cubicBezTo>
                  <a:pt x="3510025" y="771162"/>
                  <a:pt x="3509392" y="772233"/>
                  <a:pt x="3508527" y="773098"/>
                </a:cubicBezTo>
                <a:lnTo>
                  <a:pt x="3506603" y="774766"/>
                </a:lnTo>
                <a:lnTo>
                  <a:pt x="3498493" y="781975"/>
                </a:lnTo>
                <a:cubicBezTo>
                  <a:pt x="3495632" y="784532"/>
                  <a:pt x="3492782" y="787101"/>
                  <a:pt x="3489970" y="789671"/>
                </a:cubicBezTo>
                <a:cubicBezTo>
                  <a:pt x="3486341" y="792922"/>
                  <a:pt x="3482724" y="796161"/>
                  <a:pt x="3479120" y="799412"/>
                </a:cubicBezTo>
                <a:cubicBezTo>
                  <a:pt x="3475638" y="802444"/>
                  <a:pt x="3472167" y="805476"/>
                  <a:pt x="3468709" y="808520"/>
                </a:cubicBezTo>
                <a:lnTo>
                  <a:pt x="3461537" y="814548"/>
                </a:lnTo>
                <a:lnTo>
                  <a:pt x="3454231" y="820380"/>
                </a:lnTo>
                <a:lnTo>
                  <a:pt x="3446924" y="825555"/>
                </a:lnTo>
                <a:cubicBezTo>
                  <a:pt x="3435819" y="833105"/>
                  <a:pt x="3423447" y="838597"/>
                  <a:pt x="3410394" y="841787"/>
                </a:cubicBezTo>
                <a:lnTo>
                  <a:pt x="3403465" y="843407"/>
                </a:lnTo>
                <a:cubicBezTo>
                  <a:pt x="3394649" y="845100"/>
                  <a:pt x="3385955" y="847353"/>
                  <a:pt x="3377419" y="850129"/>
                </a:cubicBezTo>
                <a:lnTo>
                  <a:pt x="3373632" y="851736"/>
                </a:lnTo>
                <a:lnTo>
                  <a:pt x="3369894" y="853575"/>
                </a:lnTo>
                <a:lnTo>
                  <a:pt x="3364913" y="856071"/>
                </a:lnTo>
                <a:lnTo>
                  <a:pt x="3360749" y="858202"/>
                </a:lnTo>
                <a:lnTo>
                  <a:pt x="3355026" y="861222"/>
                </a:lnTo>
                <a:lnTo>
                  <a:pt x="3350155" y="863913"/>
                </a:lnTo>
                <a:lnTo>
                  <a:pt x="3346429" y="866141"/>
                </a:lnTo>
                <a:lnTo>
                  <a:pt x="3342849" y="868443"/>
                </a:lnTo>
                <a:lnTo>
                  <a:pt x="3340267" y="870232"/>
                </a:lnTo>
                <a:lnTo>
                  <a:pt x="3334642" y="874629"/>
                </a:lnTo>
                <a:cubicBezTo>
                  <a:pt x="3333193" y="876406"/>
                  <a:pt x="3331269" y="877733"/>
                  <a:pt x="3329101" y="878464"/>
                </a:cubicBezTo>
                <a:lnTo>
                  <a:pt x="3323256" y="880230"/>
                </a:lnTo>
                <a:cubicBezTo>
                  <a:pt x="3321162" y="880960"/>
                  <a:pt x="3319055" y="881679"/>
                  <a:pt x="3316961" y="882422"/>
                </a:cubicBezTo>
                <a:lnTo>
                  <a:pt x="3309241" y="886233"/>
                </a:lnTo>
                <a:lnTo>
                  <a:pt x="3305283" y="889046"/>
                </a:lnTo>
                <a:lnTo>
                  <a:pt x="3301435" y="892906"/>
                </a:lnTo>
                <a:lnTo>
                  <a:pt x="3297709" y="897168"/>
                </a:lnTo>
                <a:cubicBezTo>
                  <a:pt x="3295846" y="898945"/>
                  <a:pt x="3293971" y="900711"/>
                  <a:pt x="3292108" y="902501"/>
                </a:cubicBezTo>
                <a:cubicBezTo>
                  <a:pt x="3289892" y="904449"/>
                  <a:pt x="3287688" y="906422"/>
                  <a:pt x="3285484" y="908371"/>
                </a:cubicBezTo>
                <a:cubicBezTo>
                  <a:pt x="3283280" y="910319"/>
                  <a:pt x="3281015" y="912608"/>
                  <a:pt x="3278799" y="914739"/>
                </a:cubicBezTo>
                <a:cubicBezTo>
                  <a:pt x="3270141" y="924480"/>
                  <a:pt x="3281405" y="928523"/>
                  <a:pt x="3281392" y="928523"/>
                </a:cubicBezTo>
                <a:lnTo>
                  <a:pt x="3284010" y="929972"/>
                </a:lnTo>
                <a:cubicBezTo>
                  <a:pt x="3289539" y="933893"/>
                  <a:pt x="3283182" y="936925"/>
                  <a:pt x="3283182" y="936913"/>
                </a:cubicBezTo>
                <a:cubicBezTo>
                  <a:pt x="3281088" y="937984"/>
                  <a:pt x="3280065" y="940395"/>
                  <a:pt x="3280747" y="942648"/>
                </a:cubicBezTo>
                <a:cubicBezTo>
                  <a:pt x="3281965" y="945291"/>
                  <a:pt x="3280832" y="949150"/>
                  <a:pt x="3280832" y="949150"/>
                </a:cubicBezTo>
                <a:lnTo>
                  <a:pt x="3280430" y="951781"/>
                </a:lnTo>
                <a:cubicBezTo>
                  <a:pt x="3279188" y="957796"/>
                  <a:pt x="3281672" y="963958"/>
                  <a:pt x="3286738" y="967428"/>
                </a:cubicBezTo>
                <a:lnTo>
                  <a:pt x="3288564" y="968646"/>
                </a:lnTo>
                <a:lnTo>
                  <a:pt x="3290622" y="970217"/>
                </a:lnTo>
                <a:cubicBezTo>
                  <a:pt x="3298537" y="977048"/>
                  <a:pt x="3294848" y="984756"/>
                  <a:pt x="3294848" y="984756"/>
                </a:cubicBezTo>
                <a:lnTo>
                  <a:pt x="3294202" y="987191"/>
                </a:lnTo>
                <a:lnTo>
                  <a:pt x="3293910" y="989030"/>
                </a:lnTo>
                <a:cubicBezTo>
                  <a:pt x="3293849" y="989907"/>
                  <a:pt x="3293788" y="990796"/>
                  <a:pt x="3293715" y="991684"/>
                </a:cubicBezTo>
                <a:cubicBezTo>
                  <a:pt x="3293642" y="992573"/>
                  <a:pt x="3293715" y="993158"/>
                  <a:pt x="3293715" y="993900"/>
                </a:cubicBezTo>
                <a:cubicBezTo>
                  <a:pt x="3293715" y="994460"/>
                  <a:pt x="3293715" y="995021"/>
                  <a:pt x="3293715" y="995581"/>
                </a:cubicBezTo>
                <a:lnTo>
                  <a:pt x="3293862" y="998442"/>
                </a:lnTo>
                <a:cubicBezTo>
                  <a:pt x="3293862" y="999587"/>
                  <a:pt x="3293971" y="1000732"/>
                  <a:pt x="3294020" y="1001864"/>
                </a:cubicBezTo>
                <a:lnTo>
                  <a:pt x="3294020" y="1007758"/>
                </a:lnTo>
                <a:cubicBezTo>
                  <a:pt x="3294081" y="1009560"/>
                  <a:pt x="3294142" y="1011411"/>
                  <a:pt x="3294190" y="1013165"/>
                </a:cubicBezTo>
                <a:cubicBezTo>
                  <a:pt x="3294239" y="1014918"/>
                  <a:pt x="3294190" y="1016549"/>
                  <a:pt x="3294190" y="1018242"/>
                </a:cubicBezTo>
                <a:cubicBezTo>
                  <a:pt x="3294385" y="1030333"/>
                  <a:pt x="3284449" y="1037518"/>
                  <a:pt x="3284449" y="1037506"/>
                </a:cubicBezTo>
                <a:lnTo>
                  <a:pt x="3283024" y="1038626"/>
                </a:lnTo>
                <a:lnTo>
                  <a:pt x="3281149" y="1039954"/>
                </a:lnTo>
                <a:lnTo>
                  <a:pt x="3278616" y="1041549"/>
                </a:lnTo>
                <a:lnTo>
                  <a:pt x="3276327" y="1042767"/>
                </a:lnTo>
                <a:lnTo>
                  <a:pt x="3273562" y="1044118"/>
                </a:lnTo>
                <a:lnTo>
                  <a:pt x="3269909" y="1045628"/>
                </a:lnTo>
                <a:lnTo>
                  <a:pt x="3265782" y="1047101"/>
                </a:lnTo>
                <a:lnTo>
                  <a:pt x="3261483" y="1048465"/>
                </a:lnTo>
                <a:lnTo>
                  <a:pt x="3257891" y="1049512"/>
                </a:lnTo>
                <a:lnTo>
                  <a:pt x="3254762" y="1050389"/>
                </a:lnTo>
                <a:lnTo>
                  <a:pt x="3252131" y="1051095"/>
                </a:lnTo>
                <a:lnTo>
                  <a:pt x="3249453" y="1051802"/>
                </a:lnTo>
                <a:lnTo>
                  <a:pt x="3247163" y="1052398"/>
                </a:lnTo>
                <a:lnTo>
                  <a:pt x="3244594" y="1053056"/>
                </a:lnTo>
                <a:lnTo>
                  <a:pt x="3242548" y="1053591"/>
                </a:lnTo>
                <a:lnTo>
                  <a:pt x="3240539" y="1054115"/>
                </a:lnTo>
                <a:lnTo>
                  <a:pt x="3237568" y="1054895"/>
                </a:lnTo>
                <a:lnTo>
                  <a:pt x="3235352" y="1055504"/>
                </a:lnTo>
                <a:cubicBezTo>
                  <a:pt x="3234645" y="1055698"/>
                  <a:pt x="3233282" y="1055966"/>
                  <a:pt x="3233282" y="1055978"/>
                </a:cubicBezTo>
                <a:lnTo>
                  <a:pt x="3231151" y="1056295"/>
                </a:lnTo>
                <a:cubicBezTo>
                  <a:pt x="3229762" y="1056258"/>
                  <a:pt x="3228399" y="1056684"/>
                  <a:pt x="3227279" y="1057513"/>
                </a:cubicBezTo>
                <a:lnTo>
                  <a:pt x="3226463" y="1058243"/>
                </a:lnTo>
                <a:lnTo>
                  <a:pt x="3224831" y="1059534"/>
                </a:lnTo>
                <a:lnTo>
                  <a:pt x="3221178" y="1061872"/>
                </a:lnTo>
                <a:lnTo>
                  <a:pt x="3218170" y="1063479"/>
                </a:lnTo>
                <a:lnTo>
                  <a:pt x="3214907" y="1065037"/>
                </a:lnTo>
                <a:lnTo>
                  <a:pt x="3210462" y="1066998"/>
                </a:lnTo>
                <a:lnTo>
                  <a:pt x="3205701" y="1069044"/>
                </a:lnTo>
                <a:lnTo>
                  <a:pt x="3202194" y="1070639"/>
                </a:lnTo>
                <a:lnTo>
                  <a:pt x="3200221" y="1071601"/>
                </a:lnTo>
                <a:lnTo>
                  <a:pt x="3197652" y="1072977"/>
                </a:lnTo>
                <a:lnTo>
                  <a:pt x="3195655" y="1074194"/>
                </a:lnTo>
                <a:lnTo>
                  <a:pt x="3194084" y="1075254"/>
                </a:lnTo>
                <a:lnTo>
                  <a:pt x="3192721" y="1076045"/>
                </a:lnTo>
                <a:lnTo>
                  <a:pt x="3190931" y="1076813"/>
                </a:lnTo>
                <a:lnTo>
                  <a:pt x="3188861" y="1077531"/>
                </a:lnTo>
                <a:lnTo>
                  <a:pt x="3185073" y="1078834"/>
                </a:lnTo>
                <a:lnTo>
                  <a:pt x="3185524" y="1080052"/>
                </a:lnTo>
                <a:cubicBezTo>
                  <a:pt x="3185816" y="1080867"/>
                  <a:pt x="3186109" y="1081684"/>
                  <a:pt x="3186413" y="1082487"/>
                </a:cubicBezTo>
                <a:lnTo>
                  <a:pt x="3187436" y="1085397"/>
                </a:lnTo>
                <a:cubicBezTo>
                  <a:pt x="3187777" y="1086408"/>
                  <a:pt x="3188130" y="1087395"/>
                  <a:pt x="3188483" y="1088405"/>
                </a:cubicBezTo>
                <a:cubicBezTo>
                  <a:pt x="3188483" y="1088454"/>
                  <a:pt x="3188483" y="1088490"/>
                  <a:pt x="3188483" y="1088539"/>
                </a:cubicBezTo>
                <a:cubicBezTo>
                  <a:pt x="3188787" y="1089379"/>
                  <a:pt x="3189104" y="1090232"/>
                  <a:pt x="3189408" y="1091084"/>
                </a:cubicBezTo>
                <a:cubicBezTo>
                  <a:pt x="3189969" y="1092423"/>
                  <a:pt x="3190529" y="1093763"/>
                  <a:pt x="3191077" y="1095103"/>
                </a:cubicBezTo>
                <a:cubicBezTo>
                  <a:pt x="3191405" y="1095845"/>
                  <a:pt x="3193683" y="1100521"/>
                  <a:pt x="3193683" y="1100533"/>
                </a:cubicBezTo>
                <a:cubicBezTo>
                  <a:pt x="3194230" y="1101934"/>
                  <a:pt x="3194645" y="1103383"/>
                  <a:pt x="3194900" y="1104868"/>
                </a:cubicBezTo>
                <a:cubicBezTo>
                  <a:pt x="3195765" y="1109629"/>
                  <a:pt x="3195022" y="1114561"/>
                  <a:pt x="3192769" y="1118847"/>
                </a:cubicBezTo>
                <a:cubicBezTo>
                  <a:pt x="3190516" y="1123681"/>
                  <a:pt x="3187411" y="1128053"/>
                  <a:pt x="3183600" y="1131779"/>
                </a:cubicBezTo>
                <a:cubicBezTo>
                  <a:pt x="3181567" y="1133898"/>
                  <a:pt x="3175916" y="1135615"/>
                  <a:pt x="3175929" y="1135627"/>
                </a:cubicBezTo>
                <a:cubicBezTo>
                  <a:pt x="3169719" y="1137660"/>
                  <a:pt x="3160172" y="1137892"/>
                  <a:pt x="3160172" y="1137892"/>
                </a:cubicBezTo>
                <a:cubicBezTo>
                  <a:pt x="3151648" y="1138282"/>
                  <a:pt x="3148847" y="1139828"/>
                  <a:pt x="3148847" y="1139816"/>
                </a:cubicBezTo>
                <a:cubicBezTo>
                  <a:pt x="3143563" y="1141910"/>
                  <a:pt x="3146132" y="1146184"/>
                  <a:pt x="3146132" y="1146184"/>
                </a:cubicBezTo>
                <a:cubicBezTo>
                  <a:pt x="3147873" y="1151237"/>
                  <a:pt x="3146217" y="1154355"/>
                  <a:pt x="3146217" y="1154355"/>
                </a:cubicBezTo>
                <a:cubicBezTo>
                  <a:pt x="3145998" y="1154939"/>
                  <a:pt x="3145767" y="1155512"/>
                  <a:pt x="3145535" y="1156096"/>
                </a:cubicBezTo>
                <a:lnTo>
                  <a:pt x="3144841" y="1157545"/>
                </a:lnTo>
                <a:lnTo>
                  <a:pt x="3144098" y="1158921"/>
                </a:lnTo>
                <a:lnTo>
                  <a:pt x="3143623" y="1159761"/>
                </a:lnTo>
                <a:lnTo>
                  <a:pt x="3143551" y="1159907"/>
                </a:lnTo>
                <a:lnTo>
                  <a:pt x="3142808" y="1161125"/>
                </a:lnTo>
                <a:lnTo>
                  <a:pt x="3141286" y="1163829"/>
                </a:lnTo>
                <a:lnTo>
                  <a:pt x="3140263" y="1165874"/>
                </a:lnTo>
                <a:lnTo>
                  <a:pt x="3139422" y="1167457"/>
                </a:lnTo>
                <a:cubicBezTo>
                  <a:pt x="3138388" y="1169064"/>
                  <a:pt x="3137243" y="1170599"/>
                  <a:pt x="3135989" y="1172036"/>
                </a:cubicBezTo>
                <a:cubicBezTo>
                  <a:pt x="3133748" y="1174447"/>
                  <a:pt x="3131130" y="1176468"/>
                  <a:pt x="3128232" y="1178015"/>
                </a:cubicBezTo>
                <a:lnTo>
                  <a:pt x="3127794" y="1178258"/>
                </a:lnTo>
                <a:lnTo>
                  <a:pt x="3126929" y="1178733"/>
                </a:lnTo>
                <a:lnTo>
                  <a:pt x="3125979" y="1179220"/>
                </a:lnTo>
                <a:lnTo>
                  <a:pt x="3125285" y="1179573"/>
                </a:lnTo>
                <a:lnTo>
                  <a:pt x="3124335" y="1180024"/>
                </a:lnTo>
                <a:lnTo>
                  <a:pt x="3123483" y="1180437"/>
                </a:lnTo>
                <a:lnTo>
                  <a:pt x="3122765" y="1180828"/>
                </a:lnTo>
                <a:lnTo>
                  <a:pt x="3121328" y="1181631"/>
                </a:lnTo>
                <a:lnTo>
                  <a:pt x="3119879" y="1182532"/>
                </a:lnTo>
                <a:lnTo>
                  <a:pt x="3118174" y="1183677"/>
                </a:lnTo>
                <a:lnTo>
                  <a:pt x="3116335" y="1185053"/>
                </a:lnTo>
                <a:lnTo>
                  <a:pt x="3114801" y="1186270"/>
                </a:lnTo>
                <a:lnTo>
                  <a:pt x="3112755" y="1188048"/>
                </a:lnTo>
                <a:lnTo>
                  <a:pt x="3110697" y="1189948"/>
                </a:lnTo>
                <a:lnTo>
                  <a:pt x="3109127" y="1191482"/>
                </a:lnTo>
                <a:lnTo>
                  <a:pt x="3107081" y="1193503"/>
                </a:lnTo>
                <a:lnTo>
                  <a:pt x="3103866" y="1196645"/>
                </a:lnTo>
                <a:lnTo>
                  <a:pt x="3100311" y="1199848"/>
                </a:lnTo>
                <a:cubicBezTo>
                  <a:pt x="3097473" y="1202125"/>
                  <a:pt x="3094490" y="1204231"/>
                  <a:pt x="3091409" y="1206155"/>
                </a:cubicBezTo>
                <a:lnTo>
                  <a:pt x="3089108" y="1207373"/>
                </a:lnTo>
                <a:lnTo>
                  <a:pt x="3087099" y="1208481"/>
                </a:lnTo>
                <a:lnTo>
                  <a:pt x="3085686" y="1209309"/>
                </a:lnTo>
                <a:cubicBezTo>
                  <a:pt x="3085272" y="1209565"/>
                  <a:pt x="3084858" y="1209833"/>
                  <a:pt x="3084468" y="1210076"/>
                </a:cubicBezTo>
                <a:lnTo>
                  <a:pt x="3081936" y="1211708"/>
                </a:lnTo>
                <a:lnTo>
                  <a:pt x="3078283" y="1214143"/>
                </a:lnTo>
                <a:lnTo>
                  <a:pt x="3075031" y="1216311"/>
                </a:lnTo>
                <a:lnTo>
                  <a:pt x="3073010" y="1217626"/>
                </a:lnTo>
                <a:lnTo>
                  <a:pt x="3069953" y="1219513"/>
                </a:lnTo>
                <a:lnTo>
                  <a:pt x="3067384" y="1221011"/>
                </a:lnTo>
                <a:lnTo>
                  <a:pt x="3065899" y="1221827"/>
                </a:lnTo>
                <a:lnTo>
                  <a:pt x="3063524" y="1223045"/>
                </a:lnTo>
                <a:lnTo>
                  <a:pt x="3060602" y="1224445"/>
                </a:lnTo>
                <a:lnTo>
                  <a:pt x="3056121" y="1226284"/>
                </a:lnTo>
                <a:lnTo>
                  <a:pt x="3052541" y="1227501"/>
                </a:lnTo>
                <a:lnTo>
                  <a:pt x="3049716" y="1228317"/>
                </a:lnTo>
                <a:lnTo>
                  <a:pt x="3046915" y="1228987"/>
                </a:lnTo>
                <a:lnTo>
                  <a:pt x="3044102" y="1229547"/>
                </a:lnTo>
                <a:lnTo>
                  <a:pt x="3040839" y="1230046"/>
                </a:lnTo>
                <a:lnTo>
                  <a:pt x="3038196" y="1230363"/>
                </a:lnTo>
                <a:lnTo>
                  <a:pt x="3035432" y="1230740"/>
                </a:lnTo>
                <a:lnTo>
                  <a:pt x="3032583" y="1231203"/>
                </a:lnTo>
                <a:lnTo>
                  <a:pt x="3027286" y="1232238"/>
                </a:lnTo>
                <a:lnTo>
                  <a:pt x="3025216" y="1232689"/>
                </a:lnTo>
                <a:lnTo>
                  <a:pt x="3023438" y="1233115"/>
                </a:lnTo>
                <a:lnTo>
                  <a:pt x="3021758" y="1233529"/>
                </a:lnTo>
                <a:lnTo>
                  <a:pt x="3018823" y="1234235"/>
                </a:lnTo>
                <a:cubicBezTo>
                  <a:pt x="3014147" y="1235148"/>
                  <a:pt x="3009422" y="1235684"/>
                  <a:pt x="3004661" y="1235842"/>
                </a:cubicBezTo>
                <a:lnTo>
                  <a:pt x="3002604" y="1235903"/>
                </a:lnTo>
                <a:lnTo>
                  <a:pt x="3000022" y="1235903"/>
                </a:lnTo>
                <a:lnTo>
                  <a:pt x="2993312" y="1235903"/>
                </a:lnTo>
                <a:lnTo>
                  <a:pt x="2990341" y="1235903"/>
                </a:lnTo>
                <a:lnTo>
                  <a:pt x="2988284" y="1235903"/>
                </a:lnTo>
                <a:cubicBezTo>
                  <a:pt x="2983669" y="1235903"/>
                  <a:pt x="2980563" y="1236110"/>
                  <a:pt x="2980563" y="1236110"/>
                </a:cubicBezTo>
                <a:lnTo>
                  <a:pt x="2977726" y="1236451"/>
                </a:lnTo>
                <a:lnTo>
                  <a:pt x="2974292" y="1236987"/>
                </a:lnTo>
                <a:lnTo>
                  <a:pt x="2970700" y="1237559"/>
                </a:lnTo>
                <a:lnTo>
                  <a:pt x="2967351" y="1237986"/>
                </a:lnTo>
                <a:lnTo>
                  <a:pt x="2963918" y="1238363"/>
                </a:lnTo>
                <a:lnTo>
                  <a:pt x="2959936" y="1238923"/>
                </a:lnTo>
                <a:lnTo>
                  <a:pt x="2955783" y="1239581"/>
                </a:lnTo>
                <a:lnTo>
                  <a:pt x="2951388" y="1240299"/>
                </a:lnTo>
                <a:lnTo>
                  <a:pt x="2947735" y="1240872"/>
                </a:lnTo>
                <a:cubicBezTo>
                  <a:pt x="2937323" y="1242332"/>
                  <a:pt x="2935034" y="1241809"/>
                  <a:pt x="2935034" y="1241809"/>
                </a:cubicBezTo>
                <a:lnTo>
                  <a:pt x="2932246" y="1241444"/>
                </a:lnTo>
                <a:lnTo>
                  <a:pt x="2928751" y="1240688"/>
                </a:lnTo>
                <a:lnTo>
                  <a:pt x="2926535" y="1240092"/>
                </a:lnTo>
                <a:lnTo>
                  <a:pt x="2924380" y="1239471"/>
                </a:lnTo>
                <a:lnTo>
                  <a:pt x="2922309" y="1238850"/>
                </a:lnTo>
                <a:lnTo>
                  <a:pt x="2919521" y="1238034"/>
                </a:lnTo>
                <a:lnTo>
                  <a:pt x="2917171" y="1237401"/>
                </a:lnTo>
                <a:cubicBezTo>
                  <a:pt x="2916026" y="1237145"/>
                  <a:pt x="2915088" y="1236342"/>
                  <a:pt x="2914626" y="1235270"/>
                </a:cubicBezTo>
                <a:cubicBezTo>
                  <a:pt x="2916379" y="1231726"/>
                  <a:pt x="2912324" y="1228317"/>
                  <a:pt x="2912336" y="1228305"/>
                </a:cubicBezTo>
                <a:lnTo>
                  <a:pt x="2910327" y="1226393"/>
                </a:lnTo>
                <a:lnTo>
                  <a:pt x="2908781" y="1224895"/>
                </a:lnTo>
                <a:cubicBezTo>
                  <a:pt x="2906346" y="1222606"/>
                  <a:pt x="2908939" y="1219587"/>
                  <a:pt x="2908939" y="1219587"/>
                </a:cubicBezTo>
                <a:lnTo>
                  <a:pt x="2912799" y="1217041"/>
                </a:lnTo>
                <a:cubicBezTo>
                  <a:pt x="2917219" y="1213827"/>
                  <a:pt x="2911423" y="1208871"/>
                  <a:pt x="2911411" y="1208871"/>
                </a:cubicBezTo>
                <a:cubicBezTo>
                  <a:pt x="2910522" y="1208006"/>
                  <a:pt x="2909633" y="1207166"/>
                  <a:pt x="2908732" y="1206313"/>
                </a:cubicBezTo>
                <a:lnTo>
                  <a:pt x="2905457" y="1202770"/>
                </a:lnTo>
                <a:lnTo>
                  <a:pt x="2903021" y="1199702"/>
                </a:lnTo>
                <a:lnTo>
                  <a:pt x="2899478" y="1194100"/>
                </a:lnTo>
                <a:lnTo>
                  <a:pt x="2898004" y="1191092"/>
                </a:lnTo>
                <a:lnTo>
                  <a:pt x="2896982" y="1188572"/>
                </a:lnTo>
                <a:cubicBezTo>
                  <a:pt x="2895800" y="1182008"/>
                  <a:pt x="2891417" y="1176468"/>
                  <a:pt x="2885292" y="1173813"/>
                </a:cubicBezTo>
                <a:lnTo>
                  <a:pt x="2882576" y="1172596"/>
                </a:lnTo>
                <a:lnTo>
                  <a:pt x="2879459" y="1171195"/>
                </a:lnTo>
                <a:lnTo>
                  <a:pt x="2875087" y="1168638"/>
                </a:lnTo>
                <a:cubicBezTo>
                  <a:pt x="2869425" y="1165485"/>
                  <a:pt x="2863958" y="1156084"/>
                  <a:pt x="2863946" y="1156096"/>
                </a:cubicBezTo>
                <a:cubicBezTo>
                  <a:pt x="2863093" y="1154330"/>
                  <a:pt x="2862253" y="1152565"/>
                  <a:pt x="2861401" y="1150812"/>
                </a:cubicBezTo>
                <a:lnTo>
                  <a:pt x="2858697" y="1144102"/>
                </a:lnTo>
                <a:lnTo>
                  <a:pt x="2856834" y="1139085"/>
                </a:lnTo>
                <a:cubicBezTo>
                  <a:pt x="2856323" y="1137575"/>
                  <a:pt x="2855812" y="1136065"/>
                  <a:pt x="2855312" y="1134555"/>
                </a:cubicBezTo>
                <a:cubicBezTo>
                  <a:pt x="2850795" y="1119700"/>
                  <a:pt x="2852305" y="1113989"/>
                  <a:pt x="2852305" y="1113989"/>
                </a:cubicBezTo>
                <a:cubicBezTo>
                  <a:pt x="2852463" y="1112844"/>
                  <a:pt x="2852609" y="1111700"/>
                  <a:pt x="2852767" y="1110555"/>
                </a:cubicBezTo>
                <a:cubicBezTo>
                  <a:pt x="2852926" y="1109410"/>
                  <a:pt x="2853108" y="1108448"/>
                  <a:pt x="2853291" y="1107413"/>
                </a:cubicBezTo>
                <a:cubicBezTo>
                  <a:pt x="2854411" y="1103443"/>
                  <a:pt x="2850076" y="1100558"/>
                  <a:pt x="2850076" y="1100570"/>
                </a:cubicBezTo>
                <a:lnTo>
                  <a:pt x="2847641" y="1098950"/>
                </a:lnTo>
                <a:lnTo>
                  <a:pt x="2845011" y="1097124"/>
                </a:lnTo>
                <a:lnTo>
                  <a:pt x="2842234" y="1095041"/>
                </a:lnTo>
                <a:lnTo>
                  <a:pt x="2839799" y="1093032"/>
                </a:lnTo>
                <a:lnTo>
                  <a:pt x="2838033" y="1091498"/>
                </a:lnTo>
                <a:lnTo>
                  <a:pt x="2833759" y="1087455"/>
                </a:lnTo>
                <a:lnTo>
                  <a:pt x="2831884" y="1085519"/>
                </a:lnTo>
                <a:cubicBezTo>
                  <a:pt x="2831129" y="1084667"/>
                  <a:pt x="2830362" y="1083839"/>
                  <a:pt x="2829595" y="1082998"/>
                </a:cubicBezTo>
                <a:lnTo>
                  <a:pt x="2826526" y="1079345"/>
                </a:lnTo>
                <a:lnTo>
                  <a:pt x="2824091" y="1076192"/>
                </a:lnTo>
                <a:lnTo>
                  <a:pt x="2821838" y="1073123"/>
                </a:lnTo>
                <a:cubicBezTo>
                  <a:pt x="2821254" y="1072271"/>
                  <a:pt x="2820620" y="1071430"/>
                  <a:pt x="2820072" y="1070590"/>
                </a:cubicBezTo>
                <a:lnTo>
                  <a:pt x="2819220" y="1069373"/>
                </a:lnTo>
                <a:lnTo>
                  <a:pt x="2818002" y="1067948"/>
                </a:lnTo>
                <a:lnTo>
                  <a:pt x="2816298" y="1066195"/>
                </a:lnTo>
                <a:lnTo>
                  <a:pt x="2814447" y="1064453"/>
                </a:lnTo>
                <a:lnTo>
                  <a:pt x="2812364" y="1062541"/>
                </a:lnTo>
                <a:lnTo>
                  <a:pt x="2810197" y="1060411"/>
                </a:lnTo>
                <a:cubicBezTo>
                  <a:pt x="2809710" y="1059839"/>
                  <a:pt x="2809211" y="1059278"/>
                  <a:pt x="2808724" y="1058718"/>
                </a:cubicBezTo>
                <a:lnTo>
                  <a:pt x="2807214" y="1056757"/>
                </a:lnTo>
                <a:cubicBezTo>
                  <a:pt x="2802112" y="1051047"/>
                  <a:pt x="2803561" y="1039966"/>
                  <a:pt x="2803561" y="1039978"/>
                </a:cubicBezTo>
                <a:cubicBezTo>
                  <a:pt x="2803682" y="1033975"/>
                  <a:pt x="2808553" y="1022431"/>
                  <a:pt x="2808565" y="1022431"/>
                </a:cubicBezTo>
                <a:cubicBezTo>
                  <a:pt x="2812693" y="1016026"/>
                  <a:pt x="2814654" y="1006966"/>
                  <a:pt x="2814654" y="1006979"/>
                </a:cubicBezTo>
                <a:lnTo>
                  <a:pt x="2814946" y="1005432"/>
                </a:lnTo>
                <a:cubicBezTo>
                  <a:pt x="2815165" y="1004726"/>
                  <a:pt x="2815385" y="1004008"/>
                  <a:pt x="2815604" y="1003313"/>
                </a:cubicBezTo>
                <a:cubicBezTo>
                  <a:pt x="2818234" y="995873"/>
                  <a:pt x="2827781" y="990662"/>
                  <a:pt x="2827781" y="990662"/>
                </a:cubicBezTo>
                <a:cubicBezTo>
                  <a:pt x="2831154" y="988604"/>
                  <a:pt x="2833881" y="985657"/>
                  <a:pt x="2835671" y="982138"/>
                </a:cubicBezTo>
                <a:cubicBezTo>
                  <a:pt x="2839324" y="975063"/>
                  <a:pt x="2833698" y="967526"/>
                  <a:pt x="2833698" y="967526"/>
                </a:cubicBezTo>
                <a:lnTo>
                  <a:pt x="2831653" y="964786"/>
                </a:lnTo>
                <a:cubicBezTo>
                  <a:pt x="2830910" y="963787"/>
                  <a:pt x="2830155" y="962801"/>
                  <a:pt x="2829388" y="961815"/>
                </a:cubicBezTo>
                <a:lnTo>
                  <a:pt x="2825528" y="956396"/>
                </a:lnTo>
                <a:cubicBezTo>
                  <a:pt x="2822861" y="952158"/>
                  <a:pt x="2823385" y="950648"/>
                  <a:pt x="2823397" y="950636"/>
                </a:cubicBezTo>
                <a:cubicBezTo>
                  <a:pt x="2823993" y="949614"/>
                  <a:pt x="2824541" y="948566"/>
                  <a:pt x="2825029" y="947483"/>
                </a:cubicBezTo>
                <a:cubicBezTo>
                  <a:pt x="2829181" y="940457"/>
                  <a:pt x="2820048" y="931153"/>
                  <a:pt x="2820036" y="931165"/>
                </a:cubicBezTo>
                <a:lnTo>
                  <a:pt x="2818453" y="929497"/>
                </a:lnTo>
                <a:lnTo>
                  <a:pt x="2816091" y="927183"/>
                </a:lnTo>
                <a:cubicBezTo>
                  <a:pt x="2815153" y="926258"/>
                  <a:pt x="2814203" y="925345"/>
                  <a:pt x="2813266" y="924444"/>
                </a:cubicBezTo>
                <a:lnTo>
                  <a:pt x="2811707" y="922800"/>
                </a:lnTo>
                <a:lnTo>
                  <a:pt x="2809771" y="920547"/>
                </a:lnTo>
                <a:cubicBezTo>
                  <a:pt x="2809369" y="920048"/>
                  <a:pt x="2808980" y="919537"/>
                  <a:pt x="2808553" y="919037"/>
                </a:cubicBezTo>
                <a:cubicBezTo>
                  <a:pt x="2806374" y="915908"/>
                  <a:pt x="2804462" y="912608"/>
                  <a:pt x="2802830" y="909174"/>
                </a:cubicBezTo>
                <a:cubicBezTo>
                  <a:pt x="2801271" y="903378"/>
                  <a:pt x="2792601" y="897910"/>
                  <a:pt x="2792601" y="897923"/>
                </a:cubicBezTo>
                <a:lnTo>
                  <a:pt x="2787840" y="894659"/>
                </a:lnTo>
                <a:lnTo>
                  <a:pt x="2779999" y="889521"/>
                </a:lnTo>
                <a:lnTo>
                  <a:pt x="2775237" y="886610"/>
                </a:lnTo>
                <a:lnTo>
                  <a:pt x="2768492" y="882604"/>
                </a:lnTo>
                <a:cubicBezTo>
                  <a:pt x="2765557" y="880790"/>
                  <a:pt x="2762622" y="878951"/>
                  <a:pt x="2759675" y="877198"/>
                </a:cubicBezTo>
                <a:cubicBezTo>
                  <a:pt x="2755681" y="874884"/>
                  <a:pt x="2752065" y="871962"/>
                  <a:pt x="2748960" y="868540"/>
                </a:cubicBezTo>
                <a:cubicBezTo>
                  <a:pt x="2747389" y="866689"/>
                  <a:pt x="2745818" y="864850"/>
                  <a:pt x="2744235" y="863012"/>
                </a:cubicBezTo>
                <a:cubicBezTo>
                  <a:pt x="2743517" y="861587"/>
                  <a:pt x="2743736" y="859858"/>
                  <a:pt x="2744783" y="858652"/>
                </a:cubicBezTo>
                <a:cubicBezTo>
                  <a:pt x="2747121" y="856668"/>
                  <a:pt x="2748996" y="854195"/>
                  <a:pt x="2750263" y="851407"/>
                </a:cubicBezTo>
                <a:cubicBezTo>
                  <a:pt x="2751748" y="847985"/>
                  <a:pt x="2752260" y="844223"/>
                  <a:pt x="2751724" y="840533"/>
                </a:cubicBezTo>
                <a:cubicBezTo>
                  <a:pt x="2751237" y="836430"/>
                  <a:pt x="2751407" y="836466"/>
                  <a:pt x="2751407" y="836466"/>
                </a:cubicBezTo>
                <a:cubicBezTo>
                  <a:pt x="2751517" y="833750"/>
                  <a:pt x="2752065" y="831059"/>
                  <a:pt x="2753014" y="828515"/>
                </a:cubicBezTo>
                <a:cubicBezTo>
                  <a:pt x="2753891" y="826749"/>
                  <a:pt x="2754561" y="824886"/>
                  <a:pt x="2755024" y="822974"/>
                </a:cubicBezTo>
                <a:cubicBezTo>
                  <a:pt x="2756814" y="816204"/>
                  <a:pt x="2754281" y="812161"/>
                  <a:pt x="2754281" y="812161"/>
                </a:cubicBezTo>
                <a:cubicBezTo>
                  <a:pt x="2752308" y="808130"/>
                  <a:pt x="2750896" y="807290"/>
                  <a:pt x="2750884" y="807290"/>
                </a:cubicBezTo>
                <a:cubicBezTo>
                  <a:pt x="2748655" y="805379"/>
                  <a:pt x="2744539" y="805574"/>
                  <a:pt x="2744527" y="805574"/>
                </a:cubicBezTo>
                <a:cubicBezTo>
                  <a:pt x="2743090" y="805610"/>
                  <a:pt x="2741654" y="805366"/>
                  <a:pt x="2740314" y="804843"/>
                </a:cubicBezTo>
                <a:cubicBezTo>
                  <a:pt x="2740132" y="804745"/>
                  <a:pt x="2739961" y="804612"/>
                  <a:pt x="2739815" y="804465"/>
                </a:cubicBezTo>
                <a:cubicBezTo>
                  <a:pt x="2739303" y="803710"/>
                  <a:pt x="2738634" y="803053"/>
                  <a:pt x="2737854" y="802566"/>
                </a:cubicBezTo>
                <a:cubicBezTo>
                  <a:pt x="2734007" y="799448"/>
                  <a:pt x="2724363" y="801494"/>
                  <a:pt x="2724375" y="801506"/>
                </a:cubicBezTo>
                <a:lnTo>
                  <a:pt x="2721452" y="801994"/>
                </a:lnTo>
                <a:lnTo>
                  <a:pt x="2718420" y="802493"/>
                </a:lnTo>
                <a:lnTo>
                  <a:pt x="2715169" y="803016"/>
                </a:lnTo>
                <a:lnTo>
                  <a:pt x="2712977" y="803357"/>
                </a:lnTo>
                <a:lnTo>
                  <a:pt x="2708581" y="804003"/>
                </a:lnTo>
                <a:lnTo>
                  <a:pt x="2704709" y="804539"/>
                </a:lnTo>
                <a:lnTo>
                  <a:pt x="2700337" y="805111"/>
                </a:lnTo>
                <a:cubicBezTo>
                  <a:pt x="2695759" y="805914"/>
                  <a:pt x="2691108" y="806243"/>
                  <a:pt x="2686468" y="806109"/>
                </a:cubicBezTo>
                <a:cubicBezTo>
                  <a:pt x="2682243" y="806073"/>
                  <a:pt x="2678237" y="804197"/>
                  <a:pt x="2675509" y="800959"/>
                </a:cubicBezTo>
                <a:cubicBezTo>
                  <a:pt x="2675168" y="800520"/>
                  <a:pt x="2674827" y="800094"/>
                  <a:pt x="2674498" y="799655"/>
                </a:cubicBezTo>
                <a:cubicBezTo>
                  <a:pt x="2673196" y="797939"/>
                  <a:pt x="2671758" y="796344"/>
                  <a:pt x="2670176" y="794882"/>
                </a:cubicBezTo>
                <a:cubicBezTo>
                  <a:pt x="2662942" y="788258"/>
                  <a:pt x="2652422" y="787576"/>
                  <a:pt x="2652422" y="787576"/>
                </a:cubicBezTo>
                <a:cubicBezTo>
                  <a:pt x="2641548" y="786285"/>
                  <a:pt x="2623745" y="789622"/>
                  <a:pt x="2623745" y="789646"/>
                </a:cubicBezTo>
                <a:lnTo>
                  <a:pt x="2619861" y="790389"/>
                </a:lnTo>
                <a:lnTo>
                  <a:pt x="2617620" y="790876"/>
                </a:lnTo>
                <a:lnTo>
                  <a:pt x="2615368" y="791387"/>
                </a:lnTo>
                <a:lnTo>
                  <a:pt x="2612835" y="792009"/>
                </a:lnTo>
                <a:lnTo>
                  <a:pt x="2608683" y="793092"/>
                </a:lnTo>
                <a:lnTo>
                  <a:pt x="2606101" y="793823"/>
                </a:lnTo>
                <a:lnTo>
                  <a:pt x="2602448" y="794919"/>
                </a:lnTo>
                <a:lnTo>
                  <a:pt x="2601230" y="795297"/>
                </a:lnTo>
                <a:lnTo>
                  <a:pt x="2598892" y="796051"/>
                </a:lnTo>
                <a:lnTo>
                  <a:pt x="2596932" y="796697"/>
                </a:lnTo>
                <a:lnTo>
                  <a:pt x="2594131" y="797646"/>
                </a:lnTo>
                <a:lnTo>
                  <a:pt x="2591696" y="798511"/>
                </a:lnTo>
                <a:lnTo>
                  <a:pt x="2589674" y="799230"/>
                </a:lnTo>
                <a:lnTo>
                  <a:pt x="2588116" y="799790"/>
                </a:lnTo>
                <a:lnTo>
                  <a:pt x="2586545" y="800362"/>
                </a:lnTo>
                <a:lnTo>
                  <a:pt x="2582892" y="801738"/>
                </a:lnTo>
                <a:lnTo>
                  <a:pt x="2580603" y="802603"/>
                </a:lnTo>
                <a:lnTo>
                  <a:pt x="2576950" y="803966"/>
                </a:lnTo>
                <a:lnTo>
                  <a:pt x="2573297" y="805342"/>
                </a:lnTo>
                <a:lnTo>
                  <a:pt x="2570070" y="806560"/>
                </a:lnTo>
                <a:lnTo>
                  <a:pt x="2567634" y="807473"/>
                </a:lnTo>
                <a:lnTo>
                  <a:pt x="2565637" y="808216"/>
                </a:lnTo>
                <a:lnTo>
                  <a:pt x="2563117" y="809129"/>
                </a:lnTo>
                <a:lnTo>
                  <a:pt x="2560365" y="810128"/>
                </a:lnTo>
                <a:lnTo>
                  <a:pt x="2558331" y="810870"/>
                </a:lnTo>
                <a:lnTo>
                  <a:pt x="2554788" y="812198"/>
                </a:lnTo>
                <a:lnTo>
                  <a:pt x="2551025" y="813671"/>
                </a:lnTo>
                <a:lnTo>
                  <a:pt x="2549052" y="814475"/>
                </a:lnTo>
                <a:lnTo>
                  <a:pt x="2547993" y="814913"/>
                </a:lnTo>
                <a:lnTo>
                  <a:pt x="2546556" y="815510"/>
                </a:lnTo>
                <a:lnTo>
                  <a:pt x="2545339" y="815985"/>
                </a:lnTo>
                <a:lnTo>
                  <a:pt x="2544620" y="816240"/>
                </a:lnTo>
                <a:cubicBezTo>
                  <a:pt x="2542903" y="816862"/>
                  <a:pt x="2541150" y="817336"/>
                  <a:pt x="2539360" y="817677"/>
                </a:cubicBezTo>
                <a:cubicBezTo>
                  <a:pt x="2537862" y="817957"/>
                  <a:pt x="2536328" y="818079"/>
                  <a:pt x="2534805" y="818055"/>
                </a:cubicBezTo>
                <a:lnTo>
                  <a:pt x="2534270" y="818055"/>
                </a:lnTo>
                <a:lnTo>
                  <a:pt x="2533369" y="817994"/>
                </a:lnTo>
                <a:lnTo>
                  <a:pt x="2532675" y="817921"/>
                </a:lnTo>
                <a:lnTo>
                  <a:pt x="2532224" y="817860"/>
                </a:lnTo>
                <a:cubicBezTo>
                  <a:pt x="2531384" y="817762"/>
                  <a:pt x="2529947" y="817385"/>
                  <a:pt x="2529947" y="817397"/>
                </a:cubicBezTo>
                <a:lnTo>
                  <a:pt x="2529606" y="817312"/>
                </a:lnTo>
                <a:lnTo>
                  <a:pt x="2529338" y="817239"/>
                </a:lnTo>
                <a:lnTo>
                  <a:pt x="2528912" y="817154"/>
                </a:lnTo>
                <a:lnTo>
                  <a:pt x="2528620" y="817154"/>
                </a:lnTo>
                <a:cubicBezTo>
                  <a:pt x="2527670" y="817069"/>
                  <a:pt x="2526720" y="817069"/>
                  <a:pt x="2525770" y="817154"/>
                </a:cubicBezTo>
                <a:lnTo>
                  <a:pt x="2524406" y="817287"/>
                </a:lnTo>
                <a:lnTo>
                  <a:pt x="2523335" y="817409"/>
                </a:lnTo>
                <a:lnTo>
                  <a:pt x="2522422" y="817507"/>
                </a:lnTo>
                <a:lnTo>
                  <a:pt x="2521654" y="817592"/>
                </a:lnTo>
                <a:lnTo>
                  <a:pt x="2521021" y="817689"/>
                </a:lnTo>
                <a:lnTo>
                  <a:pt x="2520413" y="817811"/>
                </a:lnTo>
                <a:lnTo>
                  <a:pt x="2519499" y="817994"/>
                </a:lnTo>
                <a:lnTo>
                  <a:pt x="2518891" y="818128"/>
                </a:lnTo>
                <a:cubicBezTo>
                  <a:pt x="2518001" y="818335"/>
                  <a:pt x="2517100" y="818444"/>
                  <a:pt x="2516199" y="818456"/>
                </a:cubicBezTo>
                <a:cubicBezTo>
                  <a:pt x="2511767" y="818104"/>
                  <a:pt x="2507323" y="818104"/>
                  <a:pt x="2502890" y="818456"/>
                </a:cubicBezTo>
                <a:cubicBezTo>
                  <a:pt x="2487060" y="819443"/>
                  <a:pt x="2467419" y="827541"/>
                  <a:pt x="2467443" y="827553"/>
                </a:cubicBezTo>
                <a:lnTo>
                  <a:pt x="2456971" y="831620"/>
                </a:lnTo>
                <a:lnTo>
                  <a:pt x="2446012" y="835796"/>
                </a:lnTo>
                <a:lnTo>
                  <a:pt x="2443832" y="836588"/>
                </a:lnTo>
                <a:cubicBezTo>
                  <a:pt x="2443248" y="836783"/>
                  <a:pt x="2442615" y="836953"/>
                  <a:pt x="2442067" y="837136"/>
                </a:cubicBezTo>
                <a:cubicBezTo>
                  <a:pt x="2437476" y="838463"/>
                  <a:pt x="2432617" y="838597"/>
                  <a:pt x="2427954" y="837514"/>
                </a:cubicBezTo>
                <a:lnTo>
                  <a:pt x="2424398" y="836600"/>
                </a:lnTo>
                <a:lnTo>
                  <a:pt x="2422194" y="836052"/>
                </a:lnTo>
                <a:lnTo>
                  <a:pt x="2419552" y="835383"/>
                </a:lnTo>
                <a:lnTo>
                  <a:pt x="2415582" y="834384"/>
                </a:lnTo>
                <a:lnTo>
                  <a:pt x="2411235" y="833312"/>
                </a:lnTo>
                <a:lnTo>
                  <a:pt x="2407765" y="832448"/>
                </a:lnTo>
                <a:lnTo>
                  <a:pt x="2403892" y="831510"/>
                </a:lnTo>
                <a:lnTo>
                  <a:pt x="2400860" y="830768"/>
                </a:lnTo>
                <a:lnTo>
                  <a:pt x="2396805" y="829781"/>
                </a:lnTo>
                <a:lnTo>
                  <a:pt x="2389925" y="828028"/>
                </a:lnTo>
                <a:lnTo>
                  <a:pt x="2388440" y="827626"/>
                </a:lnTo>
                <a:lnTo>
                  <a:pt x="2387088" y="827333"/>
                </a:lnTo>
                <a:lnTo>
                  <a:pt x="2386187" y="827199"/>
                </a:lnTo>
                <a:lnTo>
                  <a:pt x="2385042" y="827126"/>
                </a:lnTo>
                <a:lnTo>
                  <a:pt x="2382960" y="827126"/>
                </a:lnTo>
                <a:lnTo>
                  <a:pt x="2380525" y="826944"/>
                </a:lnTo>
                <a:cubicBezTo>
                  <a:pt x="2372768" y="826274"/>
                  <a:pt x="2368981" y="822731"/>
                  <a:pt x="2368981" y="822731"/>
                </a:cubicBezTo>
                <a:lnTo>
                  <a:pt x="2367922" y="821720"/>
                </a:lnTo>
                <a:lnTo>
                  <a:pt x="2367325" y="821160"/>
                </a:lnTo>
                <a:lnTo>
                  <a:pt x="2366692" y="820660"/>
                </a:lnTo>
                <a:cubicBezTo>
                  <a:pt x="2362564" y="817677"/>
                  <a:pt x="2354150" y="818128"/>
                  <a:pt x="2354150" y="818140"/>
                </a:cubicBezTo>
                <a:lnTo>
                  <a:pt x="2351897" y="818213"/>
                </a:lnTo>
                <a:lnTo>
                  <a:pt x="2350618" y="818213"/>
                </a:lnTo>
                <a:lnTo>
                  <a:pt x="2349474" y="818213"/>
                </a:lnTo>
                <a:lnTo>
                  <a:pt x="2347599" y="818091"/>
                </a:lnTo>
                <a:lnTo>
                  <a:pt x="2345772" y="817872"/>
                </a:lnTo>
                <a:lnTo>
                  <a:pt x="2344116" y="817567"/>
                </a:lnTo>
                <a:lnTo>
                  <a:pt x="2342399" y="817142"/>
                </a:lnTo>
                <a:lnTo>
                  <a:pt x="2340938" y="816667"/>
                </a:lnTo>
                <a:lnTo>
                  <a:pt x="2339136" y="815705"/>
                </a:lnTo>
                <a:lnTo>
                  <a:pt x="2338088" y="815169"/>
                </a:lnTo>
                <a:lnTo>
                  <a:pt x="2336871" y="814463"/>
                </a:lnTo>
                <a:lnTo>
                  <a:pt x="2334435" y="812672"/>
                </a:lnTo>
                <a:lnTo>
                  <a:pt x="2332938" y="811345"/>
                </a:lnTo>
                <a:lnTo>
                  <a:pt x="2330795" y="809239"/>
                </a:lnTo>
                <a:cubicBezTo>
                  <a:pt x="2330173" y="808630"/>
                  <a:pt x="2329577" y="808021"/>
                  <a:pt x="2328932" y="807376"/>
                </a:cubicBezTo>
                <a:cubicBezTo>
                  <a:pt x="2328505" y="806913"/>
                  <a:pt x="2328091" y="806438"/>
                  <a:pt x="2327714" y="805963"/>
                </a:cubicBezTo>
                <a:lnTo>
                  <a:pt x="2326107" y="804003"/>
                </a:lnTo>
                <a:lnTo>
                  <a:pt x="2324487" y="802079"/>
                </a:lnTo>
                <a:lnTo>
                  <a:pt x="2323208" y="800739"/>
                </a:lnTo>
                <a:lnTo>
                  <a:pt x="2322222" y="799850"/>
                </a:lnTo>
                <a:lnTo>
                  <a:pt x="2320481" y="798633"/>
                </a:lnTo>
                <a:lnTo>
                  <a:pt x="2319263" y="797999"/>
                </a:lnTo>
                <a:lnTo>
                  <a:pt x="2318399" y="797634"/>
                </a:lnTo>
                <a:lnTo>
                  <a:pt x="2317364" y="797293"/>
                </a:lnTo>
                <a:lnTo>
                  <a:pt x="2315854" y="796855"/>
                </a:lnTo>
                <a:lnTo>
                  <a:pt x="2313991" y="796270"/>
                </a:lnTo>
                <a:lnTo>
                  <a:pt x="2310484" y="795053"/>
                </a:lnTo>
                <a:lnTo>
                  <a:pt x="2307159" y="793835"/>
                </a:lnTo>
                <a:lnTo>
                  <a:pt x="2303701" y="792471"/>
                </a:lnTo>
                <a:lnTo>
                  <a:pt x="2301022" y="791400"/>
                </a:lnTo>
                <a:lnTo>
                  <a:pt x="2297905" y="790182"/>
                </a:lnTo>
                <a:lnTo>
                  <a:pt x="2295555" y="789281"/>
                </a:lnTo>
                <a:lnTo>
                  <a:pt x="2292754" y="788270"/>
                </a:lnTo>
                <a:lnTo>
                  <a:pt x="2290696" y="787564"/>
                </a:lnTo>
                <a:lnTo>
                  <a:pt x="2288139" y="786773"/>
                </a:lnTo>
                <a:lnTo>
                  <a:pt x="2285411" y="786029"/>
                </a:lnTo>
                <a:lnTo>
                  <a:pt x="2282684" y="785372"/>
                </a:lnTo>
                <a:lnTo>
                  <a:pt x="2280346" y="784909"/>
                </a:lnTo>
                <a:lnTo>
                  <a:pt x="2277691" y="784471"/>
                </a:lnTo>
                <a:lnTo>
                  <a:pt x="2274197" y="784045"/>
                </a:lnTo>
                <a:lnTo>
                  <a:pt x="2272029" y="783862"/>
                </a:lnTo>
                <a:lnTo>
                  <a:pt x="2269983" y="783680"/>
                </a:lnTo>
                <a:lnTo>
                  <a:pt x="2267974" y="783351"/>
                </a:lnTo>
                <a:lnTo>
                  <a:pt x="2266489" y="783010"/>
                </a:lnTo>
                <a:cubicBezTo>
                  <a:pt x="2263371" y="782279"/>
                  <a:pt x="2260510" y="780684"/>
                  <a:pt x="2258257" y="778407"/>
                </a:cubicBezTo>
                <a:cubicBezTo>
                  <a:pt x="2256625" y="776581"/>
                  <a:pt x="2255639" y="774267"/>
                  <a:pt x="2255457" y="771819"/>
                </a:cubicBezTo>
                <a:cubicBezTo>
                  <a:pt x="2255457" y="769701"/>
                  <a:pt x="2255956" y="767606"/>
                  <a:pt x="2256942" y="765731"/>
                </a:cubicBezTo>
                <a:cubicBezTo>
                  <a:pt x="2257587" y="764659"/>
                  <a:pt x="2257624" y="763344"/>
                  <a:pt x="2257052" y="762236"/>
                </a:cubicBezTo>
                <a:cubicBezTo>
                  <a:pt x="2256358" y="760556"/>
                  <a:pt x="2252863" y="758680"/>
                  <a:pt x="2252863" y="758680"/>
                </a:cubicBezTo>
                <a:lnTo>
                  <a:pt x="2252023" y="758193"/>
                </a:lnTo>
                <a:lnTo>
                  <a:pt x="2250476" y="757378"/>
                </a:lnTo>
                <a:lnTo>
                  <a:pt x="2249258" y="756878"/>
                </a:lnTo>
                <a:lnTo>
                  <a:pt x="2247006" y="756062"/>
                </a:lnTo>
                <a:lnTo>
                  <a:pt x="2244400" y="755222"/>
                </a:lnTo>
                <a:lnTo>
                  <a:pt x="2242062" y="754443"/>
                </a:lnTo>
                <a:lnTo>
                  <a:pt x="2243389" y="752007"/>
                </a:lnTo>
                <a:cubicBezTo>
                  <a:pt x="2243754" y="751338"/>
                  <a:pt x="2244132" y="750680"/>
                  <a:pt x="2244497" y="750023"/>
                </a:cubicBezTo>
                <a:lnTo>
                  <a:pt x="2245472" y="748257"/>
                </a:lnTo>
                <a:lnTo>
                  <a:pt x="2246324" y="746735"/>
                </a:lnTo>
                <a:lnTo>
                  <a:pt x="2247213" y="745140"/>
                </a:lnTo>
                <a:lnTo>
                  <a:pt x="2249003" y="741937"/>
                </a:lnTo>
                <a:lnTo>
                  <a:pt x="2250330" y="739502"/>
                </a:lnTo>
                <a:lnTo>
                  <a:pt x="2251645" y="737066"/>
                </a:lnTo>
                <a:lnTo>
                  <a:pt x="2252863" y="734887"/>
                </a:lnTo>
                <a:lnTo>
                  <a:pt x="2254080" y="732537"/>
                </a:lnTo>
                <a:cubicBezTo>
                  <a:pt x="2254482" y="731660"/>
                  <a:pt x="2254884" y="730771"/>
                  <a:pt x="2255298" y="729894"/>
                </a:cubicBezTo>
                <a:lnTo>
                  <a:pt x="2256175" y="727581"/>
                </a:lnTo>
                <a:cubicBezTo>
                  <a:pt x="2256406" y="726802"/>
                  <a:pt x="2256650" y="726022"/>
                  <a:pt x="2256893" y="725243"/>
                </a:cubicBezTo>
                <a:cubicBezTo>
                  <a:pt x="2257137" y="724463"/>
                  <a:pt x="2257198" y="724025"/>
                  <a:pt x="2257356" y="723367"/>
                </a:cubicBezTo>
                <a:cubicBezTo>
                  <a:pt x="2257514" y="722710"/>
                  <a:pt x="2257612" y="722040"/>
                  <a:pt x="2257733" y="721383"/>
                </a:cubicBezTo>
                <a:cubicBezTo>
                  <a:pt x="2257855" y="720725"/>
                  <a:pt x="2257892" y="720385"/>
                  <a:pt x="2257965" y="719873"/>
                </a:cubicBezTo>
                <a:cubicBezTo>
                  <a:pt x="2258038" y="719361"/>
                  <a:pt x="2258074" y="718801"/>
                  <a:pt x="2258135" y="718265"/>
                </a:cubicBezTo>
                <a:cubicBezTo>
                  <a:pt x="2258135" y="717437"/>
                  <a:pt x="2258221" y="716610"/>
                  <a:pt x="2258269" y="715830"/>
                </a:cubicBezTo>
                <a:cubicBezTo>
                  <a:pt x="2258318" y="715051"/>
                  <a:pt x="2258269" y="713979"/>
                  <a:pt x="2258269" y="713042"/>
                </a:cubicBezTo>
                <a:cubicBezTo>
                  <a:pt x="2258269" y="712104"/>
                  <a:pt x="2258160" y="711471"/>
                  <a:pt x="2258111" y="710691"/>
                </a:cubicBezTo>
                <a:cubicBezTo>
                  <a:pt x="2258062" y="709912"/>
                  <a:pt x="2257916" y="708926"/>
                  <a:pt x="2257807" y="708037"/>
                </a:cubicBezTo>
                <a:lnTo>
                  <a:pt x="2257478" y="705979"/>
                </a:lnTo>
                <a:cubicBezTo>
                  <a:pt x="2257782" y="704895"/>
                  <a:pt x="2255505" y="703373"/>
                  <a:pt x="2255505" y="703361"/>
                </a:cubicBezTo>
                <a:lnTo>
                  <a:pt x="2254580" y="702642"/>
                </a:lnTo>
                <a:lnTo>
                  <a:pt x="2253740" y="701863"/>
                </a:lnTo>
                <a:cubicBezTo>
                  <a:pt x="2252729" y="700438"/>
                  <a:pt x="2251949" y="698868"/>
                  <a:pt x="2251402" y="697212"/>
                </a:cubicBezTo>
                <a:cubicBezTo>
                  <a:pt x="2251402" y="696785"/>
                  <a:pt x="2251402" y="696360"/>
                  <a:pt x="2251402" y="695933"/>
                </a:cubicBezTo>
                <a:cubicBezTo>
                  <a:pt x="2251548" y="694581"/>
                  <a:pt x="2251584" y="693218"/>
                  <a:pt x="2251499" y="691866"/>
                </a:cubicBezTo>
                <a:cubicBezTo>
                  <a:pt x="2251609" y="689017"/>
                  <a:pt x="2249965" y="686374"/>
                  <a:pt x="2247359" y="685217"/>
                </a:cubicBezTo>
                <a:cubicBezTo>
                  <a:pt x="2244449" y="683671"/>
                  <a:pt x="2239334" y="683476"/>
                  <a:pt x="2239334" y="683488"/>
                </a:cubicBezTo>
                <a:cubicBezTo>
                  <a:pt x="2239164" y="683464"/>
                  <a:pt x="2238993" y="683428"/>
                  <a:pt x="2238823" y="683366"/>
                </a:cubicBezTo>
                <a:cubicBezTo>
                  <a:pt x="2237995" y="682916"/>
                  <a:pt x="2237423" y="682100"/>
                  <a:pt x="2237313" y="681162"/>
                </a:cubicBezTo>
                <a:cubicBezTo>
                  <a:pt x="2237130" y="679689"/>
                  <a:pt x="2236960" y="678216"/>
                  <a:pt x="2236789" y="676755"/>
                </a:cubicBezTo>
                <a:cubicBezTo>
                  <a:pt x="2236327" y="667841"/>
                  <a:pt x="2241392" y="663628"/>
                  <a:pt x="2241392" y="663640"/>
                </a:cubicBezTo>
                <a:cubicBezTo>
                  <a:pt x="2243669" y="661594"/>
                  <a:pt x="2245386" y="659001"/>
                  <a:pt x="2246397" y="656115"/>
                </a:cubicBezTo>
                <a:cubicBezTo>
                  <a:pt x="2247249" y="653204"/>
                  <a:pt x="2248711" y="650513"/>
                  <a:pt x="2250683" y="648212"/>
                </a:cubicBezTo>
                <a:cubicBezTo>
                  <a:pt x="2254251" y="644206"/>
                  <a:pt x="2258391" y="640747"/>
                  <a:pt x="2262957" y="637935"/>
                </a:cubicBezTo>
                <a:cubicBezTo>
                  <a:pt x="2271834" y="633661"/>
                  <a:pt x="2271834" y="631846"/>
                  <a:pt x="2271834" y="631846"/>
                </a:cubicBezTo>
                <a:cubicBezTo>
                  <a:pt x="2274733" y="629192"/>
                  <a:pt x="2272541" y="625758"/>
                  <a:pt x="2272541" y="625758"/>
                </a:cubicBezTo>
                <a:cubicBezTo>
                  <a:pt x="2272248" y="623384"/>
                  <a:pt x="2272163" y="620997"/>
                  <a:pt x="2272309" y="618610"/>
                </a:cubicBezTo>
                <a:cubicBezTo>
                  <a:pt x="2271603" y="609319"/>
                  <a:pt x="2287798" y="604887"/>
                  <a:pt x="2287798" y="604899"/>
                </a:cubicBezTo>
                <a:cubicBezTo>
                  <a:pt x="2302191" y="599797"/>
                  <a:pt x="2298757" y="592941"/>
                  <a:pt x="2298757" y="592941"/>
                </a:cubicBezTo>
                <a:cubicBezTo>
                  <a:pt x="2297381" y="586512"/>
                  <a:pt x="2311007" y="581982"/>
                  <a:pt x="2311019" y="581982"/>
                </a:cubicBezTo>
                <a:cubicBezTo>
                  <a:pt x="2327580" y="576697"/>
                  <a:pt x="2337078" y="570780"/>
                  <a:pt x="2337078" y="570780"/>
                </a:cubicBezTo>
                <a:cubicBezTo>
                  <a:pt x="2359934" y="555802"/>
                  <a:pt x="2360689" y="546426"/>
                  <a:pt x="2360664" y="546426"/>
                </a:cubicBezTo>
                <a:cubicBezTo>
                  <a:pt x="2360518" y="545744"/>
                  <a:pt x="2360384" y="545062"/>
                  <a:pt x="2360238" y="544380"/>
                </a:cubicBezTo>
                <a:cubicBezTo>
                  <a:pt x="2359861" y="543747"/>
                  <a:pt x="2359495" y="543162"/>
                  <a:pt x="2359118" y="542456"/>
                </a:cubicBezTo>
                <a:cubicBezTo>
                  <a:pt x="2357900" y="540338"/>
                  <a:pt x="2359191" y="536136"/>
                  <a:pt x="2359191" y="536136"/>
                </a:cubicBezTo>
                <a:lnTo>
                  <a:pt x="2361626" y="531728"/>
                </a:lnTo>
                <a:cubicBezTo>
                  <a:pt x="2362747" y="529987"/>
                  <a:pt x="2363879" y="528246"/>
                  <a:pt x="2364999" y="526492"/>
                </a:cubicBezTo>
                <a:lnTo>
                  <a:pt x="2367301" y="522839"/>
                </a:lnTo>
                <a:lnTo>
                  <a:pt x="2368908" y="520404"/>
                </a:lnTo>
                <a:lnTo>
                  <a:pt x="2370126" y="519259"/>
                </a:lnTo>
                <a:lnTo>
                  <a:pt x="2372659" y="517542"/>
                </a:lnTo>
                <a:lnTo>
                  <a:pt x="2378284" y="513524"/>
                </a:lnTo>
                <a:lnTo>
                  <a:pt x="2382254" y="510723"/>
                </a:lnTo>
                <a:lnTo>
                  <a:pt x="2389645" y="506206"/>
                </a:lnTo>
                <a:lnTo>
                  <a:pt x="2393773" y="504245"/>
                </a:lnTo>
                <a:lnTo>
                  <a:pt x="2399862" y="501627"/>
                </a:lnTo>
                <a:lnTo>
                  <a:pt x="2405804" y="498412"/>
                </a:lnTo>
                <a:cubicBezTo>
                  <a:pt x="2406912" y="497658"/>
                  <a:pt x="2408032" y="496927"/>
                  <a:pt x="2409140" y="496184"/>
                </a:cubicBezTo>
                <a:lnTo>
                  <a:pt x="2413000" y="493116"/>
                </a:lnTo>
                <a:lnTo>
                  <a:pt x="2416203" y="490096"/>
                </a:lnTo>
                <a:cubicBezTo>
                  <a:pt x="2417129" y="489109"/>
                  <a:pt x="2418042" y="488111"/>
                  <a:pt x="2418967" y="487112"/>
                </a:cubicBezTo>
                <a:cubicBezTo>
                  <a:pt x="2419552" y="486443"/>
                  <a:pt x="2420124" y="485761"/>
                  <a:pt x="2420696" y="485091"/>
                </a:cubicBezTo>
                <a:lnTo>
                  <a:pt x="2423546" y="481584"/>
                </a:lnTo>
                <a:lnTo>
                  <a:pt x="2425129" y="479611"/>
                </a:lnTo>
                <a:lnTo>
                  <a:pt x="2426858" y="477298"/>
                </a:lnTo>
                <a:cubicBezTo>
                  <a:pt x="2428039" y="475362"/>
                  <a:pt x="2429634" y="473706"/>
                  <a:pt x="2431509" y="472427"/>
                </a:cubicBezTo>
                <a:cubicBezTo>
                  <a:pt x="2438901" y="467337"/>
                  <a:pt x="2444502" y="471210"/>
                  <a:pt x="2444502" y="471210"/>
                </a:cubicBezTo>
                <a:cubicBezTo>
                  <a:pt x="2446743" y="472330"/>
                  <a:pt x="2449117" y="473145"/>
                  <a:pt x="2451565" y="473645"/>
                </a:cubicBezTo>
                <a:cubicBezTo>
                  <a:pt x="2458761" y="475179"/>
                  <a:pt x="2471352" y="472062"/>
                  <a:pt x="2471352" y="472062"/>
                </a:cubicBezTo>
                <a:cubicBezTo>
                  <a:pt x="2475699" y="471063"/>
                  <a:pt x="2480132" y="470454"/>
                  <a:pt x="2484588" y="470248"/>
                </a:cubicBezTo>
                <a:lnTo>
                  <a:pt x="2492808" y="469748"/>
                </a:lnTo>
                <a:lnTo>
                  <a:pt x="2498153" y="469298"/>
                </a:lnTo>
                <a:lnTo>
                  <a:pt x="2501526" y="468896"/>
                </a:lnTo>
                <a:lnTo>
                  <a:pt x="2503840" y="468530"/>
                </a:lnTo>
                <a:lnTo>
                  <a:pt x="2504022" y="468530"/>
                </a:lnTo>
                <a:lnTo>
                  <a:pt x="2507006" y="467934"/>
                </a:lnTo>
                <a:lnTo>
                  <a:pt x="2509965" y="467155"/>
                </a:lnTo>
                <a:lnTo>
                  <a:pt x="2512571" y="466278"/>
                </a:lnTo>
                <a:lnTo>
                  <a:pt x="2515189" y="465170"/>
                </a:lnTo>
                <a:lnTo>
                  <a:pt x="2518062" y="463636"/>
                </a:lnTo>
                <a:lnTo>
                  <a:pt x="2519804" y="462674"/>
                </a:lnTo>
                <a:lnTo>
                  <a:pt x="2521849" y="461699"/>
                </a:lnTo>
                <a:lnTo>
                  <a:pt x="2527012" y="459568"/>
                </a:lnTo>
                <a:lnTo>
                  <a:pt x="2537789" y="454990"/>
                </a:lnTo>
                <a:lnTo>
                  <a:pt x="2540650" y="453553"/>
                </a:lnTo>
                <a:lnTo>
                  <a:pt x="2542270" y="452579"/>
                </a:lnTo>
                <a:lnTo>
                  <a:pt x="2543950" y="451519"/>
                </a:lnTo>
                <a:lnTo>
                  <a:pt x="2546288" y="450217"/>
                </a:lnTo>
                <a:lnTo>
                  <a:pt x="2548724" y="448999"/>
                </a:lnTo>
                <a:cubicBezTo>
                  <a:pt x="2553850" y="446880"/>
                  <a:pt x="2559184" y="445322"/>
                  <a:pt x="2564639" y="444347"/>
                </a:cubicBezTo>
                <a:lnTo>
                  <a:pt x="2574551" y="442655"/>
                </a:lnTo>
                <a:lnTo>
                  <a:pt x="2587276" y="440414"/>
                </a:lnTo>
                <a:lnTo>
                  <a:pt x="2602838" y="437553"/>
                </a:lnTo>
                <a:cubicBezTo>
                  <a:pt x="2608183" y="436542"/>
                  <a:pt x="2613529" y="435519"/>
                  <a:pt x="2618887" y="434521"/>
                </a:cubicBezTo>
                <a:cubicBezTo>
                  <a:pt x="2634960" y="431525"/>
                  <a:pt x="2643240" y="433059"/>
                  <a:pt x="2643240" y="433059"/>
                </a:cubicBezTo>
                <a:cubicBezTo>
                  <a:pt x="2647332" y="433449"/>
                  <a:pt x="2651448" y="432986"/>
                  <a:pt x="2655344" y="431695"/>
                </a:cubicBezTo>
                <a:lnTo>
                  <a:pt x="2656659" y="431221"/>
                </a:lnTo>
                <a:lnTo>
                  <a:pt x="2658547" y="430600"/>
                </a:lnTo>
                <a:lnTo>
                  <a:pt x="2662200" y="429589"/>
                </a:lnTo>
                <a:cubicBezTo>
                  <a:pt x="2671381" y="427312"/>
                  <a:pt x="2692398" y="426411"/>
                  <a:pt x="2692398" y="426435"/>
                </a:cubicBezTo>
                <a:cubicBezTo>
                  <a:pt x="2711881" y="425631"/>
                  <a:pt x="2720673" y="422161"/>
                  <a:pt x="2720685" y="422149"/>
                </a:cubicBezTo>
                <a:cubicBezTo>
                  <a:pt x="2724265" y="420700"/>
                  <a:pt x="2728210" y="420383"/>
                  <a:pt x="2731985" y="421236"/>
                </a:cubicBezTo>
                <a:lnTo>
                  <a:pt x="2733142" y="421650"/>
                </a:lnTo>
                <a:cubicBezTo>
                  <a:pt x="2738427" y="423671"/>
                  <a:pt x="2744259" y="423805"/>
                  <a:pt x="2749630" y="422003"/>
                </a:cubicBezTo>
                <a:cubicBezTo>
                  <a:pt x="2750567" y="422612"/>
                  <a:pt x="2751432" y="423330"/>
                  <a:pt x="2752199" y="424134"/>
                </a:cubicBezTo>
                <a:cubicBezTo>
                  <a:pt x="2755206" y="427239"/>
                  <a:pt x="2750336" y="431184"/>
                  <a:pt x="2750348" y="431184"/>
                </a:cubicBezTo>
                <a:lnTo>
                  <a:pt x="2747912" y="433303"/>
                </a:lnTo>
                <a:lnTo>
                  <a:pt x="2746695" y="434362"/>
                </a:lnTo>
                <a:cubicBezTo>
                  <a:pt x="2747998" y="435008"/>
                  <a:pt x="2749252" y="435750"/>
                  <a:pt x="2750445" y="436591"/>
                </a:cubicBezTo>
                <a:cubicBezTo>
                  <a:pt x="2755742" y="440390"/>
                  <a:pt x="2753051" y="444688"/>
                  <a:pt x="2753051" y="444676"/>
                </a:cubicBezTo>
                <a:cubicBezTo>
                  <a:pt x="2751833" y="446673"/>
                  <a:pt x="2750299" y="448451"/>
                  <a:pt x="2748497" y="449949"/>
                </a:cubicBezTo>
                <a:lnTo>
                  <a:pt x="2745696" y="452165"/>
                </a:lnTo>
                <a:lnTo>
                  <a:pt x="2742956" y="454308"/>
                </a:lnTo>
                <a:lnTo>
                  <a:pt x="2741495" y="455647"/>
                </a:lnTo>
                <a:cubicBezTo>
                  <a:pt x="2739486" y="457450"/>
                  <a:pt x="2741227" y="458448"/>
                  <a:pt x="2741215" y="458448"/>
                </a:cubicBezTo>
                <a:lnTo>
                  <a:pt x="2742214" y="459008"/>
                </a:lnTo>
                <a:lnTo>
                  <a:pt x="2743651" y="459581"/>
                </a:lnTo>
                <a:lnTo>
                  <a:pt x="2746001" y="460323"/>
                </a:lnTo>
                <a:lnTo>
                  <a:pt x="2749751" y="461371"/>
                </a:lnTo>
                <a:lnTo>
                  <a:pt x="2753684" y="462442"/>
                </a:lnTo>
                <a:cubicBezTo>
                  <a:pt x="2755535" y="462941"/>
                  <a:pt x="2757337" y="463428"/>
                  <a:pt x="2759237" y="463940"/>
                </a:cubicBezTo>
                <a:lnTo>
                  <a:pt x="2763852" y="465158"/>
                </a:lnTo>
                <a:lnTo>
                  <a:pt x="2767700" y="466071"/>
                </a:lnTo>
                <a:lnTo>
                  <a:pt x="2772351" y="467045"/>
                </a:lnTo>
                <a:lnTo>
                  <a:pt x="2775505" y="467569"/>
                </a:lnTo>
                <a:cubicBezTo>
                  <a:pt x="2783225" y="468640"/>
                  <a:pt x="2791055" y="468750"/>
                  <a:pt x="2798812" y="467897"/>
                </a:cubicBezTo>
                <a:cubicBezTo>
                  <a:pt x="2802720" y="467605"/>
                  <a:pt x="2814240" y="467654"/>
                  <a:pt x="2814240" y="467642"/>
                </a:cubicBezTo>
                <a:cubicBezTo>
                  <a:pt x="2828852" y="467885"/>
                  <a:pt x="2832286" y="469359"/>
                  <a:pt x="2832286" y="469359"/>
                </a:cubicBezTo>
                <a:cubicBezTo>
                  <a:pt x="2838374" y="471222"/>
                  <a:pt x="2840116" y="474022"/>
                  <a:pt x="2840116" y="474034"/>
                </a:cubicBezTo>
                <a:lnTo>
                  <a:pt x="2841138" y="475605"/>
                </a:lnTo>
                <a:lnTo>
                  <a:pt x="2841577" y="476385"/>
                </a:lnTo>
                <a:cubicBezTo>
                  <a:pt x="2841808" y="476701"/>
                  <a:pt x="2842027" y="477018"/>
                  <a:pt x="2842259" y="477322"/>
                </a:cubicBezTo>
                <a:lnTo>
                  <a:pt x="2843099" y="478223"/>
                </a:lnTo>
                <a:cubicBezTo>
                  <a:pt x="2846996" y="481876"/>
                  <a:pt x="2855276" y="481949"/>
                  <a:pt x="2855276" y="481876"/>
                </a:cubicBezTo>
                <a:lnTo>
                  <a:pt x="2858758" y="481876"/>
                </a:lnTo>
                <a:cubicBezTo>
                  <a:pt x="2863897" y="481779"/>
                  <a:pt x="2869048" y="481986"/>
                  <a:pt x="2874162" y="482510"/>
                </a:cubicBezTo>
                <a:lnTo>
                  <a:pt x="2877596" y="482960"/>
                </a:lnTo>
                <a:lnTo>
                  <a:pt x="2880713" y="483471"/>
                </a:lnTo>
                <a:lnTo>
                  <a:pt x="2883684" y="484068"/>
                </a:lnTo>
                <a:lnTo>
                  <a:pt x="2888994" y="485395"/>
                </a:lnTo>
                <a:lnTo>
                  <a:pt x="2891965" y="486297"/>
                </a:lnTo>
                <a:lnTo>
                  <a:pt x="2894631" y="487222"/>
                </a:lnTo>
                <a:lnTo>
                  <a:pt x="2896287" y="487855"/>
                </a:lnTo>
                <a:lnTo>
                  <a:pt x="2898723" y="488659"/>
                </a:lnTo>
                <a:lnTo>
                  <a:pt x="2901621" y="489341"/>
                </a:lnTo>
                <a:cubicBezTo>
                  <a:pt x="2905895" y="490242"/>
                  <a:pt x="2910266" y="490510"/>
                  <a:pt x="2914614" y="490132"/>
                </a:cubicBezTo>
                <a:cubicBezTo>
                  <a:pt x="2923308" y="489450"/>
                  <a:pt x="2924781" y="486211"/>
                  <a:pt x="2924793" y="486223"/>
                </a:cubicBezTo>
                <a:cubicBezTo>
                  <a:pt x="2926863" y="483715"/>
                  <a:pt x="2924111" y="479831"/>
                  <a:pt x="2924111" y="479818"/>
                </a:cubicBezTo>
                <a:lnTo>
                  <a:pt x="2923612" y="479039"/>
                </a:lnTo>
                <a:lnTo>
                  <a:pt x="2923125" y="478260"/>
                </a:lnTo>
                <a:cubicBezTo>
                  <a:pt x="2923028" y="478089"/>
                  <a:pt x="2922942" y="477919"/>
                  <a:pt x="2922845" y="477761"/>
                </a:cubicBezTo>
                <a:lnTo>
                  <a:pt x="2922662" y="477432"/>
                </a:lnTo>
                <a:cubicBezTo>
                  <a:pt x="2922662" y="477407"/>
                  <a:pt x="2922662" y="477383"/>
                  <a:pt x="2922662" y="477359"/>
                </a:cubicBezTo>
                <a:lnTo>
                  <a:pt x="2922321" y="476555"/>
                </a:lnTo>
                <a:cubicBezTo>
                  <a:pt x="2921993" y="475837"/>
                  <a:pt x="2922151" y="474984"/>
                  <a:pt x="2922723" y="474436"/>
                </a:cubicBezTo>
                <a:lnTo>
                  <a:pt x="2923868" y="473450"/>
                </a:lnTo>
                <a:lnTo>
                  <a:pt x="2925329" y="472232"/>
                </a:lnTo>
                <a:lnTo>
                  <a:pt x="2926693" y="471149"/>
                </a:lnTo>
                <a:lnTo>
                  <a:pt x="2928495" y="469882"/>
                </a:lnTo>
                <a:lnTo>
                  <a:pt x="2930310" y="468664"/>
                </a:lnTo>
                <a:cubicBezTo>
                  <a:pt x="2932404" y="467349"/>
                  <a:pt x="2934705" y="466412"/>
                  <a:pt x="2937129" y="465888"/>
                </a:cubicBezTo>
                <a:lnTo>
                  <a:pt x="2938151" y="465681"/>
                </a:lnTo>
                <a:lnTo>
                  <a:pt x="2942218" y="464877"/>
                </a:lnTo>
                <a:lnTo>
                  <a:pt x="2948879" y="463660"/>
                </a:lnTo>
                <a:cubicBezTo>
                  <a:pt x="2961847" y="461103"/>
                  <a:pt x="2970031" y="462125"/>
                  <a:pt x="2970031" y="462138"/>
                </a:cubicBezTo>
                <a:cubicBezTo>
                  <a:pt x="2973367" y="462369"/>
                  <a:pt x="2976667" y="462954"/>
                  <a:pt x="2979869" y="463891"/>
                </a:cubicBezTo>
                <a:lnTo>
                  <a:pt x="2980235" y="463988"/>
                </a:lnTo>
                <a:lnTo>
                  <a:pt x="2980892" y="464171"/>
                </a:lnTo>
                <a:lnTo>
                  <a:pt x="2981416" y="464281"/>
                </a:lnTo>
                <a:lnTo>
                  <a:pt x="2982134" y="464378"/>
                </a:lnTo>
                <a:cubicBezTo>
                  <a:pt x="2982913" y="464415"/>
                  <a:pt x="2983693" y="464561"/>
                  <a:pt x="2984436" y="464805"/>
                </a:cubicBezTo>
                <a:lnTo>
                  <a:pt x="2984777" y="464987"/>
                </a:lnTo>
                <a:lnTo>
                  <a:pt x="2985410" y="465328"/>
                </a:lnTo>
                <a:lnTo>
                  <a:pt x="2986421" y="465839"/>
                </a:lnTo>
                <a:lnTo>
                  <a:pt x="2987638" y="466412"/>
                </a:lnTo>
                <a:lnTo>
                  <a:pt x="2989538" y="467179"/>
                </a:lnTo>
                <a:lnTo>
                  <a:pt x="2991364" y="467824"/>
                </a:lnTo>
                <a:lnTo>
                  <a:pt x="2993410" y="468458"/>
                </a:lnTo>
                <a:lnTo>
                  <a:pt x="2995845" y="469115"/>
                </a:lnTo>
                <a:lnTo>
                  <a:pt x="2998792" y="469797"/>
                </a:lnTo>
                <a:lnTo>
                  <a:pt x="3001836" y="470418"/>
                </a:lnTo>
                <a:lnTo>
                  <a:pt x="3005343" y="471039"/>
                </a:lnTo>
                <a:lnTo>
                  <a:pt x="3008570" y="471562"/>
                </a:lnTo>
                <a:lnTo>
                  <a:pt x="3010847" y="471916"/>
                </a:lnTo>
                <a:lnTo>
                  <a:pt x="3015718" y="472683"/>
                </a:lnTo>
                <a:lnTo>
                  <a:pt x="3018226" y="473109"/>
                </a:lnTo>
                <a:lnTo>
                  <a:pt x="3021429" y="473706"/>
                </a:lnTo>
                <a:lnTo>
                  <a:pt x="3024790" y="474412"/>
                </a:lnTo>
                <a:lnTo>
                  <a:pt x="3028102" y="475252"/>
                </a:lnTo>
                <a:cubicBezTo>
                  <a:pt x="3030135" y="475849"/>
                  <a:pt x="3032193" y="476312"/>
                  <a:pt x="3034287" y="476628"/>
                </a:cubicBezTo>
                <a:lnTo>
                  <a:pt x="3038537" y="477249"/>
                </a:lnTo>
                <a:lnTo>
                  <a:pt x="3043079" y="477748"/>
                </a:lnTo>
                <a:cubicBezTo>
                  <a:pt x="3045515" y="477967"/>
                  <a:pt x="3048072" y="478175"/>
                  <a:pt x="3050556" y="478406"/>
                </a:cubicBezTo>
                <a:cubicBezTo>
                  <a:pt x="3052321" y="478564"/>
                  <a:pt x="3054087" y="478710"/>
                  <a:pt x="3055853" y="478881"/>
                </a:cubicBezTo>
                <a:lnTo>
                  <a:pt x="3060212" y="479356"/>
                </a:lnTo>
                <a:lnTo>
                  <a:pt x="3060456" y="479356"/>
                </a:lnTo>
                <a:lnTo>
                  <a:pt x="3067762" y="480391"/>
                </a:lnTo>
                <a:cubicBezTo>
                  <a:pt x="3080840" y="482059"/>
                  <a:pt x="3094429" y="484908"/>
                  <a:pt x="3094429" y="484908"/>
                </a:cubicBezTo>
                <a:cubicBezTo>
                  <a:pt x="3103525" y="486966"/>
                  <a:pt x="3107921" y="485274"/>
                  <a:pt x="3107921" y="485274"/>
                </a:cubicBezTo>
                <a:lnTo>
                  <a:pt x="3111574" y="484178"/>
                </a:lnTo>
                <a:lnTo>
                  <a:pt x="3115617" y="482814"/>
                </a:lnTo>
                <a:lnTo>
                  <a:pt x="3118259" y="482059"/>
                </a:lnTo>
                <a:cubicBezTo>
                  <a:pt x="3124055" y="480537"/>
                  <a:pt x="3130046" y="479818"/>
                  <a:pt x="3136037" y="479928"/>
                </a:cubicBezTo>
                <a:cubicBezTo>
                  <a:pt x="3143782" y="480196"/>
                  <a:pt x="3151441" y="481706"/>
                  <a:pt x="3158711" y="484372"/>
                </a:cubicBezTo>
                <a:cubicBezTo>
                  <a:pt x="3162534" y="485724"/>
                  <a:pt x="3166516" y="486613"/>
                  <a:pt x="3170547" y="487052"/>
                </a:cubicBezTo>
                <a:cubicBezTo>
                  <a:pt x="3179557" y="488184"/>
                  <a:pt x="3193476" y="486759"/>
                  <a:pt x="3193463" y="486759"/>
                </a:cubicBezTo>
                <a:cubicBezTo>
                  <a:pt x="3198018" y="486382"/>
                  <a:pt x="3201817" y="482522"/>
                  <a:pt x="3201817" y="482522"/>
                </a:cubicBezTo>
                <a:lnTo>
                  <a:pt x="3202608" y="481694"/>
                </a:lnTo>
                <a:lnTo>
                  <a:pt x="3203655" y="480367"/>
                </a:lnTo>
                <a:lnTo>
                  <a:pt x="3205457" y="477602"/>
                </a:lnTo>
                <a:lnTo>
                  <a:pt x="3207430" y="474156"/>
                </a:lnTo>
                <a:lnTo>
                  <a:pt x="3209123" y="470966"/>
                </a:lnTo>
                <a:cubicBezTo>
                  <a:pt x="3209780" y="469748"/>
                  <a:pt x="3210426" y="468530"/>
                  <a:pt x="3211071" y="467313"/>
                </a:cubicBezTo>
                <a:cubicBezTo>
                  <a:pt x="3212374" y="464914"/>
                  <a:pt x="3213884" y="462637"/>
                  <a:pt x="3215552" y="460482"/>
                </a:cubicBezTo>
                <a:cubicBezTo>
                  <a:pt x="3217172" y="458570"/>
                  <a:pt x="3218913" y="456780"/>
                  <a:pt x="3220776" y="455112"/>
                </a:cubicBezTo>
                <a:cubicBezTo>
                  <a:pt x="3222736" y="453699"/>
                  <a:pt x="3222615" y="452676"/>
                  <a:pt x="3222615" y="452676"/>
                </a:cubicBezTo>
                <a:cubicBezTo>
                  <a:pt x="3222615" y="452287"/>
                  <a:pt x="3222676" y="451897"/>
                  <a:pt x="3222700" y="451459"/>
                </a:cubicBezTo>
                <a:cubicBezTo>
                  <a:pt x="3222870" y="449023"/>
                  <a:pt x="3223041" y="446478"/>
                  <a:pt x="3223199" y="443994"/>
                </a:cubicBezTo>
                <a:lnTo>
                  <a:pt x="3223747" y="435166"/>
                </a:lnTo>
                <a:lnTo>
                  <a:pt x="3224149" y="428639"/>
                </a:lnTo>
                <a:cubicBezTo>
                  <a:pt x="3223528" y="428639"/>
                  <a:pt x="3222931" y="428639"/>
                  <a:pt x="3222310" y="428639"/>
                </a:cubicBezTo>
                <a:lnTo>
                  <a:pt x="3220496" y="428639"/>
                </a:lnTo>
                <a:lnTo>
                  <a:pt x="3216137" y="428639"/>
                </a:lnTo>
                <a:cubicBezTo>
                  <a:pt x="3213933" y="428688"/>
                  <a:pt x="3211729" y="428493"/>
                  <a:pt x="3209573" y="428055"/>
                </a:cubicBezTo>
                <a:lnTo>
                  <a:pt x="3207856" y="427629"/>
                </a:lnTo>
                <a:cubicBezTo>
                  <a:pt x="3204666" y="426873"/>
                  <a:pt x="3201378" y="426654"/>
                  <a:pt x="3198115" y="426995"/>
                </a:cubicBezTo>
                <a:cubicBezTo>
                  <a:pt x="3195180" y="427373"/>
                  <a:pt x="3192282" y="427982"/>
                  <a:pt x="3189445" y="428822"/>
                </a:cubicBezTo>
                <a:lnTo>
                  <a:pt x="3187728" y="429333"/>
                </a:lnTo>
                <a:lnTo>
                  <a:pt x="3184940" y="430137"/>
                </a:lnTo>
                <a:cubicBezTo>
                  <a:pt x="3183149" y="430709"/>
                  <a:pt x="3179375" y="431355"/>
                  <a:pt x="3179387" y="431355"/>
                </a:cubicBezTo>
                <a:lnTo>
                  <a:pt x="3177122" y="431683"/>
                </a:lnTo>
                <a:cubicBezTo>
                  <a:pt x="3167088" y="433449"/>
                  <a:pt x="3154692" y="427470"/>
                  <a:pt x="3154668" y="427470"/>
                </a:cubicBezTo>
                <a:lnTo>
                  <a:pt x="3151624" y="426252"/>
                </a:lnTo>
                <a:lnTo>
                  <a:pt x="3149103" y="425279"/>
                </a:lnTo>
                <a:cubicBezTo>
                  <a:pt x="3143258" y="422709"/>
                  <a:pt x="3133103" y="421930"/>
                  <a:pt x="3133103" y="421942"/>
                </a:cubicBezTo>
                <a:lnTo>
                  <a:pt x="3130436" y="421735"/>
                </a:lnTo>
                <a:cubicBezTo>
                  <a:pt x="3129121" y="421650"/>
                  <a:pt x="3127818" y="421552"/>
                  <a:pt x="3126503" y="421479"/>
                </a:cubicBezTo>
                <a:lnTo>
                  <a:pt x="3125005" y="422246"/>
                </a:lnTo>
                <a:lnTo>
                  <a:pt x="3122716" y="423464"/>
                </a:lnTo>
                <a:lnTo>
                  <a:pt x="3121425" y="424085"/>
                </a:lnTo>
                <a:lnTo>
                  <a:pt x="3119818" y="424730"/>
                </a:lnTo>
                <a:lnTo>
                  <a:pt x="3118089" y="425303"/>
                </a:lnTo>
                <a:lnTo>
                  <a:pt x="3116725" y="425680"/>
                </a:lnTo>
                <a:cubicBezTo>
                  <a:pt x="3113376" y="426557"/>
                  <a:pt x="3109869" y="426667"/>
                  <a:pt x="3106460" y="426009"/>
                </a:cubicBezTo>
                <a:lnTo>
                  <a:pt x="3105400" y="425765"/>
                </a:lnTo>
                <a:lnTo>
                  <a:pt x="3104256" y="425437"/>
                </a:lnTo>
                <a:lnTo>
                  <a:pt x="3103343" y="425132"/>
                </a:lnTo>
                <a:lnTo>
                  <a:pt x="3102417" y="424852"/>
                </a:lnTo>
                <a:lnTo>
                  <a:pt x="3101760" y="424670"/>
                </a:lnTo>
                <a:lnTo>
                  <a:pt x="3101224" y="424548"/>
                </a:lnTo>
                <a:lnTo>
                  <a:pt x="3100274" y="424329"/>
                </a:lnTo>
                <a:lnTo>
                  <a:pt x="3099470" y="424158"/>
                </a:lnTo>
                <a:lnTo>
                  <a:pt x="3099008" y="424049"/>
                </a:lnTo>
                <a:lnTo>
                  <a:pt x="3098228" y="423878"/>
                </a:lnTo>
                <a:lnTo>
                  <a:pt x="3097400" y="423671"/>
                </a:lnTo>
                <a:lnTo>
                  <a:pt x="3096816" y="423513"/>
                </a:lnTo>
                <a:lnTo>
                  <a:pt x="3096256" y="423342"/>
                </a:lnTo>
                <a:lnTo>
                  <a:pt x="3095817" y="423184"/>
                </a:lnTo>
                <a:lnTo>
                  <a:pt x="3095391" y="423026"/>
                </a:lnTo>
                <a:cubicBezTo>
                  <a:pt x="3094807" y="422782"/>
                  <a:pt x="3094173" y="422563"/>
                  <a:pt x="3093613" y="422332"/>
                </a:cubicBezTo>
                <a:cubicBezTo>
                  <a:pt x="3090861" y="421297"/>
                  <a:pt x="3087257" y="420335"/>
                  <a:pt x="3087245" y="420347"/>
                </a:cubicBezTo>
                <a:cubicBezTo>
                  <a:pt x="3083543" y="419373"/>
                  <a:pt x="3079732" y="418898"/>
                  <a:pt x="3075908" y="418934"/>
                </a:cubicBezTo>
                <a:cubicBezTo>
                  <a:pt x="3073534" y="418922"/>
                  <a:pt x="3071159" y="419080"/>
                  <a:pt x="3068809" y="419421"/>
                </a:cubicBezTo>
                <a:cubicBezTo>
                  <a:pt x="3068407" y="419470"/>
                  <a:pt x="3067993" y="419495"/>
                  <a:pt x="3067591" y="419495"/>
                </a:cubicBezTo>
                <a:cubicBezTo>
                  <a:pt x="3065704" y="419348"/>
                  <a:pt x="3063853" y="418971"/>
                  <a:pt x="3062051" y="418398"/>
                </a:cubicBezTo>
                <a:cubicBezTo>
                  <a:pt x="3060370" y="417826"/>
                  <a:pt x="3060261" y="417327"/>
                  <a:pt x="3060249" y="417327"/>
                </a:cubicBezTo>
                <a:cubicBezTo>
                  <a:pt x="3059287" y="415476"/>
                  <a:pt x="3058105" y="413747"/>
                  <a:pt x="3056717" y="412188"/>
                </a:cubicBezTo>
                <a:cubicBezTo>
                  <a:pt x="3051311" y="405966"/>
                  <a:pt x="3041289" y="403859"/>
                  <a:pt x="3041289" y="403859"/>
                </a:cubicBezTo>
                <a:lnTo>
                  <a:pt x="3039877" y="403531"/>
                </a:lnTo>
                <a:lnTo>
                  <a:pt x="3038659" y="403263"/>
                </a:lnTo>
                <a:lnTo>
                  <a:pt x="3040412" y="401984"/>
                </a:lnTo>
                <a:lnTo>
                  <a:pt x="3041691" y="401046"/>
                </a:lnTo>
                <a:lnTo>
                  <a:pt x="3043347" y="399829"/>
                </a:lnTo>
                <a:lnTo>
                  <a:pt x="3047171" y="397052"/>
                </a:lnTo>
                <a:lnTo>
                  <a:pt x="3045101" y="395080"/>
                </a:lnTo>
                <a:lnTo>
                  <a:pt x="3043639" y="393740"/>
                </a:lnTo>
                <a:lnTo>
                  <a:pt x="3042531" y="392730"/>
                </a:lnTo>
                <a:lnTo>
                  <a:pt x="3041241" y="391512"/>
                </a:lnTo>
                <a:lnTo>
                  <a:pt x="3039219" y="389527"/>
                </a:lnTo>
                <a:lnTo>
                  <a:pt x="3037831" y="387968"/>
                </a:lnTo>
                <a:cubicBezTo>
                  <a:pt x="3037575" y="387627"/>
                  <a:pt x="3037320" y="387311"/>
                  <a:pt x="3037052" y="386970"/>
                </a:cubicBezTo>
                <a:lnTo>
                  <a:pt x="3036272" y="385825"/>
                </a:lnTo>
                <a:cubicBezTo>
                  <a:pt x="3035055" y="384413"/>
                  <a:pt x="3036090" y="382172"/>
                  <a:pt x="3036090" y="382172"/>
                </a:cubicBezTo>
                <a:lnTo>
                  <a:pt x="3036479" y="381308"/>
                </a:lnTo>
                <a:lnTo>
                  <a:pt x="3037247" y="379822"/>
                </a:lnTo>
                <a:lnTo>
                  <a:pt x="3037916" y="378605"/>
                </a:lnTo>
                <a:cubicBezTo>
                  <a:pt x="3038038" y="378361"/>
                  <a:pt x="3038148" y="378117"/>
                  <a:pt x="3038282" y="377874"/>
                </a:cubicBezTo>
                <a:lnTo>
                  <a:pt x="3038915" y="376376"/>
                </a:lnTo>
                <a:lnTo>
                  <a:pt x="3037356" y="376181"/>
                </a:lnTo>
                <a:lnTo>
                  <a:pt x="3031085" y="375390"/>
                </a:lnTo>
                <a:lnTo>
                  <a:pt x="3027054" y="374891"/>
                </a:lnTo>
                <a:lnTo>
                  <a:pt x="3018677" y="373868"/>
                </a:lnTo>
                <a:lnTo>
                  <a:pt x="3013039" y="373210"/>
                </a:lnTo>
                <a:lnTo>
                  <a:pt x="3008899" y="372747"/>
                </a:lnTo>
                <a:lnTo>
                  <a:pt x="3006184" y="372455"/>
                </a:lnTo>
                <a:cubicBezTo>
                  <a:pt x="3005550" y="372333"/>
                  <a:pt x="3004917" y="372333"/>
                  <a:pt x="3004284" y="372455"/>
                </a:cubicBezTo>
                <a:lnTo>
                  <a:pt x="3003066" y="372686"/>
                </a:lnTo>
                <a:lnTo>
                  <a:pt x="3000363" y="373454"/>
                </a:lnTo>
                <a:lnTo>
                  <a:pt x="2995590" y="375000"/>
                </a:lnTo>
                <a:lnTo>
                  <a:pt x="2991425" y="376376"/>
                </a:lnTo>
                <a:lnTo>
                  <a:pt x="2981684" y="379676"/>
                </a:lnTo>
                <a:cubicBezTo>
                  <a:pt x="2982244" y="380443"/>
                  <a:pt x="2982816" y="381210"/>
                  <a:pt x="2983376" y="381990"/>
                </a:cubicBezTo>
                <a:lnTo>
                  <a:pt x="2984874" y="384084"/>
                </a:lnTo>
                <a:lnTo>
                  <a:pt x="2987017" y="386520"/>
                </a:lnTo>
                <a:cubicBezTo>
                  <a:pt x="2987078" y="386580"/>
                  <a:pt x="2987127" y="386641"/>
                  <a:pt x="2987175" y="386714"/>
                </a:cubicBezTo>
                <a:cubicBezTo>
                  <a:pt x="2988259" y="388090"/>
                  <a:pt x="2987541" y="388821"/>
                  <a:pt x="2987541" y="388821"/>
                </a:cubicBezTo>
                <a:lnTo>
                  <a:pt x="2986981" y="389819"/>
                </a:lnTo>
                <a:cubicBezTo>
                  <a:pt x="2985641" y="391756"/>
                  <a:pt x="2991328" y="394593"/>
                  <a:pt x="2991316" y="394593"/>
                </a:cubicBezTo>
                <a:lnTo>
                  <a:pt x="2992752" y="395689"/>
                </a:lnTo>
                <a:cubicBezTo>
                  <a:pt x="2993934" y="396626"/>
                  <a:pt x="2994944" y="397771"/>
                  <a:pt x="2995736" y="399062"/>
                </a:cubicBezTo>
                <a:cubicBezTo>
                  <a:pt x="2997915" y="402715"/>
                  <a:pt x="2992716" y="405844"/>
                  <a:pt x="2992728" y="405832"/>
                </a:cubicBezTo>
                <a:cubicBezTo>
                  <a:pt x="2988004" y="405661"/>
                  <a:pt x="2983279" y="405503"/>
                  <a:pt x="2978554" y="405357"/>
                </a:cubicBezTo>
                <a:cubicBezTo>
                  <a:pt x="2978810" y="407573"/>
                  <a:pt x="2981428" y="410885"/>
                  <a:pt x="2981428" y="410885"/>
                </a:cubicBezTo>
                <a:cubicBezTo>
                  <a:pt x="2982366" y="412322"/>
                  <a:pt x="2983181" y="413820"/>
                  <a:pt x="2983863" y="415391"/>
                </a:cubicBezTo>
                <a:cubicBezTo>
                  <a:pt x="2984643" y="418630"/>
                  <a:pt x="2981757" y="420797"/>
                  <a:pt x="2981769" y="420809"/>
                </a:cubicBezTo>
                <a:lnTo>
                  <a:pt x="2974767" y="420444"/>
                </a:lnTo>
                <a:lnTo>
                  <a:pt x="2965123" y="419981"/>
                </a:lnTo>
                <a:cubicBezTo>
                  <a:pt x="2962773" y="419981"/>
                  <a:pt x="2960423" y="419799"/>
                  <a:pt x="2958097" y="419446"/>
                </a:cubicBezTo>
                <a:cubicBezTo>
                  <a:pt x="2952155" y="418703"/>
                  <a:pt x="2950791" y="414977"/>
                  <a:pt x="2950791" y="414964"/>
                </a:cubicBezTo>
                <a:lnTo>
                  <a:pt x="2950572" y="414331"/>
                </a:lnTo>
                <a:lnTo>
                  <a:pt x="2950316" y="413601"/>
                </a:lnTo>
                <a:lnTo>
                  <a:pt x="2949622" y="412067"/>
                </a:lnTo>
                <a:cubicBezTo>
                  <a:pt x="2949318" y="411531"/>
                  <a:pt x="2949013" y="410995"/>
                  <a:pt x="2948697" y="410459"/>
                </a:cubicBezTo>
                <a:lnTo>
                  <a:pt x="2947966" y="409375"/>
                </a:lnTo>
                <a:cubicBezTo>
                  <a:pt x="2946286" y="407184"/>
                  <a:pt x="2944313" y="405247"/>
                  <a:pt x="2942097" y="403604"/>
                </a:cubicBezTo>
                <a:lnTo>
                  <a:pt x="2940502" y="402386"/>
                </a:lnTo>
                <a:lnTo>
                  <a:pt x="2939418" y="401655"/>
                </a:lnTo>
                <a:lnTo>
                  <a:pt x="2937129" y="400231"/>
                </a:lnTo>
                <a:lnTo>
                  <a:pt x="2935838" y="399488"/>
                </a:lnTo>
                <a:lnTo>
                  <a:pt x="2934766" y="398903"/>
                </a:lnTo>
                <a:cubicBezTo>
                  <a:pt x="2934486" y="398757"/>
                  <a:pt x="2934206" y="398611"/>
                  <a:pt x="2933938" y="398453"/>
                </a:cubicBezTo>
                <a:cubicBezTo>
                  <a:pt x="2933670" y="398294"/>
                  <a:pt x="2933220" y="398088"/>
                  <a:pt x="2932867" y="397905"/>
                </a:cubicBezTo>
                <a:lnTo>
                  <a:pt x="2931478" y="397138"/>
                </a:lnTo>
                <a:lnTo>
                  <a:pt x="2930358" y="396444"/>
                </a:lnTo>
                <a:lnTo>
                  <a:pt x="2928946" y="395494"/>
                </a:lnTo>
                <a:lnTo>
                  <a:pt x="2928020" y="394836"/>
                </a:lnTo>
                <a:lnTo>
                  <a:pt x="2926961" y="394033"/>
                </a:lnTo>
                <a:lnTo>
                  <a:pt x="2925829" y="393131"/>
                </a:lnTo>
                <a:lnTo>
                  <a:pt x="2924367" y="391914"/>
                </a:lnTo>
                <a:lnTo>
                  <a:pt x="2923320" y="390988"/>
                </a:lnTo>
                <a:lnTo>
                  <a:pt x="2921579" y="389466"/>
                </a:lnTo>
                <a:lnTo>
                  <a:pt x="2919825" y="387968"/>
                </a:lnTo>
                <a:lnTo>
                  <a:pt x="2915478" y="384315"/>
                </a:lnTo>
                <a:cubicBezTo>
                  <a:pt x="2915101" y="384011"/>
                  <a:pt x="2914723" y="383707"/>
                  <a:pt x="2914334" y="383414"/>
                </a:cubicBezTo>
                <a:lnTo>
                  <a:pt x="2913761" y="383037"/>
                </a:lnTo>
                <a:lnTo>
                  <a:pt x="2913128" y="382684"/>
                </a:lnTo>
                <a:lnTo>
                  <a:pt x="2912580" y="382428"/>
                </a:lnTo>
                <a:lnTo>
                  <a:pt x="2911740" y="382039"/>
                </a:lnTo>
                <a:lnTo>
                  <a:pt x="2911216" y="381770"/>
                </a:lnTo>
                <a:lnTo>
                  <a:pt x="2910425" y="381332"/>
                </a:lnTo>
                <a:lnTo>
                  <a:pt x="2909207" y="380516"/>
                </a:lnTo>
                <a:cubicBezTo>
                  <a:pt x="2906029" y="377996"/>
                  <a:pt x="2906406" y="375244"/>
                  <a:pt x="2906406" y="375244"/>
                </a:cubicBezTo>
                <a:cubicBezTo>
                  <a:pt x="2906967" y="373600"/>
                  <a:pt x="2906309" y="369886"/>
                  <a:pt x="2906309" y="369874"/>
                </a:cubicBezTo>
                <a:cubicBezTo>
                  <a:pt x="2905396" y="366489"/>
                  <a:pt x="2903399" y="363493"/>
                  <a:pt x="2900610" y="361350"/>
                </a:cubicBezTo>
                <a:lnTo>
                  <a:pt x="2898175" y="359609"/>
                </a:lnTo>
                <a:lnTo>
                  <a:pt x="2895179" y="357880"/>
                </a:lnTo>
                <a:lnTo>
                  <a:pt x="2892659" y="356662"/>
                </a:lnTo>
                <a:lnTo>
                  <a:pt x="2890844" y="355907"/>
                </a:lnTo>
                <a:cubicBezTo>
                  <a:pt x="2890844" y="355907"/>
                  <a:pt x="2889225" y="355286"/>
                  <a:pt x="2889225" y="355286"/>
                </a:cubicBezTo>
                <a:lnTo>
                  <a:pt x="2887228" y="354567"/>
                </a:lnTo>
                <a:lnTo>
                  <a:pt x="2885206" y="353922"/>
                </a:lnTo>
                <a:lnTo>
                  <a:pt x="2883027" y="353277"/>
                </a:lnTo>
                <a:lnTo>
                  <a:pt x="2881663" y="352899"/>
                </a:lnTo>
                <a:lnTo>
                  <a:pt x="2879228" y="352266"/>
                </a:lnTo>
                <a:lnTo>
                  <a:pt x="2876975" y="351560"/>
                </a:lnTo>
                <a:lnTo>
                  <a:pt x="2874978" y="350817"/>
                </a:lnTo>
                <a:lnTo>
                  <a:pt x="2873346" y="350172"/>
                </a:lnTo>
                <a:lnTo>
                  <a:pt x="2871507" y="349478"/>
                </a:lnTo>
                <a:lnTo>
                  <a:pt x="2869072" y="348710"/>
                </a:lnTo>
                <a:lnTo>
                  <a:pt x="2866832" y="348126"/>
                </a:lnTo>
                <a:lnTo>
                  <a:pt x="2863580" y="347359"/>
                </a:lnTo>
                <a:lnTo>
                  <a:pt x="2859063" y="346348"/>
                </a:lnTo>
                <a:lnTo>
                  <a:pt x="2853912" y="345130"/>
                </a:lnTo>
                <a:lnTo>
                  <a:pt x="2849041" y="343852"/>
                </a:lnTo>
                <a:lnTo>
                  <a:pt x="2845181" y="342853"/>
                </a:lnTo>
                <a:lnTo>
                  <a:pt x="2841528" y="341891"/>
                </a:lnTo>
                <a:lnTo>
                  <a:pt x="2837315" y="340674"/>
                </a:lnTo>
                <a:lnTo>
                  <a:pt x="2834989" y="339980"/>
                </a:lnTo>
                <a:lnTo>
                  <a:pt x="2831336" y="338762"/>
                </a:lnTo>
                <a:lnTo>
                  <a:pt x="2829583" y="338153"/>
                </a:lnTo>
                <a:lnTo>
                  <a:pt x="2827500" y="337349"/>
                </a:lnTo>
                <a:lnTo>
                  <a:pt x="2823531" y="335681"/>
                </a:lnTo>
                <a:lnTo>
                  <a:pt x="2819975" y="334074"/>
                </a:lnTo>
                <a:lnTo>
                  <a:pt x="2815677" y="332065"/>
                </a:lnTo>
                <a:lnTo>
                  <a:pt x="2811391" y="330141"/>
                </a:lnTo>
                <a:lnTo>
                  <a:pt x="2807603" y="328582"/>
                </a:lnTo>
                <a:lnTo>
                  <a:pt x="2801515" y="326244"/>
                </a:lnTo>
                <a:lnTo>
                  <a:pt x="2796230" y="324223"/>
                </a:lnTo>
                <a:cubicBezTo>
                  <a:pt x="2789265" y="325452"/>
                  <a:pt x="2782300" y="326707"/>
                  <a:pt x="2775347" y="327985"/>
                </a:cubicBezTo>
                <a:lnTo>
                  <a:pt x="2774969" y="328265"/>
                </a:lnTo>
                <a:cubicBezTo>
                  <a:pt x="2774689" y="328484"/>
                  <a:pt x="2774397" y="328692"/>
                  <a:pt x="2774105" y="328899"/>
                </a:cubicBezTo>
                <a:lnTo>
                  <a:pt x="2773642" y="329386"/>
                </a:lnTo>
                <a:lnTo>
                  <a:pt x="2772924" y="330810"/>
                </a:lnTo>
                <a:cubicBezTo>
                  <a:pt x="2772278" y="332369"/>
                  <a:pt x="2772278" y="334123"/>
                  <a:pt x="2772924" y="335681"/>
                </a:cubicBezTo>
                <a:cubicBezTo>
                  <a:pt x="2773983" y="338616"/>
                  <a:pt x="2779645" y="341149"/>
                  <a:pt x="2779633" y="341149"/>
                </a:cubicBezTo>
                <a:cubicBezTo>
                  <a:pt x="2781302" y="341964"/>
                  <a:pt x="2785429" y="343292"/>
                  <a:pt x="2785429" y="343292"/>
                </a:cubicBezTo>
                <a:cubicBezTo>
                  <a:pt x="2788291" y="344047"/>
                  <a:pt x="2791092" y="345033"/>
                  <a:pt x="2793807" y="346226"/>
                </a:cubicBezTo>
                <a:cubicBezTo>
                  <a:pt x="2796535" y="347554"/>
                  <a:pt x="2798958" y="349441"/>
                  <a:pt x="2800918" y="351755"/>
                </a:cubicBezTo>
                <a:cubicBezTo>
                  <a:pt x="2801150" y="352010"/>
                  <a:pt x="2802453" y="353143"/>
                  <a:pt x="2802453" y="353155"/>
                </a:cubicBezTo>
                <a:cubicBezTo>
                  <a:pt x="2803670" y="354141"/>
                  <a:pt x="2805010" y="354957"/>
                  <a:pt x="2806447" y="355590"/>
                </a:cubicBezTo>
                <a:cubicBezTo>
                  <a:pt x="2808675" y="356784"/>
                  <a:pt x="2811050" y="357673"/>
                  <a:pt x="2813521" y="358233"/>
                </a:cubicBezTo>
                <a:cubicBezTo>
                  <a:pt x="2818222" y="359487"/>
                  <a:pt x="2823019" y="360388"/>
                  <a:pt x="2827854" y="360924"/>
                </a:cubicBezTo>
                <a:lnTo>
                  <a:pt x="2832213" y="361435"/>
                </a:lnTo>
                <a:cubicBezTo>
                  <a:pt x="2838484" y="362093"/>
                  <a:pt x="2839909" y="362653"/>
                  <a:pt x="2839909" y="362653"/>
                </a:cubicBezTo>
                <a:cubicBezTo>
                  <a:pt x="2841905" y="363091"/>
                  <a:pt x="2843732" y="364102"/>
                  <a:pt x="2845157" y="365563"/>
                </a:cubicBezTo>
                <a:cubicBezTo>
                  <a:pt x="2845997" y="366294"/>
                  <a:pt x="2846996" y="366793"/>
                  <a:pt x="2848079" y="367049"/>
                </a:cubicBezTo>
                <a:lnTo>
                  <a:pt x="2849394" y="367378"/>
                </a:lnTo>
                <a:lnTo>
                  <a:pt x="2850454" y="367609"/>
                </a:lnTo>
                <a:lnTo>
                  <a:pt x="2851757" y="367852"/>
                </a:lnTo>
                <a:lnTo>
                  <a:pt x="2852901" y="368059"/>
                </a:lnTo>
                <a:lnTo>
                  <a:pt x="2854691" y="368376"/>
                </a:lnTo>
                <a:lnTo>
                  <a:pt x="2857005" y="368802"/>
                </a:lnTo>
                <a:lnTo>
                  <a:pt x="2858795" y="369216"/>
                </a:lnTo>
                <a:lnTo>
                  <a:pt x="2862582" y="370202"/>
                </a:lnTo>
                <a:lnTo>
                  <a:pt x="2871106" y="372370"/>
                </a:lnTo>
                <a:cubicBezTo>
                  <a:pt x="2872616" y="372686"/>
                  <a:pt x="2878412" y="374367"/>
                  <a:pt x="2878412" y="374367"/>
                </a:cubicBezTo>
                <a:cubicBezTo>
                  <a:pt x="2879313" y="374562"/>
                  <a:pt x="2884914" y="376376"/>
                  <a:pt x="2884914" y="376364"/>
                </a:cubicBezTo>
                <a:cubicBezTo>
                  <a:pt x="2885645" y="376607"/>
                  <a:pt x="2888226" y="377582"/>
                  <a:pt x="2888214" y="377582"/>
                </a:cubicBezTo>
                <a:cubicBezTo>
                  <a:pt x="2889213" y="377862"/>
                  <a:pt x="2890138" y="378385"/>
                  <a:pt x="2890893" y="379092"/>
                </a:cubicBezTo>
                <a:cubicBezTo>
                  <a:pt x="2891368" y="379530"/>
                  <a:pt x="2891417" y="380248"/>
                  <a:pt x="2891015" y="380748"/>
                </a:cubicBezTo>
                <a:cubicBezTo>
                  <a:pt x="2890917" y="380881"/>
                  <a:pt x="2890808" y="381003"/>
                  <a:pt x="2890698" y="381137"/>
                </a:cubicBezTo>
                <a:lnTo>
                  <a:pt x="2890296" y="381515"/>
                </a:lnTo>
                <a:lnTo>
                  <a:pt x="2889554" y="382111"/>
                </a:lnTo>
                <a:lnTo>
                  <a:pt x="2888799" y="382623"/>
                </a:lnTo>
                <a:lnTo>
                  <a:pt x="2887946" y="383171"/>
                </a:lnTo>
                <a:lnTo>
                  <a:pt x="2886327" y="384133"/>
                </a:lnTo>
                <a:lnTo>
                  <a:pt x="2884391" y="383828"/>
                </a:lnTo>
                <a:lnTo>
                  <a:pt x="2880226" y="383171"/>
                </a:lnTo>
                <a:lnTo>
                  <a:pt x="2876829" y="382635"/>
                </a:lnTo>
                <a:lnTo>
                  <a:pt x="2871154" y="381746"/>
                </a:lnTo>
                <a:lnTo>
                  <a:pt x="2865711" y="380906"/>
                </a:lnTo>
                <a:lnTo>
                  <a:pt x="2860841" y="380163"/>
                </a:lnTo>
                <a:lnTo>
                  <a:pt x="2860731" y="380955"/>
                </a:lnTo>
                <a:lnTo>
                  <a:pt x="2860621" y="381551"/>
                </a:lnTo>
                <a:lnTo>
                  <a:pt x="2860475" y="382209"/>
                </a:lnTo>
                <a:cubicBezTo>
                  <a:pt x="2860244" y="383207"/>
                  <a:pt x="2860000" y="384218"/>
                  <a:pt x="2859769" y="385229"/>
                </a:cubicBezTo>
                <a:cubicBezTo>
                  <a:pt x="2859550" y="385911"/>
                  <a:pt x="2859611" y="386653"/>
                  <a:pt x="2859927" y="387299"/>
                </a:cubicBezTo>
                <a:cubicBezTo>
                  <a:pt x="2860366" y="387968"/>
                  <a:pt x="2860804" y="388638"/>
                  <a:pt x="2861255" y="389308"/>
                </a:cubicBezTo>
                <a:cubicBezTo>
                  <a:pt x="2865041" y="395932"/>
                  <a:pt x="2858990" y="401010"/>
                  <a:pt x="2858990" y="401010"/>
                </a:cubicBezTo>
                <a:cubicBezTo>
                  <a:pt x="2854972" y="405320"/>
                  <a:pt x="2846167" y="407098"/>
                  <a:pt x="2846155" y="407098"/>
                </a:cubicBezTo>
                <a:cubicBezTo>
                  <a:pt x="2843379" y="407525"/>
                  <a:pt x="2840639" y="408182"/>
                  <a:pt x="2837985" y="409095"/>
                </a:cubicBezTo>
                <a:cubicBezTo>
                  <a:pt x="2830886" y="411421"/>
                  <a:pt x="2832042" y="415817"/>
                  <a:pt x="2832042" y="415817"/>
                </a:cubicBezTo>
                <a:cubicBezTo>
                  <a:pt x="2832042" y="416243"/>
                  <a:pt x="2832116" y="416682"/>
                  <a:pt x="2832140" y="417108"/>
                </a:cubicBezTo>
                <a:cubicBezTo>
                  <a:pt x="2832249" y="418082"/>
                  <a:pt x="2831969" y="419056"/>
                  <a:pt x="2831348" y="419823"/>
                </a:cubicBezTo>
                <a:cubicBezTo>
                  <a:pt x="2828475" y="423561"/>
                  <a:pt x="2820060" y="422076"/>
                  <a:pt x="2820048" y="422076"/>
                </a:cubicBezTo>
                <a:lnTo>
                  <a:pt x="2816699" y="421455"/>
                </a:lnTo>
                <a:lnTo>
                  <a:pt x="2813704" y="420846"/>
                </a:lnTo>
                <a:lnTo>
                  <a:pt x="2809186" y="419933"/>
                </a:lnTo>
                <a:lnTo>
                  <a:pt x="2805156" y="419105"/>
                </a:lnTo>
                <a:lnTo>
                  <a:pt x="2801186" y="418289"/>
                </a:lnTo>
                <a:lnTo>
                  <a:pt x="2798276" y="417680"/>
                </a:lnTo>
                <a:lnTo>
                  <a:pt x="2794294" y="416840"/>
                </a:lnTo>
                <a:lnTo>
                  <a:pt x="2789569" y="415805"/>
                </a:lnTo>
                <a:lnTo>
                  <a:pt x="2786063" y="415013"/>
                </a:lnTo>
                <a:lnTo>
                  <a:pt x="2784090" y="414526"/>
                </a:lnTo>
                <a:cubicBezTo>
                  <a:pt x="2780303" y="413309"/>
                  <a:pt x="2779219" y="412091"/>
                  <a:pt x="2779219" y="412091"/>
                </a:cubicBezTo>
                <a:cubicBezTo>
                  <a:pt x="2777551" y="410410"/>
                  <a:pt x="2780181" y="408974"/>
                  <a:pt x="2780169" y="408998"/>
                </a:cubicBezTo>
                <a:cubicBezTo>
                  <a:pt x="2782227" y="407780"/>
                  <a:pt x="2789143" y="407403"/>
                  <a:pt x="2789143" y="407403"/>
                </a:cubicBezTo>
                <a:lnTo>
                  <a:pt x="2793222" y="407110"/>
                </a:lnTo>
                <a:cubicBezTo>
                  <a:pt x="2799031" y="406684"/>
                  <a:pt x="2804827" y="406283"/>
                  <a:pt x="2810635" y="405893"/>
                </a:cubicBezTo>
                <a:lnTo>
                  <a:pt x="2823701" y="405004"/>
                </a:lnTo>
                <a:lnTo>
                  <a:pt x="2834989" y="404285"/>
                </a:lnTo>
                <a:lnTo>
                  <a:pt x="2837424" y="402751"/>
                </a:lnTo>
                <a:cubicBezTo>
                  <a:pt x="2841078" y="400036"/>
                  <a:pt x="2841699" y="398197"/>
                  <a:pt x="2841699" y="398197"/>
                </a:cubicBezTo>
                <a:cubicBezTo>
                  <a:pt x="2843196" y="394970"/>
                  <a:pt x="2840895" y="391415"/>
                  <a:pt x="2840895" y="391427"/>
                </a:cubicBezTo>
                <a:cubicBezTo>
                  <a:pt x="2840737" y="391159"/>
                  <a:pt x="2840578" y="390903"/>
                  <a:pt x="2840432" y="390623"/>
                </a:cubicBezTo>
                <a:lnTo>
                  <a:pt x="2840432" y="390562"/>
                </a:lnTo>
                <a:cubicBezTo>
                  <a:pt x="2840250" y="390294"/>
                  <a:pt x="2840079" y="390014"/>
                  <a:pt x="2839909" y="389746"/>
                </a:cubicBezTo>
                <a:lnTo>
                  <a:pt x="2839349" y="388894"/>
                </a:lnTo>
                <a:cubicBezTo>
                  <a:pt x="2839202" y="388687"/>
                  <a:pt x="2839068" y="388468"/>
                  <a:pt x="2838922" y="388249"/>
                </a:cubicBezTo>
                <a:cubicBezTo>
                  <a:pt x="2838435" y="387408"/>
                  <a:pt x="2837839" y="386629"/>
                  <a:pt x="2837132" y="385959"/>
                </a:cubicBezTo>
                <a:cubicBezTo>
                  <a:pt x="2836889" y="385777"/>
                  <a:pt x="2836584" y="385655"/>
                  <a:pt x="2836280" y="385618"/>
                </a:cubicBezTo>
                <a:lnTo>
                  <a:pt x="2835659" y="385618"/>
                </a:lnTo>
                <a:lnTo>
                  <a:pt x="2833430" y="385387"/>
                </a:lnTo>
                <a:lnTo>
                  <a:pt x="2832018" y="385156"/>
                </a:lnTo>
                <a:lnTo>
                  <a:pt x="2829777" y="384681"/>
                </a:lnTo>
                <a:lnTo>
                  <a:pt x="2827683" y="384096"/>
                </a:lnTo>
                <a:lnTo>
                  <a:pt x="2826599" y="383743"/>
                </a:lnTo>
                <a:lnTo>
                  <a:pt x="2824894" y="383122"/>
                </a:lnTo>
                <a:lnTo>
                  <a:pt x="2822520" y="382136"/>
                </a:lnTo>
                <a:lnTo>
                  <a:pt x="2820340" y="381162"/>
                </a:lnTo>
                <a:lnTo>
                  <a:pt x="2818234" y="380224"/>
                </a:lnTo>
                <a:lnTo>
                  <a:pt x="2815798" y="379189"/>
                </a:lnTo>
                <a:lnTo>
                  <a:pt x="2814337" y="378629"/>
                </a:lnTo>
                <a:lnTo>
                  <a:pt x="2811902" y="377862"/>
                </a:lnTo>
                <a:lnTo>
                  <a:pt x="2809052" y="377107"/>
                </a:lnTo>
                <a:lnTo>
                  <a:pt x="2804827" y="376072"/>
                </a:lnTo>
                <a:lnTo>
                  <a:pt x="2802038" y="375451"/>
                </a:lnTo>
                <a:lnTo>
                  <a:pt x="2799603" y="374927"/>
                </a:lnTo>
                <a:lnTo>
                  <a:pt x="2794635" y="373904"/>
                </a:lnTo>
                <a:lnTo>
                  <a:pt x="2791165" y="373222"/>
                </a:lnTo>
                <a:lnTo>
                  <a:pt x="2786830" y="372370"/>
                </a:lnTo>
                <a:lnTo>
                  <a:pt x="2782239" y="371432"/>
                </a:lnTo>
                <a:lnTo>
                  <a:pt x="2778160" y="370568"/>
                </a:lnTo>
                <a:cubicBezTo>
                  <a:pt x="2769721" y="368827"/>
                  <a:pt x="2758068" y="365234"/>
                  <a:pt x="2758068" y="365247"/>
                </a:cubicBezTo>
                <a:lnTo>
                  <a:pt x="2754293" y="363944"/>
                </a:lnTo>
                <a:lnTo>
                  <a:pt x="2751931" y="363055"/>
                </a:lnTo>
                <a:lnTo>
                  <a:pt x="2749069" y="361898"/>
                </a:lnTo>
                <a:lnTo>
                  <a:pt x="2746634" y="360838"/>
                </a:lnTo>
                <a:lnTo>
                  <a:pt x="2744576" y="359852"/>
                </a:lnTo>
                <a:lnTo>
                  <a:pt x="2742981" y="359048"/>
                </a:lnTo>
                <a:lnTo>
                  <a:pt x="2741142" y="358038"/>
                </a:lnTo>
                <a:lnTo>
                  <a:pt x="2739511" y="357088"/>
                </a:lnTo>
                <a:lnTo>
                  <a:pt x="2738013" y="356138"/>
                </a:lnTo>
                <a:lnTo>
                  <a:pt x="2736625" y="355189"/>
                </a:lnTo>
                <a:lnTo>
                  <a:pt x="2735407" y="354263"/>
                </a:lnTo>
                <a:lnTo>
                  <a:pt x="2734494" y="353557"/>
                </a:lnTo>
                <a:lnTo>
                  <a:pt x="2733459" y="352704"/>
                </a:lnTo>
                <a:lnTo>
                  <a:pt x="2732241" y="351694"/>
                </a:lnTo>
                <a:cubicBezTo>
                  <a:pt x="2731827" y="351438"/>
                  <a:pt x="2731425" y="351170"/>
                  <a:pt x="2731023" y="350902"/>
                </a:cubicBezTo>
                <a:lnTo>
                  <a:pt x="2729574" y="350111"/>
                </a:lnTo>
                <a:lnTo>
                  <a:pt x="2727882" y="349295"/>
                </a:lnTo>
                <a:lnTo>
                  <a:pt x="2725617" y="348345"/>
                </a:lnTo>
                <a:lnTo>
                  <a:pt x="2723096" y="347420"/>
                </a:lnTo>
                <a:lnTo>
                  <a:pt x="2720271" y="346482"/>
                </a:lnTo>
                <a:cubicBezTo>
                  <a:pt x="2717470" y="345484"/>
                  <a:pt x="2714585" y="344704"/>
                  <a:pt x="2711662" y="344181"/>
                </a:cubicBezTo>
                <a:cubicBezTo>
                  <a:pt x="2708362" y="343645"/>
                  <a:pt x="2704989" y="344168"/>
                  <a:pt x="2702006" y="345678"/>
                </a:cubicBezTo>
                <a:lnTo>
                  <a:pt x="2700618" y="346275"/>
                </a:lnTo>
                <a:lnTo>
                  <a:pt x="2698937" y="347066"/>
                </a:lnTo>
                <a:lnTo>
                  <a:pt x="2697354" y="347846"/>
                </a:lnTo>
                <a:lnTo>
                  <a:pt x="2696563" y="348236"/>
                </a:lnTo>
                <a:lnTo>
                  <a:pt x="2696222" y="348430"/>
                </a:lnTo>
                <a:lnTo>
                  <a:pt x="2695796" y="348698"/>
                </a:lnTo>
                <a:cubicBezTo>
                  <a:pt x="2695406" y="349003"/>
                  <a:pt x="2694955" y="349246"/>
                  <a:pt x="2694481" y="349392"/>
                </a:cubicBezTo>
                <a:lnTo>
                  <a:pt x="2693786" y="349550"/>
                </a:lnTo>
                <a:cubicBezTo>
                  <a:pt x="2691156" y="349965"/>
                  <a:pt x="2683448" y="352278"/>
                  <a:pt x="2683448" y="352290"/>
                </a:cubicBezTo>
                <a:cubicBezTo>
                  <a:pt x="2677920" y="354007"/>
                  <a:pt x="2672514" y="356114"/>
                  <a:pt x="2667265" y="358574"/>
                </a:cubicBezTo>
                <a:lnTo>
                  <a:pt x="2665609" y="359365"/>
                </a:lnTo>
                <a:lnTo>
                  <a:pt x="2663332" y="360485"/>
                </a:lnTo>
                <a:cubicBezTo>
                  <a:pt x="2662054" y="360936"/>
                  <a:pt x="2660714" y="361192"/>
                  <a:pt x="2659362" y="361240"/>
                </a:cubicBezTo>
                <a:lnTo>
                  <a:pt x="2656294" y="361314"/>
                </a:lnTo>
                <a:lnTo>
                  <a:pt x="2651289" y="361240"/>
                </a:lnTo>
                <a:lnTo>
                  <a:pt x="2640111" y="360826"/>
                </a:lnTo>
                <a:lnTo>
                  <a:pt x="2634984" y="360680"/>
                </a:lnTo>
                <a:lnTo>
                  <a:pt x="2630662" y="360741"/>
                </a:lnTo>
                <a:lnTo>
                  <a:pt x="2628506" y="360851"/>
                </a:lnTo>
                <a:lnTo>
                  <a:pt x="2625840" y="361082"/>
                </a:lnTo>
                <a:cubicBezTo>
                  <a:pt x="2621468" y="361679"/>
                  <a:pt x="2617145" y="362482"/>
                  <a:pt x="2612859" y="363517"/>
                </a:cubicBezTo>
                <a:cubicBezTo>
                  <a:pt x="2600390" y="365880"/>
                  <a:pt x="2601486" y="370592"/>
                  <a:pt x="2601474" y="370592"/>
                </a:cubicBezTo>
                <a:lnTo>
                  <a:pt x="2601547" y="371347"/>
                </a:lnTo>
                <a:lnTo>
                  <a:pt x="2602241" y="373783"/>
                </a:lnTo>
                <a:cubicBezTo>
                  <a:pt x="2604591" y="379993"/>
                  <a:pt x="2599562" y="382233"/>
                  <a:pt x="2599562" y="382233"/>
                </a:cubicBezTo>
                <a:lnTo>
                  <a:pt x="2596445" y="383926"/>
                </a:lnTo>
                <a:cubicBezTo>
                  <a:pt x="2590283" y="387323"/>
                  <a:pt x="2583890" y="390270"/>
                  <a:pt x="2577303" y="392742"/>
                </a:cubicBezTo>
                <a:cubicBezTo>
                  <a:pt x="2575403" y="393302"/>
                  <a:pt x="2573516" y="393874"/>
                  <a:pt x="2571628" y="394459"/>
                </a:cubicBezTo>
                <a:cubicBezTo>
                  <a:pt x="2557820" y="398611"/>
                  <a:pt x="2554897" y="402569"/>
                  <a:pt x="2554897" y="402569"/>
                </a:cubicBezTo>
                <a:cubicBezTo>
                  <a:pt x="2554155" y="403360"/>
                  <a:pt x="2553424" y="404164"/>
                  <a:pt x="2552693" y="405004"/>
                </a:cubicBezTo>
                <a:lnTo>
                  <a:pt x="2550404" y="407378"/>
                </a:lnTo>
                <a:lnTo>
                  <a:pt x="2548310" y="409156"/>
                </a:lnTo>
                <a:lnTo>
                  <a:pt x="2545728" y="410971"/>
                </a:lnTo>
                <a:cubicBezTo>
                  <a:pt x="2540054" y="414770"/>
                  <a:pt x="2539469" y="416304"/>
                  <a:pt x="2539469" y="416292"/>
                </a:cubicBezTo>
                <a:cubicBezTo>
                  <a:pt x="2535938" y="421163"/>
                  <a:pt x="2542136" y="423403"/>
                  <a:pt x="2542124" y="423391"/>
                </a:cubicBezTo>
                <a:lnTo>
                  <a:pt x="2536851" y="429833"/>
                </a:lnTo>
                <a:lnTo>
                  <a:pt x="2531055" y="436749"/>
                </a:lnTo>
                <a:cubicBezTo>
                  <a:pt x="2530337" y="437650"/>
                  <a:pt x="2529521" y="438466"/>
                  <a:pt x="2528620" y="439184"/>
                </a:cubicBezTo>
                <a:cubicBezTo>
                  <a:pt x="2528267" y="439428"/>
                  <a:pt x="2527901" y="439659"/>
                  <a:pt x="2527536" y="439891"/>
                </a:cubicBezTo>
                <a:lnTo>
                  <a:pt x="2521642" y="442996"/>
                </a:lnTo>
                <a:lnTo>
                  <a:pt x="2514616" y="446551"/>
                </a:lnTo>
                <a:cubicBezTo>
                  <a:pt x="2513058" y="447355"/>
                  <a:pt x="2509746" y="449437"/>
                  <a:pt x="2509746" y="449437"/>
                </a:cubicBezTo>
                <a:lnTo>
                  <a:pt x="2507846" y="450533"/>
                </a:lnTo>
                <a:lnTo>
                  <a:pt x="2506178" y="451373"/>
                </a:lnTo>
                <a:cubicBezTo>
                  <a:pt x="2504327" y="452262"/>
                  <a:pt x="2502403" y="453029"/>
                  <a:pt x="2500442" y="453650"/>
                </a:cubicBezTo>
                <a:cubicBezTo>
                  <a:pt x="2494902" y="455270"/>
                  <a:pt x="2489228" y="456354"/>
                  <a:pt x="2483480" y="456902"/>
                </a:cubicBezTo>
                <a:cubicBezTo>
                  <a:pt x="2477453" y="457523"/>
                  <a:pt x="2471474" y="458643"/>
                  <a:pt x="2465629" y="460250"/>
                </a:cubicBezTo>
                <a:cubicBezTo>
                  <a:pt x="2462439" y="461212"/>
                  <a:pt x="2459309" y="462333"/>
                  <a:pt x="2456240" y="463611"/>
                </a:cubicBezTo>
                <a:cubicBezTo>
                  <a:pt x="2451516" y="465754"/>
                  <a:pt x="2446487" y="467142"/>
                  <a:pt x="2441324" y="467715"/>
                </a:cubicBezTo>
                <a:cubicBezTo>
                  <a:pt x="2435528" y="468068"/>
                  <a:pt x="2429731" y="466923"/>
                  <a:pt x="2424496" y="464390"/>
                </a:cubicBezTo>
                <a:lnTo>
                  <a:pt x="2422425" y="463526"/>
                </a:lnTo>
                <a:lnTo>
                  <a:pt x="2420526" y="462880"/>
                </a:lnTo>
                <a:lnTo>
                  <a:pt x="2418091" y="462259"/>
                </a:lnTo>
                <a:cubicBezTo>
                  <a:pt x="2408349" y="460116"/>
                  <a:pt x="2397110" y="463307"/>
                  <a:pt x="2397122" y="463331"/>
                </a:cubicBezTo>
                <a:lnTo>
                  <a:pt x="2394492" y="463867"/>
                </a:lnTo>
                <a:lnTo>
                  <a:pt x="2393091" y="464135"/>
                </a:lnTo>
                <a:lnTo>
                  <a:pt x="2391265" y="464451"/>
                </a:lnTo>
                <a:lnTo>
                  <a:pt x="2381682" y="465949"/>
                </a:lnTo>
                <a:lnTo>
                  <a:pt x="2374838" y="467033"/>
                </a:lnTo>
                <a:cubicBezTo>
                  <a:pt x="2374230" y="463355"/>
                  <a:pt x="2373609" y="459678"/>
                  <a:pt x="2372987" y="456001"/>
                </a:cubicBezTo>
                <a:cubicBezTo>
                  <a:pt x="2372232" y="451312"/>
                  <a:pt x="2366631" y="450399"/>
                  <a:pt x="2366643" y="450387"/>
                </a:cubicBezTo>
                <a:cubicBezTo>
                  <a:pt x="2363526" y="449985"/>
                  <a:pt x="2362893" y="448621"/>
                  <a:pt x="2362893" y="448621"/>
                </a:cubicBezTo>
                <a:cubicBezTo>
                  <a:pt x="2362077" y="447343"/>
                  <a:pt x="2363295" y="445577"/>
                  <a:pt x="2363295" y="445577"/>
                </a:cubicBezTo>
                <a:cubicBezTo>
                  <a:pt x="2363891" y="444652"/>
                  <a:pt x="2364512" y="443726"/>
                  <a:pt x="2365060" y="442801"/>
                </a:cubicBezTo>
                <a:lnTo>
                  <a:pt x="2367435" y="439148"/>
                </a:lnTo>
                <a:cubicBezTo>
                  <a:pt x="2368543" y="437394"/>
                  <a:pt x="2369663" y="435653"/>
                  <a:pt x="2370783" y="433912"/>
                </a:cubicBezTo>
                <a:lnTo>
                  <a:pt x="2374765" y="427568"/>
                </a:lnTo>
                <a:cubicBezTo>
                  <a:pt x="2376811" y="424925"/>
                  <a:pt x="2376373" y="423988"/>
                  <a:pt x="2376360" y="423988"/>
                </a:cubicBezTo>
                <a:lnTo>
                  <a:pt x="2376287" y="423342"/>
                </a:lnTo>
                <a:cubicBezTo>
                  <a:pt x="2376287" y="423050"/>
                  <a:pt x="2376202" y="422758"/>
                  <a:pt x="2376165" y="422466"/>
                </a:cubicBezTo>
                <a:lnTo>
                  <a:pt x="2375398" y="417522"/>
                </a:lnTo>
                <a:cubicBezTo>
                  <a:pt x="2375070" y="415488"/>
                  <a:pt x="2374741" y="413467"/>
                  <a:pt x="2374424" y="411433"/>
                </a:cubicBezTo>
                <a:cubicBezTo>
                  <a:pt x="2374205" y="410142"/>
                  <a:pt x="2373986" y="408852"/>
                  <a:pt x="2373779" y="407573"/>
                </a:cubicBezTo>
                <a:cubicBezTo>
                  <a:pt x="2373462" y="405710"/>
                  <a:pt x="2373158" y="403920"/>
                  <a:pt x="2372841" y="402008"/>
                </a:cubicBezTo>
                <a:cubicBezTo>
                  <a:pt x="2372525" y="400097"/>
                  <a:pt x="2372269" y="398623"/>
                  <a:pt x="2371989" y="396931"/>
                </a:cubicBezTo>
                <a:cubicBezTo>
                  <a:pt x="2374022" y="395835"/>
                  <a:pt x="2376056" y="394751"/>
                  <a:pt x="2378077" y="393667"/>
                </a:cubicBezTo>
                <a:lnTo>
                  <a:pt x="2382863" y="391135"/>
                </a:lnTo>
                <a:lnTo>
                  <a:pt x="2391070" y="386970"/>
                </a:lnTo>
                <a:cubicBezTo>
                  <a:pt x="2392604" y="385874"/>
                  <a:pt x="2397840" y="385436"/>
                  <a:pt x="2397840" y="385448"/>
                </a:cubicBezTo>
                <a:cubicBezTo>
                  <a:pt x="2404611" y="384632"/>
                  <a:pt x="2411381" y="383853"/>
                  <a:pt x="2418163" y="383086"/>
                </a:cubicBezTo>
                <a:cubicBezTo>
                  <a:pt x="2429038" y="381819"/>
                  <a:pt x="2439924" y="380601"/>
                  <a:pt x="2450810" y="379433"/>
                </a:cubicBezTo>
                <a:cubicBezTo>
                  <a:pt x="2457958" y="378617"/>
                  <a:pt x="2465117" y="377862"/>
                  <a:pt x="2472265" y="377156"/>
                </a:cubicBezTo>
                <a:cubicBezTo>
                  <a:pt x="2482762" y="376072"/>
                  <a:pt x="2493270" y="375025"/>
                  <a:pt x="2503779" y="374038"/>
                </a:cubicBezTo>
                <a:cubicBezTo>
                  <a:pt x="2510976" y="373283"/>
                  <a:pt x="2511596" y="369654"/>
                  <a:pt x="2511596" y="369654"/>
                </a:cubicBezTo>
                <a:cubicBezTo>
                  <a:pt x="2511864" y="369070"/>
                  <a:pt x="2512132" y="368437"/>
                  <a:pt x="2512388" y="367901"/>
                </a:cubicBezTo>
                <a:lnTo>
                  <a:pt x="2514385" y="362945"/>
                </a:lnTo>
                <a:cubicBezTo>
                  <a:pt x="2515262" y="360315"/>
                  <a:pt x="2516151" y="357673"/>
                  <a:pt x="2517040" y="355030"/>
                </a:cubicBezTo>
                <a:cubicBezTo>
                  <a:pt x="2519475" y="347724"/>
                  <a:pt x="2514836" y="343974"/>
                  <a:pt x="2514836" y="343986"/>
                </a:cubicBezTo>
                <a:lnTo>
                  <a:pt x="2511852" y="341794"/>
                </a:lnTo>
                <a:cubicBezTo>
                  <a:pt x="2505873" y="337532"/>
                  <a:pt x="2499261" y="334244"/>
                  <a:pt x="2492247" y="332053"/>
                </a:cubicBezTo>
                <a:cubicBezTo>
                  <a:pt x="2481654" y="328740"/>
                  <a:pt x="2468758" y="329507"/>
                  <a:pt x="2468758" y="329507"/>
                </a:cubicBezTo>
                <a:lnTo>
                  <a:pt x="2466323" y="329629"/>
                </a:lnTo>
                <a:lnTo>
                  <a:pt x="2463084" y="329848"/>
                </a:lnTo>
                <a:lnTo>
                  <a:pt x="2461306" y="329848"/>
                </a:lnTo>
                <a:cubicBezTo>
                  <a:pt x="2453866" y="330043"/>
                  <a:pt x="2450347" y="325928"/>
                  <a:pt x="2450347" y="325928"/>
                </a:cubicBezTo>
                <a:lnTo>
                  <a:pt x="2449519" y="325051"/>
                </a:lnTo>
                <a:lnTo>
                  <a:pt x="2448593" y="323918"/>
                </a:lnTo>
                <a:lnTo>
                  <a:pt x="2447047" y="321873"/>
                </a:lnTo>
                <a:lnTo>
                  <a:pt x="2451504" y="320655"/>
                </a:lnTo>
                <a:lnTo>
                  <a:pt x="2456825" y="319121"/>
                </a:lnTo>
                <a:cubicBezTo>
                  <a:pt x="2462390" y="317513"/>
                  <a:pt x="2468941" y="315955"/>
                  <a:pt x="2468941" y="315955"/>
                </a:cubicBezTo>
                <a:cubicBezTo>
                  <a:pt x="2474859" y="314713"/>
                  <a:pt x="2480911" y="314201"/>
                  <a:pt x="2486963" y="314420"/>
                </a:cubicBezTo>
                <a:cubicBezTo>
                  <a:pt x="2497082" y="314846"/>
                  <a:pt x="2500065" y="313397"/>
                  <a:pt x="2500077" y="313385"/>
                </a:cubicBezTo>
                <a:cubicBezTo>
                  <a:pt x="2504948" y="311693"/>
                  <a:pt x="2503730" y="306457"/>
                  <a:pt x="2503730" y="306445"/>
                </a:cubicBezTo>
                <a:cubicBezTo>
                  <a:pt x="2503730" y="306128"/>
                  <a:pt x="2503633" y="305799"/>
                  <a:pt x="2503596" y="305495"/>
                </a:cubicBezTo>
                <a:cubicBezTo>
                  <a:pt x="2503560" y="305190"/>
                  <a:pt x="2503596" y="305105"/>
                  <a:pt x="2503596" y="304910"/>
                </a:cubicBezTo>
                <a:cubicBezTo>
                  <a:pt x="2503596" y="304521"/>
                  <a:pt x="2503694" y="304131"/>
                  <a:pt x="2503730" y="303693"/>
                </a:cubicBezTo>
                <a:lnTo>
                  <a:pt x="2506592" y="302353"/>
                </a:lnTo>
                <a:cubicBezTo>
                  <a:pt x="2513155" y="299406"/>
                  <a:pt x="2520814" y="301306"/>
                  <a:pt x="2520814" y="301318"/>
                </a:cubicBezTo>
                <a:cubicBezTo>
                  <a:pt x="2533722" y="303899"/>
                  <a:pt x="2542440" y="298115"/>
                  <a:pt x="2542440" y="298115"/>
                </a:cubicBezTo>
                <a:cubicBezTo>
                  <a:pt x="2545241" y="296484"/>
                  <a:pt x="2548261" y="295254"/>
                  <a:pt x="2551415" y="294462"/>
                </a:cubicBezTo>
                <a:cubicBezTo>
                  <a:pt x="2554240" y="293939"/>
                  <a:pt x="2556967" y="293050"/>
                  <a:pt x="2559561" y="291808"/>
                </a:cubicBezTo>
                <a:lnTo>
                  <a:pt x="2561996" y="290322"/>
                </a:lnTo>
                <a:cubicBezTo>
                  <a:pt x="2563153" y="289409"/>
                  <a:pt x="2564176" y="288313"/>
                  <a:pt x="2565004" y="287095"/>
                </a:cubicBezTo>
                <a:cubicBezTo>
                  <a:pt x="2566660" y="282968"/>
                  <a:pt x="2572517" y="280630"/>
                  <a:pt x="2572517" y="280630"/>
                </a:cubicBezTo>
                <a:lnTo>
                  <a:pt x="2576925" y="278767"/>
                </a:lnTo>
                <a:cubicBezTo>
                  <a:pt x="2583014" y="276076"/>
                  <a:pt x="2598490" y="270559"/>
                  <a:pt x="2598503" y="270572"/>
                </a:cubicBezTo>
                <a:cubicBezTo>
                  <a:pt x="2610935" y="266042"/>
                  <a:pt x="2614138" y="262206"/>
                  <a:pt x="2614138" y="262194"/>
                </a:cubicBezTo>
                <a:cubicBezTo>
                  <a:pt x="2615319" y="261037"/>
                  <a:pt x="2616390" y="259771"/>
                  <a:pt x="2617352" y="258419"/>
                </a:cubicBezTo>
                <a:cubicBezTo>
                  <a:pt x="2619422" y="253548"/>
                  <a:pt x="2627179" y="251941"/>
                  <a:pt x="2627179" y="251941"/>
                </a:cubicBezTo>
                <a:lnTo>
                  <a:pt x="2629615" y="251308"/>
                </a:lnTo>
                <a:lnTo>
                  <a:pt x="2634899" y="249980"/>
                </a:lnTo>
                <a:lnTo>
                  <a:pt x="2642778" y="248129"/>
                </a:lnTo>
                <a:lnTo>
                  <a:pt x="2651180" y="246120"/>
                </a:lnTo>
                <a:lnTo>
                  <a:pt x="2657877" y="244330"/>
                </a:lnTo>
                <a:lnTo>
                  <a:pt x="2661299" y="243307"/>
                </a:lnTo>
                <a:lnTo>
                  <a:pt x="2663734" y="242504"/>
                </a:lnTo>
                <a:lnTo>
                  <a:pt x="2667643" y="241286"/>
                </a:lnTo>
                <a:lnTo>
                  <a:pt x="2671028" y="240324"/>
                </a:lnTo>
                <a:cubicBezTo>
                  <a:pt x="2675826" y="239033"/>
                  <a:pt x="2680806" y="238534"/>
                  <a:pt x="2685774" y="238826"/>
                </a:cubicBezTo>
                <a:cubicBezTo>
                  <a:pt x="2687308" y="238096"/>
                  <a:pt x="2688769" y="237256"/>
                  <a:pt x="2690170" y="236294"/>
                </a:cubicBezTo>
                <a:cubicBezTo>
                  <a:pt x="2698000" y="231313"/>
                  <a:pt x="2688952" y="226759"/>
                  <a:pt x="2688952" y="226772"/>
                </a:cubicBezTo>
                <a:lnTo>
                  <a:pt x="2687735" y="226029"/>
                </a:lnTo>
                <a:lnTo>
                  <a:pt x="2686517" y="225201"/>
                </a:lnTo>
                <a:lnTo>
                  <a:pt x="2685628" y="224507"/>
                </a:lnTo>
                <a:lnTo>
                  <a:pt x="2684118" y="223203"/>
                </a:lnTo>
                <a:lnTo>
                  <a:pt x="2679247" y="218698"/>
                </a:lnTo>
                <a:cubicBezTo>
                  <a:pt x="2679406" y="218345"/>
                  <a:pt x="2679564" y="218004"/>
                  <a:pt x="2679734" y="217663"/>
                </a:cubicBezTo>
                <a:lnTo>
                  <a:pt x="2680757" y="215337"/>
                </a:lnTo>
                <a:cubicBezTo>
                  <a:pt x="2681037" y="214716"/>
                  <a:pt x="2681330" y="214120"/>
                  <a:pt x="2681610" y="213486"/>
                </a:cubicBezTo>
                <a:lnTo>
                  <a:pt x="2683278" y="210381"/>
                </a:lnTo>
                <a:cubicBezTo>
                  <a:pt x="2684861" y="206984"/>
                  <a:pt x="2687661" y="204317"/>
                  <a:pt x="2691132" y="202905"/>
                </a:cubicBezTo>
                <a:lnTo>
                  <a:pt x="2693409" y="202113"/>
                </a:lnTo>
                <a:lnTo>
                  <a:pt x="2695443" y="201602"/>
                </a:lnTo>
                <a:lnTo>
                  <a:pt x="2697963" y="201090"/>
                </a:lnTo>
                <a:lnTo>
                  <a:pt x="2699278" y="200652"/>
                </a:lnTo>
                <a:lnTo>
                  <a:pt x="2701458" y="199617"/>
                </a:lnTo>
                <a:lnTo>
                  <a:pt x="2703808" y="198399"/>
                </a:lnTo>
                <a:lnTo>
                  <a:pt x="2705720" y="197608"/>
                </a:lnTo>
                <a:lnTo>
                  <a:pt x="2710030" y="196013"/>
                </a:lnTo>
                <a:cubicBezTo>
                  <a:pt x="2719540" y="192360"/>
                  <a:pt x="2723498" y="193845"/>
                  <a:pt x="2723425" y="193833"/>
                </a:cubicBezTo>
                <a:cubicBezTo>
                  <a:pt x="2729233" y="195136"/>
                  <a:pt x="2726883" y="197206"/>
                  <a:pt x="2726883" y="197206"/>
                </a:cubicBezTo>
                <a:lnTo>
                  <a:pt x="2725970" y="198095"/>
                </a:lnTo>
                <a:lnTo>
                  <a:pt x="2725154" y="199045"/>
                </a:lnTo>
                <a:cubicBezTo>
                  <a:pt x="2723936" y="200384"/>
                  <a:pt x="2722962" y="204122"/>
                  <a:pt x="2722950" y="204110"/>
                </a:cubicBezTo>
                <a:lnTo>
                  <a:pt x="2722512" y="206375"/>
                </a:lnTo>
                <a:cubicBezTo>
                  <a:pt x="2722365" y="207009"/>
                  <a:pt x="2722220" y="207654"/>
                  <a:pt x="2722061" y="208287"/>
                </a:cubicBezTo>
                <a:cubicBezTo>
                  <a:pt x="2721221" y="212232"/>
                  <a:pt x="2717422" y="214777"/>
                  <a:pt x="2717422" y="214789"/>
                </a:cubicBezTo>
                <a:cubicBezTo>
                  <a:pt x="2713769" y="217066"/>
                  <a:pt x="2713842" y="218077"/>
                  <a:pt x="2713854" y="218077"/>
                </a:cubicBezTo>
                <a:cubicBezTo>
                  <a:pt x="2713781" y="218345"/>
                  <a:pt x="2713708" y="218601"/>
                  <a:pt x="2713647" y="218869"/>
                </a:cubicBezTo>
                <a:cubicBezTo>
                  <a:pt x="2713343" y="222388"/>
                  <a:pt x="2720490" y="225992"/>
                  <a:pt x="2720490" y="225980"/>
                </a:cubicBezTo>
                <a:cubicBezTo>
                  <a:pt x="2724143" y="227794"/>
                  <a:pt x="2733312" y="228415"/>
                  <a:pt x="2733312" y="228415"/>
                </a:cubicBezTo>
                <a:lnTo>
                  <a:pt x="2736405" y="228744"/>
                </a:lnTo>
                <a:lnTo>
                  <a:pt x="2739036" y="229085"/>
                </a:lnTo>
                <a:cubicBezTo>
                  <a:pt x="2740716" y="229328"/>
                  <a:pt x="2742384" y="229706"/>
                  <a:pt x="2744004" y="230217"/>
                </a:cubicBezTo>
                <a:lnTo>
                  <a:pt x="2745733" y="228440"/>
                </a:lnTo>
                <a:lnTo>
                  <a:pt x="2743699" y="227965"/>
                </a:lnTo>
                <a:lnTo>
                  <a:pt x="2741264" y="227417"/>
                </a:lnTo>
                <a:cubicBezTo>
                  <a:pt x="2740168" y="227210"/>
                  <a:pt x="2739145" y="226686"/>
                  <a:pt x="2738342" y="225919"/>
                </a:cubicBezTo>
                <a:lnTo>
                  <a:pt x="2737660" y="225225"/>
                </a:lnTo>
                <a:cubicBezTo>
                  <a:pt x="2735858" y="222790"/>
                  <a:pt x="2737124" y="222144"/>
                  <a:pt x="2737124" y="222144"/>
                </a:cubicBezTo>
                <a:cubicBezTo>
                  <a:pt x="2737282" y="221949"/>
                  <a:pt x="2737453" y="221730"/>
                  <a:pt x="2737623" y="221535"/>
                </a:cubicBezTo>
                <a:cubicBezTo>
                  <a:pt x="2739279" y="219733"/>
                  <a:pt x="2736698" y="217809"/>
                  <a:pt x="2736685" y="217809"/>
                </a:cubicBezTo>
                <a:lnTo>
                  <a:pt x="2735991" y="217139"/>
                </a:lnTo>
                <a:lnTo>
                  <a:pt x="2735407" y="216470"/>
                </a:lnTo>
                <a:cubicBezTo>
                  <a:pt x="2734055" y="214741"/>
                  <a:pt x="2735188" y="213657"/>
                  <a:pt x="2735188" y="213657"/>
                </a:cubicBezTo>
                <a:cubicBezTo>
                  <a:pt x="2736710" y="211563"/>
                  <a:pt x="2744333" y="210625"/>
                  <a:pt x="2744320" y="210637"/>
                </a:cubicBezTo>
                <a:lnTo>
                  <a:pt x="2745538" y="210540"/>
                </a:lnTo>
                <a:cubicBezTo>
                  <a:pt x="2749727" y="210296"/>
                  <a:pt x="2749374" y="210138"/>
                  <a:pt x="2749374" y="210150"/>
                </a:cubicBezTo>
                <a:lnTo>
                  <a:pt x="2750750" y="209809"/>
                </a:lnTo>
                <a:cubicBezTo>
                  <a:pt x="2757605" y="208202"/>
                  <a:pt x="2760491" y="206497"/>
                  <a:pt x="2760491" y="206485"/>
                </a:cubicBezTo>
                <a:cubicBezTo>
                  <a:pt x="2769453" y="202418"/>
                  <a:pt x="2754719" y="195526"/>
                  <a:pt x="2754707" y="195526"/>
                </a:cubicBezTo>
                <a:lnTo>
                  <a:pt x="2742530" y="188621"/>
                </a:lnTo>
                <a:cubicBezTo>
                  <a:pt x="2736223" y="184981"/>
                  <a:pt x="2729891" y="181352"/>
                  <a:pt x="2723522" y="177735"/>
                </a:cubicBezTo>
                <a:cubicBezTo>
                  <a:pt x="2719869" y="178283"/>
                  <a:pt x="2708131" y="181936"/>
                  <a:pt x="2708131" y="181948"/>
                </a:cubicBezTo>
                <a:cubicBezTo>
                  <a:pt x="2703382" y="183373"/>
                  <a:pt x="2698791" y="185261"/>
                  <a:pt x="2694432" y="187611"/>
                </a:cubicBezTo>
                <a:lnTo>
                  <a:pt x="2690280" y="189437"/>
                </a:lnTo>
                <a:cubicBezTo>
                  <a:pt x="2683801" y="191848"/>
                  <a:pt x="2677055" y="193480"/>
                  <a:pt x="2670200" y="194308"/>
                </a:cubicBezTo>
                <a:cubicBezTo>
                  <a:pt x="2654273" y="196390"/>
                  <a:pt x="2646114" y="193090"/>
                  <a:pt x="2646114" y="193090"/>
                </a:cubicBezTo>
                <a:cubicBezTo>
                  <a:pt x="2642546" y="191970"/>
                  <a:pt x="2639490" y="189644"/>
                  <a:pt x="2637456" y="186515"/>
                </a:cubicBezTo>
                <a:cubicBezTo>
                  <a:pt x="2635216" y="180658"/>
                  <a:pt x="2632732" y="179355"/>
                  <a:pt x="2632744" y="179355"/>
                </a:cubicBezTo>
                <a:lnTo>
                  <a:pt x="2630905" y="177893"/>
                </a:lnTo>
                <a:cubicBezTo>
                  <a:pt x="2626035" y="173912"/>
                  <a:pt x="2625584" y="166934"/>
                  <a:pt x="2625584" y="166934"/>
                </a:cubicBezTo>
                <a:cubicBezTo>
                  <a:pt x="2625365" y="164840"/>
                  <a:pt x="2625158" y="162733"/>
                  <a:pt x="2624939" y="160651"/>
                </a:cubicBezTo>
                <a:cubicBezTo>
                  <a:pt x="2623003" y="154636"/>
                  <a:pt x="2631697" y="152833"/>
                  <a:pt x="2631697" y="152846"/>
                </a:cubicBezTo>
                <a:lnTo>
                  <a:pt x="2635971" y="151689"/>
                </a:lnTo>
                <a:lnTo>
                  <a:pt x="2639015" y="150837"/>
                </a:lnTo>
                <a:lnTo>
                  <a:pt x="2649317" y="147622"/>
                </a:lnTo>
                <a:lnTo>
                  <a:pt x="2655186" y="145588"/>
                </a:lnTo>
                <a:lnTo>
                  <a:pt x="2663576" y="142544"/>
                </a:lnTo>
                <a:lnTo>
                  <a:pt x="2670529" y="139975"/>
                </a:lnTo>
                <a:cubicBezTo>
                  <a:pt x="2674535" y="138294"/>
                  <a:pt x="2678699" y="136992"/>
                  <a:pt x="2682949" y="136066"/>
                </a:cubicBezTo>
                <a:lnTo>
                  <a:pt x="2686602" y="135372"/>
                </a:lnTo>
                <a:lnTo>
                  <a:pt x="2698146" y="133205"/>
                </a:lnTo>
                <a:cubicBezTo>
                  <a:pt x="2706742" y="131561"/>
                  <a:pt x="2707498" y="130672"/>
                  <a:pt x="2707498" y="130672"/>
                </a:cubicBezTo>
                <a:lnTo>
                  <a:pt x="2711504" y="128796"/>
                </a:lnTo>
                <a:lnTo>
                  <a:pt x="2718530" y="125472"/>
                </a:lnTo>
                <a:lnTo>
                  <a:pt x="2724691" y="122538"/>
                </a:lnTo>
                <a:lnTo>
                  <a:pt x="2731937" y="119055"/>
                </a:lnTo>
                <a:lnTo>
                  <a:pt x="2746950" y="111895"/>
                </a:lnTo>
                <a:cubicBezTo>
                  <a:pt x="2748948" y="110957"/>
                  <a:pt x="2748789" y="110483"/>
                  <a:pt x="2748789" y="110470"/>
                </a:cubicBezTo>
                <a:lnTo>
                  <a:pt x="2749228" y="109825"/>
                </a:lnTo>
                <a:lnTo>
                  <a:pt x="2750640" y="108072"/>
                </a:lnTo>
                <a:cubicBezTo>
                  <a:pt x="2758080" y="100145"/>
                  <a:pt x="2777210" y="93837"/>
                  <a:pt x="2777210" y="93861"/>
                </a:cubicBezTo>
                <a:cubicBezTo>
                  <a:pt x="2785332" y="91487"/>
                  <a:pt x="2786124" y="90208"/>
                  <a:pt x="2786136" y="90208"/>
                </a:cubicBezTo>
                <a:cubicBezTo>
                  <a:pt x="2787025" y="89648"/>
                  <a:pt x="2787926" y="89100"/>
                  <a:pt x="2788827" y="88552"/>
                </a:cubicBezTo>
                <a:cubicBezTo>
                  <a:pt x="2793904" y="84716"/>
                  <a:pt x="2799214" y="81185"/>
                  <a:pt x="2804730" y="77995"/>
                </a:cubicBezTo>
                <a:cubicBezTo>
                  <a:pt x="2806081" y="77301"/>
                  <a:pt x="2807530" y="76826"/>
                  <a:pt x="2809028" y="76582"/>
                </a:cubicBezTo>
                <a:lnTo>
                  <a:pt x="2812681" y="75925"/>
                </a:lnTo>
                <a:lnTo>
                  <a:pt x="2815847" y="75218"/>
                </a:lnTo>
                <a:cubicBezTo>
                  <a:pt x="2823445" y="73099"/>
                  <a:pt x="2830739" y="70007"/>
                  <a:pt x="2837546" y="66013"/>
                </a:cubicBezTo>
                <a:cubicBezTo>
                  <a:pt x="2841772" y="63541"/>
                  <a:pt x="2846167" y="61398"/>
                  <a:pt x="2850710" y="59571"/>
                </a:cubicBezTo>
                <a:cubicBezTo>
                  <a:pt x="2854180" y="58147"/>
                  <a:pt x="2860317" y="59011"/>
                  <a:pt x="2860317" y="59011"/>
                </a:cubicBezTo>
                <a:lnTo>
                  <a:pt x="2865723" y="59669"/>
                </a:lnTo>
                <a:cubicBezTo>
                  <a:pt x="2874442" y="60886"/>
                  <a:pt x="2893438" y="57465"/>
                  <a:pt x="2893450" y="57465"/>
                </a:cubicBezTo>
                <a:cubicBezTo>
                  <a:pt x="2903326" y="56003"/>
                  <a:pt x="2907514" y="54006"/>
                  <a:pt x="2907514" y="54018"/>
                </a:cubicBezTo>
                <a:cubicBezTo>
                  <a:pt x="2914650" y="50877"/>
                  <a:pt x="2922358" y="49257"/>
                  <a:pt x="2930151" y="49294"/>
                </a:cubicBezTo>
                <a:lnTo>
                  <a:pt x="2935278" y="49196"/>
                </a:lnTo>
                <a:cubicBezTo>
                  <a:pt x="2941354" y="49087"/>
                  <a:pt x="2947442" y="49002"/>
                  <a:pt x="2953543" y="48929"/>
                </a:cubicBezTo>
                <a:cubicBezTo>
                  <a:pt x="2972770" y="48381"/>
                  <a:pt x="3002323" y="49489"/>
                  <a:pt x="3002323" y="49513"/>
                </a:cubicBezTo>
                <a:cubicBezTo>
                  <a:pt x="3015657" y="49939"/>
                  <a:pt x="3030963" y="51449"/>
                  <a:pt x="3030963" y="51449"/>
                </a:cubicBezTo>
                <a:cubicBezTo>
                  <a:pt x="3042324" y="52423"/>
                  <a:pt x="3044358" y="53885"/>
                  <a:pt x="3044358" y="53885"/>
                </a:cubicBezTo>
                <a:cubicBezTo>
                  <a:pt x="3047731" y="55516"/>
                  <a:pt x="3046245" y="58134"/>
                  <a:pt x="3046245" y="58134"/>
                </a:cubicBezTo>
                <a:cubicBezTo>
                  <a:pt x="3051713" y="58792"/>
                  <a:pt x="3057168" y="59461"/>
                  <a:pt x="3062635" y="60143"/>
                </a:cubicBezTo>
                <a:cubicBezTo>
                  <a:pt x="3067932" y="60801"/>
                  <a:pt x="3073205" y="61471"/>
                  <a:pt x="3078465" y="62153"/>
                </a:cubicBezTo>
                <a:cubicBezTo>
                  <a:pt x="3093382" y="64052"/>
                  <a:pt x="3108286" y="66037"/>
                  <a:pt x="3123167" y="68095"/>
                </a:cubicBezTo>
                <a:cubicBezTo>
                  <a:pt x="3154619" y="72077"/>
                  <a:pt x="3168026" y="74926"/>
                  <a:pt x="3167953" y="74878"/>
                </a:cubicBezTo>
                <a:lnTo>
                  <a:pt x="3174273" y="76205"/>
                </a:lnTo>
                <a:lnTo>
                  <a:pt x="3181908" y="77946"/>
                </a:lnTo>
                <a:cubicBezTo>
                  <a:pt x="3185110" y="78762"/>
                  <a:pt x="3188313" y="79553"/>
                  <a:pt x="3191515" y="80321"/>
                </a:cubicBezTo>
                <a:cubicBezTo>
                  <a:pt x="3204995" y="83840"/>
                  <a:pt x="3210048" y="85471"/>
                  <a:pt x="3210048" y="85471"/>
                </a:cubicBezTo>
                <a:lnTo>
                  <a:pt x="3211899" y="86238"/>
                </a:lnTo>
                <a:cubicBezTo>
                  <a:pt x="3219205" y="89989"/>
                  <a:pt x="3220423" y="91998"/>
                  <a:pt x="3220423" y="91998"/>
                </a:cubicBezTo>
                <a:cubicBezTo>
                  <a:pt x="3223978" y="96528"/>
                  <a:pt x="3213847" y="98452"/>
                  <a:pt x="3213847" y="98476"/>
                </a:cubicBezTo>
                <a:lnTo>
                  <a:pt x="3210523" y="99255"/>
                </a:lnTo>
                <a:lnTo>
                  <a:pt x="3208429" y="99718"/>
                </a:lnTo>
                <a:lnTo>
                  <a:pt x="3205397" y="100339"/>
                </a:lnTo>
                <a:lnTo>
                  <a:pt x="3199308" y="101398"/>
                </a:lnTo>
                <a:cubicBezTo>
                  <a:pt x="3191819" y="102543"/>
                  <a:pt x="3184246" y="102908"/>
                  <a:pt x="3176684" y="102519"/>
                </a:cubicBezTo>
                <a:lnTo>
                  <a:pt x="3169049" y="102117"/>
                </a:lnTo>
                <a:cubicBezTo>
                  <a:pt x="3165128" y="101959"/>
                  <a:pt x="3161219" y="101813"/>
                  <a:pt x="3157298" y="101679"/>
                </a:cubicBezTo>
                <a:cubicBezTo>
                  <a:pt x="3139654" y="100985"/>
                  <a:pt x="3133091" y="99463"/>
                  <a:pt x="3133078" y="99450"/>
                </a:cubicBezTo>
                <a:cubicBezTo>
                  <a:pt x="3130509" y="99024"/>
                  <a:pt x="3127331" y="98233"/>
                  <a:pt x="3127331" y="98233"/>
                </a:cubicBezTo>
                <a:lnTo>
                  <a:pt x="3126369" y="97989"/>
                </a:lnTo>
                <a:lnTo>
                  <a:pt x="3125578" y="97770"/>
                </a:lnTo>
                <a:cubicBezTo>
                  <a:pt x="3124652" y="97624"/>
                  <a:pt x="3123714" y="97624"/>
                  <a:pt x="3122789" y="97770"/>
                </a:cubicBezTo>
                <a:lnTo>
                  <a:pt x="3122326" y="97770"/>
                </a:lnTo>
                <a:lnTo>
                  <a:pt x="3121900" y="97770"/>
                </a:lnTo>
                <a:lnTo>
                  <a:pt x="3122387" y="98878"/>
                </a:lnTo>
                <a:cubicBezTo>
                  <a:pt x="3122606" y="99621"/>
                  <a:pt x="3122838" y="100376"/>
                  <a:pt x="3123069" y="101118"/>
                </a:cubicBezTo>
                <a:lnTo>
                  <a:pt x="3123787" y="103030"/>
                </a:lnTo>
                <a:cubicBezTo>
                  <a:pt x="3124469" y="104784"/>
                  <a:pt x="3127063" y="105843"/>
                  <a:pt x="3127063" y="105843"/>
                </a:cubicBezTo>
                <a:lnTo>
                  <a:pt x="3128427" y="106550"/>
                </a:lnTo>
                <a:lnTo>
                  <a:pt x="3129998" y="107451"/>
                </a:lnTo>
                <a:lnTo>
                  <a:pt x="3132737" y="109192"/>
                </a:lnTo>
                <a:lnTo>
                  <a:pt x="3135952" y="111298"/>
                </a:lnTo>
                <a:lnTo>
                  <a:pt x="3138911" y="113076"/>
                </a:lnTo>
                <a:lnTo>
                  <a:pt x="3140884" y="114099"/>
                </a:lnTo>
                <a:cubicBezTo>
                  <a:pt x="3148628" y="117947"/>
                  <a:pt x="3157931" y="117582"/>
                  <a:pt x="3157931" y="117569"/>
                </a:cubicBezTo>
                <a:cubicBezTo>
                  <a:pt x="3159989" y="117582"/>
                  <a:pt x="3162035" y="117326"/>
                  <a:pt x="3164020" y="116827"/>
                </a:cubicBezTo>
                <a:cubicBezTo>
                  <a:pt x="3161207" y="116339"/>
                  <a:pt x="3158443" y="115597"/>
                  <a:pt x="3155764" y="114598"/>
                </a:cubicBezTo>
                <a:cubicBezTo>
                  <a:pt x="3148969" y="112053"/>
                  <a:pt x="3155106" y="108729"/>
                  <a:pt x="3155119" y="108741"/>
                </a:cubicBezTo>
                <a:cubicBezTo>
                  <a:pt x="3160878" y="105173"/>
                  <a:pt x="3172385" y="108254"/>
                  <a:pt x="3172385" y="108230"/>
                </a:cubicBezTo>
                <a:lnTo>
                  <a:pt x="3177402" y="109447"/>
                </a:lnTo>
                <a:lnTo>
                  <a:pt x="3182857" y="110750"/>
                </a:lnTo>
                <a:lnTo>
                  <a:pt x="3194925" y="113295"/>
                </a:lnTo>
                <a:lnTo>
                  <a:pt x="3210207" y="116522"/>
                </a:lnTo>
                <a:lnTo>
                  <a:pt x="3207942" y="114854"/>
                </a:lnTo>
                <a:cubicBezTo>
                  <a:pt x="3203741" y="111895"/>
                  <a:pt x="3203010" y="110763"/>
                  <a:pt x="3203010" y="110763"/>
                </a:cubicBezTo>
                <a:cubicBezTo>
                  <a:pt x="3200916" y="107207"/>
                  <a:pt x="3208149" y="106525"/>
                  <a:pt x="3208161" y="106537"/>
                </a:cubicBezTo>
                <a:cubicBezTo>
                  <a:pt x="3210718" y="106537"/>
                  <a:pt x="3217988" y="105393"/>
                  <a:pt x="3217975" y="105405"/>
                </a:cubicBezTo>
                <a:cubicBezTo>
                  <a:pt x="3220240" y="105271"/>
                  <a:pt x="3229482" y="103201"/>
                  <a:pt x="3229482" y="103201"/>
                </a:cubicBezTo>
                <a:lnTo>
                  <a:pt x="3236630" y="101593"/>
                </a:lnTo>
                <a:lnTo>
                  <a:pt x="3241379" y="100534"/>
                </a:lnTo>
                <a:cubicBezTo>
                  <a:pt x="3245166" y="100047"/>
                  <a:pt x="3248978" y="99816"/>
                  <a:pt x="3252801" y="99816"/>
                </a:cubicBezTo>
                <a:lnTo>
                  <a:pt x="3256819" y="99816"/>
                </a:lnTo>
                <a:lnTo>
                  <a:pt x="3260314" y="99816"/>
                </a:lnTo>
                <a:lnTo>
                  <a:pt x="3265380" y="99816"/>
                </a:lnTo>
                <a:lnTo>
                  <a:pt x="3263091" y="98050"/>
                </a:lnTo>
                <a:cubicBezTo>
                  <a:pt x="3261227" y="96686"/>
                  <a:pt x="3259620" y="95018"/>
                  <a:pt x="3258317" y="93106"/>
                </a:cubicBezTo>
                <a:cubicBezTo>
                  <a:pt x="3257550" y="91645"/>
                  <a:pt x="3257587" y="89891"/>
                  <a:pt x="3258427" y="88467"/>
                </a:cubicBezTo>
                <a:cubicBezTo>
                  <a:pt x="3259425" y="87249"/>
                  <a:pt x="3255748" y="84327"/>
                  <a:pt x="3255748" y="84315"/>
                </a:cubicBezTo>
                <a:lnTo>
                  <a:pt x="3254348" y="83097"/>
                </a:lnTo>
                <a:lnTo>
                  <a:pt x="3253264" y="82123"/>
                </a:lnTo>
                <a:cubicBezTo>
                  <a:pt x="3252959" y="81818"/>
                  <a:pt x="3252655" y="81526"/>
                  <a:pt x="3252363" y="81222"/>
                </a:cubicBezTo>
                <a:lnTo>
                  <a:pt x="3257733" y="81002"/>
                </a:lnTo>
                <a:cubicBezTo>
                  <a:pt x="3271688" y="80296"/>
                  <a:pt x="3282513" y="81002"/>
                  <a:pt x="3282513" y="81002"/>
                </a:cubicBezTo>
                <a:cubicBezTo>
                  <a:pt x="3293131" y="81623"/>
                  <a:pt x="3297868" y="83791"/>
                  <a:pt x="3297856" y="83815"/>
                </a:cubicBezTo>
                <a:cubicBezTo>
                  <a:pt x="3303944" y="86555"/>
                  <a:pt x="3306075" y="89368"/>
                  <a:pt x="3306075" y="89356"/>
                </a:cubicBezTo>
                <a:lnTo>
                  <a:pt x="3288930" y="92838"/>
                </a:lnTo>
                <a:cubicBezTo>
                  <a:pt x="3293143" y="94665"/>
                  <a:pt x="3297490" y="96187"/>
                  <a:pt x="3301935" y="97380"/>
                </a:cubicBezTo>
                <a:cubicBezTo>
                  <a:pt x="3308693" y="99097"/>
                  <a:pt x="3315658" y="99913"/>
                  <a:pt x="3322635" y="99816"/>
                </a:cubicBezTo>
                <a:cubicBezTo>
                  <a:pt x="3324645" y="94592"/>
                  <a:pt x="3332060" y="93593"/>
                  <a:pt x="3332072" y="93593"/>
                </a:cubicBezTo>
                <a:cubicBezTo>
                  <a:pt x="3337625" y="92449"/>
                  <a:pt x="3349619" y="92376"/>
                  <a:pt x="3349619" y="92376"/>
                </a:cubicBezTo>
                <a:lnTo>
                  <a:pt x="3357498" y="92266"/>
                </a:lnTo>
                <a:cubicBezTo>
                  <a:pt x="3360335" y="92181"/>
                  <a:pt x="3363172" y="92120"/>
                  <a:pt x="3366022" y="92047"/>
                </a:cubicBezTo>
                <a:cubicBezTo>
                  <a:pt x="3374119" y="91974"/>
                  <a:pt x="3382180" y="91158"/>
                  <a:pt x="3390132" y="89611"/>
                </a:cubicBezTo>
                <a:cubicBezTo>
                  <a:pt x="3393383" y="88954"/>
                  <a:pt x="3396683" y="88528"/>
                  <a:pt x="3399995" y="88333"/>
                </a:cubicBezTo>
                <a:cubicBezTo>
                  <a:pt x="3407143" y="88162"/>
                  <a:pt x="3414254" y="89283"/>
                  <a:pt x="3421000" y="91657"/>
                </a:cubicBezTo>
                <a:cubicBezTo>
                  <a:pt x="3425262" y="93630"/>
                  <a:pt x="3435916" y="94567"/>
                  <a:pt x="3435916" y="94580"/>
                </a:cubicBezTo>
                <a:cubicBezTo>
                  <a:pt x="3443405" y="95213"/>
                  <a:pt x="3456617" y="95639"/>
                  <a:pt x="3456617" y="95651"/>
                </a:cubicBezTo>
                <a:lnTo>
                  <a:pt x="3466651" y="96029"/>
                </a:lnTo>
                <a:cubicBezTo>
                  <a:pt x="3471850" y="96235"/>
                  <a:pt x="3477038" y="96467"/>
                  <a:pt x="3482237" y="96698"/>
                </a:cubicBezTo>
                <a:cubicBezTo>
                  <a:pt x="3494633" y="97271"/>
                  <a:pt x="3496971" y="97721"/>
                  <a:pt x="3496984" y="97721"/>
                </a:cubicBezTo>
                <a:cubicBezTo>
                  <a:pt x="3500539" y="98147"/>
                  <a:pt x="3504009" y="99134"/>
                  <a:pt x="3507261" y="100644"/>
                </a:cubicBezTo>
                <a:cubicBezTo>
                  <a:pt x="3508308" y="101070"/>
                  <a:pt x="3509416" y="101326"/>
                  <a:pt x="3510548" y="101398"/>
                </a:cubicBezTo>
                <a:lnTo>
                  <a:pt x="3512436" y="101569"/>
                </a:lnTo>
                <a:lnTo>
                  <a:pt x="3515066" y="101800"/>
                </a:lnTo>
                <a:lnTo>
                  <a:pt x="3516467" y="101959"/>
                </a:lnTo>
                <a:cubicBezTo>
                  <a:pt x="3516296" y="101654"/>
                  <a:pt x="3516138" y="101338"/>
                  <a:pt x="3515979" y="101021"/>
                </a:cubicBezTo>
                <a:cubicBezTo>
                  <a:pt x="3515687" y="100254"/>
                  <a:pt x="3515273" y="99536"/>
                  <a:pt x="3514762" y="98902"/>
                </a:cubicBezTo>
                <a:lnTo>
                  <a:pt x="3514153" y="98160"/>
                </a:lnTo>
                <a:cubicBezTo>
                  <a:pt x="3510707" y="93959"/>
                  <a:pt x="3514153" y="93228"/>
                  <a:pt x="3514153" y="93228"/>
                </a:cubicBezTo>
                <a:cubicBezTo>
                  <a:pt x="3517160" y="92534"/>
                  <a:pt x="3525112" y="93228"/>
                  <a:pt x="3525112" y="93228"/>
                </a:cubicBezTo>
                <a:cubicBezTo>
                  <a:pt x="3539529" y="94446"/>
                  <a:pt x="3550221" y="95919"/>
                  <a:pt x="3550221" y="95907"/>
                </a:cubicBezTo>
                <a:cubicBezTo>
                  <a:pt x="3559950" y="97185"/>
                  <a:pt x="3569521" y="99389"/>
                  <a:pt x="3578836" y="102482"/>
                </a:cubicBezTo>
                <a:lnTo>
                  <a:pt x="3583780" y="104102"/>
                </a:lnTo>
                <a:lnTo>
                  <a:pt x="3591305" y="106537"/>
                </a:lnTo>
                <a:lnTo>
                  <a:pt x="3601047" y="109752"/>
                </a:lnTo>
                <a:lnTo>
                  <a:pt x="3609242" y="112467"/>
                </a:lnTo>
                <a:cubicBezTo>
                  <a:pt x="3615282" y="114464"/>
                  <a:pt x="3621309" y="116498"/>
                  <a:pt x="3627336" y="118556"/>
                </a:cubicBezTo>
                <a:cubicBezTo>
                  <a:pt x="3643045" y="123853"/>
                  <a:pt x="3650619" y="125557"/>
                  <a:pt x="3650619" y="125533"/>
                </a:cubicBezTo>
                <a:cubicBezTo>
                  <a:pt x="3647684" y="122976"/>
                  <a:pt x="3644408" y="120857"/>
                  <a:pt x="3640877" y="119213"/>
                </a:cubicBezTo>
                <a:lnTo>
                  <a:pt x="3639343" y="118519"/>
                </a:lnTo>
                <a:lnTo>
                  <a:pt x="3637334" y="117691"/>
                </a:lnTo>
                <a:lnTo>
                  <a:pt x="3635471" y="116985"/>
                </a:lnTo>
                <a:lnTo>
                  <a:pt x="3633120" y="116133"/>
                </a:lnTo>
                <a:lnTo>
                  <a:pt x="3629906" y="115061"/>
                </a:lnTo>
                <a:lnTo>
                  <a:pt x="3626618" y="114038"/>
                </a:lnTo>
                <a:cubicBezTo>
                  <a:pt x="3624402" y="113429"/>
                  <a:pt x="3622247" y="112614"/>
                  <a:pt x="3620177" y="111603"/>
                </a:cubicBezTo>
                <a:cubicBezTo>
                  <a:pt x="3618046" y="110507"/>
                  <a:pt x="3616146" y="109009"/>
                  <a:pt x="3614587" y="107195"/>
                </a:cubicBezTo>
                <a:cubicBezTo>
                  <a:pt x="3613492" y="105624"/>
                  <a:pt x="3612225" y="104187"/>
                  <a:pt x="3610801" y="102896"/>
                </a:cubicBezTo>
                <a:lnTo>
                  <a:pt x="3609583" y="101679"/>
                </a:lnTo>
                <a:lnTo>
                  <a:pt x="3607598" y="99949"/>
                </a:lnTo>
                <a:lnTo>
                  <a:pt x="3602861" y="95907"/>
                </a:lnTo>
                <a:lnTo>
                  <a:pt x="3600742" y="94044"/>
                </a:lnTo>
                <a:cubicBezTo>
                  <a:pt x="3600864" y="92546"/>
                  <a:pt x="3602654" y="91913"/>
                  <a:pt x="3602642" y="91913"/>
                </a:cubicBezTo>
                <a:cubicBezTo>
                  <a:pt x="3605150" y="91121"/>
                  <a:pt x="3607744" y="90586"/>
                  <a:pt x="3610362" y="90306"/>
                </a:cubicBezTo>
                <a:cubicBezTo>
                  <a:pt x="3613370" y="90050"/>
                  <a:pt x="3617802" y="89368"/>
                  <a:pt x="3617802" y="89356"/>
                </a:cubicBezTo>
                <a:lnTo>
                  <a:pt x="3618520" y="88662"/>
                </a:lnTo>
                <a:cubicBezTo>
                  <a:pt x="3618971" y="88442"/>
                  <a:pt x="3619166" y="87907"/>
                  <a:pt x="3618971" y="87444"/>
                </a:cubicBezTo>
                <a:cubicBezTo>
                  <a:pt x="3618618" y="83791"/>
                  <a:pt x="3619300" y="82439"/>
                  <a:pt x="3619300" y="82452"/>
                </a:cubicBezTo>
                <a:cubicBezTo>
                  <a:pt x="3620676" y="79602"/>
                  <a:pt x="3624232" y="79444"/>
                  <a:pt x="3624232" y="79444"/>
                </a:cubicBezTo>
                <a:cubicBezTo>
                  <a:pt x="3627933" y="79164"/>
                  <a:pt x="3631635" y="79164"/>
                  <a:pt x="3635337" y="79444"/>
                </a:cubicBezTo>
                <a:cubicBezTo>
                  <a:pt x="3653870" y="80917"/>
                  <a:pt x="3661347" y="82841"/>
                  <a:pt x="3661334" y="82829"/>
                </a:cubicBezTo>
                <a:cubicBezTo>
                  <a:pt x="3675739" y="86311"/>
                  <a:pt x="3679478" y="88771"/>
                  <a:pt x="3679478" y="88771"/>
                </a:cubicBezTo>
                <a:cubicBezTo>
                  <a:pt x="3684641" y="91268"/>
                  <a:pt x="3685213" y="95164"/>
                  <a:pt x="3685225" y="95164"/>
                </a:cubicBezTo>
                <a:cubicBezTo>
                  <a:pt x="3685542" y="97453"/>
                  <a:pt x="3685408" y="99791"/>
                  <a:pt x="3684824" y="102032"/>
                </a:cubicBezTo>
                <a:lnTo>
                  <a:pt x="3689487" y="103676"/>
                </a:lnTo>
                <a:lnTo>
                  <a:pt x="3698851" y="106976"/>
                </a:lnTo>
                <a:lnTo>
                  <a:pt x="3701384" y="107889"/>
                </a:lnTo>
                <a:cubicBezTo>
                  <a:pt x="3701895" y="108425"/>
                  <a:pt x="3702431" y="108924"/>
                  <a:pt x="3703016" y="109374"/>
                </a:cubicBezTo>
                <a:cubicBezTo>
                  <a:pt x="3703077" y="110081"/>
                  <a:pt x="3703150" y="110775"/>
                  <a:pt x="3703210" y="111481"/>
                </a:cubicBezTo>
                <a:cubicBezTo>
                  <a:pt x="3703210" y="112467"/>
                  <a:pt x="3705646" y="115256"/>
                  <a:pt x="3705646" y="115244"/>
                </a:cubicBezTo>
                <a:cubicBezTo>
                  <a:pt x="3705950" y="115585"/>
                  <a:pt x="3706242" y="115938"/>
                  <a:pt x="3706547" y="116291"/>
                </a:cubicBezTo>
                <a:cubicBezTo>
                  <a:pt x="3708568" y="118251"/>
                  <a:pt x="3710407" y="120382"/>
                  <a:pt x="3712051" y="122659"/>
                </a:cubicBezTo>
                <a:cubicBezTo>
                  <a:pt x="3713098" y="124315"/>
                  <a:pt x="3716033" y="128309"/>
                  <a:pt x="3716021" y="128322"/>
                </a:cubicBezTo>
                <a:cubicBezTo>
                  <a:pt x="3718456" y="130306"/>
                  <a:pt x="3722864" y="133923"/>
                  <a:pt x="3722864" y="133923"/>
                </a:cubicBezTo>
                <a:cubicBezTo>
                  <a:pt x="3731692" y="138453"/>
                  <a:pt x="3733056" y="143019"/>
                  <a:pt x="3733056" y="143019"/>
                </a:cubicBezTo>
                <a:cubicBezTo>
                  <a:pt x="3733056" y="143019"/>
                  <a:pt x="3737927" y="149716"/>
                  <a:pt x="3724094" y="151689"/>
                </a:cubicBezTo>
                <a:lnTo>
                  <a:pt x="3713329" y="154684"/>
                </a:lnTo>
                <a:lnTo>
                  <a:pt x="3710334" y="155464"/>
                </a:lnTo>
                <a:cubicBezTo>
                  <a:pt x="3710334" y="155464"/>
                  <a:pt x="3725433" y="161479"/>
                  <a:pt x="3736733" y="160748"/>
                </a:cubicBezTo>
                <a:cubicBezTo>
                  <a:pt x="3736733" y="160748"/>
                  <a:pt x="3750590" y="160310"/>
                  <a:pt x="3752685" y="153564"/>
                </a:cubicBezTo>
                <a:cubicBezTo>
                  <a:pt x="3752685" y="153564"/>
                  <a:pt x="3752393" y="150057"/>
                  <a:pt x="3748070" y="145418"/>
                </a:cubicBezTo>
                <a:cubicBezTo>
                  <a:pt x="3748070" y="145418"/>
                  <a:pt x="3744795" y="139877"/>
                  <a:pt x="3744575" y="137552"/>
                </a:cubicBezTo>
                <a:cubicBezTo>
                  <a:pt x="3737038" y="136553"/>
                  <a:pt x="3729854" y="133752"/>
                  <a:pt x="3723643" y="129369"/>
                </a:cubicBezTo>
                <a:cubicBezTo>
                  <a:pt x="3723643" y="129369"/>
                  <a:pt x="3719588" y="125716"/>
                  <a:pt x="3719600" y="123281"/>
                </a:cubicBezTo>
                <a:cubicBezTo>
                  <a:pt x="3718091" y="121235"/>
                  <a:pt x="3716398" y="119335"/>
                  <a:pt x="3714547" y="117594"/>
                </a:cubicBezTo>
                <a:lnTo>
                  <a:pt x="3704294" y="109703"/>
                </a:lnTo>
                <a:cubicBezTo>
                  <a:pt x="3704294" y="109703"/>
                  <a:pt x="3702553" y="108059"/>
                  <a:pt x="3701761" y="107511"/>
                </a:cubicBezTo>
                <a:cubicBezTo>
                  <a:pt x="3700860" y="106659"/>
                  <a:pt x="3700252" y="105551"/>
                  <a:pt x="3699996" y="104333"/>
                </a:cubicBezTo>
                <a:cubicBezTo>
                  <a:pt x="3699509" y="100924"/>
                  <a:pt x="3706815" y="101058"/>
                  <a:pt x="3706815" y="101058"/>
                </a:cubicBezTo>
                <a:cubicBezTo>
                  <a:pt x="3712989" y="100851"/>
                  <a:pt x="3712794" y="97052"/>
                  <a:pt x="3712794" y="97052"/>
                </a:cubicBezTo>
                <a:lnTo>
                  <a:pt x="3713013" y="95128"/>
                </a:lnTo>
                <a:cubicBezTo>
                  <a:pt x="3716934" y="95249"/>
                  <a:pt x="3720806" y="95907"/>
                  <a:pt x="3724557" y="97052"/>
                </a:cubicBezTo>
                <a:cubicBezTo>
                  <a:pt x="3728538" y="98111"/>
                  <a:pt x="3734785" y="102470"/>
                  <a:pt x="3734785" y="102482"/>
                </a:cubicBezTo>
                <a:cubicBezTo>
                  <a:pt x="3741300" y="107097"/>
                  <a:pt x="3752247" y="107195"/>
                  <a:pt x="3752247" y="107195"/>
                </a:cubicBezTo>
                <a:cubicBezTo>
                  <a:pt x="3755607" y="107329"/>
                  <a:pt x="3759845" y="107597"/>
                  <a:pt x="3759845" y="107597"/>
                </a:cubicBezTo>
                <a:cubicBezTo>
                  <a:pt x="3764606" y="107901"/>
                  <a:pt x="3774323" y="109411"/>
                  <a:pt x="3774323" y="109423"/>
                </a:cubicBezTo>
                <a:lnTo>
                  <a:pt x="3784065" y="110909"/>
                </a:lnTo>
                <a:cubicBezTo>
                  <a:pt x="3786403" y="111128"/>
                  <a:pt x="3791627" y="112199"/>
                  <a:pt x="3791627" y="112199"/>
                </a:cubicBezTo>
                <a:lnTo>
                  <a:pt x="3799286" y="113770"/>
                </a:lnTo>
                <a:lnTo>
                  <a:pt x="3794951" y="110361"/>
                </a:lnTo>
                <a:lnTo>
                  <a:pt x="3792272" y="108315"/>
                </a:lnTo>
                <a:cubicBezTo>
                  <a:pt x="3788375" y="105295"/>
                  <a:pt x="3788424" y="104224"/>
                  <a:pt x="3788424" y="104224"/>
                </a:cubicBezTo>
                <a:cubicBezTo>
                  <a:pt x="3787560" y="99353"/>
                  <a:pt x="3803986" y="101679"/>
                  <a:pt x="3803998" y="101691"/>
                </a:cubicBezTo>
                <a:lnTo>
                  <a:pt x="3812948" y="103128"/>
                </a:lnTo>
                <a:cubicBezTo>
                  <a:pt x="3820084" y="104345"/>
                  <a:pt x="3827220" y="105563"/>
                  <a:pt x="3834343" y="106781"/>
                </a:cubicBezTo>
                <a:lnTo>
                  <a:pt x="3845168" y="108705"/>
                </a:lnTo>
                <a:lnTo>
                  <a:pt x="3858173" y="111031"/>
                </a:lnTo>
                <a:cubicBezTo>
                  <a:pt x="3859622" y="111432"/>
                  <a:pt x="3861108" y="111652"/>
                  <a:pt x="3862606" y="111664"/>
                </a:cubicBezTo>
                <a:lnTo>
                  <a:pt x="3866051" y="111834"/>
                </a:lnTo>
                <a:cubicBezTo>
                  <a:pt x="3865065" y="109728"/>
                  <a:pt x="3864091" y="107621"/>
                  <a:pt x="3863105" y="105502"/>
                </a:cubicBezTo>
                <a:lnTo>
                  <a:pt x="3865199" y="105210"/>
                </a:lnTo>
                <a:cubicBezTo>
                  <a:pt x="3867208" y="104845"/>
                  <a:pt x="3869242" y="104686"/>
                  <a:pt x="3871288" y="104735"/>
                </a:cubicBezTo>
                <a:lnTo>
                  <a:pt x="3879677" y="104954"/>
                </a:lnTo>
                <a:cubicBezTo>
                  <a:pt x="3899014" y="105125"/>
                  <a:pt x="3933328" y="109679"/>
                  <a:pt x="3933328" y="109728"/>
                </a:cubicBezTo>
                <a:lnTo>
                  <a:pt x="3941317" y="110945"/>
                </a:lnTo>
                <a:lnTo>
                  <a:pt x="3944836" y="111493"/>
                </a:lnTo>
                <a:lnTo>
                  <a:pt x="3952312" y="112711"/>
                </a:lnTo>
                <a:cubicBezTo>
                  <a:pt x="3953908" y="112979"/>
                  <a:pt x="3955490" y="113271"/>
                  <a:pt x="3957086" y="113551"/>
                </a:cubicBezTo>
                <a:lnTo>
                  <a:pt x="3959679" y="113989"/>
                </a:lnTo>
                <a:lnTo>
                  <a:pt x="3967485" y="115207"/>
                </a:lnTo>
                <a:cubicBezTo>
                  <a:pt x="3975789" y="116279"/>
                  <a:pt x="3983777" y="118203"/>
                  <a:pt x="3983777" y="118190"/>
                </a:cubicBezTo>
                <a:cubicBezTo>
                  <a:pt x="3992301" y="120236"/>
                  <a:pt x="3999193" y="121576"/>
                  <a:pt x="3999193" y="121576"/>
                </a:cubicBezTo>
                <a:lnTo>
                  <a:pt x="4003467" y="122391"/>
                </a:lnTo>
                <a:lnTo>
                  <a:pt x="4009397" y="123512"/>
                </a:lnTo>
                <a:cubicBezTo>
                  <a:pt x="4018006" y="125131"/>
                  <a:pt x="4026603" y="126763"/>
                  <a:pt x="4035212" y="128383"/>
                </a:cubicBezTo>
                <a:cubicBezTo>
                  <a:pt x="4035322" y="127214"/>
                  <a:pt x="4035894" y="126130"/>
                  <a:pt x="4036795" y="125375"/>
                </a:cubicBezTo>
                <a:cubicBezTo>
                  <a:pt x="4039718" y="123025"/>
                  <a:pt x="4050750" y="124900"/>
                  <a:pt x="4050762" y="124900"/>
                </a:cubicBezTo>
                <a:cubicBezTo>
                  <a:pt x="4083639" y="129539"/>
                  <a:pt x="4096157" y="137832"/>
                  <a:pt x="4096145" y="137807"/>
                </a:cubicBezTo>
                <a:cubicBezTo>
                  <a:pt x="4097716" y="138672"/>
                  <a:pt x="4099348" y="139439"/>
                  <a:pt x="4101016" y="140097"/>
                </a:cubicBezTo>
                <a:lnTo>
                  <a:pt x="4105217" y="141692"/>
                </a:lnTo>
                <a:cubicBezTo>
                  <a:pt x="4110830" y="143604"/>
                  <a:pt x="4116444" y="145527"/>
                  <a:pt x="4122070" y="147464"/>
                </a:cubicBezTo>
                <a:cubicBezTo>
                  <a:pt x="4127050" y="148925"/>
                  <a:pt x="4131921" y="150691"/>
                  <a:pt x="4136682" y="152748"/>
                </a:cubicBezTo>
                <a:lnTo>
                  <a:pt x="4140566" y="154575"/>
                </a:lnTo>
                <a:cubicBezTo>
                  <a:pt x="4148542" y="158130"/>
                  <a:pt x="4156713" y="161223"/>
                  <a:pt x="4165042" y="163866"/>
                </a:cubicBezTo>
                <a:cubicBezTo>
                  <a:pt x="4167477" y="164621"/>
                  <a:pt x="4169912" y="165400"/>
                  <a:pt x="4172348" y="166167"/>
                </a:cubicBezTo>
                <a:lnTo>
                  <a:pt x="4181931" y="169065"/>
                </a:lnTo>
                <a:cubicBezTo>
                  <a:pt x="4203058" y="175263"/>
                  <a:pt x="4213761" y="180134"/>
                  <a:pt x="4213774" y="180134"/>
                </a:cubicBezTo>
                <a:cubicBezTo>
                  <a:pt x="4224148" y="184335"/>
                  <a:pt x="4233987" y="189729"/>
                  <a:pt x="4243108" y="196208"/>
                </a:cubicBezTo>
                <a:lnTo>
                  <a:pt x="4247418" y="199507"/>
                </a:lnTo>
                <a:lnTo>
                  <a:pt x="4251741" y="202819"/>
                </a:lnTo>
                <a:cubicBezTo>
                  <a:pt x="4244435" y="205194"/>
                  <a:pt x="4224526" y="203867"/>
                  <a:pt x="4224526" y="203879"/>
                </a:cubicBezTo>
                <a:lnTo>
                  <a:pt x="4217646" y="203587"/>
                </a:lnTo>
                <a:lnTo>
                  <a:pt x="4212288" y="203587"/>
                </a:lnTo>
                <a:cubicBezTo>
                  <a:pt x="4208245" y="203550"/>
                  <a:pt x="4204227" y="204086"/>
                  <a:pt x="4200343" y="205182"/>
                </a:cubicBezTo>
                <a:cubicBezTo>
                  <a:pt x="4205846" y="207398"/>
                  <a:pt x="4211484" y="209237"/>
                  <a:pt x="4217232" y="210698"/>
                </a:cubicBezTo>
                <a:cubicBezTo>
                  <a:pt x="4233305" y="214802"/>
                  <a:pt x="4240733" y="214826"/>
                  <a:pt x="4240721" y="214826"/>
                </a:cubicBezTo>
                <a:cubicBezTo>
                  <a:pt x="4256319" y="215398"/>
                  <a:pt x="4270700" y="222376"/>
                  <a:pt x="4270688" y="222363"/>
                </a:cubicBezTo>
                <a:cubicBezTo>
                  <a:pt x="4277592" y="225675"/>
                  <a:pt x="4280016" y="226564"/>
                  <a:pt x="4280028" y="226577"/>
                </a:cubicBezTo>
                <a:lnTo>
                  <a:pt x="4282293" y="227465"/>
                </a:lnTo>
                <a:lnTo>
                  <a:pt x="4289270" y="230047"/>
                </a:lnTo>
                <a:cubicBezTo>
                  <a:pt x="4295346" y="232251"/>
                  <a:pt x="4301435" y="234467"/>
                  <a:pt x="4307535" y="236720"/>
                </a:cubicBezTo>
                <a:cubicBezTo>
                  <a:pt x="4313636" y="238973"/>
                  <a:pt x="4319664" y="241201"/>
                  <a:pt x="4325618" y="243429"/>
                </a:cubicBezTo>
                <a:cubicBezTo>
                  <a:pt x="4333740" y="246474"/>
                  <a:pt x="4341886" y="249542"/>
                  <a:pt x="4350069" y="252647"/>
                </a:cubicBezTo>
                <a:cubicBezTo>
                  <a:pt x="4355049" y="254547"/>
                  <a:pt x="4360017" y="256459"/>
                  <a:pt x="4364998" y="258383"/>
                </a:cubicBezTo>
                <a:cubicBezTo>
                  <a:pt x="4369357" y="260063"/>
                  <a:pt x="4373704" y="261768"/>
                  <a:pt x="4378051" y="263460"/>
                </a:cubicBezTo>
                <a:lnTo>
                  <a:pt x="4391361" y="268745"/>
                </a:lnTo>
                <a:cubicBezTo>
                  <a:pt x="4395598" y="270572"/>
                  <a:pt x="4399885" y="272398"/>
                  <a:pt x="4404073" y="274225"/>
                </a:cubicBezTo>
                <a:cubicBezTo>
                  <a:pt x="4408579" y="276234"/>
                  <a:pt x="4413084" y="278267"/>
                  <a:pt x="4417590" y="280313"/>
                </a:cubicBezTo>
                <a:lnTo>
                  <a:pt x="4418089" y="280082"/>
                </a:lnTo>
                <a:lnTo>
                  <a:pt x="4418552" y="279899"/>
                </a:lnTo>
                <a:lnTo>
                  <a:pt x="4419392" y="279595"/>
                </a:lnTo>
                <a:cubicBezTo>
                  <a:pt x="4428427" y="276477"/>
                  <a:pt x="4439240" y="281372"/>
                  <a:pt x="4439240" y="281372"/>
                </a:cubicBezTo>
                <a:cubicBezTo>
                  <a:pt x="4447021" y="284453"/>
                  <a:pt x="4458504" y="292088"/>
                  <a:pt x="4458492" y="292100"/>
                </a:cubicBezTo>
                <a:cubicBezTo>
                  <a:pt x="4461012" y="293671"/>
                  <a:pt x="4465676" y="295924"/>
                  <a:pt x="4465688" y="295924"/>
                </a:cubicBezTo>
                <a:cubicBezTo>
                  <a:pt x="4471095" y="298456"/>
                  <a:pt x="4476721" y="300490"/>
                  <a:pt x="4482492" y="302012"/>
                </a:cubicBezTo>
                <a:cubicBezTo>
                  <a:pt x="4490358" y="304204"/>
                  <a:pt x="4495887" y="306371"/>
                  <a:pt x="4495887" y="306384"/>
                </a:cubicBezTo>
                <a:cubicBezTo>
                  <a:pt x="4505421" y="310110"/>
                  <a:pt x="4514566" y="314749"/>
                  <a:pt x="4523200" y="320241"/>
                </a:cubicBezTo>
                <a:cubicBezTo>
                  <a:pt x="4527230" y="322676"/>
                  <a:pt x="4533355" y="327109"/>
                  <a:pt x="4533355" y="327109"/>
                </a:cubicBezTo>
                <a:cubicBezTo>
                  <a:pt x="4535498" y="328497"/>
                  <a:pt x="4537495" y="330080"/>
                  <a:pt x="4539321" y="331857"/>
                </a:cubicBezTo>
                <a:lnTo>
                  <a:pt x="4539882" y="332552"/>
                </a:lnTo>
                <a:lnTo>
                  <a:pt x="4540929" y="334135"/>
                </a:lnTo>
                <a:lnTo>
                  <a:pt x="4542147" y="335742"/>
                </a:lnTo>
                <a:lnTo>
                  <a:pt x="4543438" y="337276"/>
                </a:lnTo>
                <a:lnTo>
                  <a:pt x="4544825" y="338774"/>
                </a:lnTo>
                <a:lnTo>
                  <a:pt x="4546274" y="340199"/>
                </a:lnTo>
                <a:lnTo>
                  <a:pt x="4548187" y="341964"/>
                </a:lnTo>
                <a:lnTo>
                  <a:pt x="4550561" y="343986"/>
                </a:lnTo>
                <a:lnTo>
                  <a:pt x="4553155" y="346044"/>
                </a:lnTo>
                <a:lnTo>
                  <a:pt x="4555590" y="347870"/>
                </a:lnTo>
                <a:lnTo>
                  <a:pt x="4558451" y="349928"/>
                </a:lnTo>
                <a:lnTo>
                  <a:pt x="4561630" y="352120"/>
                </a:lnTo>
                <a:lnTo>
                  <a:pt x="4567121" y="355773"/>
                </a:lnTo>
                <a:lnTo>
                  <a:pt x="4572236" y="359207"/>
                </a:lnTo>
                <a:lnTo>
                  <a:pt x="4576583" y="362178"/>
                </a:lnTo>
                <a:lnTo>
                  <a:pt x="4579798" y="364491"/>
                </a:lnTo>
                <a:lnTo>
                  <a:pt x="4581831" y="366014"/>
                </a:lnTo>
                <a:lnTo>
                  <a:pt x="4582476" y="366501"/>
                </a:lnTo>
                <a:lnTo>
                  <a:pt x="4582878" y="366817"/>
                </a:lnTo>
                <a:lnTo>
                  <a:pt x="4583122" y="366976"/>
                </a:lnTo>
                <a:lnTo>
                  <a:pt x="4583353" y="367098"/>
                </a:lnTo>
                <a:lnTo>
                  <a:pt x="4583633" y="367219"/>
                </a:lnTo>
                <a:lnTo>
                  <a:pt x="4586872" y="368510"/>
                </a:lnTo>
                <a:cubicBezTo>
                  <a:pt x="4586617" y="367572"/>
                  <a:pt x="4586361" y="366647"/>
                  <a:pt x="4586117" y="365721"/>
                </a:cubicBezTo>
                <a:cubicBezTo>
                  <a:pt x="4585435" y="363188"/>
                  <a:pt x="4584753" y="360668"/>
                  <a:pt x="4584059" y="358135"/>
                </a:cubicBezTo>
                <a:lnTo>
                  <a:pt x="4590695" y="361277"/>
                </a:lnTo>
                <a:lnTo>
                  <a:pt x="4593058" y="362421"/>
                </a:lnTo>
                <a:lnTo>
                  <a:pt x="4594276" y="363079"/>
                </a:lnTo>
                <a:lnTo>
                  <a:pt x="4595834" y="363956"/>
                </a:lnTo>
                <a:lnTo>
                  <a:pt x="4598160" y="365368"/>
                </a:lnTo>
                <a:lnTo>
                  <a:pt x="4602422" y="367938"/>
                </a:lnTo>
                <a:lnTo>
                  <a:pt x="4606976" y="370556"/>
                </a:lnTo>
                <a:cubicBezTo>
                  <a:pt x="4622477" y="379152"/>
                  <a:pt x="4631574" y="381698"/>
                  <a:pt x="4631574" y="381698"/>
                </a:cubicBezTo>
                <a:cubicBezTo>
                  <a:pt x="4636724" y="383390"/>
                  <a:pt x="4642180" y="384547"/>
                  <a:pt x="4642180" y="384547"/>
                </a:cubicBezTo>
                <a:lnTo>
                  <a:pt x="4643726" y="384912"/>
                </a:lnTo>
                <a:cubicBezTo>
                  <a:pt x="4650338" y="386556"/>
                  <a:pt x="4656658" y="389186"/>
                  <a:pt x="4662490" y="392717"/>
                </a:cubicBezTo>
                <a:cubicBezTo>
                  <a:pt x="4664645" y="394167"/>
                  <a:pt x="4666923" y="395421"/>
                  <a:pt x="4669297" y="396468"/>
                </a:cubicBezTo>
                <a:lnTo>
                  <a:pt x="4671270" y="397357"/>
                </a:lnTo>
                <a:lnTo>
                  <a:pt x="4674107" y="398574"/>
                </a:lnTo>
                <a:lnTo>
                  <a:pt x="4684214" y="402849"/>
                </a:lnTo>
                <a:cubicBezTo>
                  <a:pt x="4683495" y="400925"/>
                  <a:pt x="4682765" y="398989"/>
                  <a:pt x="4682034" y="397065"/>
                </a:cubicBezTo>
                <a:cubicBezTo>
                  <a:pt x="4684348" y="396845"/>
                  <a:pt x="4686674" y="396785"/>
                  <a:pt x="4688987" y="396858"/>
                </a:cubicBezTo>
                <a:cubicBezTo>
                  <a:pt x="4698838" y="397296"/>
                  <a:pt x="4710199" y="403957"/>
                  <a:pt x="4710187" y="403969"/>
                </a:cubicBezTo>
                <a:cubicBezTo>
                  <a:pt x="4712623" y="405320"/>
                  <a:pt x="4714985" y="406697"/>
                  <a:pt x="4717372" y="408060"/>
                </a:cubicBezTo>
                <a:lnTo>
                  <a:pt x="4723070" y="411129"/>
                </a:lnTo>
                <a:lnTo>
                  <a:pt x="4734370" y="416876"/>
                </a:lnTo>
                <a:cubicBezTo>
                  <a:pt x="4744745" y="421966"/>
                  <a:pt x="4753208" y="426618"/>
                  <a:pt x="4753208" y="426618"/>
                </a:cubicBezTo>
                <a:lnTo>
                  <a:pt x="4760380" y="430454"/>
                </a:lnTo>
                <a:cubicBezTo>
                  <a:pt x="4769306" y="435263"/>
                  <a:pt x="4778243" y="440110"/>
                  <a:pt x="4787169" y="444981"/>
                </a:cubicBezTo>
                <a:lnTo>
                  <a:pt x="4797544" y="450630"/>
                </a:lnTo>
                <a:lnTo>
                  <a:pt x="4803815" y="453955"/>
                </a:lnTo>
                <a:cubicBezTo>
                  <a:pt x="4805849" y="455002"/>
                  <a:pt x="4807870" y="456074"/>
                  <a:pt x="4809903" y="457133"/>
                </a:cubicBezTo>
                <a:cubicBezTo>
                  <a:pt x="4822750" y="463769"/>
                  <a:pt x="4829472" y="468250"/>
                  <a:pt x="4829472" y="468238"/>
                </a:cubicBezTo>
                <a:lnTo>
                  <a:pt x="4835365" y="472013"/>
                </a:lnTo>
                <a:lnTo>
                  <a:pt x="4843706" y="477456"/>
                </a:lnTo>
                <a:cubicBezTo>
                  <a:pt x="4848248" y="480476"/>
                  <a:pt x="4852778" y="483496"/>
                  <a:pt x="4857296" y="486528"/>
                </a:cubicBezTo>
                <a:lnTo>
                  <a:pt x="4868255" y="494005"/>
                </a:lnTo>
                <a:lnTo>
                  <a:pt x="4876060" y="499448"/>
                </a:lnTo>
                <a:cubicBezTo>
                  <a:pt x="4879993" y="502236"/>
                  <a:pt x="4883914" y="505012"/>
                  <a:pt x="4887835" y="507813"/>
                </a:cubicBezTo>
                <a:cubicBezTo>
                  <a:pt x="4900487" y="516946"/>
                  <a:pt x="4918691" y="525981"/>
                  <a:pt x="4918679" y="525993"/>
                </a:cubicBezTo>
                <a:lnTo>
                  <a:pt x="4924536" y="528903"/>
                </a:lnTo>
                <a:lnTo>
                  <a:pt x="4928749" y="530937"/>
                </a:lnTo>
                <a:cubicBezTo>
                  <a:pt x="4932536" y="532751"/>
                  <a:pt x="4936311" y="534590"/>
                  <a:pt x="4940098" y="536416"/>
                </a:cubicBezTo>
                <a:cubicBezTo>
                  <a:pt x="4957060" y="544672"/>
                  <a:pt x="4972976" y="554463"/>
                  <a:pt x="4972976" y="554463"/>
                </a:cubicBezTo>
                <a:lnTo>
                  <a:pt x="4978175" y="557714"/>
                </a:lnTo>
                <a:lnTo>
                  <a:pt x="4986078" y="562901"/>
                </a:lnTo>
                <a:lnTo>
                  <a:pt x="4989220" y="565056"/>
                </a:lnTo>
                <a:lnTo>
                  <a:pt x="4992811" y="567601"/>
                </a:lnTo>
                <a:lnTo>
                  <a:pt x="4996465" y="570195"/>
                </a:lnTo>
                <a:lnTo>
                  <a:pt x="4999351" y="572119"/>
                </a:lnTo>
                <a:lnTo>
                  <a:pt x="5004307" y="575346"/>
                </a:lnTo>
                <a:cubicBezTo>
                  <a:pt x="5016118" y="582859"/>
                  <a:pt x="5019784" y="586695"/>
                  <a:pt x="5019796" y="586695"/>
                </a:cubicBezTo>
                <a:cubicBezTo>
                  <a:pt x="5020173" y="587097"/>
                  <a:pt x="5020538" y="587498"/>
                  <a:pt x="5020904" y="587912"/>
                </a:cubicBezTo>
                <a:lnTo>
                  <a:pt x="5021525" y="588655"/>
                </a:lnTo>
                <a:cubicBezTo>
                  <a:pt x="5022048" y="589240"/>
                  <a:pt x="5022560" y="589873"/>
                  <a:pt x="5023071" y="590421"/>
                </a:cubicBezTo>
                <a:lnTo>
                  <a:pt x="5024983" y="592454"/>
                </a:lnTo>
                <a:lnTo>
                  <a:pt x="5026810" y="594281"/>
                </a:lnTo>
                <a:cubicBezTo>
                  <a:pt x="5039096" y="606592"/>
                  <a:pt x="5065507" y="621484"/>
                  <a:pt x="5065507" y="621508"/>
                </a:cubicBezTo>
                <a:lnTo>
                  <a:pt x="5075590" y="627597"/>
                </a:lnTo>
                <a:cubicBezTo>
                  <a:pt x="5080278" y="630410"/>
                  <a:pt x="5084954" y="633259"/>
                  <a:pt x="5089630" y="636121"/>
                </a:cubicBezTo>
                <a:lnTo>
                  <a:pt x="5098227" y="641332"/>
                </a:lnTo>
                <a:lnTo>
                  <a:pt x="5106044" y="646093"/>
                </a:lnTo>
                <a:lnTo>
                  <a:pt x="5119439" y="654373"/>
                </a:lnTo>
                <a:cubicBezTo>
                  <a:pt x="5129472" y="660462"/>
                  <a:pt x="5139993" y="667963"/>
                  <a:pt x="5139993" y="667963"/>
                </a:cubicBezTo>
                <a:lnTo>
                  <a:pt x="5143878" y="670739"/>
                </a:lnTo>
                <a:cubicBezTo>
                  <a:pt x="5145717" y="672042"/>
                  <a:pt x="5147531" y="673369"/>
                  <a:pt x="5149381" y="674684"/>
                </a:cubicBezTo>
                <a:lnTo>
                  <a:pt x="5156261" y="679555"/>
                </a:lnTo>
                <a:lnTo>
                  <a:pt x="5162910" y="684341"/>
                </a:lnTo>
                <a:lnTo>
                  <a:pt x="5171081" y="690283"/>
                </a:lnTo>
                <a:cubicBezTo>
                  <a:pt x="5171580" y="689272"/>
                  <a:pt x="5172067" y="688274"/>
                  <a:pt x="5172554" y="687263"/>
                </a:cubicBezTo>
                <a:lnTo>
                  <a:pt x="5173638" y="685035"/>
                </a:lnTo>
                <a:lnTo>
                  <a:pt x="5174758" y="685607"/>
                </a:lnTo>
                <a:lnTo>
                  <a:pt x="5175525" y="685985"/>
                </a:lnTo>
                <a:lnTo>
                  <a:pt x="5176841" y="686618"/>
                </a:lnTo>
                <a:cubicBezTo>
                  <a:pt x="5178582" y="687421"/>
                  <a:pt x="5180688" y="688554"/>
                  <a:pt x="5180688" y="688554"/>
                </a:cubicBezTo>
                <a:cubicBezTo>
                  <a:pt x="5182003" y="689297"/>
                  <a:pt x="5183282" y="690101"/>
                  <a:pt x="5184500" y="690989"/>
                </a:cubicBezTo>
                <a:lnTo>
                  <a:pt x="5187300" y="692718"/>
                </a:lnTo>
                <a:lnTo>
                  <a:pt x="5195435" y="698234"/>
                </a:lnTo>
                <a:lnTo>
                  <a:pt x="5203203" y="703544"/>
                </a:lnTo>
                <a:cubicBezTo>
                  <a:pt x="5206284" y="705650"/>
                  <a:pt x="5209365" y="707757"/>
                  <a:pt x="5212421" y="709888"/>
                </a:cubicBezTo>
                <a:cubicBezTo>
                  <a:pt x="5216220" y="712530"/>
                  <a:pt x="5220020" y="715185"/>
                  <a:pt x="5223831" y="717852"/>
                </a:cubicBezTo>
                <a:lnTo>
                  <a:pt x="5227691" y="720555"/>
                </a:lnTo>
                <a:lnTo>
                  <a:pt x="5234072" y="725097"/>
                </a:lnTo>
                <a:lnTo>
                  <a:pt x="5240477" y="729687"/>
                </a:lnTo>
                <a:lnTo>
                  <a:pt x="5254346" y="739757"/>
                </a:lnTo>
                <a:lnTo>
                  <a:pt x="5263601" y="746577"/>
                </a:lnTo>
                <a:lnTo>
                  <a:pt x="5271625" y="752556"/>
                </a:lnTo>
                <a:lnTo>
                  <a:pt x="5282499" y="760787"/>
                </a:lnTo>
                <a:cubicBezTo>
                  <a:pt x="5287832" y="764903"/>
                  <a:pt x="5293166" y="769031"/>
                  <a:pt x="5298487" y="773183"/>
                </a:cubicBezTo>
                <a:cubicBezTo>
                  <a:pt x="5302992" y="776751"/>
                  <a:pt x="5307486" y="780331"/>
                  <a:pt x="5311979" y="783911"/>
                </a:cubicBezTo>
                <a:cubicBezTo>
                  <a:pt x="5317154" y="788063"/>
                  <a:pt x="5322330" y="792228"/>
                  <a:pt x="5327480" y="796417"/>
                </a:cubicBezTo>
                <a:lnTo>
                  <a:pt x="5338366" y="805330"/>
                </a:lnTo>
                <a:lnTo>
                  <a:pt x="5347888" y="813245"/>
                </a:lnTo>
                <a:cubicBezTo>
                  <a:pt x="5368346" y="830195"/>
                  <a:pt x="5389192" y="849045"/>
                  <a:pt x="5389192" y="849045"/>
                </a:cubicBezTo>
                <a:cubicBezTo>
                  <a:pt x="5390045" y="849836"/>
                  <a:pt x="5390885" y="850640"/>
                  <a:pt x="5391738" y="851419"/>
                </a:cubicBezTo>
                <a:lnTo>
                  <a:pt x="5393771" y="853355"/>
                </a:lnTo>
                <a:lnTo>
                  <a:pt x="5395793" y="855304"/>
                </a:lnTo>
                <a:lnTo>
                  <a:pt x="5397680" y="857142"/>
                </a:lnTo>
                <a:lnTo>
                  <a:pt x="5402100" y="861563"/>
                </a:lnTo>
                <a:cubicBezTo>
                  <a:pt x="5404268" y="863828"/>
                  <a:pt x="5406423" y="866092"/>
                  <a:pt x="5408578" y="868369"/>
                </a:cubicBezTo>
                <a:lnTo>
                  <a:pt x="5414508" y="874933"/>
                </a:lnTo>
                <a:cubicBezTo>
                  <a:pt x="5415409" y="875931"/>
                  <a:pt x="5416323" y="876918"/>
                  <a:pt x="5417223" y="877904"/>
                </a:cubicBezTo>
                <a:cubicBezTo>
                  <a:pt x="5432688" y="894221"/>
                  <a:pt x="5447958" y="907969"/>
                  <a:pt x="5447970" y="907969"/>
                </a:cubicBezTo>
                <a:cubicBezTo>
                  <a:pt x="5450235" y="910039"/>
                  <a:pt x="5452500" y="912109"/>
                  <a:pt x="5454753" y="914191"/>
                </a:cubicBezTo>
                <a:cubicBezTo>
                  <a:pt x="5457249" y="916444"/>
                  <a:pt x="5459721" y="918708"/>
                  <a:pt x="5462205" y="920986"/>
                </a:cubicBezTo>
                <a:lnTo>
                  <a:pt x="5468622" y="926855"/>
                </a:lnTo>
                <a:lnTo>
                  <a:pt x="5474601" y="932371"/>
                </a:lnTo>
                <a:lnTo>
                  <a:pt x="5479605" y="937071"/>
                </a:lnTo>
                <a:lnTo>
                  <a:pt x="5485109" y="942490"/>
                </a:lnTo>
                <a:cubicBezTo>
                  <a:pt x="5488239" y="945741"/>
                  <a:pt x="5491356" y="949017"/>
                  <a:pt x="5494473" y="952232"/>
                </a:cubicBezTo>
                <a:lnTo>
                  <a:pt x="5498309" y="956432"/>
                </a:lnTo>
                <a:lnTo>
                  <a:pt x="5501402" y="959842"/>
                </a:lnTo>
                <a:cubicBezTo>
                  <a:pt x="5502778" y="961376"/>
                  <a:pt x="5504154" y="962911"/>
                  <a:pt x="5505518" y="964457"/>
                </a:cubicBezTo>
                <a:lnTo>
                  <a:pt x="5508635" y="967964"/>
                </a:lnTo>
                <a:cubicBezTo>
                  <a:pt x="5509975" y="969462"/>
                  <a:pt x="5511302" y="970971"/>
                  <a:pt x="5512629" y="972470"/>
                </a:cubicBezTo>
                <a:lnTo>
                  <a:pt x="5515746" y="976123"/>
                </a:lnTo>
                <a:cubicBezTo>
                  <a:pt x="5516136" y="976695"/>
                  <a:pt x="5516526" y="977255"/>
                  <a:pt x="5516964" y="977839"/>
                </a:cubicBezTo>
                <a:cubicBezTo>
                  <a:pt x="5517609" y="978947"/>
                  <a:pt x="5518242" y="980068"/>
                  <a:pt x="5518864" y="981188"/>
                </a:cubicBezTo>
                <a:cubicBezTo>
                  <a:pt x="5519484" y="982308"/>
                  <a:pt x="5519899" y="983112"/>
                  <a:pt x="5520410" y="984074"/>
                </a:cubicBezTo>
                <a:lnTo>
                  <a:pt x="5521506" y="985998"/>
                </a:lnTo>
                <a:cubicBezTo>
                  <a:pt x="5518815" y="984865"/>
                  <a:pt x="5516111" y="983745"/>
                  <a:pt x="5513409" y="982637"/>
                </a:cubicBezTo>
                <a:cubicBezTo>
                  <a:pt x="5513652" y="985072"/>
                  <a:pt x="5513908" y="987423"/>
                  <a:pt x="5514151" y="989809"/>
                </a:cubicBezTo>
                <a:cubicBezTo>
                  <a:pt x="5514431" y="992537"/>
                  <a:pt x="5514699" y="995277"/>
                  <a:pt x="5514979" y="998017"/>
                </a:cubicBezTo>
                <a:cubicBezTo>
                  <a:pt x="5511740" y="996336"/>
                  <a:pt x="5507138" y="993267"/>
                  <a:pt x="5507138" y="993255"/>
                </a:cubicBezTo>
                <a:cubicBezTo>
                  <a:pt x="5499916" y="988445"/>
                  <a:pt x="5493219" y="982905"/>
                  <a:pt x="5487119" y="976732"/>
                </a:cubicBezTo>
                <a:lnTo>
                  <a:pt x="5482151" y="971532"/>
                </a:lnTo>
                <a:cubicBezTo>
                  <a:pt x="5481055" y="970375"/>
                  <a:pt x="5479971" y="969218"/>
                  <a:pt x="5478875" y="968073"/>
                </a:cubicBezTo>
                <a:cubicBezTo>
                  <a:pt x="5477219" y="966320"/>
                  <a:pt x="5475551" y="964578"/>
                  <a:pt x="5473883" y="962825"/>
                </a:cubicBezTo>
                <a:lnTo>
                  <a:pt x="5467928" y="956567"/>
                </a:lnTo>
                <a:cubicBezTo>
                  <a:pt x="5464031" y="952512"/>
                  <a:pt x="5460135" y="948444"/>
                  <a:pt x="5456226" y="944390"/>
                </a:cubicBezTo>
                <a:lnTo>
                  <a:pt x="5450965" y="938935"/>
                </a:lnTo>
                <a:lnTo>
                  <a:pt x="5440530" y="928194"/>
                </a:lnTo>
                <a:cubicBezTo>
                  <a:pt x="5432518" y="919670"/>
                  <a:pt x="5428877" y="917174"/>
                  <a:pt x="5428877" y="917235"/>
                </a:cubicBezTo>
                <a:cubicBezTo>
                  <a:pt x="5417029" y="907944"/>
                  <a:pt x="5408322" y="906495"/>
                  <a:pt x="5408322" y="906495"/>
                </a:cubicBezTo>
                <a:lnTo>
                  <a:pt x="5404937" y="905789"/>
                </a:lnTo>
                <a:lnTo>
                  <a:pt x="5400858" y="905119"/>
                </a:lnTo>
                <a:lnTo>
                  <a:pt x="5393893" y="903840"/>
                </a:lnTo>
                <a:cubicBezTo>
                  <a:pt x="5398386" y="909369"/>
                  <a:pt x="5402842" y="914897"/>
                  <a:pt x="5407287" y="920425"/>
                </a:cubicBezTo>
                <a:cubicBezTo>
                  <a:pt x="5413388" y="928207"/>
                  <a:pt x="5420061" y="935500"/>
                  <a:pt x="5427282" y="942259"/>
                </a:cubicBezTo>
                <a:lnTo>
                  <a:pt x="5434162" y="948579"/>
                </a:lnTo>
                <a:cubicBezTo>
                  <a:pt x="5442978" y="957017"/>
                  <a:pt x="5443818" y="963836"/>
                  <a:pt x="5443830" y="963824"/>
                </a:cubicBezTo>
                <a:cubicBezTo>
                  <a:pt x="5437668" y="963714"/>
                  <a:pt x="5430508" y="959038"/>
                  <a:pt x="5430508" y="959038"/>
                </a:cubicBezTo>
                <a:lnTo>
                  <a:pt x="5428584" y="957821"/>
                </a:lnTo>
                <a:cubicBezTo>
                  <a:pt x="5428012" y="957419"/>
                  <a:pt x="5427428" y="957029"/>
                  <a:pt x="5426844" y="956603"/>
                </a:cubicBezTo>
                <a:lnTo>
                  <a:pt x="5425151" y="955385"/>
                </a:lnTo>
                <a:lnTo>
                  <a:pt x="5420536" y="951854"/>
                </a:lnTo>
                <a:lnTo>
                  <a:pt x="5416225" y="948432"/>
                </a:lnTo>
                <a:cubicBezTo>
                  <a:pt x="5416067" y="948298"/>
                  <a:pt x="5413558" y="946350"/>
                  <a:pt x="5413558" y="946338"/>
                </a:cubicBezTo>
                <a:lnTo>
                  <a:pt x="5411610" y="944804"/>
                </a:lnTo>
                <a:lnTo>
                  <a:pt x="5409503" y="942880"/>
                </a:lnTo>
                <a:lnTo>
                  <a:pt x="5407823" y="941211"/>
                </a:lnTo>
                <a:cubicBezTo>
                  <a:pt x="5402782" y="935951"/>
                  <a:pt x="5400517" y="935281"/>
                  <a:pt x="5400517" y="935281"/>
                </a:cubicBezTo>
                <a:lnTo>
                  <a:pt x="5399117" y="934697"/>
                </a:lnTo>
                <a:lnTo>
                  <a:pt x="5397984" y="934380"/>
                </a:lnTo>
                <a:lnTo>
                  <a:pt x="5396888" y="934173"/>
                </a:lnTo>
                <a:lnTo>
                  <a:pt x="5395878" y="933954"/>
                </a:lnTo>
                <a:lnTo>
                  <a:pt x="5393722" y="933394"/>
                </a:lnTo>
                <a:lnTo>
                  <a:pt x="5390666" y="932444"/>
                </a:lnTo>
                <a:lnTo>
                  <a:pt x="5384785" y="930460"/>
                </a:lnTo>
                <a:lnTo>
                  <a:pt x="5381217" y="929327"/>
                </a:lnTo>
                <a:lnTo>
                  <a:pt x="5378550" y="928609"/>
                </a:lnTo>
                <a:lnTo>
                  <a:pt x="5375372" y="928036"/>
                </a:lnTo>
                <a:lnTo>
                  <a:pt x="5372608" y="927914"/>
                </a:lnTo>
                <a:lnTo>
                  <a:pt x="5370635" y="928170"/>
                </a:lnTo>
                <a:lnTo>
                  <a:pt x="5369502" y="928511"/>
                </a:lnTo>
                <a:cubicBezTo>
                  <a:pt x="5364827" y="930581"/>
                  <a:pt x="5359505" y="930691"/>
                  <a:pt x="5354744" y="928816"/>
                </a:cubicBezTo>
                <a:cubicBezTo>
                  <a:pt x="5343724" y="925065"/>
                  <a:pt x="5329879" y="910720"/>
                  <a:pt x="5329867" y="910708"/>
                </a:cubicBezTo>
                <a:cubicBezTo>
                  <a:pt x="5326701" y="907530"/>
                  <a:pt x="5323328" y="904584"/>
                  <a:pt x="5319748" y="901880"/>
                </a:cubicBezTo>
                <a:cubicBezTo>
                  <a:pt x="5310652" y="894574"/>
                  <a:pt x="5305562" y="896364"/>
                  <a:pt x="5305562" y="896352"/>
                </a:cubicBezTo>
                <a:cubicBezTo>
                  <a:pt x="5301032" y="897204"/>
                  <a:pt x="5298877" y="895792"/>
                  <a:pt x="5298877" y="895792"/>
                </a:cubicBezTo>
                <a:cubicBezTo>
                  <a:pt x="5295528" y="894343"/>
                  <a:pt x="5291072" y="887110"/>
                  <a:pt x="5291072" y="887097"/>
                </a:cubicBezTo>
                <a:cubicBezTo>
                  <a:pt x="5290645" y="886477"/>
                  <a:pt x="5290231" y="885880"/>
                  <a:pt x="5289854" y="885210"/>
                </a:cubicBezTo>
                <a:lnTo>
                  <a:pt x="5288526" y="883177"/>
                </a:lnTo>
                <a:lnTo>
                  <a:pt x="5287431" y="881496"/>
                </a:lnTo>
                <a:cubicBezTo>
                  <a:pt x="5287053" y="880936"/>
                  <a:pt x="5286675" y="880364"/>
                  <a:pt x="5286310" y="879791"/>
                </a:cubicBezTo>
                <a:lnTo>
                  <a:pt x="5285750" y="878951"/>
                </a:lnTo>
                <a:cubicBezTo>
                  <a:pt x="5284788" y="878902"/>
                  <a:pt x="5283838" y="878769"/>
                  <a:pt x="5282900" y="878549"/>
                </a:cubicBezTo>
                <a:cubicBezTo>
                  <a:pt x="5280283" y="877965"/>
                  <a:pt x="5277750" y="877040"/>
                  <a:pt x="5275376" y="875797"/>
                </a:cubicBezTo>
                <a:cubicBezTo>
                  <a:pt x="5271260" y="873520"/>
                  <a:pt x="5267424" y="870756"/>
                  <a:pt x="5263954" y="867590"/>
                </a:cubicBezTo>
                <a:cubicBezTo>
                  <a:pt x="5263734" y="868089"/>
                  <a:pt x="5263515" y="868589"/>
                  <a:pt x="5263308" y="869100"/>
                </a:cubicBezTo>
                <a:lnTo>
                  <a:pt x="5262541" y="870829"/>
                </a:lnTo>
                <a:cubicBezTo>
                  <a:pt x="5262176" y="871511"/>
                  <a:pt x="5261993" y="872278"/>
                  <a:pt x="5262017" y="873045"/>
                </a:cubicBezTo>
                <a:lnTo>
                  <a:pt x="5262017" y="873386"/>
                </a:lnTo>
                <a:cubicBezTo>
                  <a:pt x="5262017" y="873605"/>
                  <a:pt x="5262103" y="873825"/>
                  <a:pt x="5262152" y="874044"/>
                </a:cubicBezTo>
                <a:cubicBezTo>
                  <a:pt x="5262200" y="874263"/>
                  <a:pt x="5262359" y="874811"/>
                  <a:pt x="5262468" y="875189"/>
                </a:cubicBezTo>
                <a:lnTo>
                  <a:pt x="5262687" y="876236"/>
                </a:lnTo>
                <a:cubicBezTo>
                  <a:pt x="5262687" y="876406"/>
                  <a:pt x="5262687" y="876589"/>
                  <a:pt x="5262687" y="876771"/>
                </a:cubicBezTo>
                <a:cubicBezTo>
                  <a:pt x="5262687" y="876954"/>
                  <a:pt x="5262626" y="877027"/>
                  <a:pt x="5262590" y="877149"/>
                </a:cubicBezTo>
                <a:lnTo>
                  <a:pt x="5262224" y="877880"/>
                </a:lnTo>
                <a:lnTo>
                  <a:pt x="5261944" y="878574"/>
                </a:lnTo>
                <a:lnTo>
                  <a:pt x="5261555" y="880023"/>
                </a:lnTo>
                <a:lnTo>
                  <a:pt x="5261445" y="881520"/>
                </a:lnTo>
                <a:cubicBezTo>
                  <a:pt x="5261445" y="881898"/>
                  <a:pt x="5261506" y="882288"/>
                  <a:pt x="5261543" y="882665"/>
                </a:cubicBezTo>
                <a:cubicBezTo>
                  <a:pt x="5262468" y="890738"/>
                  <a:pt x="5277908" y="900200"/>
                  <a:pt x="5277908" y="900224"/>
                </a:cubicBezTo>
                <a:cubicBezTo>
                  <a:pt x="5278809" y="900833"/>
                  <a:pt x="5279564" y="901636"/>
                  <a:pt x="5280113" y="902587"/>
                </a:cubicBezTo>
                <a:lnTo>
                  <a:pt x="5280843" y="903804"/>
                </a:lnTo>
                <a:lnTo>
                  <a:pt x="5281829" y="905375"/>
                </a:lnTo>
                <a:cubicBezTo>
                  <a:pt x="5282852" y="906885"/>
                  <a:pt x="5283862" y="908395"/>
                  <a:pt x="5284873" y="909917"/>
                </a:cubicBezTo>
                <a:cubicBezTo>
                  <a:pt x="5291936" y="919890"/>
                  <a:pt x="5294152" y="924931"/>
                  <a:pt x="5294164" y="924931"/>
                </a:cubicBezTo>
                <a:cubicBezTo>
                  <a:pt x="5297708" y="931884"/>
                  <a:pt x="5295552" y="935890"/>
                  <a:pt x="5295552" y="935890"/>
                </a:cubicBezTo>
                <a:cubicBezTo>
                  <a:pt x="5295139" y="937144"/>
                  <a:pt x="5295199" y="938520"/>
                  <a:pt x="5295711" y="939738"/>
                </a:cubicBezTo>
                <a:cubicBezTo>
                  <a:pt x="5296758" y="942588"/>
                  <a:pt x="5298158" y="945291"/>
                  <a:pt x="5299876" y="947787"/>
                </a:cubicBezTo>
                <a:lnTo>
                  <a:pt x="5302140" y="950953"/>
                </a:lnTo>
                <a:cubicBezTo>
                  <a:pt x="5306475" y="956749"/>
                  <a:pt x="5307413" y="959708"/>
                  <a:pt x="5307413" y="959708"/>
                </a:cubicBezTo>
                <a:cubicBezTo>
                  <a:pt x="5310555" y="970010"/>
                  <a:pt x="5296856" y="963118"/>
                  <a:pt x="5296856" y="963129"/>
                </a:cubicBezTo>
                <a:lnTo>
                  <a:pt x="5292606" y="961133"/>
                </a:lnTo>
                <a:lnTo>
                  <a:pt x="5288721" y="959513"/>
                </a:lnTo>
                <a:cubicBezTo>
                  <a:pt x="5289330" y="960877"/>
                  <a:pt x="5289939" y="962229"/>
                  <a:pt x="5290560" y="963593"/>
                </a:cubicBezTo>
                <a:lnTo>
                  <a:pt x="5293921" y="971081"/>
                </a:lnTo>
                <a:cubicBezTo>
                  <a:pt x="5295029" y="973517"/>
                  <a:pt x="5296125" y="975952"/>
                  <a:pt x="5297221" y="978387"/>
                </a:cubicBezTo>
                <a:lnTo>
                  <a:pt x="5291777" y="976050"/>
                </a:lnTo>
                <a:lnTo>
                  <a:pt x="5283851" y="972664"/>
                </a:lnTo>
                <a:lnTo>
                  <a:pt x="5280575" y="971264"/>
                </a:lnTo>
                <a:lnTo>
                  <a:pt x="5280465" y="971995"/>
                </a:lnTo>
                <a:cubicBezTo>
                  <a:pt x="5280465" y="972493"/>
                  <a:pt x="5280465" y="972993"/>
                  <a:pt x="5280380" y="973480"/>
                </a:cubicBezTo>
                <a:cubicBezTo>
                  <a:pt x="5280295" y="973967"/>
                  <a:pt x="5280380" y="974697"/>
                  <a:pt x="5280441" y="975368"/>
                </a:cubicBezTo>
                <a:cubicBezTo>
                  <a:pt x="5281659" y="986071"/>
                  <a:pt x="5280441" y="987544"/>
                  <a:pt x="5280441" y="987544"/>
                </a:cubicBezTo>
                <a:cubicBezTo>
                  <a:pt x="5278407" y="993353"/>
                  <a:pt x="5269202" y="991282"/>
                  <a:pt x="5269202" y="991282"/>
                </a:cubicBezTo>
                <a:lnTo>
                  <a:pt x="5264063" y="984549"/>
                </a:lnTo>
                <a:lnTo>
                  <a:pt x="5260410" y="979508"/>
                </a:lnTo>
                <a:lnTo>
                  <a:pt x="5257342" y="974734"/>
                </a:lnTo>
                <a:lnTo>
                  <a:pt x="5255393" y="971617"/>
                </a:lnTo>
                <a:cubicBezTo>
                  <a:pt x="5254662" y="970472"/>
                  <a:pt x="5253932" y="969328"/>
                  <a:pt x="5253213" y="968171"/>
                </a:cubicBezTo>
                <a:lnTo>
                  <a:pt x="5250949" y="964749"/>
                </a:lnTo>
                <a:cubicBezTo>
                  <a:pt x="5249962" y="963349"/>
                  <a:pt x="5248964" y="961961"/>
                  <a:pt x="5247965" y="960560"/>
                </a:cubicBezTo>
                <a:lnTo>
                  <a:pt x="5244093" y="955178"/>
                </a:lnTo>
                <a:cubicBezTo>
                  <a:pt x="5243460" y="954277"/>
                  <a:pt x="5242814" y="953376"/>
                  <a:pt x="5242181" y="952463"/>
                </a:cubicBezTo>
                <a:lnTo>
                  <a:pt x="5240903" y="950612"/>
                </a:lnTo>
                <a:lnTo>
                  <a:pt x="5238346" y="946788"/>
                </a:lnTo>
                <a:lnTo>
                  <a:pt x="5235557" y="942478"/>
                </a:lnTo>
                <a:lnTo>
                  <a:pt x="5233487" y="939105"/>
                </a:lnTo>
                <a:lnTo>
                  <a:pt x="5231283" y="935318"/>
                </a:lnTo>
                <a:lnTo>
                  <a:pt x="5229371" y="931823"/>
                </a:lnTo>
                <a:lnTo>
                  <a:pt x="5226741" y="926575"/>
                </a:lnTo>
                <a:lnTo>
                  <a:pt x="5224184" y="921363"/>
                </a:lnTo>
                <a:cubicBezTo>
                  <a:pt x="5223356" y="919853"/>
                  <a:pt x="5222540" y="918368"/>
                  <a:pt x="5221749" y="916870"/>
                </a:cubicBezTo>
                <a:lnTo>
                  <a:pt x="5218644" y="911792"/>
                </a:lnTo>
                <a:lnTo>
                  <a:pt x="5216354" y="908371"/>
                </a:lnTo>
                <a:lnTo>
                  <a:pt x="5212920" y="903597"/>
                </a:lnTo>
                <a:lnTo>
                  <a:pt x="5208975" y="898361"/>
                </a:lnTo>
                <a:cubicBezTo>
                  <a:pt x="5208123" y="897143"/>
                  <a:pt x="5207283" y="895987"/>
                  <a:pt x="5206430" y="894793"/>
                </a:cubicBezTo>
                <a:lnTo>
                  <a:pt x="5203910" y="891043"/>
                </a:lnTo>
                <a:cubicBezTo>
                  <a:pt x="5203021" y="889618"/>
                  <a:pt x="5202144" y="888193"/>
                  <a:pt x="5201255" y="886781"/>
                </a:cubicBezTo>
                <a:lnTo>
                  <a:pt x="5199465" y="883724"/>
                </a:lnTo>
                <a:lnTo>
                  <a:pt x="5197614" y="880339"/>
                </a:lnTo>
                <a:lnTo>
                  <a:pt x="5195788" y="876686"/>
                </a:lnTo>
                <a:cubicBezTo>
                  <a:pt x="5194960" y="874872"/>
                  <a:pt x="5194144" y="873033"/>
                  <a:pt x="5193352" y="871231"/>
                </a:cubicBezTo>
                <a:cubicBezTo>
                  <a:pt x="5191246" y="866324"/>
                  <a:pt x="5189724" y="861197"/>
                  <a:pt x="5188786" y="855949"/>
                </a:cubicBezTo>
                <a:cubicBezTo>
                  <a:pt x="5188725" y="855511"/>
                  <a:pt x="5188652" y="855060"/>
                  <a:pt x="5188591" y="854610"/>
                </a:cubicBezTo>
                <a:cubicBezTo>
                  <a:pt x="5188445" y="853477"/>
                  <a:pt x="5188311" y="852333"/>
                  <a:pt x="5188165" y="851188"/>
                </a:cubicBezTo>
                <a:cubicBezTo>
                  <a:pt x="5188067" y="850397"/>
                  <a:pt x="5187982" y="849617"/>
                  <a:pt x="5187885" y="848826"/>
                </a:cubicBezTo>
                <a:cubicBezTo>
                  <a:pt x="5187812" y="848278"/>
                  <a:pt x="5187751" y="847729"/>
                  <a:pt x="5187678" y="847194"/>
                </a:cubicBezTo>
                <a:cubicBezTo>
                  <a:pt x="5187520" y="846110"/>
                  <a:pt x="5187361" y="845051"/>
                  <a:pt x="5187191" y="843967"/>
                </a:cubicBezTo>
                <a:lnTo>
                  <a:pt x="5195812" y="846013"/>
                </a:lnTo>
                <a:lnTo>
                  <a:pt x="5205554" y="848338"/>
                </a:lnTo>
                <a:lnTo>
                  <a:pt x="5215295" y="850701"/>
                </a:lnTo>
                <a:cubicBezTo>
                  <a:pt x="5214309" y="849227"/>
                  <a:pt x="5213554" y="847608"/>
                  <a:pt x="5213067" y="845903"/>
                </a:cubicBezTo>
                <a:cubicBezTo>
                  <a:pt x="5212567" y="843845"/>
                  <a:pt x="5213067" y="841678"/>
                  <a:pt x="5214418" y="840046"/>
                </a:cubicBezTo>
                <a:lnTo>
                  <a:pt x="5214418" y="840046"/>
                </a:lnTo>
                <a:lnTo>
                  <a:pt x="5215258" y="839291"/>
                </a:lnTo>
                <a:lnTo>
                  <a:pt x="5216914" y="838134"/>
                </a:lnTo>
                <a:lnTo>
                  <a:pt x="5219276" y="836637"/>
                </a:lnTo>
                <a:lnTo>
                  <a:pt x="5220409" y="835808"/>
                </a:lnTo>
                <a:cubicBezTo>
                  <a:pt x="5220640" y="835590"/>
                  <a:pt x="5220884" y="835358"/>
                  <a:pt x="5221127" y="835151"/>
                </a:cubicBezTo>
                <a:lnTo>
                  <a:pt x="5221591" y="834627"/>
                </a:lnTo>
                <a:cubicBezTo>
                  <a:pt x="5221931" y="833897"/>
                  <a:pt x="5223673" y="834141"/>
                  <a:pt x="5223673" y="834116"/>
                </a:cubicBezTo>
                <a:lnTo>
                  <a:pt x="5225244" y="834335"/>
                </a:lnTo>
                <a:lnTo>
                  <a:pt x="5227886" y="834883"/>
                </a:lnTo>
                <a:lnTo>
                  <a:pt x="5230187" y="835358"/>
                </a:lnTo>
                <a:lnTo>
                  <a:pt x="5232111" y="835687"/>
                </a:lnTo>
                <a:lnTo>
                  <a:pt x="5233999" y="835845"/>
                </a:lnTo>
                <a:cubicBezTo>
                  <a:pt x="5237518" y="836137"/>
                  <a:pt x="5235423" y="832545"/>
                  <a:pt x="5235435" y="832533"/>
                </a:cubicBezTo>
                <a:lnTo>
                  <a:pt x="5235009" y="831705"/>
                </a:lnTo>
                <a:lnTo>
                  <a:pt x="5234522" y="830816"/>
                </a:lnTo>
                <a:lnTo>
                  <a:pt x="5234047" y="830024"/>
                </a:lnTo>
                <a:lnTo>
                  <a:pt x="5233560" y="829209"/>
                </a:lnTo>
                <a:lnTo>
                  <a:pt x="5232915" y="828259"/>
                </a:lnTo>
                <a:lnTo>
                  <a:pt x="5232221" y="827285"/>
                </a:lnTo>
                <a:lnTo>
                  <a:pt x="5231271" y="825994"/>
                </a:lnTo>
                <a:lnTo>
                  <a:pt x="5230516" y="824935"/>
                </a:lnTo>
                <a:lnTo>
                  <a:pt x="5229907" y="824046"/>
                </a:lnTo>
                <a:lnTo>
                  <a:pt x="5229030" y="822609"/>
                </a:lnTo>
                <a:lnTo>
                  <a:pt x="5228202" y="821124"/>
                </a:lnTo>
                <a:lnTo>
                  <a:pt x="5227776" y="820344"/>
                </a:lnTo>
                <a:lnTo>
                  <a:pt x="5227326" y="819540"/>
                </a:lnTo>
                <a:cubicBezTo>
                  <a:pt x="5224306" y="818347"/>
                  <a:pt x="5221225" y="817324"/>
                  <a:pt x="5218096" y="816484"/>
                </a:cubicBezTo>
                <a:cubicBezTo>
                  <a:pt x="5215636" y="815790"/>
                  <a:pt x="5213054" y="815620"/>
                  <a:pt x="5210521" y="815973"/>
                </a:cubicBezTo>
                <a:lnTo>
                  <a:pt x="5209304" y="816253"/>
                </a:lnTo>
                <a:lnTo>
                  <a:pt x="5208220" y="816520"/>
                </a:lnTo>
                <a:lnTo>
                  <a:pt x="5207003" y="816667"/>
                </a:lnTo>
                <a:cubicBezTo>
                  <a:pt x="5202606" y="817105"/>
                  <a:pt x="5197188" y="812307"/>
                  <a:pt x="5197176" y="812320"/>
                </a:cubicBezTo>
                <a:lnTo>
                  <a:pt x="5195775" y="811102"/>
                </a:lnTo>
                <a:lnTo>
                  <a:pt x="5193474" y="808995"/>
                </a:lnTo>
                <a:lnTo>
                  <a:pt x="5190880" y="806560"/>
                </a:lnTo>
                <a:lnTo>
                  <a:pt x="5188786" y="804660"/>
                </a:lnTo>
                <a:lnTo>
                  <a:pt x="5187154" y="803163"/>
                </a:lnTo>
                <a:lnTo>
                  <a:pt x="5185328" y="801446"/>
                </a:lnTo>
                <a:cubicBezTo>
                  <a:pt x="5180128" y="796429"/>
                  <a:pt x="5178740" y="793664"/>
                  <a:pt x="5178740" y="793664"/>
                </a:cubicBezTo>
                <a:cubicBezTo>
                  <a:pt x="5177644" y="791948"/>
                  <a:pt x="5177059" y="789951"/>
                  <a:pt x="5177035" y="787917"/>
                </a:cubicBezTo>
                <a:lnTo>
                  <a:pt x="5172700" y="785092"/>
                </a:lnTo>
                <a:lnTo>
                  <a:pt x="5169948" y="783302"/>
                </a:lnTo>
                <a:lnTo>
                  <a:pt x="5162338" y="778431"/>
                </a:lnTo>
                <a:lnTo>
                  <a:pt x="5154776" y="773561"/>
                </a:lnTo>
                <a:lnTo>
                  <a:pt x="5151123" y="771198"/>
                </a:lnTo>
                <a:lnTo>
                  <a:pt x="5144730" y="767107"/>
                </a:lnTo>
                <a:lnTo>
                  <a:pt x="5140602" y="764477"/>
                </a:lnTo>
                <a:lnTo>
                  <a:pt x="5138751" y="763259"/>
                </a:lnTo>
                <a:lnTo>
                  <a:pt x="5138082" y="763575"/>
                </a:lnTo>
                <a:lnTo>
                  <a:pt x="5136864" y="764111"/>
                </a:lnTo>
                <a:lnTo>
                  <a:pt x="5135707" y="764611"/>
                </a:lnTo>
                <a:lnTo>
                  <a:pt x="5134392" y="765159"/>
                </a:lnTo>
                <a:lnTo>
                  <a:pt x="5133040" y="765731"/>
                </a:lnTo>
                <a:lnTo>
                  <a:pt x="5131762" y="766303"/>
                </a:lnTo>
                <a:lnTo>
                  <a:pt x="5130922" y="766693"/>
                </a:lnTo>
                <a:lnTo>
                  <a:pt x="5129960" y="767180"/>
                </a:lnTo>
                <a:lnTo>
                  <a:pt x="5129083" y="767679"/>
                </a:lnTo>
                <a:lnTo>
                  <a:pt x="5128267" y="768191"/>
                </a:lnTo>
                <a:lnTo>
                  <a:pt x="5127427" y="768799"/>
                </a:lnTo>
                <a:lnTo>
                  <a:pt x="5126550" y="769579"/>
                </a:lnTo>
                <a:lnTo>
                  <a:pt x="5126136" y="770078"/>
                </a:lnTo>
                <a:lnTo>
                  <a:pt x="5125990" y="770528"/>
                </a:lnTo>
                <a:lnTo>
                  <a:pt x="5125990" y="771015"/>
                </a:lnTo>
                <a:lnTo>
                  <a:pt x="5126100" y="771819"/>
                </a:lnTo>
                <a:cubicBezTo>
                  <a:pt x="5126160" y="772075"/>
                  <a:pt x="5126234" y="772331"/>
                  <a:pt x="5126307" y="772574"/>
                </a:cubicBezTo>
                <a:lnTo>
                  <a:pt x="5126818" y="773914"/>
                </a:lnTo>
                <a:cubicBezTo>
                  <a:pt x="5127025" y="774364"/>
                  <a:pt x="5127232" y="774803"/>
                  <a:pt x="5127427" y="775241"/>
                </a:cubicBezTo>
                <a:lnTo>
                  <a:pt x="5128645" y="777676"/>
                </a:lnTo>
                <a:lnTo>
                  <a:pt x="5129217" y="778760"/>
                </a:lnTo>
                <a:lnTo>
                  <a:pt x="5129704" y="779442"/>
                </a:lnTo>
                <a:lnTo>
                  <a:pt x="5130532" y="780245"/>
                </a:lnTo>
                <a:lnTo>
                  <a:pt x="5131749" y="781256"/>
                </a:lnTo>
                <a:cubicBezTo>
                  <a:pt x="5132626" y="781914"/>
                  <a:pt x="5133442" y="782645"/>
                  <a:pt x="5134185" y="783436"/>
                </a:cubicBezTo>
                <a:cubicBezTo>
                  <a:pt x="5134295" y="783582"/>
                  <a:pt x="5134404" y="783740"/>
                  <a:pt x="5134526" y="783887"/>
                </a:cubicBezTo>
                <a:lnTo>
                  <a:pt x="5135208" y="785104"/>
                </a:lnTo>
                <a:cubicBezTo>
                  <a:pt x="5135500" y="785762"/>
                  <a:pt x="5135804" y="786407"/>
                  <a:pt x="5136097" y="787065"/>
                </a:cubicBezTo>
                <a:cubicBezTo>
                  <a:pt x="5136620" y="788453"/>
                  <a:pt x="5137120" y="789841"/>
                  <a:pt x="5137631" y="791229"/>
                </a:cubicBezTo>
                <a:lnTo>
                  <a:pt x="5135122" y="790426"/>
                </a:lnTo>
                <a:lnTo>
                  <a:pt x="5132018" y="789451"/>
                </a:lnTo>
                <a:lnTo>
                  <a:pt x="5130325" y="788818"/>
                </a:lnTo>
                <a:lnTo>
                  <a:pt x="5129643" y="788514"/>
                </a:lnTo>
                <a:lnTo>
                  <a:pt x="5127074" y="787211"/>
                </a:lnTo>
                <a:lnTo>
                  <a:pt x="5122300" y="784690"/>
                </a:lnTo>
                <a:lnTo>
                  <a:pt x="5118343" y="782596"/>
                </a:lnTo>
                <a:lnTo>
                  <a:pt x="5111719" y="779077"/>
                </a:lnTo>
                <a:lnTo>
                  <a:pt x="5101320" y="773354"/>
                </a:lnTo>
                <a:lnTo>
                  <a:pt x="5096010" y="770273"/>
                </a:lnTo>
                <a:cubicBezTo>
                  <a:pt x="5093770" y="768921"/>
                  <a:pt x="5091663" y="767375"/>
                  <a:pt x="5089691" y="765658"/>
                </a:cubicBezTo>
                <a:lnTo>
                  <a:pt x="5086293" y="762553"/>
                </a:lnTo>
                <a:cubicBezTo>
                  <a:pt x="5084771" y="761153"/>
                  <a:pt x="5083249" y="759764"/>
                  <a:pt x="5081715" y="758364"/>
                </a:cubicBezTo>
                <a:cubicBezTo>
                  <a:pt x="5069538" y="747283"/>
                  <a:pt x="5063657" y="742912"/>
                  <a:pt x="5063657" y="742912"/>
                </a:cubicBezTo>
                <a:cubicBezTo>
                  <a:pt x="5057081" y="737639"/>
                  <a:pt x="5049568" y="733657"/>
                  <a:pt x="5041507" y="731161"/>
                </a:cubicBezTo>
                <a:cubicBezTo>
                  <a:pt x="5035382" y="726947"/>
                  <a:pt x="5028965" y="723172"/>
                  <a:pt x="5022316" y="719848"/>
                </a:cubicBezTo>
                <a:lnTo>
                  <a:pt x="5019309" y="718314"/>
                </a:lnTo>
                <a:cubicBezTo>
                  <a:pt x="5002407" y="710046"/>
                  <a:pt x="4995479" y="705906"/>
                  <a:pt x="4995479" y="705906"/>
                </a:cubicBezTo>
                <a:lnTo>
                  <a:pt x="4989816" y="702642"/>
                </a:lnTo>
                <a:lnTo>
                  <a:pt x="4985554" y="700122"/>
                </a:lnTo>
                <a:lnTo>
                  <a:pt x="4979466" y="696469"/>
                </a:lnTo>
                <a:lnTo>
                  <a:pt x="4970626" y="691160"/>
                </a:lnTo>
                <a:lnTo>
                  <a:pt x="4962516" y="686289"/>
                </a:lnTo>
                <a:cubicBezTo>
                  <a:pt x="4960628" y="685084"/>
                  <a:pt x="4958668" y="683988"/>
                  <a:pt x="4956647" y="683026"/>
                </a:cubicBezTo>
                <a:cubicBezTo>
                  <a:pt x="4950241" y="679860"/>
                  <a:pt x="4946259" y="681102"/>
                  <a:pt x="4946248" y="681114"/>
                </a:cubicBezTo>
                <a:lnTo>
                  <a:pt x="4945188" y="681419"/>
                </a:lnTo>
                <a:lnTo>
                  <a:pt x="4944530" y="681662"/>
                </a:lnTo>
                <a:lnTo>
                  <a:pt x="4944068" y="681869"/>
                </a:lnTo>
                <a:lnTo>
                  <a:pt x="4941632" y="682879"/>
                </a:lnTo>
                <a:lnTo>
                  <a:pt x="4939404" y="683646"/>
                </a:lnTo>
                <a:lnTo>
                  <a:pt x="4936250" y="684572"/>
                </a:lnTo>
                <a:lnTo>
                  <a:pt x="4934765" y="684962"/>
                </a:lnTo>
                <a:lnTo>
                  <a:pt x="4931757" y="685729"/>
                </a:lnTo>
                <a:lnTo>
                  <a:pt x="4929504" y="686277"/>
                </a:lnTo>
                <a:lnTo>
                  <a:pt x="4928640" y="686484"/>
                </a:lnTo>
                <a:lnTo>
                  <a:pt x="4927556" y="686764"/>
                </a:lnTo>
                <a:lnTo>
                  <a:pt x="4926655" y="686983"/>
                </a:lnTo>
                <a:lnTo>
                  <a:pt x="4925571" y="687263"/>
                </a:lnTo>
                <a:lnTo>
                  <a:pt x="4925571" y="687263"/>
                </a:lnTo>
                <a:lnTo>
                  <a:pt x="4924780" y="687470"/>
                </a:lnTo>
                <a:lnTo>
                  <a:pt x="4924256" y="687616"/>
                </a:lnTo>
                <a:lnTo>
                  <a:pt x="4923842" y="687726"/>
                </a:lnTo>
                <a:lnTo>
                  <a:pt x="4923501" y="687799"/>
                </a:lnTo>
                <a:lnTo>
                  <a:pt x="4922905" y="687884"/>
                </a:lnTo>
                <a:lnTo>
                  <a:pt x="4922259" y="687957"/>
                </a:lnTo>
                <a:lnTo>
                  <a:pt x="4921906" y="688018"/>
                </a:lnTo>
                <a:lnTo>
                  <a:pt x="4921516" y="688140"/>
                </a:lnTo>
                <a:cubicBezTo>
                  <a:pt x="4921176" y="688286"/>
                  <a:pt x="4921127" y="688457"/>
                  <a:pt x="4921127" y="688457"/>
                </a:cubicBezTo>
                <a:cubicBezTo>
                  <a:pt x="4919568" y="692694"/>
                  <a:pt x="4913614" y="694996"/>
                  <a:pt x="4913614" y="695008"/>
                </a:cubicBezTo>
                <a:cubicBezTo>
                  <a:pt x="4910460" y="695994"/>
                  <a:pt x="4907318" y="696968"/>
                  <a:pt x="4904177" y="697967"/>
                </a:cubicBezTo>
                <a:lnTo>
                  <a:pt x="4894776" y="700536"/>
                </a:lnTo>
                <a:cubicBezTo>
                  <a:pt x="4898782" y="702886"/>
                  <a:pt x="4902776" y="705248"/>
                  <a:pt x="4906770" y="707611"/>
                </a:cubicBezTo>
                <a:cubicBezTo>
                  <a:pt x="4914624" y="712286"/>
                  <a:pt x="4916889" y="713992"/>
                  <a:pt x="4916889" y="713979"/>
                </a:cubicBezTo>
                <a:cubicBezTo>
                  <a:pt x="4922539" y="717925"/>
                  <a:pt x="4923318" y="720798"/>
                  <a:pt x="4923331" y="720810"/>
                </a:cubicBezTo>
                <a:cubicBezTo>
                  <a:pt x="4923403" y="721090"/>
                  <a:pt x="4923477" y="721370"/>
                  <a:pt x="4923562" y="721650"/>
                </a:cubicBezTo>
                <a:cubicBezTo>
                  <a:pt x="4923647" y="721931"/>
                  <a:pt x="4923683" y="722320"/>
                  <a:pt x="4923732" y="722649"/>
                </a:cubicBezTo>
                <a:cubicBezTo>
                  <a:pt x="4924232" y="724792"/>
                  <a:pt x="4925169" y="726814"/>
                  <a:pt x="4926485" y="728591"/>
                </a:cubicBezTo>
                <a:cubicBezTo>
                  <a:pt x="4930308" y="733827"/>
                  <a:pt x="4939002" y="738028"/>
                  <a:pt x="4938990" y="738028"/>
                </a:cubicBezTo>
                <a:lnTo>
                  <a:pt x="4939611" y="738345"/>
                </a:lnTo>
                <a:lnTo>
                  <a:pt x="4940561" y="738893"/>
                </a:lnTo>
                <a:lnTo>
                  <a:pt x="4941547" y="739539"/>
                </a:lnTo>
                <a:lnTo>
                  <a:pt x="4942509" y="740244"/>
                </a:lnTo>
                <a:lnTo>
                  <a:pt x="4944762" y="742023"/>
                </a:lnTo>
                <a:lnTo>
                  <a:pt x="4947197" y="743946"/>
                </a:lnTo>
                <a:lnTo>
                  <a:pt x="4951995" y="741097"/>
                </a:lnTo>
                <a:cubicBezTo>
                  <a:pt x="4956415" y="743423"/>
                  <a:pt x="4960677" y="746150"/>
                  <a:pt x="4960677" y="746150"/>
                </a:cubicBezTo>
                <a:cubicBezTo>
                  <a:pt x="4969408" y="751691"/>
                  <a:pt x="4977737" y="757840"/>
                  <a:pt x="4985579" y="764574"/>
                </a:cubicBezTo>
                <a:lnTo>
                  <a:pt x="4990888" y="769286"/>
                </a:lnTo>
                <a:lnTo>
                  <a:pt x="4994005" y="772221"/>
                </a:lnTo>
                <a:lnTo>
                  <a:pt x="4997914" y="776105"/>
                </a:lnTo>
                <a:cubicBezTo>
                  <a:pt x="4998779" y="777007"/>
                  <a:pt x="4999643" y="777896"/>
                  <a:pt x="5000495" y="778797"/>
                </a:cubicBezTo>
                <a:cubicBezTo>
                  <a:pt x="5001348" y="779698"/>
                  <a:pt x="5002237" y="780696"/>
                  <a:pt x="5003101" y="781658"/>
                </a:cubicBezTo>
                <a:lnTo>
                  <a:pt x="5005768" y="784739"/>
                </a:lnTo>
                <a:lnTo>
                  <a:pt x="5007899" y="787382"/>
                </a:lnTo>
                <a:cubicBezTo>
                  <a:pt x="5008569" y="788246"/>
                  <a:pt x="5009238" y="789122"/>
                  <a:pt x="5009896" y="789999"/>
                </a:cubicBezTo>
                <a:lnTo>
                  <a:pt x="5010225" y="789488"/>
                </a:lnTo>
                <a:cubicBezTo>
                  <a:pt x="5010310" y="789378"/>
                  <a:pt x="5010383" y="789256"/>
                  <a:pt x="5010468" y="789135"/>
                </a:cubicBezTo>
                <a:lnTo>
                  <a:pt x="5010675" y="788831"/>
                </a:lnTo>
                <a:lnTo>
                  <a:pt x="5011004" y="788380"/>
                </a:lnTo>
                <a:cubicBezTo>
                  <a:pt x="5011211" y="788112"/>
                  <a:pt x="5011406" y="787832"/>
                  <a:pt x="5011601" y="787564"/>
                </a:cubicBezTo>
                <a:cubicBezTo>
                  <a:pt x="5012453" y="786456"/>
                  <a:pt x="5012903" y="785104"/>
                  <a:pt x="5012879" y="783704"/>
                </a:cubicBezTo>
                <a:cubicBezTo>
                  <a:pt x="5012879" y="783460"/>
                  <a:pt x="5012818" y="783217"/>
                  <a:pt x="5012806" y="782973"/>
                </a:cubicBezTo>
                <a:lnTo>
                  <a:pt x="5012514" y="781476"/>
                </a:lnTo>
                <a:cubicBezTo>
                  <a:pt x="5012343" y="780794"/>
                  <a:pt x="5012173" y="780112"/>
                  <a:pt x="5011990" y="779430"/>
                </a:cubicBezTo>
                <a:lnTo>
                  <a:pt x="5011661" y="777981"/>
                </a:lnTo>
                <a:cubicBezTo>
                  <a:pt x="5012916" y="778127"/>
                  <a:pt x="5014145" y="778431"/>
                  <a:pt x="5015314" y="778894"/>
                </a:cubicBezTo>
                <a:cubicBezTo>
                  <a:pt x="5017811" y="779965"/>
                  <a:pt x="5019917" y="781756"/>
                  <a:pt x="5021403" y="784033"/>
                </a:cubicBezTo>
                <a:cubicBezTo>
                  <a:pt x="5022280" y="785336"/>
                  <a:pt x="5023157" y="786638"/>
                  <a:pt x="5024046" y="787929"/>
                </a:cubicBezTo>
                <a:cubicBezTo>
                  <a:pt x="5024520" y="788745"/>
                  <a:pt x="5024995" y="789561"/>
                  <a:pt x="5025458" y="790365"/>
                </a:cubicBezTo>
                <a:cubicBezTo>
                  <a:pt x="5026055" y="791436"/>
                  <a:pt x="5026675" y="792508"/>
                  <a:pt x="5027224" y="793579"/>
                </a:cubicBezTo>
                <a:lnTo>
                  <a:pt x="5028441" y="795673"/>
                </a:lnTo>
                <a:lnTo>
                  <a:pt x="5030048" y="798316"/>
                </a:lnTo>
                <a:lnTo>
                  <a:pt x="5032252" y="801494"/>
                </a:lnTo>
                <a:lnTo>
                  <a:pt x="5033933" y="803759"/>
                </a:lnTo>
                <a:lnTo>
                  <a:pt x="5036758" y="807412"/>
                </a:lnTo>
                <a:lnTo>
                  <a:pt x="5039352" y="810736"/>
                </a:lnTo>
                <a:lnTo>
                  <a:pt x="5041787" y="813756"/>
                </a:lnTo>
                <a:lnTo>
                  <a:pt x="5044052" y="816387"/>
                </a:lnTo>
                <a:lnTo>
                  <a:pt x="5045014" y="817738"/>
                </a:lnTo>
                <a:cubicBezTo>
                  <a:pt x="5045331" y="818347"/>
                  <a:pt x="5045659" y="818956"/>
                  <a:pt x="5045988" y="819540"/>
                </a:cubicBezTo>
                <a:cubicBezTo>
                  <a:pt x="5046317" y="820125"/>
                  <a:pt x="5046536" y="820563"/>
                  <a:pt x="5046804" y="821075"/>
                </a:cubicBezTo>
                <a:lnTo>
                  <a:pt x="5048484" y="824228"/>
                </a:lnTo>
                <a:cubicBezTo>
                  <a:pt x="5049251" y="825665"/>
                  <a:pt x="5050018" y="827102"/>
                  <a:pt x="5050773" y="828539"/>
                </a:cubicBezTo>
                <a:cubicBezTo>
                  <a:pt x="5051748" y="830366"/>
                  <a:pt x="5052697" y="832192"/>
                  <a:pt x="5053659" y="834031"/>
                </a:cubicBezTo>
                <a:cubicBezTo>
                  <a:pt x="5054341" y="835321"/>
                  <a:pt x="5055023" y="836625"/>
                  <a:pt x="5055693" y="837939"/>
                </a:cubicBezTo>
                <a:cubicBezTo>
                  <a:pt x="5056363" y="839254"/>
                  <a:pt x="5057179" y="840789"/>
                  <a:pt x="5057909" y="842214"/>
                </a:cubicBezTo>
                <a:cubicBezTo>
                  <a:pt x="5058640" y="843638"/>
                  <a:pt x="5059504" y="845318"/>
                  <a:pt x="5060345" y="846865"/>
                </a:cubicBezTo>
                <a:cubicBezTo>
                  <a:pt x="5061355" y="848838"/>
                  <a:pt x="5062354" y="850822"/>
                  <a:pt x="5063352" y="852795"/>
                </a:cubicBezTo>
                <a:lnTo>
                  <a:pt x="5065057" y="856181"/>
                </a:lnTo>
                <a:lnTo>
                  <a:pt x="5066409" y="858859"/>
                </a:lnTo>
                <a:cubicBezTo>
                  <a:pt x="5066835" y="859663"/>
                  <a:pt x="5067261" y="860479"/>
                  <a:pt x="5067699" y="861295"/>
                </a:cubicBezTo>
                <a:lnTo>
                  <a:pt x="5068783" y="863194"/>
                </a:lnTo>
                <a:lnTo>
                  <a:pt x="5070001" y="865155"/>
                </a:lnTo>
                <a:lnTo>
                  <a:pt x="5070902" y="866519"/>
                </a:lnTo>
                <a:lnTo>
                  <a:pt x="5072631" y="868954"/>
                </a:lnTo>
                <a:lnTo>
                  <a:pt x="5074056" y="870732"/>
                </a:lnTo>
                <a:lnTo>
                  <a:pt x="5075651" y="872558"/>
                </a:lnTo>
                <a:lnTo>
                  <a:pt x="5077831" y="874823"/>
                </a:lnTo>
                <a:lnTo>
                  <a:pt x="5079620" y="876528"/>
                </a:lnTo>
                <a:lnTo>
                  <a:pt x="5081264" y="878038"/>
                </a:lnTo>
                <a:lnTo>
                  <a:pt x="5082859" y="879597"/>
                </a:lnTo>
                <a:cubicBezTo>
                  <a:pt x="5083286" y="880059"/>
                  <a:pt x="5083712" y="880522"/>
                  <a:pt x="5084150" y="880973"/>
                </a:cubicBezTo>
                <a:lnTo>
                  <a:pt x="5085648" y="882775"/>
                </a:lnTo>
                <a:lnTo>
                  <a:pt x="5086257" y="883591"/>
                </a:lnTo>
                <a:cubicBezTo>
                  <a:pt x="5090032" y="888681"/>
                  <a:pt x="5088912" y="892114"/>
                  <a:pt x="5088912" y="892114"/>
                </a:cubicBezTo>
                <a:lnTo>
                  <a:pt x="5075980" y="885076"/>
                </a:lnTo>
                <a:cubicBezTo>
                  <a:pt x="5075846" y="885636"/>
                  <a:pt x="5075712" y="886197"/>
                  <a:pt x="5075590" y="886769"/>
                </a:cubicBezTo>
                <a:lnTo>
                  <a:pt x="5075407" y="888388"/>
                </a:lnTo>
                <a:cubicBezTo>
                  <a:pt x="5075407" y="888961"/>
                  <a:pt x="5075407" y="889533"/>
                  <a:pt x="5075407" y="890105"/>
                </a:cubicBezTo>
                <a:cubicBezTo>
                  <a:pt x="5075407" y="890677"/>
                  <a:pt x="5075517" y="891225"/>
                  <a:pt x="5075566" y="891786"/>
                </a:cubicBezTo>
                <a:cubicBezTo>
                  <a:pt x="5075736" y="892626"/>
                  <a:pt x="5075907" y="893466"/>
                  <a:pt x="5076065" y="894306"/>
                </a:cubicBezTo>
                <a:cubicBezTo>
                  <a:pt x="5076235" y="894866"/>
                  <a:pt x="5076394" y="895427"/>
                  <a:pt x="5076552" y="895974"/>
                </a:cubicBezTo>
                <a:cubicBezTo>
                  <a:pt x="5077465" y="898519"/>
                  <a:pt x="5078549" y="901003"/>
                  <a:pt x="5079791" y="903402"/>
                </a:cubicBezTo>
                <a:lnTo>
                  <a:pt x="5080668" y="904998"/>
                </a:lnTo>
                <a:lnTo>
                  <a:pt x="5082494" y="908090"/>
                </a:lnTo>
                <a:lnTo>
                  <a:pt x="5083822" y="910197"/>
                </a:lnTo>
                <a:lnTo>
                  <a:pt x="5085502" y="912779"/>
                </a:lnTo>
                <a:lnTo>
                  <a:pt x="5087450" y="915677"/>
                </a:lnTo>
                <a:lnTo>
                  <a:pt x="5089435" y="918575"/>
                </a:lnTo>
                <a:cubicBezTo>
                  <a:pt x="5089983" y="919390"/>
                  <a:pt x="5090543" y="920206"/>
                  <a:pt x="5091103" y="921010"/>
                </a:cubicBezTo>
                <a:lnTo>
                  <a:pt x="5092894" y="923665"/>
                </a:lnTo>
                <a:cubicBezTo>
                  <a:pt x="5093332" y="924322"/>
                  <a:pt x="5093770" y="924967"/>
                  <a:pt x="5094196" y="925625"/>
                </a:cubicBezTo>
                <a:lnTo>
                  <a:pt x="5095974" y="928377"/>
                </a:lnTo>
                <a:lnTo>
                  <a:pt x="5097411" y="930703"/>
                </a:lnTo>
                <a:cubicBezTo>
                  <a:pt x="5097837" y="931458"/>
                  <a:pt x="5098276" y="932200"/>
                  <a:pt x="5098714" y="932943"/>
                </a:cubicBezTo>
                <a:lnTo>
                  <a:pt x="5094549" y="932456"/>
                </a:lnTo>
                <a:lnTo>
                  <a:pt x="5090251" y="931957"/>
                </a:lnTo>
                <a:lnTo>
                  <a:pt x="5087401" y="931640"/>
                </a:lnTo>
                <a:lnTo>
                  <a:pt x="5085234" y="931397"/>
                </a:lnTo>
                <a:lnTo>
                  <a:pt x="5083249" y="931165"/>
                </a:lnTo>
                <a:cubicBezTo>
                  <a:pt x="5083006" y="931031"/>
                  <a:pt x="5082397" y="930691"/>
                  <a:pt x="5082397" y="930678"/>
                </a:cubicBezTo>
                <a:cubicBezTo>
                  <a:pt x="5081240" y="929996"/>
                  <a:pt x="5080132" y="929242"/>
                  <a:pt x="5079085" y="928401"/>
                </a:cubicBezTo>
                <a:cubicBezTo>
                  <a:pt x="5075809" y="926076"/>
                  <a:pt x="5073227" y="922897"/>
                  <a:pt x="5071620" y="919208"/>
                </a:cubicBezTo>
                <a:cubicBezTo>
                  <a:pt x="5071316" y="918368"/>
                  <a:pt x="5071023" y="917528"/>
                  <a:pt x="5070731" y="916687"/>
                </a:cubicBezTo>
                <a:lnTo>
                  <a:pt x="5070001" y="914422"/>
                </a:lnTo>
                <a:cubicBezTo>
                  <a:pt x="5069830" y="913874"/>
                  <a:pt x="5069647" y="913339"/>
                  <a:pt x="5069477" y="912803"/>
                </a:cubicBezTo>
                <a:lnTo>
                  <a:pt x="5068929" y="911037"/>
                </a:lnTo>
                <a:cubicBezTo>
                  <a:pt x="5068747" y="910501"/>
                  <a:pt x="5068588" y="909953"/>
                  <a:pt x="5068418" y="909430"/>
                </a:cubicBezTo>
                <a:cubicBezTo>
                  <a:pt x="5068247" y="908906"/>
                  <a:pt x="5068016" y="908212"/>
                  <a:pt x="5067821" y="907567"/>
                </a:cubicBezTo>
                <a:cubicBezTo>
                  <a:pt x="5067627" y="906922"/>
                  <a:pt x="5067358" y="906093"/>
                  <a:pt x="5067115" y="905363"/>
                </a:cubicBezTo>
                <a:cubicBezTo>
                  <a:pt x="5066871" y="904632"/>
                  <a:pt x="5066689" y="904036"/>
                  <a:pt x="5066470" y="903390"/>
                </a:cubicBezTo>
                <a:cubicBezTo>
                  <a:pt x="5066189" y="902513"/>
                  <a:pt x="5065897" y="901636"/>
                  <a:pt x="5065605" y="900760"/>
                </a:cubicBezTo>
                <a:cubicBezTo>
                  <a:pt x="5065398" y="900163"/>
                  <a:pt x="5065203" y="899542"/>
                  <a:pt x="5064996" y="898982"/>
                </a:cubicBezTo>
                <a:cubicBezTo>
                  <a:pt x="5064594" y="897838"/>
                  <a:pt x="5064180" y="896693"/>
                  <a:pt x="5063778" y="895548"/>
                </a:cubicBezTo>
                <a:cubicBezTo>
                  <a:pt x="5063377" y="894403"/>
                  <a:pt x="5062877" y="893113"/>
                  <a:pt x="5062415" y="891895"/>
                </a:cubicBezTo>
                <a:lnTo>
                  <a:pt x="5061355" y="889253"/>
                </a:lnTo>
                <a:cubicBezTo>
                  <a:pt x="5061026" y="888486"/>
                  <a:pt x="5060710" y="887719"/>
                  <a:pt x="5060393" y="886964"/>
                </a:cubicBezTo>
                <a:cubicBezTo>
                  <a:pt x="5060077" y="886208"/>
                  <a:pt x="5059699" y="885320"/>
                  <a:pt x="5059358" y="884528"/>
                </a:cubicBezTo>
                <a:lnTo>
                  <a:pt x="5058701" y="883006"/>
                </a:lnTo>
                <a:cubicBezTo>
                  <a:pt x="5058128" y="881642"/>
                  <a:pt x="5057544" y="880278"/>
                  <a:pt x="5056959" y="878915"/>
                </a:cubicBezTo>
                <a:cubicBezTo>
                  <a:pt x="5056375" y="877551"/>
                  <a:pt x="5055900" y="876479"/>
                  <a:pt x="5055377" y="875262"/>
                </a:cubicBezTo>
                <a:lnTo>
                  <a:pt x="5053733" y="871474"/>
                </a:lnTo>
                <a:lnTo>
                  <a:pt x="5052405" y="868467"/>
                </a:lnTo>
                <a:cubicBezTo>
                  <a:pt x="5051687" y="866835"/>
                  <a:pt x="5050956" y="865216"/>
                  <a:pt x="5050238" y="863596"/>
                </a:cubicBezTo>
                <a:lnTo>
                  <a:pt x="5048874" y="860588"/>
                </a:lnTo>
                <a:lnTo>
                  <a:pt x="5047120" y="856753"/>
                </a:lnTo>
                <a:cubicBezTo>
                  <a:pt x="5046682" y="855779"/>
                  <a:pt x="5046231" y="854817"/>
                  <a:pt x="5045781" y="853842"/>
                </a:cubicBezTo>
                <a:cubicBezTo>
                  <a:pt x="5045331" y="852868"/>
                  <a:pt x="5044807" y="851736"/>
                  <a:pt x="5044307" y="850677"/>
                </a:cubicBezTo>
                <a:lnTo>
                  <a:pt x="5042371" y="846573"/>
                </a:lnTo>
                <a:cubicBezTo>
                  <a:pt x="5041714" y="845209"/>
                  <a:pt x="5041056" y="843833"/>
                  <a:pt x="5040387" y="842469"/>
                </a:cubicBezTo>
                <a:cubicBezTo>
                  <a:pt x="5039303" y="840241"/>
                  <a:pt x="5038207" y="838000"/>
                  <a:pt x="5037111" y="835772"/>
                </a:cubicBezTo>
                <a:lnTo>
                  <a:pt x="5035625" y="832837"/>
                </a:lnTo>
                <a:cubicBezTo>
                  <a:pt x="5035297" y="832241"/>
                  <a:pt x="5034956" y="831620"/>
                  <a:pt x="5034627" y="831072"/>
                </a:cubicBezTo>
                <a:lnTo>
                  <a:pt x="5033860" y="829854"/>
                </a:lnTo>
                <a:cubicBezTo>
                  <a:pt x="5033312" y="829026"/>
                  <a:pt x="5032752" y="828210"/>
                  <a:pt x="5032192" y="827419"/>
                </a:cubicBezTo>
                <a:lnTo>
                  <a:pt x="5030390" y="824984"/>
                </a:lnTo>
                <a:lnTo>
                  <a:pt x="5028173" y="822158"/>
                </a:lnTo>
                <a:lnTo>
                  <a:pt x="5024764" y="817933"/>
                </a:lnTo>
                <a:lnTo>
                  <a:pt x="5020551" y="812563"/>
                </a:lnTo>
                <a:cubicBezTo>
                  <a:pt x="5018347" y="813099"/>
                  <a:pt x="5016995" y="815315"/>
                  <a:pt x="5017531" y="817519"/>
                </a:cubicBezTo>
                <a:cubicBezTo>
                  <a:pt x="5017567" y="817653"/>
                  <a:pt x="5017604" y="817787"/>
                  <a:pt x="5017653" y="817921"/>
                </a:cubicBezTo>
                <a:lnTo>
                  <a:pt x="5018566" y="820709"/>
                </a:lnTo>
                <a:cubicBezTo>
                  <a:pt x="5018944" y="821549"/>
                  <a:pt x="5019309" y="822390"/>
                  <a:pt x="5019674" y="823230"/>
                </a:cubicBezTo>
                <a:cubicBezTo>
                  <a:pt x="5020551" y="825202"/>
                  <a:pt x="5021440" y="827163"/>
                  <a:pt x="5022316" y="829135"/>
                </a:cubicBezTo>
                <a:cubicBezTo>
                  <a:pt x="5023777" y="832192"/>
                  <a:pt x="5025251" y="835224"/>
                  <a:pt x="5026700" y="838317"/>
                </a:cubicBezTo>
                <a:cubicBezTo>
                  <a:pt x="5028685" y="841897"/>
                  <a:pt x="5030645" y="845477"/>
                  <a:pt x="5032606" y="849045"/>
                </a:cubicBezTo>
                <a:cubicBezTo>
                  <a:pt x="5037379" y="858786"/>
                  <a:pt x="5031863" y="864168"/>
                  <a:pt x="5031863" y="864181"/>
                </a:cubicBezTo>
                <a:lnTo>
                  <a:pt x="5029159" y="867188"/>
                </a:lnTo>
                <a:lnTo>
                  <a:pt x="5026554" y="869538"/>
                </a:lnTo>
                <a:lnTo>
                  <a:pt x="5024119" y="871694"/>
                </a:lnTo>
                <a:lnTo>
                  <a:pt x="5019126" y="876089"/>
                </a:lnTo>
                <a:lnTo>
                  <a:pt x="5014949" y="879669"/>
                </a:lnTo>
                <a:cubicBezTo>
                  <a:pt x="5012551" y="881666"/>
                  <a:pt x="5009993" y="883481"/>
                  <a:pt x="5007302" y="885076"/>
                </a:cubicBezTo>
                <a:lnTo>
                  <a:pt x="5000788" y="888534"/>
                </a:lnTo>
                <a:lnTo>
                  <a:pt x="4994955" y="891494"/>
                </a:lnTo>
                <a:lnTo>
                  <a:pt x="4990169" y="894014"/>
                </a:lnTo>
                <a:lnTo>
                  <a:pt x="4986127" y="896352"/>
                </a:lnTo>
                <a:lnTo>
                  <a:pt x="4983423" y="898032"/>
                </a:lnTo>
                <a:cubicBezTo>
                  <a:pt x="4983204" y="898154"/>
                  <a:pt x="4980428" y="899518"/>
                  <a:pt x="4980440" y="899518"/>
                </a:cubicBezTo>
                <a:cubicBezTo>
                  <a:pt x="4971685" y="903512"/>
                  <a:pt x="4960360" y="897910"/>
                  <a:pt x="4960360" y="897923"/>
                </a:cubicBezTo>
                <a:cubicBezTo>
                  <a:pt x="4948585" y="893381"/>
                  <a:pt x="4936725" y="881545"/>
                  <a:pt x="4936725" y="881545"/>
                </a:cubicBezTo>
                <a:lnTo>
                  <a:pt x="4933352" y="878038"/>
                </a:lnTo>
                <a:cubicBezTo>
                  <a:pt x="4932354" y="876978"/>
                  <a:pt x="4931343" y="875931"/>
                  <a:pt x="4930333" y="874872"/>
                </a:cubicBezTo>
                <a:lnTo>
                  <a:pt x="4926813" y="874531"/>
                </a:lnTo>
                <a:lnTo>
                  <a:pt x="4923830" y="874373"/>
                </a:lnTo>
                <a:lnTo>
                  <a:pt x="4920274" y="874373"/>
                </a:lnTo>
                <a:cubicBezTo>
                  <a:pt x="4906953" y="875030"/>
                  <a:pt x="4909133" y="884662"/>
                  <a:pt x="4909133" y="884662"/>
                </a:cubicBezTo>
                <a:cubicBezTo>
                  <a:pt x="4910046" y="892443"/>
                  <a:pt x="4896091" y="890446"/>
                  <a:pt x="4896079" y="890446"/>
                </a:cubicBezTo>
                <a:lnTo>
                  <a:pt x="4889881" y="889667"/>
                </a:lnTo>
                <a:lnTo>
                  <a:pt x="4885619" y="889435"/>
                </a:lnTo>
                <a:cubicBezTo>
                  <a:pt x="4872870" y="888826"/>
                  <a:pt x="4887250" y="903305"/>
                  <a:pt x="4887239" y="903317"/>
                </a:cubicBezTo>
                <a:lnTo>
                  <a:pt x="4889223" y="905521"/>
                </a:lnTo>
                <a:lnTo>
                  <a:pt x="4890977" y="907555"/>
                </a:lnTo>
                <a:cubicBezTo>
                  <a:pt x="4891610" y="908309"/>
                  <a:pt x="4892194" y="909064"/>
                  <a:pt x="4892852" y="909831"/>
                </a:cubicBezTo>
                <a:cubicBezTo>
                  <a:pt x="4911117" y="931750"/>
                  <a:pt x="4917206" y="949772"/>
                  <a:pt x="4917206" y="949759"/>
                </a:cubicBezTo>
                <a:cubicBezTo>
                  <a:pt x="4917827" y="951696"/>
                  <a:pt x="4918423" y="953619"/>
                  <a:pt x="4919057" y="955556"/>
                </a:cubicBezTo>
                <a:cubicBezTo>
                  <a:pt x="4919263" y="956383"/>
                  <a:pt x="4919483" y="957212"/>
                  <a:pt x="4919690" y="957991"/>
                </a:cubicBezTo>
                <a:cubicBezTo>
                  <a:pt x="4920030" y="959842"/>
                  <a:pt x="4920359" y="961644"/>
                  <a:pt x="4920701" y="963520"/>
                </a:cubicBezTo>
                <a:lnTo>
                  <a:pt x="4920992" y="966149"/>
                </a:lnTo>
                <a:cubicBezTo>
                  <a:pt x="4920992" y="967367"/>
                  <a:pt x="4920992" y="968585"/>
                  <a:pt x="4920992" y="969864"/>
                </a:cubicBezTo>
                <a:cubicBezTo>
                  <a:pt x="4921139" y="974905"/>
                  <a:pt x="4912469" y="971726"/>
                  <a:pt x="4912469" y="971726"/>
                </a:cubicBezTo>
                <a:lnTo>
                  <a:pt x="4903360" y="968293"/>
                </a:lnTo>
                <a:lnTo>
                  <a:pt x="4891914" y="963860"/>
                </a:lnTo>
                <a:lnTo>
                  <a:pt x="4880626" y="959562"/>
                </a:lnTo>
                <a:lnTo>
                  <a:pt x="4876657" y="958064"/>
                </a:lnTo>
                <a:lnTo>
                  <a:pt x="4871372" y="956067"/>
                </a:lnTo>
                <a:cubicBezTo>
                  <a:pt x="4870556" y="951001"/>
                  <a:pt x="4869777" y="945936"/>
                  <a:pt x="4869010" y="940882"/>
                </a:cubicBezTo>
                <a:cubicBezTo>
                  <a:pt x="4868425" y="937181"/>
                  <a:pt x="4867829" y="933479"/>
                  <a:pt x="4867232" y="929778"/>
                </a:cubicBezTo>
                <a:cubicBezTo>
                  <a:pt x="4866940" y="927902"/>
                  <a:pt x="4866635" y="926027"/>
                  <a:pt x="4866331" y="924152"/>
                </a:cubicBezTo>
                <a:cubicBezTo>
                  <a:pt x="4866063" y="922496"/>
                  <a:pt x="4865795" y="920852"/>
                  <a:pt x="4865515" y="919196"/>
                </a:cubicBezTo>
                <a:cubicBezTo>
                  <a:pt x="4869485" y="916626"/>
                  <a:pt x="4869290" y="914630"/>
                  <a:pt x="4869278" y="914617"/>
                </a:cubicBezTo>
                <a:cubicBezTo>
                  <a:pt x="4869570" y="911268"/>
                  <a:pt x="4861898" y="905570"/>
                  <a:pt x="4861898" y="905582"/>
                </a:cubicBezTo>
                <a:lnTo>
                  <a:pt x="4860023" y="904169"/>
                </a:lnTo>
                <a:lnTo>
                  <a:pt x="4856760" y="901831"/>
                </a:lnTo>
                <a:lnTo>
                  <a:pt x="4852948" y="899225"/>
                </a:lnTo>
                <a:cubicBezTo>
                  <a:pt x="4841405" y="891992"/>
                  <a:pt x="4838470" y="887706"/>
                  <a:pt x="4838470" y="887706"/>
                </a:cubicBezTo>
                <a:cubicBezTo>
                  <a:pt x="4834488" y="882835"/>
                  <a:pt x="4835889" y="879365"/>
                  <a:pt x="4835889" y="879377"/>
                </a:cubicBezTo>
                <a:cubicBezTo>
                  <a:pt x="4835998" y="879073"/>
                  <a:pt x="4836108" y="878780"/>
                  <a:pt x="4836205" y="878476"/>
                </a:cubicBezTo>
                <a:cubicBezTo>
                  <a:pt x="4836461" y="877892"/>
                  <a:pt x="4836705" y="877320"/>
                  <a:pt x="4836948" y="876735"/>
                </a:cubicBezTo>
                <a:cubicBezTo>
                  <a:pt x="4838507" y="873423"/>
                  <a:pt x="4837667" y="871560"/>
                  <a:pt x="4837667" y="871572"/>
                </a:cubicBezTo>
                <a:cubicBezTo>
                  <a:pt x="4837667" y="871584"/>
                  <a:pt x="4837581" y="871353"/>
                  <a:pt x="4837532" y="871243"/>
                </a:cubicBezTo>
                <a:cubicBezTo>
                  <a:pt x="4837484" y="871134"/>
                  <a:pt x="4837423" y="871024"/>
                  <a:pt x="4837362" y="870914"/>
                </a:cubicBezTo>
                <a:cubicBezTo>
                  <a:pt x="4837301" y="870805"/>
                  <a:pt x="4837228" y="870695"/>
                  <a:pt x="4837155" y="870585"/>
                </a:cubicBezTo>
                <a:cubicBezTo>
                  <a:pt x="4837082" y="870476"/>
                  <a:pt x="4837033" y="870415"/>
                  <a:pt x="4836960" y="870342"/>
                </a:cubicBezTo>
                <a:lnTo>
                  <a:pt x="4836814" y="870160"/>
                </a:lnTo>
                <a:cubicBezTo>
                  <a:pt x="4831858" y="864583"/>
                  <a:pt x="4822555" y="857812"/>
                  <a:pt x="4822555" y="857812"/>
                </a:cubicBezTo>
                <a:cubicBezTo>
                  <a:pt x="4807943" y="847218"/>
                  <a:pt x="4797617" y="846549"/>
                  <a:pt x="4797617" y="846549"/>
                </a:cubicBezTo>
                <a:lnTo>
                  <a:pt x="4794926" y="846207"/>
                </a:lnTo>
                <a:lnTo>
                  <a:pt x="4793270" y="846098"/>
                </a:lnTo>
                <a:lnTo>
                  <a:pt x="4791528" y="846098"/>
                </a:lnTo>
                <a:cubicBezTo>
                  <a:pt x="4790761" y="846098"/>
                  <a:pt x="4789994" y="846025"/>
                  <a:pt x="4789227" y="845989"/>
                </a:cubicBezTo>
                <a:lnTo>
                  <a:pt x="4786183" y="845672"/>
                </a:lnTo>
                <a:lnTo>
                  <a:pt x="4781580" y="845014"/>
                </a:lnTo>
                <a:lnTo>
                  <a:pt x="4774968" y="844089"/>
                </a:lnTo>
                <a:lnTo>
                  <a:pt x="4774542" y="842676"/>
                </a:lnTo>
                <a:lnTo>
                  <a:pt x="4773787" y="840485"/>
                </a:lnTo>
                <a:lnTo>
                  <a:pt x="4773214" y="838853"/>
                </a:lnTo>
                <a:cubicBezTo>
                  <a:pt x="4772947" y="838061"/>
                  <a:pt x="4772691" y="837270"/>
                  <a:pt x="4772423" y="836490"/>
                </a:cubicBezTo>
                <a:cubicBezTo>
                  <a:pt x="4772155" y="835711"/>
                  <a:pt x="4771972" y="834579"/>
                  <a:pt x="4771741" y="833629"/>
                </a:cubicBezTo>
                <a:cubicBezTo>
                  <a:pt x="4771254" y="831011"/>
                  <a:pt x="4772399" y="828357"/>
                  <a:pt x="4774639" y="826919"/>
                </a:cubicBezTo>
                <a:cubicBezTo>
                  <a:pt x="4778865" y="824874"/>
                  <a:pt x="4774189" y="820502"/>
                  <a:pt x="4774189" y="820502"/>
                </a:cubicBezTo>
                <a:cubicBezTo>
                  <a:pt x="4770925" y="817482"/>
                  <a:pt x="4763680" y="813562"/>
                  <a:pt x="4763668" y="813549"/>
                </a:cubicBezTo>
                <a:lnTo>
                  <a:pt x="4762450" y="812855"/>
                </a:lnTo>
                <a:lnTo>
                  <a:pt x="4761013" y="812088"/>
                </a:lnTo>
                <a:lnTo>
                  <a:pt x="4760039" y="812088"/>
                </a:lnTo>
                <a:lnTo>
                  <a:pt x="4757604" y="812161"/>
                </a:lnTo>
                <a:lnTo>
                  <a:pt x="4755558" y="812222"/>
                </a:lnTo>
                <a:lnTo>
                  <a:pt x="4751698" y="812332"/>
                </a:lnTo>
                <a:lnTo>
                  <a:pt x="4750273" y="812332"/>
                </a:lnTo>
                <a:lnTo>
                  <a:pt x="4749238" y="812332"/>
                </a:lnTo>
                <a:lnTo>
                  <a:pt x="4748666" y="812332"/>
                </a:lnTo>
                <a:lnTo>
                  <a:pt x="4748009" y="812332"/>
                </a:lnTo>
                <a:lnTo>
                  <a:pt x="4747144" y="812332"/>
                </a:lnTo>
                <a:lnTo>
                  <a:pt x="4746048" y="812332"/>
                </a:lnTo>
                <a:lnTo>
                  <a:pt x="4745695" y="812332"/>
                </a:lnTo>
                <a:lnTo>
                  <a:pt x="4745281" y="812332"/>
                </a:lnTo>
                <a:lnTo>
                  <a:pt x="4744636" y="812332"/>
                </a:lnTo>
                <a:lnTo>
                  <a:pt x="4744136" y="812332"/>
                </a:lnTo>
                <a:lnTo>
                  <a:pt x="4743722" y="812332"/>
                </a:lnTo>
                <a:lnTo>
                  <a:pt x="4743491" y="812332"/>
                </a:lnTo>
                <a:cubicBezTo>
                  <a:pt x="4743308" y="812356"/>
                  <a:pt x="4743150" y="812478"/>
                  <a:pt x="4743101" y="812660"/>
                </a:cubicBezTo>
                <a:lnTo>
                  <a:pt x="4743028" y="812794"/>
                </a:lnTo>
                <a:cubicBezTo>
                  <a:pt x="4742979" y="812880"/>
                  <a:pt x="4742930" y="812965"/>
                  <a:pt x="4742870" y="813050"/>
                </a:cubicBezTo>
                <a:lnTo>
                  <a:pt x="4742712" y="813306"/>
                </a:lnTo>
                <a:lnTo>
                  <a:pt x="4742334" y="813781"/>
                </a:lnTo>
                <a:cubicBezTo>
                  <a:pt x="4739643" y="817202"/>
                  <a:pt x="4733396" y="816033"/>
                  <a:pt x="4733396" y="816045"/>
                </a:cubicBezTo>
                <a:cubicBezTo>
                  <a:pt x="4728866" y="815522"/>
                  <a:pt x="4720513" y="812222"/>
                  <a:pt x="4720513" y="812222"/>
                </a:cubicBezTo>
                <a:lnTo>
                  <a:pt x="4718321" y="811382"/>
                </a:lnTo>
                <a:lnTo>
                  <a:pt x="4714668" y="809957"/>
                </a:lnTo>
                <a:cubicBezTo>
                  <a:pt x="4714875" y="811236"/>
                  <a:pt x="4715289" y="812465"/>
                  <a:pt x="4715886" y="813610"/>
                </a:cubicBezTo>
                <a:cubicBezTo>
                  <a:pt x="4718832" y="819297"/>
                  <a:pt x="4727393" y="823145"/>
                  <a:pt x="4727393" y="823145"/>
                </a:cubicBezTo>
                <a:cubicBezTo>
                  <a:pt x="4736197" y="827760"/>
                  <a:pt x="4739436" y="831523"/>
                  <a:pt x="4739436" y="831510"/>
                </a:cubicBezTo>
                <a:cubicBezTo>
                  <a:pt x="4742857" y="835163"/>
                  <a:pt x="4742821" y="838476"/>
                  <a:pt x="4742821" y="838487"/>
                </a:cubicBezTo>
                <a:cubicBezTo>
                  <a:pt x="4742821" y="838756"/>
                  <a:pt x="4742821" y="839023"/>
                  <a:pt x="4742821" y="839291"/>
                </a:cubicBezTo>
                <a:cubicBezTo>
                  <a:pt x="4742821" y="839559"/>
                  <a:pt x="4742821" y="840119"/>
                  <a:pt x="4742821" y="840509"/>
                </a:cubicBezTo>
                <a:cubicBezTo>
                  <a:pt x="4742894" y="841580"/>
                  <a:pt x="4743199" y="842616"/>
                  <a:pt x="4743734" y="843553"/>
                </a:cubicBezTo>
                <a:cubicBezTo>
                  <a:pt x="4748434" y="850348"/>
                  <a:pt x="4757981" y="850226"/>
                  <a:pt x="4757981" y="850226"/>
                </a:cubicBezTo>
                <a:lnTo>
                  <a:pt x="4760563" y="850226"/>
                </a:lnTo>
                <a:lnTo>
                  <a:pt x="4762426" y="850372"/>
                </a:lnTo>
                <a:cubicBezTo>
                  <a:pt x="4768648" y="850993"/>
                  <a:pt x="4774030" y="855657"/>
                  <a:pt x="4774030" y="855644"/>
                </a:cubicBezTo>
                <a:lnTo>
                  <a:pt x="4775614" y="856972"/>
                </a:lnTo>
                <a:lnTo>
                  <a:pt x="4778243" y="859334"/>
                </a:lnTo>
                <a:cubicBezTo>
                  <a:pt x="4781007" y="861770"/>
                  <a:pt x="4785611" y="865301"/>
                  <a:pt x="4785623" y="865301"/>
                </a:cubicBezTo>
                <a:cubicBezTo>
                  <a:pt x="4789641" y="868248"/>
                  <a:pt x="4793915" y="870829"/>
                  <a:pt x="4798396" y="872996"/>
                </a:cubicBezTo>
                <a:cubicBezTo>
                  <a:pt x="4798628" y="873118"/>
                  <a:pt x="4798859" y="873240"/>
                  <a:pt x="4799078" y="873374"/>
                </a:cubicBezTo>
                <a:lnTo>
                  <a:pt x="4799614" y="873678"/>
                </a:lnTo>
                <a:lnTo>
                  <a:pt x="4800272" y="874093"/>
                </a:lnTo>
                <a:cubicBezTo>
                  <a:pt x="4806226" y="878013"/>
                  <a:pt x="4804545" y="880011"/>
                  <a:pt x="4804545" y="880011"/>
                </a:cubicBezTo>
                <a:cubicBezTo>
                  <a:pt x="4803998" y="881484"/>
                  <a:pt x="4798932" y="881033"/>
                  <a:pt x="4798932" y="881046"/>
                </a:cubicBezTo>
                <a:lnTo>
                  <a:pt x="4797446" y="880802"/>
                </a:lnTo>
                <a:lnTo>
                  <a:pt x="4796350" y="880522"/>
                </a:lnTo>
                <a:lnTo>
                  <a:pt x="4795815" y="880339"/>
                </a:lnTo>
                <a:lnTo>
                  <a:pt x="4795230" y="880084"/>
                </a:lnTo>
                <a:lnTo>
                  <a:pt x="4794670" y="879816"/>
                </a:lnTo>
                <a:lnTo>
                  <a:pt x="4794134" y="879548"/>
                </a:lnTo>
                <a:lnTo>
                  <a:pt x="4792771" y="879024"/>
                </a:lnTo>
                <a:lnTo>
                  <a:pt x="4790457" y="878038"/>
                </a:lnTo>
                <a:lnTo>
                  <a:pt x="4790201" y="877940"/>
                </a:lnTo>
                <a:cubicBezTo>
                  <a:pt x="4778243" y="872948"/>
                  <a:pt x="4770195" y="876175"/>
                  <a:pt x="4770195" y="876175"/>
                </a:cubicBezTo>
                <a:cubicBezTo>
                  <a:pt x="4768819" y="876516"/>
                  <a:pt x="4767382" y="876540"/>
                  <a:pt x="4765981" y="876273"/>
                </a:cubicBezTo>
                <a:cubicBezTo>
                  <a:pt x="4763424" y="875736"/>
                  <a:pt x="4760806" y="875529"/>
                  <a:pt x="4758188" y="875664"/>
                </a:cubicBezTo>
                <a:cubicBezTo>
                  <a:pt x="4751783" y="876016"/>
                  <a:pt x="4753208" y="881399"/>
                  <a:pt x="4753220" y="881411"/>
                </a:cubicBezTo>
                <a:lnTo>
                  <a:pt x="4755485" y="883115"/>
                </a:lnTo>
                <a:lnTo>
                  <a:pt x="4757494" y="884564"/>
                </a:lnTo>
                <a:lnTo>
                  <a:pt x="4758444" y="885186"/>
                </a:lnTo>
                <a:lnTo>
                  <a:pt x="4760770" y="886647"/>
                </a:lnTo>
                <a:cubicBezTo>
                  <a:pt x="4770718" y="893016"/>
                  <a:pt x="4773811" y="899372"/>
                  <a:pt x="4773811" y="899384"/>
                </a:cubicBezTo>
                <a:cubicBezTo>
                  <a:pt x="4774445" y="900711"/>
                  <a:pt x="4775029" y="902038"/>
                  <a:pt x="4775699" y="903378"/>
                </a:cubicBezTo>
                <a:cubicBezTo>
                  <a:pt x="4776587" y="905521"/>
                  <a:pt x="4777489" y="907676"/>
                  <a:pt x="4778378" y="909831"/>
                </a:cubicBezTo>
                <a:lnTo>
                  <a:pt x="4779692" y="912912"/>
                </a:lnTo>
                <a:lnTo>
                  <a:pt x="4781214" y="916383"/>
                </a:lnTo>
                <a:lnTo>
                  <a:pt x="4783394" y="921254"/>
                </a:lnTo>
                <a:lnTo>
                  <a:pt x="4785294" y="925369"/>
                </a:lnTo>
                <a:cubicBezTo>
                  <a:pt x="4785598" y="925966"/>
                  <a:pt x="4785891" y="926587"/>
                  <a:pt x="4786183" y="927172"/>
                </a:cubicBezTo>
                <a:lnTo>
                  <a:pt x="4787680" y="929765"/>
                </a:lnTo>
                <a:lnTo>
                  <a:pt x="4790676" y="934344"/>
                </a:lnTo>
                <a:lnTo>
                  <a:pt x="4793184" y="938191"/>
                </a:lnTo>
                <a:cubicBezTo>
                  <a:pt x="4801452" y="949541"/>
                  <a:pt x="4801270" y="955178"/>
                  <a:pt x="4801270" y="955178"/>
                </a:cubicBezTo>
                <a:cubicBezTo>
                  <a:pt x="4801051" y="957736"/>
                  <a:pt x="4799163" y="959830"/>
                  <a:pt x="4796643" y="960329"/>
                </a:cubicBezTo>
                <a:cubicBezTo>
                  <a:pt x="4794768" y="960840"/>
                  <a:pt x="4792856" y="961218"/>
                  <a:pt x="4790920" y="961449"/>
                </a:cubicBezTo>
                <a:cubicBezTo>
                  <a:pt x="4792417" y="962569"/>
                  <a:pt x="4796704" y="966247"/>
                  <a:pt x="4796704" y="966247"/>
                </a:cubicBezTo>
                <a:cubicBezTo>
                  <a:pt x="4801574" y="970472"/>
                  <a:pt x="4801891" y="972213"/>
                  <a:pt x="4801891" y="972201"/>
                </a:cubicBezTo>
                <a:cubicBezTo>
                  <a:pt x="4802488" y="973650"/>
                  <a:pt x="4802414" y="975282"/>
                  <a:pt x="4801708" y="976683"/>
                </a:cubicBezTo>
                <a:lnTo>
                  <a:pt x="4801161" y="977900"/>
                </a:lnTo>
                <a:lnTo>
                  <a:pt x="4800357" y="979337"/>
                </a:lnTo>
                <a:lnTo>
                  <a:pt x="4799723" y="980408"/>
                </a:lnTo>
                <a:lnTo>
                  <a:pt x="4799005" y="981626"/>
                </a:lnTo>
                <a:lnTo>
                  <a:pt x="4797934" y="983197"/>
                </a:lnTo>
                <a:lnTo>
                  <a:pt x="4796619" y="984792"/>
                </a:lnTo>
                <a:lnTo>
                  <a:pt x="4794670" y="986753"/>
                </a:lnTo>
                <a:lnTo>
                  <a:pt x="4792929" y="988214"/>
                </a:lnTo>
                <a:lnTo>
                  <a:pt x="4791163" y="989517"/>
                </a:lnTo>
                <a:lnTo>
                  <a:pt x="4789860" y="990382"/>
                </a:lnTo>
                <a:lnTo>
                  <a:pt x="4788911" y="990978"/>
                </a:lnTo>
                <a:lnTo>
                  <a:pt x="4787242" y="991953"/>
                </a:lnTo>
                <a:lnTo>
                  <a:pt x="4785562" y="992866"/>
                </a:lnTo>
                <a:lnTo>
                  <a:pt x="4784259" y="993535"/>
                </a:lnTo>
                <a:lnTo>
                  <a:pt x="4782396" y="994460"/>
                </a:lnTo>
                <a:lnTo>
                  <a:pt x="4781044" y="995094"/>
                </a:lnTo>
                <a:lnTo>
                  <a:pt x="4779607" y="995751"/>
                </a:lnTo>
                <a:lnTo>
                  <a:pt x="4777866" y="996543"/>
                </a:lnTo>
                <a:lnTo>
                  <a:pt x="4776100" y="997322"/>
                </a:lnTo>
                <a:lnTo>
                  <a:pt x="4774335" y="998102"/>
                </a:lnTo>
                <a:lnTo>
                  <a:pt x="4773397" y="998515"/>
                </a:lnTo>
                <a:lnTo>
                  <a:pt x="4772094" y="999100"/>
                </a:lnTo>
                <a:lnTo>
                  <a:pt x="4771120" y="999551"/>
                </a:lnTo>
                <a:lnTo>
                  <a:pt x="4770024" y="1000050"/>
                </a:lnTo>
                <a:lnTo>
                  <a:pt x="4768661" y="1000671"/>
                </a:lnTo>
                <a:lnTo>
                  <a:pt x="4767686" y="1001024"/>
                </a:lnTo>
                <a:lnTo>
                  <a:pt x="4767004" y="1001292"/>
                </a:lnTo>
                <a:lnTo>
                  <a:pt x="4766615" y="1001499"/>
                </a:lnTo>
                <a:cubicBezTo>
                  <a:pt x="4766408" y="1001633"/>
                  <a:pt x="4766225" y="1001815"/>
                  <a:pt x="4766091" y="1002022"/>
                </a:cubicBezTo>
                <a:lnTo>
                  <a:pt x="4765981" y="1002181"/>
                </a:lnTo>
                <a:lnTo>
                  <a:pt x="4765884" y="1002375"/>
                </a:lnTo>
                <a:lnTo>
                  <a:pt x="4765568" y="1002826"/>
                </a:lnTo>
                <a:lnTo>
                  <a:pt x="4765336" y="1003167"/>
                </a:lnTo>
                <a:cubicBezTo>
                  <a:pt x="4765166" y="1003362"/>
                  <a:pt x="4765008" y="1003569"/>
                  <a:pt x="4764849" y="1003764"/>
                </a:cubicBezTo>
                <a:lnTo>
                  <a:pt x="4764496" y="1004166"/>
                </a:lnTo>
                <a:lnTo>
                  <a:pt x="4764131" y="1004543"/>
                </a:lnTo>
                <a:cubicBezTo>
                  <a:pt x="4759260" y="1009536"/>
                  <a:pt x="4748301" y="1010498"/>
                  <a:pt x="4748301" y="1010498"/>
                </a:cubicBezTo>
                <a:cubicBezTo>
                  <a:pt x="4744124" y="1011119"/>
                  <a:pt x="4728184" y="1011436"/>
                  <a:pt x="4728197" y="1011436"/>
                </a:cubicBezTo>
                <a:cubicBezTo>
                  <a:pt x="4723058" y="1011654"/>
                  <a:pt x="4717907" y="1011532"/>
                  <a:pt x="4712781" y="1011070"/>
                </a:cubicBezTo>
                <a:lnTo>
                  <a:pt x="4709444" y="1010729"/>
                </a:lnTo>
                <a:lnTo>
                  <a:pt x="4705535" y="1010205"/>
                </a:lnTo>
                <a:cubicBezTo>
                  <a:pt x="4700470" y="1009402"/>
                  <a:pt x="4695478" y="1008233"/>
                  <a:pt x="4690583" y="1006710"/>
                </a:cubicBezTo>
                <a:lnTo>
                  <a:pt x="4688914" y="1006175"/>
                </a:lnTo>
                <a:lnTo>
                  <a:pt x="4687331" y="1005639"/>
                </a:lnTo>
                <a:lnTo>
                  <a:pt x="4686381" y="1005310"/>
                </a:lnTo>
                <a:lnTo>
                  <a:pt x="4684932" y="1004835"/>
                </a:lnTo>
                <a:cubicBezTo>
                  <a:pt x="4675191" y="1001621"/>
                  <a:pt x="4669711" y="1001803"/>
                  <a:pt x="4669711" y="1001815"/>
                </a:cubicBezTo>
                <a:cubicBezTo>
                  <a:pt x="4669711" y="1001828"/>
                  <a:pt x="4668409" y="1001815"/>
                  <a:pt x="4668335" y="1001815"/>
                </a:cubicBezTo>
                <a:lnTo>
                  <a:pt x="4667642" y="1001815"/>
                </a:lnTo>
                <a:cubicBezTo>
                  <a:pt x="4665742" y="1002059"/>
                  <a:pt x="4663818" y="1001840"/>
                  <a:pt x="4662028" y="1001182"/>
                </a:cubicBezTo>
                <a:cubicBezTo>
                  <a:pt x="4657510" y="999563"/>
                  <a:pt x="4652773" y="994180"/>
                  <a:pt x="4652773" y="994169"/>
                </a:cubicBezTo>
                <a:lnTo>
                  <a:pt x="4651835" y="993158"/>
                </a:lnTo>
                <a:lnTo>
                  <a:pt x="4650740" y="991940"/>
                </a:lnTo>
                <a:cubicBezTo>
                  <a:pt x="4649449" y="992184"/>
                  <a:pt x="4648146" y="992354"/>
                  <a:pt x="4646831" y="992464"/>
                </a:cubicBezTo>
                <a:cubicBezTo>
                  <a:pt x="4644018" y="992658"/>
                  <a:pt x="4641193" y="992476"/>
                  <a:pt x="4638429" y="991916"/>
                </a:cubicBezTo>
                <a:cubicBezTo>
                  <a:pt x="4633936" y="990893"/>
                  <a:pt x="4629589" y="989285"/>
                  <a:pt x="4625510" y="987142"/>
                </a:cubicBezTo>
                <a:lnTo>
                  <a:pt x="4624292" y="986521"/>
                </a:lnTo>
                <a:lnTo>
                  <a:pt x="4623074" y="985937"/>
                </a:lnTo>
                <a:cubicBezTo>
                  <a:pt x="4619421" y="984318"/>
                  <a:pt x="4615695" y="982905"/>
                  <a:pt x="4611884" y="981699"/>
                </a:cubicBezTo>
                <a:lnTo>
                  <a:pt x="4609923" y="981078"/>
                </a:lnTo>
                <a:lnTo>
                  <a:pt x="4606623" y="980056"/>
                </a:lnTo>
                <a:lnTo>
                  <a:pt x="4602398" y="978716"/>
                </a:lnTo>
                <a:lnTo>
                  <a:pt x="4599000" y="977596"/>
                </a:lnTo>
                <a:cubicBezTo>
                  <a:pt x="4597466" y="980628"/>
                  <a:pt x="4595919" y="983684"/>
                  <a:pt x="4594385" y="986704"/>
                </a:cubicBezTo>
                <a:lnTo>
                  <a:pt x="4589904" y="985487"/>
                </a:lnTo>
                <a:cubicBezTo>
                  <a:pt x="4587980" y="985023"/>
                  <a:pt x="4586142" y="984305"/>
                  <a:pt x="4584413" y="983343"/>
                </a:cubicBezTo>
                <a:cubicBezTo>
                  <a:pt x="4582732" y="982394"/>
                  <a:pt x="4581685" y="980616"/>
                  <a:pt x="4581685" y="978679"/>
                </a:cubicBezTo>
                <a:lnTo>
                  <a:pt x="4581685" y="977462"/>
                </a:lnTo>
                <a:cubicBezTo>
                  <a:pt x="4582282" y="972043"/>
                  <a:pt x="4577058" y="966966"/>
                  <a:pt x="4577070" y="966966"/>
                </a:cubicBezTo>
                <a:cubicBezTo>
                  <a:pt x="4571663" y="962143"/>
                  <a:pt x="4565599" y="958125"/>
                  <a:pt x="4559048" y="955032"/>
                </a:cubicBezTo>
                <a:cubicBezTo>
                  <a:pt x="4557441" y="953961"/>
                  <a:pt x="4552387" y="953681"/>
                  <a:pt x="4552400" y="953692"/>
                </a:cubicBezTo>
                <a:lnTo>
                  <a:pt x="4547687" y="953364"/>
                </a:lnTo>
                <a:lnTo>
                  <a:pt x="4539516" y="953218"/>
                </a:lnTo>
                <a:cubicBezTo>
                  <a:pt x="4534585" y="953242"/>
                  <a:pt x="4529677" y="953900"/>
                  <a:pt x="4524904" y="955166"/>
                </a:cubicBezTo>
                <a:cubicBezTo>
                  <a:pt x="4511266" y="959525"/>
                  <a:pt x="4512727" y="964640"/>
                  <a:pt x="4512727" y="964640"/>
                </a:cubicBezTo>
                <a:cubicBezTo>
                  <a:pt x="4512459" y="971215"/>
                  <a:pt x="4520216" y="979958"/>
                  <a:pt x="4520216" y="979970"/>
                </a:cubicBezTo>
                <a:cubicBezTo>
                  <a:pt x="4528460" y="991904"/>
                  <a:pt x="4536619" y="1003873"/>
                  <a:pt x="4544679" y="1015867"/>
                </a:cubicBezTo>
                <a:cubicBezTo>
                  <a:pt x="4547918" y="1020689"/>
                  <a:pt x="4550816" y="1025719"/>
                  <a:pt x="4553349" y="1030942"/>
                </a:cubicBezTo>
                <a:cubicBezTo>
                  <a:pt x="4557137" y="1042328"/>
                  <a:pt x="4556856" y="1059935"/>
                  <a:pt x="4556856" y="1059935"/>
                </a:cubicBezTo>
                <a:cubicBezTo>
                  <a:pt x="4555895" y="1071820"/>
                  <a:pt x="4550561" y="1075108"/>
                  <a:pt x="4550573" y="1075108"/>
                </a:cubicBezTo>
                <a:cubicBezTo>
                  <a:pt x="4545264" y="1079577"/>
                  <a:pt x="4534293" y="1078761"/>
                  <a:pt x="4534293" y="1078761"/>
                </a:cubicBezTo>
                <a:lnTo>
                  <a:pt x="4530859" y="1078518"/>
                </a:lnTo>
                <a:lnTo>
                  <a:pt x="4526877" y="1078091"/>
                </a:lnTo>
                <a:lnTo>
                  <a:pt x="4520045" y="1077081"/>
                </a:lnTo>
                <a:lnTo>
                  <a:pt x="4512874" y="1075863"/>
                </a:lnTo>
                <a:lnTo>
                  <a:pt x="4505628" y="1074645"/>
                </a:lnTo>
                <a:lnTo>
                  <a:pt x="4502815" y="1074207"/>
                </a:lnTo>
                <a:cubicBezTo>
                  <a:pt x="4502060" y="1075023"/>
                  <a:pt x="4501159" y="1075692"/>
                  <a:pt x="4500161" y="1076180"/>
                </a:cubicBezTo>
                <a:cubicBezTo>
                  <a:pt x="4496569" y="1077629"/>
                  <a:pt x="4492648" y="1078055"/>
                  <a:pt x="4488824" y="1077397"/>
                </a:cubicBezTo>
                <a:cubicBezTo>
                  <a:pt x="4485317" y="1076862"/>
                  <a:pt x="4484331" y="1077276"/>
                  <a:pt x="4484319" y="1077276"/>
                </a:cubicBezTo>
                <a:lnTo>
                  <a:pt x="4483674" y="1077422"/>
                </a:lnTo>
                <a:lnTo>
                  <a:pt x="4482565" y="1077689"/>
                </a:lnTo>
                <a:lnTo>
                  <a:pt x="4481348" y="1077958"/>
                </a:lnTo>
                <a:cubicBezTo>
                  <a:pt x="4478292" y="1078481"/>
                  <a:pt x="4475199" y="1078640"/>
                  <a:pt x="4472106" y="1078432"/>
                </a:cubicBezTo>
                <a:cubicBezTo>
                  <a:pt x="4468684" y="1078079"/>
                  <a:pt x="4465335" y="1077142"/>
                  <a:pt x="4462218" y="1075680"/>
                </a:cubicBezTo>
                <a:cubicBezTo>
                  <a:pt x="4462754" y="1072429"/>
                  <a:pt x="4463277" y="1069190"/>
                  <a:pt x="4463801" y="1065939"/>
                </a:cubicBezTo>
                <a:lnTo>
                  <a:pt x="4464312" y="1062773"/>
                </a:lnTo>
                <a:cubicBezTo>
                  <a:pt x="4465262" y="1056891"/>
                  <a:pt x="4464970" y="1057744"/>
                  <a:pt x="4464678" y="1056222"/>
                </a:cubicBezTo>
                <a:cubicBezTo>
                  <a:pt x="4464678" y="1056173"/>
                  <a:pt x="4464678" y="1056112"/>
                  <a:pt x="4464678" y="1056064"/>
                </a:cubicBezTo>
                <a:cubicBezTo>
                  <a:pt x="4464251" y="1054590"/>
                  <a:pt x="4461840" y="1053287"/>
                  <a:pt x="4461840" y="1053287"/>
                </a:cubicBezTo>
                <a:cubicBezTo>
                  <a:pt x="4459551" y="1052191"/>
                  <a:pt x="4457165" y="1051351"/>
                  <a:pt x="4454692" y="1050767"/>
                </a:cubicBezTo>
                <a:lnTo>
                  <a:pt x="4453268" y="1049111"/>
                </a:lnTo>
                <a:lnTo>
                  <a:pt x="4450966" y="1046468"/>
                </a:lnTo>
                <a:lnTo>
                  <a:pt x="4448994" y="1044191"/>
                </a:lnTo>
                <a:lnTo>
                  <a:pt x="4446766" y="1041561"/>
                </a:lnTo>
                <a:lnTo>
                  <a:pt x="4444695" y="1039016"/>
                </a:lnTo>
                <a:cubicBezTo>
                  <a:pt x="4442808" y="1036434"/>
                  <a:pt x="4442991" y="1035229"/>
                  <a:pt x="4442991" y="1035229"/>
                </a:cubicBezTo>
                <a:lnTo>
                  <a:pt x="4442991" y="1034595"/>
                </a:lnTo>
                <a:cubicBezTo>
                  <a:pt x="4442991" y="1034377"/>
                  <a:pt x="4442991" y="1034157"/>
                  <a:pt x="4442930" y="1033938"/>
                </a:cubicBezTo>
                <a:cubicBezTo>
                  <a:pt x="4442869" y="1033719"/>
                  <a:pt x="4442820" y="1033305"/>
                  <a:pt x="4442771" y="1032988"/>
                </a:cubicBezTo>
                <a:cubicBezTo>
                  <a:pt x="4442248" y="1030772"/>
                  <a:pt x="4441444" y="1028641"/>
                  <a:pt x="4440397" y="1026620"/>
                </a:cubicBezTo>
                <a:cubicBezTo>
                  <a:pt x="4439873" y="1025597"/>
                  <a:pt x="4438290" y="1023052"/>
                  <a:pt x="4438290" y="1023064"/>
                </a:cubicBezTo>
                <a:lnTo>
                  <a:pt x="4437633" y="1022066"/>
                </a:lnTo>
                <a:cubicBezTo>
                  <a:pt x="4437487" y="1021834"/>
                  <a:pt x="4437328" y="1021615"/>
                  <a:pt x="4437170" y="1021384"/>
                </a:cubicBezTo>
                <a:lnTo>
                  <a:pt x="4436513" y="1020446"/>
                </a:lnTo>
                <a:lnTo>
                  <a:pt x="4435769" y="1019411"/>
                </a:lnTo>
                <a:lnTo>
                  <a:pt x="4434747" y="1018023"/>
                </a:lnTo>
                <a:lnTo>
                  <a:pt x="4434004" y="1017025"/>
                </a:lnTo>
                <a:cubicBezTo>
                  <a:pt x="4433736" y="1016671"/>
                  <a:pt x="4433480" y="1016318"/>
                  <a:pt x="4433213" y="1015977"/>
                </a:cubicBezTo>
                <a:lnTo>
                  <a:pt x="4432372" y="1014857"/>
                </a:lnTo>
                <a:lnTo>
                  <a:pt x="4431362" y="1013530"/>
                </a:lnTo>
                <a:lnTo>
                  <a:pt x="4430631" y="1012556"/>
                </a:lnTo>
                <a:cubicBezTo>
                  <a:pt x="4430400" y="1012239"/>
                  <a:pt x="4430169" y="1011922"/>
                  <a:pt x="4429925" y="1011618"/>
                </a:cubicBezTo>
                <a:cubicBezTo>
                  <a:pt x="4429681" y="1011314"/>
                  <a:pt x="4429547" y="1011094"/>
                  <a:pt x="4429352" y="1010827"/>
                </a:cubicBezTo>
                <a:lnTo>
                  <a:pt x="4429097" y="1010485"/>
                </a:lnTo>
                <a:lnTo>
                  <a:pt x="4428452" y="1009572"/>
                </a:lnTo>
                <a:lnTo>
                  <a:pt x="4427818" y="1008659"/>
                </a:lnTo>
                <a:lnTo>
                  <a:pt x="4427294" y="1007965"/>
                </a:lnTo>
                <a:lnTo>
                  <a:pt x="4426881" y="1007490"/>
                </a:lnTo>
                <a:cubicBezTo>
                  <a:pt x="4423703" y="1004324"/>
                  <a:pt x="4416494" y="1000939"/>
                  <a:pt x="4416494" y="1000939"/>
                </a:cubicBezTo>
                <a:lnTo>
                  <a:pt x="4413864" y="999721"/>
                </a:lnTo>
                <a:lnTo>
                  <a:pt x="4408713" y="997286"/>
                </a:lnTo>
                <a:lnTo>
                  <a:pt x="4407617" y="988080"/>
                </a:lnTo>
                <a:cubicBezTo>
                  <a:pt x="4406679" y="987434"/>
                  <a:pt x="4405693" y="986838"/>
                  <a:pt x="4404682" y="986302"/>
                </a:cubicBezTo>
                <a:cubicBezTo>
                  <a:pt x="4399251" y="983453"/>
                  <a:pt x="4397291" y="987289"/>
                  <a:pt x="4397291" y="987289"/>
                </a:cubicBezTo>
                <a:lnTo>
                  <a:pt x="4396914" y="987934"/>
                </a:lnTo>
                <a:lnTo>
                  <a:pt x="4396585" y="988689"/>
                </a:lnTo>
                <a:cubicBezTo>
                  <a:pt x="4396402" y="989249"/>
                  <a:pt x="4396232" y="989797"/>
                  <a:pt x="4396049" y="990345"/>
                </a:cubicBezTo>
                <a:lnTo>
                  <a:pt x="4395208" y="992476"/>
                </a:lnTo>
                <a:lnTo>
                  <a:pt x="4393821" y="995057"/>
                </a:lnTo>
                <a:lnTo>
                  <a:pt x="4392980" y="996348"/>
                </a:lnTo>
                <a:cubicBezTo>
                  <a:pt x="4391373" y="998942"/>
                  <a:pt x="4386685" y="1003009"/>
                  <a:pt x="4386685" y="1002997"/>
                </a:cubicBezTo>
                <a:lnTo>
                  <a:pt x="4383909" y="1005140"/>
                </a:lnTo>
                <a:lnTo>
                  <a:pt x="4382581" y="1006077"/>
                </a:lnTo>
                <a:cubicBezTo>
                  <a:pt x="4380024" y="1007709"/>
                  <a:pt x="4377893" y="1009937"/>
                  <a:pt x="4376371" y="1012568"/>
                </a:cubicBezTo>
                <a:cubicBezTo>
                  <a:pt x="4376140" y="1012945"/>
                  <a:pt x="4375920" y="1013323"/>
                  <a:pt x="4375689" y="1013688"/>
                </a:cubicBezTo>
                <a:cubicBezTo>
                  <a:pt x="4375458" y="1014053"/>
                  <a:pt x="4375227" y="1014492"/>
                  <a:pt x="4374983" y="1014905"/>
                </a:cubicBezTo>
                <a:lnTo>
                  <a:pt x="4373960" y="1016683"/>
                </a:lnTo>
                <a:cubicBezTo>
                  <a:pt x="4373498" y="1017451"/>
                  <a:pt x="4373034" y="1018218"/>
                  <a:pt x="4372560" y="1018985"/>
                </a:cubicBezTo>
                <a:cubicBezTo>
                  <a:pt x="4372280" y="1019423"/>
                  <a:pt x="4371987" y="1019849"/>
                  <a:pt x="4371695" y="1020288"/>
                </a:cubicBezTo>
                <a:cubicBezTo>
                  <a:pt x="4374191" y="1021347"/>
                  <a:pt x="4376566" y="1022662"/>
                  <a:pt x="4378782" y="1024209"/>
                </a:cubicBezTo>
                <a:cubicBezTo>
                  <a:pt x="4384871" y="1028544"/>
                  <a:pt x="4384469" y="1034255"/>
                  <a:pt x="4384457" y="1034255"/>
                </a:cubicBezTo>
                <a:lnTo>
                  <a:pt x="4384530" y="1036179"/>
                </a:lnTo>
                <a:cubicBezTo>
                  <a:pt x="4384590" y="1036824"/>
                  <a:pt x="4384639" y="1037469"/>
                  <a:pt x="4384700" y="1038115"/>
                </a:cubicBezTo>
                <a:lnTo>
                  <a:pt x="4384956" y="1040027"/>
                </a:lnTo>
                <a:lnTo>
                  <a:pt x="4385175" y="1041378"/>
                </a:lnTo>
                <a:cubicBezTo>
                  <a:pt x="4385333" y="1042255"/>
                  <a:pt x="4385504" y="1043132"/>
                  <a:pt x="4385674" y="1043996"/>
                </a:cubicBezTo>
                <a:cubicBezTo>
                  <a:pt x="4385906" y="1045092"/>
                  <a:pt x="4386149" y="1046188"/>
                  <a:pt x="4386380" y="1047272"/>
                </a:cubicBezTo>
                <a:lnTo>
                  <a:pt x="4386855" y="1049391"/>
                </a:lnTo>
                <a:cubicBezTo>
                  <a:pt x="4386965" y="1049853"/>
                  <a:pt x="4387062" y="1050316"/>
                  <a:pt x="4387160" y="1050778"/>
                </a:cubicBezTo>
                <a:cubicBezTo>
                  <a:pt x="4387257" y="1051242"/>
                  <a:pt x="4387391" y="1051826"/>
                  <a:pt x="4387513" y="1052362"/>
                </a:cubicBezTo>
                <a:cubicBezTo>
                  <a:pt x="4387635" y="1052897"/>
                  <a:pt x="4387744" y="1053506"/>
                  <a:pt x="4387854" y="1054066"/>
                </a:cubicBezTo>
                <a:cubicBezTo>
                  <a:pt x="4388024" y="1054858"/>
                  <a:pt x="4388268" y="1055637"/>
                  <a:pt x="4388572" y="1056392"/>
                </a:cubicBezTo>
                <a:cubicBezTo>
                  <a:pt x="4388852" y="1057099"/>
                  <a:pt x="4389412" y="1057659"/>
                  <a:pt x="4390119" y="1057951"/>
                </a:cubicBezTo>
                <a:cubicBezTo>
                  <a:pt x="4391726" y="1058852"/>
                  <a:pt x="4393224" y="1059924"/>
                  <a:pt x="4394576" y="1061166"/>
                </a:cubicBezTo>
                <a:cubicBezTo>
                  <a:pt x="4396134" y="1062602"/>
                  <a:pt x="4397486" y="1064246"/>
                  <a:pt x="4398618" y="1066036"/>
                </a:cubicBezTo>
                <a:lnTo>
                  <a:pt x="4399653" y="1067668"/>
                </a:lnTo>
                <a:lnTo>
                  <a:pt x="4401151" y="1070043"/>
                </a:lnTo>
                <a:cubicBezTo>
                  <a:pt x="4401906" y="1071175"/>
                  <a:pt x="4402722" y="1072271"/>
                  <a:pt x="4403586" y="1073318"/>
                </a:cubicBezTo>
                <a:lnTo>
                  <a:pt x="4404682" y="1074451"/>
                </a:lnTo>
                <a:lnTo>
                  <a:pt x="4405815" y="1075437"/>
                </a:lnTo>
                <a:lnTo>
                  <a:pt x="4408177" y="1077616"/>
                </a:lnTo>
                <a:cubicBezTo>
                  <a:pt x="4410515" y="1080003"/>
                  <a:pt x="4412670" y="1082573"/>
                  <a:pt x="4414606" y="1085288"/>
                </a:cubicBezTo>
                <a:lnTo>
                  <a:pt x="4417894" y="1090061"/>
                </a:lnTo>
                <a:cubicBezTo>
                  <a:pt x="4423239" y="1097659"/>
                  <a:pt x="4424105" y="1101787"/>
                  <a:pt x="4424116" y="1101776"/>
                </a:cubicBezTo>
                <a:cubicBezTo>
                  <a:pt x="4426150" y="1109325"/>
                  <a:pt x="4422899" y="1113599"/>
                  <a:pt x="4422899" y="1113599"/>
                </a:cubicBezTo>
                <a:cubicBezTo>
                  <a:pt x="4422667" y="1113989"/>
                  <a:pt x="4422436" y="1114378"/>
                  <a:pt x="4422217" y="1114817"/>
                </a:cubicBezTo>
                <a:lnTo>
                  <a:pt x="4421450" y="1116546"/>
                </a:lnTo>
                <a:cubicBezTo>
                  <a:pt x="4419428" y="1121417"/>
                  <a:pt x="4420756" y="1127505"/>
                  <a:pt x="4420756" y="1127505"/>
                </a:cubicBezTo>
                <a:lnTo>
                  <a:pt x="4421632" y="1131645"/>
                </a:lnTo>
                <a:lnTo>
                  <a:pt x="4422850" y="1135919"/>
                </a:lnTo>
                <a:lnTo>
                  <a:pt x="4424068" y="1142008"/>
                </a:lnTo>
                <a:cubicBezTo>
                  <a:pt x="4424543" y="1146379"/>
                  <a:pt x="4418321" y="1145368"/>
                  <a:pt x="4418321" y="1145368"/>
                </a:cubicBezTo>
                <a:cubicBezTo>
                  <a:pt x="4411014" y="1144589"/>
                  <a:pt x="4408335" y="1141375"/>
                  <a:pt x="4408347" y="1141375"/>
                </a:cubicBezTo>
                <a:cubicBezTo>
                  <a:pt x="4407933" y="1140936"/>
                  <a:pt x="4407531" y="1140486"/>
                  <a:pt x="4407130" y="1140035"/>
                </a:cubicBezTo>
                <a:lnTo>
                  <a:pt x="4406119" y="1138817"/>
                </a:lnTo>
                <a:lnTo>
                  <a:pt x="4404902" y="1137453"/>
                </a:lnTo>
                <a:lnTo>
                  <a:pt x="4403270" y="1135761"/>
                </a:lnTo>
                <a:lnTo>
                  <a:pt x="4400652" y="1133216"/>
                </a:lnTo>
                <a:lnTo>
                  <a:pt x="4395501" y="1128479"/>
                </a:lnTo>
                <a:cubicBezTo>
                  <a:pt x="4387525" y="1121027"/>
                  <a:pt x="4383385" y="1116558"/>
                  <a:pt x="4383385" y="1116546"/>
                </a:cubicBezTo>
                <a:cubicBezTo>
                  <a:pt x="4377296" y="1109240"/>
                  <a:pt x="4378965" y="1103383"/>
                  <a:pt x="4378965" y="1103383"/>
                </a:cubicBezTo>
                <a:cubicBezTo>
                  <a:pt x="4377564" y="1101312"/>
                  <a:pt x="4376371" y="1099109"/>
                  <a:pt x="4375433" y="1096795"/>
                </a:cubicBezTo>
                <a:cubicBezTo>
                  <a:pt x="4374155" y="1092107"/>
                  <a:pt x="4373753" y="1087224"/>
                  <a:pt x="4374276" y="1082389"/>
                </a:cubicBezTo>
                <a:cubicBezTo>
                  <a:pt x="4375920" y="1069604"/>
                  <a:pt x="4371537" y="1063869"/>
                  <a:pt x="4371537" y="1063869"/>
                </a:cubicBezTo>
                <a:lnTo>
                  <a:pt x="4369625" y="1059363"/>
                </a:lnTo>
                <a:lnTo>
                  <a:pt x="4367835" y="1055710"/>
                </a:lnTo>
                <a:cubicBezTo>
                  <a:pt x="4366861" y="1053884"/>
                  <a:pt x="4365887" y="1052057"/>
                  <a:pt x="4364925" y="1050243"/>
                </a:cubicBezTo>
                <a:lnTo>
                  <a:pt x="4360359" y="1042267"/>
                </a:lnTo>
                <a:lnTo>
                  <a:pt x="4359141" y="1040221"/>
                </a:lnTo>
                <a:lnTo>
                  <a:pt x="4358666" y="1039394"/>
                </a:lnTo>
                <a:cubicBezTo>
                  <a:pt x="4357850" y="1037433"/>
                  <a:pt x="4354769" y="1035314"/>
                  <a:pt x="4354782" y="1035314"/>
                </a:cubicBezTo>
                <a:lnTo>
                  <a:pt x="4352577" y="1033731"/>
                </a:lnTo>
                <a:lnTo>
                  <a:pt x="4350142" y="1031941"/>
                </a:lnTo>
                <a:lnTo>
                  <a:pt x="4348718" y="1030857"/>
                </a:lnTo>
                <a:cubicBezTo>
                  <a:pt x="4348547" y="1029968"/>
                  <a:pt x="4348425" y="1029079"/>
                  <a:pt x="4348364" y="1028179"/>
                </a:cubicBezTo>
                <a:cubicBezTo>
                  <a:pt x="4348413" y="1025244"/>
                  <a:pt x="4349144" y="1022358"/>
                  <a:pt x="4350507" y="1019764"/>
                </a:cubicBezTo>
                <a:cubicBezTo>
                  <a:pt x="4353198" y="1015502"/>
                  <a:pt x="4354672" y="1014480"/>
                  <a:pt x="4354684" y="1014467"/>
                </a:cubicBezTo>
                <a:lnTo>
                  <a:pt x="4355804" y="1013700"/>
                </a:lnTo>
                <a:cubicBezTo>
                  <a:pt x="4357850" y="1012568"/>
                  <a:pt x="4357533" y="1011265"/>
                  <a:pt x="4357533" y="1011265"/>
                </a:cubicBezTo>
                <a:cubicBezTo>
                  <a:pt x="4358081" y="1007015"/>
                  <a:pt x="4359482" y="1002924"/>
                  <a:pt x="4361649" y="999234"/>
                </a:cubicBezTo>
                <a:lnTo>
                  <a:pt x="4362538" y="997639"/>
                </a:lnTo>
                <a:cubicBezTo>
                  <a:pt x="4363013" y="996799"/>
                  <a:pt x="4363488" y="995958"/>
                  <a:pt x="4363975" y="995118"/>
                </a:cubicBezTo>
                <a:cubicBezTo>
                  <a:pt x="4370733" y="983636"/>
                  <a:pt x="4368383" y="977450"/>
                  <a:pt x="4368371" y="977450"/>
                </a:cubicBezTo>
                <a:cubicBezTo>
                  <a:pt x="4368115" y="976232"/>
                  <a:pt x="4367847" y="975014"/>
                  <a:pt x="4367579" y="973857"/>
                </a:cubicBezTo>
                <a:cubicBezTo>
                  <a:pt x="4367312" y="972701"/>
                  <a:pt x="4366897" y="971422"/>
                  <a:pt x="4366545" y="970204"/>
                </a:cubicBezTo>
                <a:lnTo>
                  <a:pt x="4365485" y="966807"/>
                </a:lnTo>
                <a:cubicBezTo>
                  <a:pt x="4365205" y="965906"/>
                  <a:pt x="4364913" y="964993"/>
                  <a:pt x="4364621" y="964092"/>
                </a:cubicBezTo>
                <a:cubicBezTo>
                  <a:pt x="4364328" y="963191"/>
                  <a:pt x="4364146" y="962533"/>
                  <a:pt x="4363902" y="961754"/>
                </a:cubicBezTo>
                <a:cubicBezTo>
                  <a:pt x="4363659" y="960974"/>
                  <a:pt x="4363537" y="960451"/>
                  <a:pt x="4363342" y="959805"/>
                </a:cubicBezTo>
                <a:cubicBezTo>
                  <a:pt x="4363147" y="959160"/>
                  <a:pt x="4363098" y="958856"/>
                  <a:pt x="4362964" y="958381"/>
                </a:cubicBezTo>
                <a:lnTo>
                  <a:pt x="4362234" y="955032"/>
                </a:lnTo>
                <a:lnTo>
                  <a:pt x="4361941" y="953522"/>
                </a:lnTo>
                <a:cubicBezTo>
                  <a:pt x="4361808" y="952767"/>
                  <a:pt x="4361686" y="952025"/>
                  <a:pt x="4361552" y="951281"/>
                </a:cubicBezTo>
                <a:cubicBezTo>
                  <a:pt x="4361418" y="950539"/>
                  <a:pt x="4361248" y="949589"/>
                  <a:pt x="4361101" y="948737"/>
                </a:cubicBezTo>
                <a:cubicBezTo>
                  <a:pt x="4360955" y="947884"/>
                  <a:pt x="4360833" y="947336"/>
                  <a:pt x="4360712" y="946642"/>
                </a:cubicBezTo>
                <a:cubicBezTo>
                  <a:pt x="4360407" y="945424"/>
                  <a:pt x="4360115" y="944110"/>
                  <a:pt x="4359823" y="942843"/>
                </a:cubicBezTo>
                <a:cubicBezTo>
                  <a:pt x="4359506" y="941808"/>
                  <a:pt x="4359202" y="940773"/>
                  <a:pt x="4358885" y="939726"/>
                </a:cubicBezTo>
                <a:cubicBezTo>
                  <a:pt x="4358361" y="938155"/>
                  <a:pt x="4357838" y="936572"/>
                  <a:pt x="4357302" y="934989"/>
                </a:cubicBezTo>
                <a:lnTo>
                  <a:pt x="4354757" y="927987"/>
                </a:lnTo>
                <a:lnTo>
                  <a:pt x="4353966" y="925869"/>
                </a:lnTo>
                <a:cubicBezTo>
                  <a:pt x="4353831" y="925528"/>
                  <a:pt x="4353710" y="925174"/>
                  <a:pt x="4353576" y="924821"/>
                </a:cubicBezTo>
                <a:cubicBezTo>
                  <a:pt x="4353357" y="924249"/>
                  <a:pt x="4353150" y="923689"/>
                  <a:pt x="4352943" y="923117"/>
                </a:cubicBezTo>
                <a:cubicBezTo>
                  <a:pt x="4352821" y="922776"/>
                  <a:pt x="4352687" y="922447"/>
                  <a:pt x="4352566" y="922118"/>
                </a:cubicBezTo>
                <a:cubicBezTo>
                  <a:pt x="4352382" y="921607"/>
                  <a:pt x="4352200" y="921095"/>
                  <a:pt x="4352005" y="920584"/>
                </a:cubicBezTo>
                <a:cubicBezTo>
                  <a:pt x="4351810" y="920072"/>
                  <a:pt x="4351737" y="919829"/>
                  <a:pt x="4351591" y="919452"/>
                </a:cubicBezTo>
                <a:lnTo>
                  <a:pt x="4350836" y="920511"/>
                </a:lnTo>
                <a:cubicBezTo>
                  <a:pt x="4349704" y="921959"/>
                  <a:pt x="4348194" y="923068"/>
                  <a:pt x="4346477" y="923725"/>
                </a:cubicBezTo>
                <a:cubicBezTo>
                  <a:pt x="4343956" y="924480"/>
                  <a:pt x="4341290" y="924602"/>
                  <a:pt x="4338720" y="924079"/>
                </a:cubicBezTo>
                <a:close/>
                <a:moveTo>
                  <a:pt x="3041204" y="158155"/>
                </a:moveTo>
                <a:lnTo>
                  <a:pt x="3038610" y="157376"/>
                </a:lnTo>
                <a:cubicBezTo>
                  <a:pt x="3035992" y="156450"/>
                  <a:pt x="3033301" y="155683"/>
                  <a:pt x="3030586" y="155098"/>
                </a:cubicBezTo>
                <a:cubicBezTo>
                  <a:pt x="3030586" y="155098"/>
                  <a:pt x="3029368" y="154782"/>
                  <a:pt x="3024327" y="155098"/>
                </a:cubicBezTo>
                <a:cubicBezTo>
                  <a:pt x="3019286" y="155415"/>
                  <a:pt x="3014512" y="155537"/>
                  <a:pt x="3009605" y="155780"/>
                </a:cubicBezTo>
                <a:cubicBezTo>
                  <a:pt x="3009605" y="155780"/>
                  <a:pt x="2992558" y="156730"/>
                  <a:pt x="2985008" y="157777"/>
                </a:cubicBezTo>
                <a:lnTo>
                  <a:pt x="2978919" y="158617"/>
                </a:lnTo>
                <a:cubicBezTo>
                  <a:pt x="2978919" y="158617"/>
                  <a:pt x="2966207" y="160651"/>
                  <a:pt x="2959692" y="161053"/>
                </a:cubicBezTo>
                <a:cubicBezTo>
                  <a:pt x="2951582" y="161735"/>
                  <a:pt x="2943436" y="161650"/>
                  <a:pt x="2935339" y="160797"/>
                </a:cubicBezTo>
                <a:cubicBezTo>
                  <a:pt x="2935339" y="160797"/>
                  <a:pt x="2914467" y="158459"/>
                  <a:pt x="2910486" y="153369"/>
                </a:cubicBezTo>
                <a:cubicBezTo>
                  <a:pt x="2909865" y="152505"/>
                  <a:pt x="2909499" y="151482"/>
                  <a:pt x="2909426" y="150410"/>
                </a:cubicBezTo>
                <a:cubicBezTo>
                  <a:pt x="2909426" y="150410"/>
                  <a:pt x="2909426" y="145954"/>
                  <a:pt x="2903618" y="142605"/>
                </a:cubicBezTo>
                <a:cubicBezTo>
                  <a:pt x="2903618" y="142605"/>
                  <a:pt x="2894157" y="136249"/>
                  <a:pt x="2902534" y="130197"/>
                </a:cubicBezTo>
                <a:cubicBezTo>
                  <a:pt x="2902534" y="130197"/>
                  <a:pt x="2905810" y="126714"/>
                  <a:pt x="2927631" y="120321"/>
                </a:cubicBezTo>
                <a:cubicBezTo>
                  <a:pt x="2927631" y="120321"/>
                  <a:pt x="2949549" y="111944"/>
                  <a:pt x="2960179" y="106622"/>
                </a:cubicBezTo>
                <a:cubicBezTo>
                  <a:pt x="2947662" y="102933"/>
                  <a:pt x="2934437" y="102263"/>
                  <a:pt x="2921603" y="104662"/>
                </a:cubicBezTo>
                <a:cubicBezTo>
                  <a:pt x="2921603" y="104662"/>
                  <a:pt x="2910814" y="106805"/>
                  <a:pt x="2904178" y="110154"/>
                </a:cubicBezTo>
                <a:cubicBezTo>
                  <a:pt x="2904178" y="110154"/>
                  <a:pt x="2910120" y="113344"/>
                  <a:pt x="2903472" y="116900"/>
                </a:cubicBezTo>
                <a:cubicBezTo>
                  <a:pt x="2903472" y="116900"/>
                  <a:pt x="2901109" y="119019"/>
                  <a:pt x="2874150" y="126641"/>
                </a:cubicBezTo>
                <a:cubicBezTo>
                  <a:pt x="2867867" y="128419"/>
                  <a:pt x="2861596" y="130209"/>
                  <a:pt x="2855349" y="132023"/>
                </a:cubicBezTo>
                <a:cubicBezTo>
                  <a:pt x="2855349" y="132023"/>
                  <a:pt x="2842259" y="134580"/>
                  <a:pt x="2840128" y="139330"/>
                </a:cubicBezTo>
                <a:cubicBezTo>
                  <a:pt x="2840128" y="139330"/>
                  <a:pt x="2834831" y="149400"/>
                  <a:pt x="2844402" y="153747"/>
                </a:cubicBezTo>
                <a:cubicBezTo>
                  <a:pt x="2846801" y="154855"/>
                  <a:pt x="2849382" y="155561"/>
                  <a:pt x="2852012" y="155817"/>
                </a:cubicBezTo>
                <a:cubicBezTo>
                  <a:pt x="2852012" y="155817"/>
                  <a:pt x="2859623" y="157035"/>
                  <a:pt x="2864409" y="159957"/>
                </a:cubicBezTo>
                <a:cubicBezTo>
                  <a:pt x="2864409" y="159957"/>
                  <a:pt x="2868743" y="162563"/>
                  <a:pt x="2868804" y="163695"/>
                </a:cubicBezTo>
                <a:cubicBezTo>
                  <a:pt x="2865626" y="167689"/>
                  <a:pt x="2861571" y="170916"/>
                  <a:pt x="2856956" y="173108"/>
                </a:cubicBezTo>
                <a:cubicBezTo>
                  <a:pt x="2856956" y="173108"/>
                  <a:pt x="2853705" y="175969"/>
                  <a:pt x="2837948" y="178734"/>
                </a:cubicBezTo>
                <a:cubicBezTo>
                  <a:pt x="2837948" y="178734"/>
                  <a:pt x="2834088" y="178868"/>
                  <a:pt x="2833077" y="185577"/>
                </a:cubicBezTo>
                <a:cubicBezTo>
                  <a:pt x="2833077" y="185577"/>
                  <a:pt x="2830216" y="197182"/>
                  <a:pt x="2828791" y="198460"/>
                </a:cubicBezTo>
                <a:cubicBezTo>
                  <a:pt x="2828791" y="198460"/>
                  <a:pt x="2826904" y="205352"/>
                  <a:pt x="2822240" y="205693"/>
                </a:cubicBezTo>
                <a:cubicBezTo>
                  <a:pt x="2822240" y="205693"/>
                  <a:pt x="2820316" y="206424"/>
                  <a:pt x="2811804" y="207069"/>
                </a:cubicBezTo>
                <a:cubicBezTo>
                  <a:pt x="2811804" y="207069"/>
                  <a:pt x="2800066" y="207325"/>
                  <a:pt x="2797838" y="211611"/>
                </a:cubicBezTo>
                <a:cubicBezTo>
                  <a:pt x="2797838" y="211611"/>
                  <a:pt x="2797911" y="213901"/>
                  <a:pt x="2794355" y="214461"/>
                </a:cubicBezTo>
                <a:cubicBezTo>
                  <a:pt x="2787694" y="216421"/>
                  <a:pt x="2780693" y="216872"/>
                  <a:pt x="2773837" y="215764"/>
                </a:cubicBezTo>
                <a:cubicBezTo>
                  <a:pt x="2773837" y="215764"/>
                  <a:pt x="2766020" y="214400"/>
                  <a:pt x="2763426" y="210028"/>
                </a:cubicBezTo>
                <a:cubicBezTo>
                  <a:pt x="2760735" y="215410"/>
                  <a:pt x="2758056" y="220793"/>
                  <a:pt x="2755389" y="226187"/>
                </a:cubicBezTo>
                <a:cubicBezTo>
                  <a:pt x="2755389" y="226187"/>
                  <a:pt x="2770793" y="218722"/>
                  <a:pt x="2786124" y="226637"/>
                </a:cubicBezTo>
                <a:lnTo>
                  <a:pt x="2794525" y="229925"/>
                </a:lnTo>
                <a:lnTo>
                  <a:pt x="2807226" y="227112"/>
                </a:lnTo>
                <a:cubicBezTo>
                  <a:pt x="2807226" y="227112"/>
                  <a:pt x="2835233" y="221024"/>
                  <a:pt x="2840639" y="220695"/>
                </a:cubicBezTo>
                <a:cubicBezTo>
                  <a:pt x="2849151" y="219526"/>
                  <a:pt x="2857675" y="218394"/>
                  <a:pt x="2866211" y="217286"/>
                </a:cubicBezTo>
                <a:cubicBezTo>
                  <a:pt x="2868585" y="216920"/>
                  <a:pt x="2871008" y="216920"/>
                  <a:pt x="2873383" y="217286"/>
                </a:cubicBezTo>
                <a:cubicBezTo>
                  <a:pt x="2873383" y="217286"/>
                  <a:pt x="2885560" y="220805"/>
                  <a:pt x="2895386" y="217286"/>
                </a:cubicBezTo>
                <a:lnTo>
                  <a:pt x="2904908" y="212865"/>
                </a:lnTo>
                <a:lnTo>
                  <a:pt x="2910900" y="210065"/>
                </a:lnTo>
                <a:lnTo>
                  <a:pt x="2912909" y="201541"/>
                </a:lnTo>
                <a:cubicBezTo>
                  <a:pt x="2913140" y="199946"/>
                  <a:pt x="2913372" y="198351"/>
                  <a:pt x="2913591" y="196768"/>
                </a:cubicBezTo>
                <a:cubicBezTo>
                  <a:pt x="2913591" y="196768"/>
                  <a:pt x="2913140" y="188780"/>
                  <a:pt x="2924769" y="185528"/>
                </a:cubicBezTo>
                <a:lnTo>
                  <a:pt x="2929189" y="184481"/>
                </a:lnTo>
                <a:cubicBezTo>
                  <a:pt x="2929189" y="184481"/>
                  <a:pt x="2929555" y="184725"/>
                  <a:pt x="2930017" y="182715"/>
                </a:cubicBezTo>
                <a:cubicBezTo>
                  <a:pt x="2930017" y="182715"/>
                  <a:pt x="2939272" y="184153"/>
                  <a:pt x="2940027" y="184615"/>
                </a:cubicBezTo>
                <a:cubicBezTo>
                  <a:pt x="2947710" y="186235"/>
                  <a:pt x="2955382" y="187866"/>
                  <a:pt x="2963041" y="189486"/>
                </a:cubicBezTo>
                <a:cubicBezTo>
                  <a:pt x="2964234" y="186088"/>
                  <a:pt x="2965452" y="182691"/>
                  <a:pt x="2966694" y="179270"/>
                </a:cubicBezTo>
                <a:cubicBezTo>
                  <a:pt x="2966694" y="179270"/>
                  <a:pt x="2955881" y="176700"/>
                  <a:pt x="2952471" y="177845"/>
                </a:cubicBezTo>
                <a:lnTo>
                  <a:pt x="2943278" y="180134"/>
                </a:lnTo>
                <a:lnTo>
                  <a:pt x="2931710" y="182350"/>
                </a:lnTo>
                <a:lnTo>
                  <a:pt x="2930285" y="182630"/>
                </a:lnTo>
                <a:cubicBezTo>
                  <a:pt x="2929640" y="182496"/>
                  <a:pt x="2928994" y="182326"/>
                  <a:pt x="2928373" y="182107"/>
                </a:cubicBezTo>
                <a:cubicBezTo>
                  <a:pt x="2928373" y="182107"/>
                  <a:pt x="2921628" y="180426"/>
                  <a:pt x="2925780" y="177650"/>
                </a:cubicBezTo>
                <a:cubicBezTo>
                  <a:pt x="2930175" y="175251"/>
                  <a:pt x="2934693" y="173108"/>
                  <a:pt x="2939332" y="171233"/>
                </a:cubicBezTo>
                <a:cubicBezTo>
                  <a:pt x="2939332" y="171233"/>
                  <a:pt x="2956819" y="162709"/>
                  <a:pt x="2994433" y="163574"/>
                </a:cubicBezTo>
                <a:cubicBezTo>
                  <a:pt x="2994433" y="163574"/>
                  <a:pt x="3004308" y="164109"/>
                  <a:pt x="3009179" y="164974"/>
                </a:cubicBezTo>
                <a:cubicBezTo>
                  <a:pt x="3009179" y="164974"/>
                  <a:pt x="3021466" y="166995"/>
                  <a:pt x="3029465" y="163074"/>
                </a:cubicBezTo>
                <a:close/>
                <a:moveTo>
                  <a:pt x="3159210" y="850092"/>
                </a:moveTo>
                <a:cubicBezTo>
                  <a:pt x="3151356" y="848363"/>
                  <a:pt x="3154424" y="870659"/>
                  <a:pt x="3154424" y="870659"/>
                </a:cubicBezTo>
                <a:cubicBezTo>
                  <a:pt x="3162108" y="871024"/>
                  <a:pt x="3169791" y="871426"/>
                  <a:pt x="3177463" y="871876"/>
                </a:cubicBezTo>
                <a:cubicBezTo>
                  <a:pt x="3185914" y="865045"/>
                  <a:pt x="3194437" y="858250"/>
                  <a:pt x="3203034" y="851480"/>
                </a:cubicBezTo>
                <a:lnTo>
                  <a:pt x="3196386" y="849800"/>
                </a:lnTo>
                <a:cubicBezTo>
                  <a:pt x="3193950" y="849118"/>
                  <a:pt x="3191576" y="848278"/>
                  <a:pt x="3189250" y="847279"/>
                </a:cubicBezTo>
                <a:cubicBezTo>
                  <a:pt x="3185475" y="844844"/>
                  <a:pt x="3179509" y="845367"/>
                  <a:pt x="3179509" y="845355"/>
                </a:cubicBezTo>
                <a:cubicBezTo>
                  <a:pt x="3175405" y="845087"/>
                  <a:pt x="3159198" y="850116"/>
                  <a:pt x="3159210" y="850140"/>
                </a:cubicBezTo>
                <a:close/>
                <a:moveTo>
                  <a:pt x="3308060" y="363408"/>
                </a:moveTo>
                <a:cubicBezTo>
                  <a:pt x="3305113" y="361484"/>
                  <a:pt x="3301922" y="359962"/>
                  <a:pt x="3298574" y="358866"/>
                </a:cubicBezTo>
                <a:cubicBezTo>
                  <a:pt x="3296151" y="358196"/>
                  <a:pt x="3293837" y="357198"/>
                  <a:pt x="3291670" y="355919"/>
                </a:cubicBezTo>
                <a:cubicBezTo>
                  <a:pt x="3290829" y="355432"/>
                  <a:pt x="3285703" y="352802"/>
                  <a:pt x="3285703" y="352802"/>
                </a:cubicBezTo>
                <a:cubicBezTo>
                  <a:pt x="3279675" y="350062"/>
                  <a:pt x="3273514" y="347651"/>
                  <a:pt x="3267243" y="345569"/>
                </a:cubicBezTo>
                <a:cubicBezTo>
                  <a:pt x="3260935" y="343499"/>
                  <a:pt x="3254616" y="341441"/>
                  <a:pt x="3248271" y="339407"/>
                </a:cubicBezTo>
                <a:cubicBezTo>
                  <a:pt x="3241379" y="337191"/>
                  <a:pt x="3233111" y="334268"/>
                  <a:pt x="3233111" y="334268"/>
                </a:cubicBezTo>
                <a:cubicBezTo>
                  <a:pt x="3225464" y="331273"/>
                  <a:pt x="3224453" y="327060"/>
                  <a:pt x="3224453" y="327060"/>
                </a:cubicBezTo>
                <a:lnTo>
                  <a:pt x="3238700" y="325769"/>
                </a:lnTo>
                <a:lnTo>
                  <a:pt x="3241367" y="321848"/>
                </a:lnTo>
                <a:cubicBezTo>
                  <a:pt x="3245337" y="316369"/>
                  <a:pt x="3237605" y="313142"/>
                  <a:pt x="3237592" y="313142"/>
                </a:cubicBezTo>
                <a:lnTo>
                  <a:pt x="3229215" y="313397"/>
                </a:lnTo>
                <a:lnTo>
                  <a:pt x="3218743" y="313726"/>
                </a:lnTo>
                <a:lnTo>
                  <a:pt x="3207723" y="314213"/>
                </a:lnTo>
                <a:cubicBezTo>
                  <a:pt x="3189810" y="314652"/>
                  <a:pt x="3186510" y="319206"/>
                  <a:pt x="3186510" y="319181"/>
                </a:cubicBezTo>
                <a:lnTo>
                  <a:pt x="3190736" y="321398"/>
                </a:lnTo>
                <a:cubicBezTo>
                  <a:pt x="3196081" y="324150"/>
                  <a:pt x="3202084" y="325416"/>
                  <a:pt x="3208088" y="325051"/>
                </a:cubicBezTo>
                <a:cubicBezTo>
                  <a:pt x="3212496" y="324746"/>
                  <a:pt x="3214030" y="325611"/>
                  <a:pt x="3214030" y="325611"/>
                </a:cubicBezTo>
                <a:cubicBezTo>
                  <a:pt x="3215857" y="326122"/>
                  <a:pt x="3217634" y="326780"/>
                  <a:pt x="3219351" y="327583"/>
                </a:cubicBezTo>
                <a:cubicBezTo>
                  <a:pt x="3222846" y="329130"/>
                  <a:pt x="3217196" y="331626"/>
                  <a:pt x="3217196" y="331638"/>
                </a:cubicBezTo>
                <a:cubicBezTo>
                  <a:pt x="3211302" y="333404"/>
                  <a:pt x="3203704" y="332515"/>
                  <a:pt x="3203704" y="332515"/>
                </a:cubicBezTo>
                <a:cubicBezTo>
                  <a:pt x="3200660" y="331979"/>
                  <a:pt x="3197591" y="331651"/>
                  <a:pt x="3194498" y="331517"/>
                </a:cubicBezTo>
                <a:cubicBezTo>
                  <a:pt x="3189713" y="331395"/>
                  <a:pt x="3184964" y="332381"/>
                  <a:pt x="3180617" y="334378"/>
                </a:cubicBezTo>
                <a:cubicBezTo>
                  <a:pt x="3175600" y="336546"/>
                  <a:pt x="3172446" y="336290"/>
                  <a:pt x="3172446" y="336278"/>
                </a:cubicBezTo>
                <a:cubicBezTo>
                  <a:pt x="3169317" y="335998"/>
                  <a:pt x="3166431" y="334451"/>
                  <a:pt x="3164446" y="332004"/>
                </a:cubicBezTo>
                <a:cubicBezTo>
                  <a:pt x="3163326" y="330591"/>
                  <a:pt x="3161950" y="329422"/>
                  <a:pt x="3160391" y="328533"/>
                </a:cubicBezTo>
                <a:cubicBezTo>
                  <a:pt x="3158759" y="327523"/>
                  <a:pt x="3157030" y="326670"/>
                  <a:pt x="3155240" y="325988"/>
                </a:cubicBezTo>
                <a:cubicBezTo>
                  <a:pt x="3149347" y="323979"/>
                  <a:pt x="3149383" y="323139"/>
                  <a:pt x="3149383" y="323139"/>
                </a:cubicBezTo>
                <a:cubicBezTo>
                  <a:pt x="3148165" y="322128"/>
                  <a:pt x="3152902" y="318682"/>
                  <a:pt x="3152902" y="318658"/>
                </a:cubicBezTo>
                <a:lnTo>
                  <a:pt x="3142028" y="316369"/>
                </a:lnTo>
                <a:cubicBezTo>
                  <a:pt x="3139337" y="315699"/>
                  <a:pt x="3136695" y="314846"/>
                  <a:pt x="3134114" y="313812"/>
                </a:cubicBezTo>
                <a:cubicBezTo>
                  <a:pt x="3130400" y="312277"/>
                  <a:pt x="3126479" y="311327"/>
                  <a:pt x="3122472" y="310999"/>
                </a:cubicBezTo>
                <a:cubicBezTo>
                  <a:pt x="3115385" y="310743"/>
                  <a:pt x="3108396" y="312716"/>
                  <a:pt x="3102478" y="316624"/>
                </a:cubicBezTo>
                <a:cubicBezTo>
                  <a:pt x="3092030" y="321264"/>
                  <a:pt x="3091592" y="326768"/>
                  <a:pt x="3091592" y="326768"/>
                </a:cubicBezTo>
                <a:lnTo>
                  <a:pt x="3084359" y="329471"/>
                </a:lnTo>
                <a:cubicBezTo>
                  <a:pt x="3079890" y="330348"/>
                  <a:pt x="3081570" y="330835"/>
                  <a:pt x="3081570" y="330823"/>
                </a:cubicBezTo>
                <a:cubicBezTo>
                  <a:pt x="3081351" y="334585"/>
                  <a:pt x="3076895" y="339237"/>
                  <a:pt x="3076895" y="339249"/>
                </a:cubicBezTo>
                <a:lnTo>
                  <a:pt x="3067153" y="347675"/>
                </a:lnTo>
                <a:cubicBezTo>
                  <a:pt x="3064620" y="348674"/>
                  <a:pt x="3062453" y="353313"/>
                  <a:pt x="3062465" y="353325"/>
                </a:cubicBezTo>
                <a:lnTo>
                  <a:pt x="3064900" y="355761"/>
                </a:lnTo>
                <a:cubicBezTo>
                  <a:pt x="3072206" y="363408"/>
                  <a:pt x="3075859" y="364175"/>
                  <a:pt x="3075859" y="364163"/>
                </a:cubicBezTo>
                <a:cubicBezTo>
                  <a:pt x="3077284" y="365380"/>
                  <a:pt x="3089802" y="369387"/>
                  <a:pt x="3089802" y="369399"/>
                </a:cubicBezTo>
                <a:cubicBezTo>
                  <a:pt x="3088694" y="370604"/>
                  <a:pt x="3087318" y="371518"/>
                  <a:pt x="3085783" y="372065"/>
                </a:cubicBezTo>
                <a:cubicBezTo>
                  <a:pt x="3082715" y="373356"/>
                  <a:pt x="3073923" y="372954"/>
                  <a:pt x="3073923" y="372954"/>
                </a:cubicBezTo>
                <a:cubicBezTo>
                  <a:pt x="3071804" y="372869"/>
                  <a:pt x="3069673" y="372942"/>
                  <a:pt x="3067555" y="373137"/>
                </a:cubicBezTo>
                <a:cubicBezTo>
                  <a:pt x="3064766" y="373271"/>
                  <a:pt x="3062063" y="374184"/>
                  <a:pt x="3059762" y="375767"/>
                </a:cubicBezTo>
                <a:lnTo>
                  <a:pt x="3063415" y="375853"/>
                </a:lnTo>
                <a:cubicBezTo>
                  <a:pt x="3075896" y="376437"/>
                  <a:pt x="3078027" y="376059"/>
                  <a:pt x="3078027" y="376047"/>
                </a:cubicBezTo>
                <a:cubicBezTo>
                  <a:pt x="3089485" y="375317"/>
                  <a:pt x="3091093" y="373612"/>
                  <a:pt x="3091080" y="373612"/>
                </a:cubicBezTo>
                <a:cubicBezTo>
                  <a:pt x="3091933" y="372772"/>
                  <a:pt x="3092858" y="372017"/>
                  <a:pt x="3093857" y="371359"/>
                </a:cubicBezTo>
                <a:cubicBezTo>
                  <a:pt x="3099495" y="367049"/>
                  <a:pt x="3113985" y="369009"/>
                  <a:pt x="3113973" y="369009"/>
                </a:cubicBezTo>
                <a:cubicBezTo>
                  <a:pt x="3124494" y="370361"/>
                  <a:pt x="3131021" y="369009"/>
                  <a:pt x="3131021" y="368948"/>
                </a:cubicBezTo>
                <a:cubicBezTo>
                  <a:pt x="3135891" y="367426"/>
                  <a:pt x="3152050" y="364674"/>
                  <a:pt x="3152050" y="364687"/>
                </a:cubicBezTo>
                <a:cubicBezTo>
                  <a:pt x="3167880" y="362068"/>
                  <a:pt x="3193548" y="361922"/>
                  <a:pt x="3193536" y="361935"/>
                </a:cubicBezTo>
                <a:cubicBezTo>
                  <a:pt x="3194754" y="361935"/>
                  <a:pt x="3195984" y="362020"/>
                  <a:pt x="3197189" y="362202"/>
                </a:cubicBezTo>
                <a:cubicBezTo>
                  <a:pt x="3207065" y="363688"/>
                  <a:pt x="3232210" y="371140"/>
                  <a:pt x="3232198" y="371152"/>
                </a:cubicBezTo>
                <a:cubicBezTo>
                  <a:pt x="3248892" y="375268"/>
                  <a:pt x="3253836" y="375536"/>
                  <a:pt x="3253824" y="375512"/>
                </a:cubicBezTo>
                <a:cubicBezTo>
                  <a:pt x="3272978" y="377582"/>
                  <a:pt x="3277715" y="378799"/>
                  <a:pt x="3277727" y="378799"/>
                </a:cubicBezTo>
                <a:cubicBezTo>
                  <a:pt x="3282525" y="379834"/>
                  <a:pt x="3287432" y="380346"/>
                  <a:pt x="3292339" y="380321"/>
                </a:cubicBezTo>
                <a:cubicBezTo>
                  <a:pt x="3308255" y="379993"/>
                  <a:pt x="3317290" y="374574"/>
                  <a:pt x="3317290" y="374562"/>
                </a:cubicBezTo>
                <a:cubicBezTo>
                  <a:pt x="3322319" y="371055"/>
                  <a:pt x="3308060" y="363432"/>
                  <a:pt x="3308060" y="363457"/>
                </a:cubicBezTo>
                <a:close/>
                <a:moveTo>
                  <a:pt x="4058787" y="915019"/>
                </a:moveTo>
                <a:cubicBezTo>
                  <a:pt x="4056838" y="911817"/>
                  <a:pt x="4054890" y="908614"/>
                  <a:pt x="4052929" y="905411"/>
                </a:cubicBezTo>
                <a:cubicBezTo>
                  <a:pt x="4047243" y="896108"/>
                  <a:pt x="4037185" y="892163"/>
                  <a:pt x="4037185" y="892163"/>
                </a:cubicBezTo>
                <a:lnTo>
                  <a:pt x="4032886" y="897204"/>
                </a:lnTo>
                <a:lnTo>
                  <a:pt x="4029988" y="900407"/>
                </a:lnTo>
                <a:cubicBezTo>
                  <a:pt x="4022524" y="907360"/>
                  <a:pt x="4022743" y="915384"/>
                  <a:pt x="4022743" y="915384"/>
                </a:cubicBezTo>
                <a:lnTo>
                  <a:pt x="4022743" y="918319"/>
                </a:lnTo>
                <a:cubicBezTo>
                  <a:pt x="4022889" y="919792"/>
                  <a:pt x="4023047" y="921266"/>
                  <a:pt x="4023194" y="922739"/>
                </a:cubicBezTo>
                <a:cubicBezTo>
                  <a:pt x="4023596" y="924468"/>
                  <a:pt x="4023985" y="926198"/>
                  <a:pt x="4024411" y="927939"/>
                </a:cubicBezTo>
                <a:lnTo>
                  <a:pt x="4025909" y="932566"/>
                </a:lnTo>
                <a:cubicBezTo>
                  <a:pt x="4026713" y="934404"/>
                  <a:pt x="4028028" y="935963"/>
                  <a:pt x="4029696" y="937071"/>
                </a:cubicBezTo>
                <a:cubicBezTo>
                  <a:pt x="4032813" y="939360"/>
                  <a:pt x="4039986" y="939993"/>
                  <a:pt x="4039986" y="939982"/>
                </a:cubicBezTo>
                <a:cubicBezTo>
                  <a:pt x="4045538" y="940639"/>
                  <a:pt x="4051152" y="940432"/>
                  <a:pt x="4056631" y="939373"/>
                </a:cubicBezTo>
                <a:cubicBezTo>
                  <a:pt x="4060844" y="938703"/>
                  <a:pt x="4061332" y="937071"/>
                  <a:pt x="4061344" y="937059"/>
                </a:cubicBezTo>
                <a:lnTo>
                  <a:pt x="4062988" y="934088"/>
                </a:lnTo>
                <a:cubicBezTo>
                  <a:pt x="4065411" y="929266"/>
                  <a:pt x="4064814" y="923470"/>
                  <a:pt x="4061465" y="919244"/>
                </a:cubicBezTo>
                <a:cubicBezTo>
                  <a:pt x="4060528" y="917832"/>
                  <a:pt x="4059724" y="916419"/>
                  <a:pt x="4058787" y="915019"/>
                </a:cubicBezTo>
                <a:close/>
                <a:moveTo>
                  <a:pt x="4596541" y="1003617"/>
                </a:moveTo>
                <a:cubicBezTo>
                  <a:pt x="4596541" y="1003617"/>
                  <a:pt x="4604480" y="999526"/>
                  <a:pt x="4598501" y="994254"/>
                </a:cubicBezTo>
                <a:cubicBezTo>
                  <a:pt x="4598501" y="994254"/>
                  <a:pt x="4596224" y="991818"/>
                  <a:pt x="4588930" y="987824"/>
                </a:cubicBezTo>
                <a:lnTo>
                  <a:pt x="4584656" y="986351"/>
                </a:lnTo>
                <a:lnTo>
                  <a:pt x="4581904" y="985365"/>
                </a:lnTo>
                <a:lnTo>
                  <a:pt x="4577813" y="984001"/>
                </a:lnTo>
                <a:cubicBezTo>
                  <a:pt x="4577813" y="984001"/>
                  <a:pt x="4564528" y="978972"/>
                  <a:pt x="4560875" y="985218"/>
                </a:cubicBezTo>
                <a:cubicBezTo>
                  <a:pt x="4560875" y="985218"/>
                  <a:pt x="4557977" y="991648"/>
                  <a:pt x="4565819" y="998930"/>
                </a:cubicBezTo>
                <a:cubicBezTo>
                  <a:pt x="4565819" y="998930"/>
                  <a:pt x="4569739" y="1003496"/>
                  <a:pt x="4582355" y="1007332"/>
                </a:cubicBezTo>
                <a:cubicBezTo>
                  <a:pt x="4582355" y="1007332"/>
                  <a:pt x="4586677" y="1008793"/>
                  <a:pt x="4592595" y="1005870"/>
                </a:cubicBezTo>
                <a:close/>
                <a:moveTo>
                  <a:pt x="2367934" y="286608"/>
                </a:moveTo>
                <a:lnTo>
                  <a:pt x="2367423" y="286962"/>
                </a:lnTo>
                <a:lnTo>
                  <a:pt x="2363246" y="289397"/>
                </a:lnTo>
                <a:lnTo>
                  <a:pt x="2356269" y="292928"/>
                </a:lnTo>
                <a:cubicBezTo>
                  <a:pt x="2351008" y="295607"/>
                  <a:pt x="2352981" y="296947"/>
                  <a:pt x="2352993" y="296971"/>
                </a:cubicBezTo>
                <a:cubicBezTo>
                  <a:pt x="2360543" y="302438"/>
                  <a:pt x="2365937" y="303278"/>
                  <a:pt x="2365937" y="303291"/>
                </a:cubicBezTo>
                <a:cubicBezTo>
                  <a:pt x="2368494" y="303571"/>
                  <a:pt x="2371088" y="303278"/>
                  <a:pt x="2373523" y="302414"/>
                </a:cubicBezTo>
                <a:lnTo>
                  <a:pt x="2377176" y="301196"/>
                </a:lnTo>
                <a:lnTo>
                  <a:pt x="2380574" y="299869"/>
                </a:lnTo>
                <a:lnTo>
                  <a:pt x="2383289" y="298651"/>
                </a:lnTo>
                <a:lnTo>
                  <a:pt x="2386942" y="296934"/>
                </a:lnTo>
                <a:lnTo>
                  <a:pt x="2390291" y="295388"/>
                </a:lnTo>
                <a:lnTo>
                  <a:pt x="2392604" y="294450"/>
                </a:lnTo>
                <a:cubicBezTo>
                  <a:pt x="2395953" y="293233"/>
                  <a:pt x="2399289" y="291942"/>
                  <a:pt x="2402650" y="290688"/>
                </a:cubicBezTo>
                <a:cubicBezTo>
                  <a:pt x="2405134" y="289689"/>
                  <a:pt x="2407728" y="289032"/>
                  <a:pt x="2410383" y="288715"/>
                </a:cubicBezTo>
                <a:lnTo>
                  <a:pt x="2412574" y="288362"/>
                </a:lnTo>
                <a:lnTo>
                  <a:pt x="2414474" y="288009"/>
                </a:lnTo>
                <a:lnTo>
                  <a:pt x="2417299" y="287315"/>
                </a:lnTo>
                <a:lnTo>
                  <a:pt x="2419454" y="286608"/>
                </a:lnTo>
                <a:cubicBezTo>
                  <a:pt x="2422657" y="285671"/>
                  <a:pt x="2425299" y="283418"/>
                  <a:pt x="2426760" y="280422"/>
                </a:cubicBezTo>
                <a:cubicBezTo>
                  <a:pt x="2426967" y="279911"/>
                  <a:pt x="2427174" y="279388"/>
                  <a:pt x="2427369" y="278864"/>
                </a:cubicBezTo>
                <a:lnTo>
                  <a:pt x="2428258" y="276891"/>
                </a:lnTo>
                <a:cubicBezTo>
                  <a:pt x="2428916" y="275564"/>
                  <a:pt x="2429330" y="274139"/>
                  <a:pt x="2429476" y="272666"/>
                </a:cubicBezTo>
                <a:cubicBezTo>
                  <a:pt x="2429269" y="271680"/>
                  <a:pt x="2429366" y="270644"/>
                  <a:pt x="2429744" y="269707"/>
                </a:cubicBezTo>
                <a:cubicBezTo>
                  <a:pt x="2431181" y="266431"/>
                  <a:pt x="2436721" y="263838"/>
                  <a:pt x="2436721" y="263838"/>
                </a:cubicBezTo>
                <a:cubicBezTo>
                  <a:pt x="2441957" y="261159"/>
                  <a:pt x="2442103" y="258711"/>
                  <a:pt x="2442103" y="258711"/>
                </a:cubicBezTo>
                <a:cubicBezTo>
                  <a:pt x="2444051" y="251880"/>
                  <a:pt x="2427345" y="251697"/>
                  <a:pt x="2427345" y="251710"/>
                </a:cubicBezTo>
                <a:cubicBezTo>
                  <a:pt x="2408921" y="250492"/>
                  <a:pt x="2396075" y="256665"/>
                  <a:pt x="2396075" y="256653"/>
                </a:cubicBezTo>
                <a:cubicBezTo>
                  <a:pt x="2389256" y="259819"/>
                  <a:pt x="2389572" y="260745"/>
                  <a:pt x="2389572" y="260757"/>
                </a:cubicBezTo>
                <a:lnTo>
                  <a:pt x="2388732" y="262303"/>
                </a:lnTo>
                <a:cubicBezTo>
                  <a:pt x="2384860" y="267612"/>
                  <a:pt x="2375009" y="268696"/>
                  <a:pt x="2375009" y="268709"/>
                </a:cubicBezTo>
                <a:lnTo>
                  <a:pt x="2371429" y="269342"/>
                </a:lnTo>
                <a:lnTo>
                  <a:pt x="2367898" y="270036"/>
                </a:lnTo>
                <a:cubicBezTo>
                  <a:pt x="2358948" y="272228"/>
                  <a:pt x="2358339" y="274906"/>
                  <a:pt x="2358327" y="274906"/>
                </a:cubicBezTo>
                <a:cubicBezTo>
                  <a:pt x="2356537" y="278559"/>
                  <a:pt x="2363112" y="281604"/>
                  <a:pt x="2363112" y="281592"/>
                </a:cubicBezTo>
                <a:lnTo>
                  <a:pt x="2365827" y="283016"/>
                </a:lnTo>
                <a:lnTo>
                  <a:pt x="2369152" y="284697"/>
                </a:lnTo>
                <a:lnTo>
                  <a:pt x="2368506" y="285914"/>
                </a:lnTo>
                <a:cubicBezTo>
                  <a:pt x="2368348" y="286170"/>
                  <a:pt x="2368153" y="286402"/>
                  <a:pt x="2367934" y="286608"/>
                </a:cubicBezTo>
                <a:close/>
                <a:moveTo>
                  <a:pt x="2427442" y="229962"/>
                </a:moveTo>
                <a:lnTo>
                  <a:pt x="2429062" y="231350"/>
                </a:lnTo>
                <a:lnTo>
                  <a:pt x="2432118" y="233956"/>
                </a:lnTo>
                <a:lnTo>
                  <a:pt x="2434054" y="235624"/>
                </a:lnTo>
                <a:lnTo>
                  <a:pt x="2437281" y="238388"/>
                </a:lnTo>
                <a:cubicBezTo>
                  <a:pt x="2436575" y="239521"/>
                  <a:pt x="2435881" y="240653"/>
                  <a:pt x="2435187" y="241798"/>
                </a:cubicBezTo>
                <a:lnTo>
                  <a:pt x="2432824" y="245646"/>
                </a:lnTo>
                <a:lnTo>
                  <a:pt x="2434627" y="246096"/>
                </a:lnTo>
                <a:lnTo>
                  <a:pt x="2435844" y="246413"/>
                </a:lnTo>
                <a:lnTo>
                  <a:pt x="2438645" y="247180"/>
                </a:lnTo>
                <a:lnTo>
                  <a:pt x="2440898" y="247874"/>
                </a:lnTo>
                <a:lnTo>
                  <a:pt x="2442688" y="248519"/>
                </a:lnTo>
                <a:lnTo>
                  <a:pt x="2444051" y="249079"/>
                </a:lnTo>
                <a:cubicBezTo>
                  <a:pt x="2446292" y="250188"/>
                  <a:pt x="2448691" y="250930"/>
                  <a:pt x="2451163" y="251308"/>
                </a:cubicBezTo>
                <a:cubicBezTo>
                  <a:pt x="2455680" y="251953"/>
                  <a:pt x="2460247" y="252002"/>
                  <a:pt x="2464776" y="251466"/>
                </a:cubicBezTo>
                <a:cubicBezTo>
                  <a:pt x="2464776" y="251466"/>
                  <a:pt x="2470073" y="250784"/>
                  <a:pt x="2472850" y="250078"/>
                </a:cubicBezTo>
                <a:cubicBezTo>
                  <a:pt x="2473057" y="250382"/>
                  <a:pt x="2473264" y="250675"/>
                  <a:pt x="2473459" y="250979"/>
                </a:cubicBezTo>
                <a:lnTo>
                  <a:pt x="2474153" y="252063"/>
                </a:lnTo>
                <a:cubicBezTo>
                  <a:pt x="2475066" y="253427"/>
                  <a:pt x="2476393" y="254449"/>
                  <a:pt x="2477940" y="254997"/>
                </a:cubicBezTo>
                <a:lnTo>
                  <a:pt x="2478963" y="255387"/>
                </a:lnTo>
                <a:lnTo>
                  <a:pt x="2479669" y="255655"/>
                </a:lnTo>
                <a:cubicBezTo>
                  <a:pt x="2479669" y="255655"/>
                  <a:pt x="2486902" y="257981"/>
                  <a:pt x="2485148" y="261244"/>
                </a:cubicBezTo>
                <a:cubicBezTo>
                  <a:pt x="2485148" y="261244"/>
                  <a:pt x="2483541" y="264349"/>
                  <a:pt x="2475127" y="266042"/>
                </a:cubicBezTo>
                <a:lnTo>
                  <a:pt x="2473507" y="266346"/>
                </a:lnTo>
                <a:lnTo>
                  <a:pt x="2471206" y="266797"/>
                </a:lnTo>
                <a:cubicBezTo>
                  <a:pt x="2469233" y="267186"/>
                  <a:pt x="2467297" y="267783"/>
                  <a:pt x="2465446" y="268574"/>
                </a:cubicBezTo>
                <a:lnTo>
                  <a:pt x="2458871" y="271570"/>
                </a:lnTo>
                <a:lnTo>
                  <a:pt x="2455644" y="273080"/>
                </a:lnTo>
                <a:lnTo>
                  <a:pt x="2464655" y="277951"/>
                </a:lnTo>
                <a:lnTo>
                  <a:pt x="2458907" y="279960"/>
                </a:lnTo>
                <a:cubicBezTo>
                  <a:pt x="2456861" y="280873"/>
                  <a:pt x="2454986" y="282140"/>
                  <a:pt x="2453367" y="283686"/>
                </a:cubicBezTo>
                <a:lnTo>
                  <a:pt x="2450773" y="285951"/>
                </a:lnTo>
                <a:lnTo>
                  <a:pt x="2452867" y="286243"/>
                </a:lnTo>
                <a:lnTo>
                  <a:pt x="2455656" y="286657"/>
                </a:lnTo>
                <a:lnTo>
                  <a:pt x="2458091" y="286962"/>
                </a:lnTo>
                <a:cubicBezTo>
                  <a:pt x="2460113" y="287205"/>
                  <a:pt x="2462159" y="287181"/>
                  <a:pt x="2464180" y="286888"/>
                </a:cubicBezTo>
                <a:lnTo>
                  <a:pt x="2466895" y="286462"/>
                </a:lnTo>
                <a:cubicBezTo>
                  <a:pt x="2466895" y="286462"/>
                  <a:pt x="2470694" y="285768"/>
                  <a:pt x="2472801" y="286560"/>
                </a:cubicBezTo>
                <a:cubicBezTo>
                  <a:pt x="2473349" y="286767"/>
                  <a:pt x="2473860" y="287047"/>
                  <a:pt x="2474323" y="287400"/>
                </a:cubicBezTo>
                <a:cubicBezTo>
                  <a:pt x="2474323" y="287400"/>
                  <a:pt x="2446852" y="295924"/>
                  <a:pt x="2442261" y="306396"/>
                </a:cubicBezTo>
                <a:cubicBezTo>
                  <a:pt x="2442261" y="306396"/>
                  <a:pt x="2452648" y="307212"/>
                  <a:pt x="2466822" y="302122"/>
                </a:cubicBezTo>
                <a:lnTo>
                  <a:pt x="2470390" y="300904"/>
                </a:lnTo>
                <a:cubicBezTo>
                  <a:pt x="2470390" y="300904"/>
                  <a:pt x="2483431" y="296411"/>
                  <a:pt x="2490068" y="295424"/>
                </a:cubicBezTo>
                <a:lnTo>
                  <a:pt x="2503109" y="292989"/>
                </a:lnTo>
                <a:cubicBezTo>
                  <a:pt x="2510281" y="291710"/>
                  <a:pt x="2517466" y="290456"/>
                  <a:pt x="2524662" y="289226"/>
                </a:cubicBezTo>
                <a:cubicBezTo>
                  <a:pt x="2529423" y="288411"/>
                  <a:pt x="2534184" y="287619"/>
                  <a:pt x="2538946" y="286852"/>
                </a:cubicBezTo>
                <a:lnTo>
                  <a:pt x="2553631" y="284417"/>
                </a:lnTo>
                <a:lnTo>
                  <a:pt x="2559488" y="283321"/>
                </a:lnTo>
                <a:cubicBezTo>
                  <a:pt x="2559488" y="283321"/>
                  <a:pt x="2563287" y="282614"/>
                  <a:pt x="2565077" y="280727"/>
                </a:cubicBezTo>
                <a:cubicBezTo>
                  <a:pt x="2565077" y="280727"/>
                  <a:pt x="2567330" y="277829"/>
                  <a:pt x="2563652" y="277013"/>
                </a:cubicBezTo>
                <a:cubicBezTo>
                  <a:pt x="2563652" y="277013"/>
                  <a:pt x="2562885" y="276721"/>
                  <a:pt x="2557893" y="276709"/>
                </a:cubicBezTo>
                <a:lnTo>
                  <a:pt x="2555884" y="276623"/>
                </a:lnTo>
                <a:cubicBezTo>
                  <a:pt x="2555165" y="276672"/>
                  <a:pt x="2554471" y="276392"/>
                  <a:pt x="2553972" y="275868"/>
                </a:cubicBezTo>
                <a:lnTo>
                  <a:pt x="2552998" y="275235"/>
                </a:lnTo>
                <a:lnTo>
                  <a:pt x="2557771" y="272447"/>
                </a:lnTo>
                <a:lnTo>
                  <a:pt x="2563324" y="269378"/>
                </a:lnTo>
                <a:cubicBezTo>
                  <a:pt x="2563324" y="269378"/>
                  <a:pt x="2569181" y="266066"/>
                  <a:pt x="2568730" y="263180"/>
                </a:cubicBezTo>
                <a:cubicBezTo>
                  <a:pt x="2568730" y="263180"/>
                  <a:pt x="2568523" y="260915"/>
                  <a:pt x="2562763" y="260416"/>
                </a:cubicBezTo>
                <a:lnTo>
                  <a:pt x="2561375" y="260319"/>
                </a:lnTo>
                <a:lnTo>
                  <a:pt x="2559244" y="260319"/>
                </a:lnTo>
                <a:cubicBezTo>
                  <a:pt x="2559244" y="260319"/>
                  <a:pt x="2547713" y="260514"/>
                  <a:pt x="2542038" y="255947"/>
                </a:cubicBezTo>
                <a:lnTo>
                  <a:pt x="2539920" y="254206"/>
                </a:lnTo>
                <a:lnTo>
                  <a:pt x="2537180" y="251442"/>
                </a:lnTo>
                <a:lnTo>
                  <a:pt x="2534647" y="249006"/>
                </a:lnTo>
                <a:lnTo>
                  <a:pt x="2532127" y="247338"/>
                </a:lnTo>
                <a:lnTo>
                  <a:pt x="2530702" y="246717"/>
                </a:lnTo>
                <a:lnTo>
                  <a:pt x="2529569" y="246352"/>
                </a:lnTo>
                <a:lnTo>
                  <a:pt x="2527585" y="245938"/>
                </a:lnTo>
                <a:cubicBezTo>
                  <a:pt x="2524711" y="245414"/>
                  <a:pt x="2521910" y="244550"/>
                  <a:pt x="2519243" y="243356"/>
                </a:cubicBezTo>
                <a:cubicBezTo>
                  <a:pt x="2519243" y="243356"/>
                  <a:pt x="2516175" y="241627"/>
                  <a:pt x="2515481" y="239582"/>
                </a:cubicBezTo>
                <a:lnTo>
                  <a:pt x="2514799" y="238741"/>
                </a:lnTo>
                <a:cubicBezTo>
                  <a:pt x="2514799" y="238741"/>
                  <a:pt x="2514032" y="237706"/>
                  <a:pt x="2509746" y="235904"/>
                </a:cubicBezTo>
                <a:cubicBezTo>
                  <a:pt x="2507310" y="234857"/>
                  <a:pt x="2504875" y="233834"/>
                  <a:pt x="2502440" y="232799"/>
                </a:cubicBezTo>
                <a:lnTo>
                  <a:pt x="2500625" y="231922"/>
                </a:lnTo>
                <a:cubicBezTo>
                  <a:pt x="2500625" y="231922"/>
                  <a:pt x="2497191" y="230376"/>
                  <a:pt x="2498287" y="228768"/>
                </a:cubicBezTo>
                <a:cubicBezTo>
                  <a:pt x="2499054" y="227745"/>
                  <a:pt x="2500065" y="226905"/>
                  <a:pt x="2501210" y="226333"/>
                </a:cubicBezTo>
                <a:lnTo>
                  <a:pt x="2504777" y="224312"/>
                </a:lnTo>
                <a:lnTo>
                  <a:pt x="2507809" y="222704"/>
                </a:lnTo>
                <a:lnTo>
                  <a:pt x="2508443" y="222363"/>
                </a:lnTo>
                <a:lnTo>
                  <a:pt x="2508796" y="222083"/>
                </a:lnTo>
                <a:cubicBezTo>
                  <a:pt x="2508978" y="221901"/>
                  <a:pt x="2509149" y="221706"/>
                  <a:pt x="2509295" y="221487"/>
                </a:cubicBezTo>
                <a:cubicBezTo>
                  <a:pt x="2509429" y="221316"/>
                  <a:pt x="2509563" y="221158"/>
                  <a:pt x="2509685" y="220988"/>
                </a:cubicBezTo>
                <a:cubicBezTo>
                  <a:pt x="2509806" y="220817"/>
                  <a:pt x="2509940" y="220671"/>
                  <a:pt x="2510074" y="220525"/>
                </a:cubicBezTo>
                <a:lnTo>
                  <a:pt x="2509332" y="219794"/>
                </a:lnTo>
                <a:lnTo>
                  <a:pt x="2508576" y="219076"/>
                </a:lnTo>
                <a:lnTo>
                  <a:pt x="2507627" y="218150"/>
                </a:lnTo>
                <a:lnTo>
                  <a:pt x="2507627" y="218150"/>
                </a:lnTo>
                <a:lnTo>
                  <a:pt x="2506482" y="217042"/>
                </a:lnTo>
                <a:lnTo>
                  <a:pt x="2504717" y="215337"/>
                </a:lnTo>
                <a:lnTo>
                  <a:pt x="2503341" y="214010"/>
                </a:lnTo>
                <a:lnTo>
                  <a:pt x="2502561" y="213267"/>
                </a:lnTo>
                <a:lnTo>
                  <a:pt x="2495060" y="214205"/>
                </a:lnTo>
                <a:lnTo>
                  <a:pt x="2487255" y="215191"/>
                </a:lnTo>
                <a:lnTo>
                  <a:pt x="2476941" y="216531"/>
                </a:lnTo>
                <a:lnTo>
                  <a:pt x="2474384" y="216872"/>
                </a:lnTo>
                <a:lnTo>
                  <a:pt x="2478037" y="214826"/>
                </a:lnTo>
                <a:lnTo>
                  <a:pt x="2484491" y="211258"/>
                </a:lnTo>
                <a:lnTo>
                  <a:pt x="2488083" y="209285"/>
                </a:lnTo>
                <a:lnTo>
                  <a:pt x="2489508" y="208506"/>
                </a:lnTo>
                <a:cubicBezTo>
                  <a:pt x="2484272" y="207666"/>
                  <a:pt x="2478950" y="207556"/>
                  <a:pt x="2473678" y="208177"/>
                </a:cubicBezTo>
                <a:cubicBezTo>
                  <a:pt x="2473678" y="208177"/>
                  <a:pt x="2470110" y="208470"/>
                  <a:pt x="2462487" y="210016"/>
                </a:cubicBezTo>
                <a:lnTo>
                  <a:pt x="2456119" y="211331"/>
                </a:lnTo>
                <a:lnTo>
                  <a:pt x="2454658" y="211611"/>
                </a:lnTo>
                <a:lnTo>
                  <a:pt x="2453720" y="211782"/>
                </a:lnTo>
                <a:lnTo>
                  <a:pt x="2452977" y="212330"/>
                </a:lnTo>
                <a:lnTo>
                  <a:pt x="2452271" y="212817"/>
                </a:lnTo>
                <a:lnTo>
                  <a:pt x="2451455" y="213328"/>
                </a:lnTo>
                <a:lnTo>
                  <a:pt x="2450237" y="214095"/>
                </a:lnTo>
                <a:lnTo>
                  <a:pt x="2449081" y="214753"/>
                </a:lnTo>
                <a:lnTo>
                  <a:pt x="2448070" y="215301"/>
                </a:lnTo>
                <a:lnTo>
                  <a:pt x="2446572" y="216092"/>
                </a:lnTo>
                <a:lnTo>
                  <a:pt x="2444685" y="217091"/>
                </a:lnTo>
                <a:lnTo>
                  <a:pt x="2441908" y="218588"/>
                </a:lnTo>
                <a:lnTo>
                  <a:pt x="2440277" y="219538"/>
                </a:lnTo>
                <a:lnTo>
                  <a:pt x="2438621" y="220598"/>
                </a:lnTo>
                <a:lnTo>
                  <a:pt x="2436879" y="221815"/>
                </a:lnTo>
                <a:lnTo>
                  <a:pt x="2435455" y="222936"/>
                </a:lnTo>
                <a:lnTo>
                  <a:pt x="2433993" y="224153"/>
                </a:lnTo>
                <a:lnTo>
                  <a:pt x="2432715" y="225286"/>
                </a:lnTo>
                <a:lnTo>
                  <a:pt x="2431254" y="226601"/>
                </a:lnTo>
                <a:lnTo>
                  <a:pt x="2429220" y="228427"/>
                </a:lnTo>
                <a:close/>
                <a:moveTo>
                  <a:pt x="3454535" y="1040976"/>
                </a:moveTo>
                <a:cubicBezTo>
                  <a:pt x="3453877" y="1034608"/>
                  <a:pt x="3451941" y="1028446"/>
                  <a:pt x="3448861" y="1022845"/>
                </a:cubicBezTo>
                <a:lnTo>
                  <a:pt x="3447387" y="1020032"/>
                </a:lnTo>
                <a:lnTo>
                  <a:pt x="3444452" y="1014589"/>
                </a:lnTo>
                <a:lnTo>
                  <a:pt x="3443125" y="1012056"/>
                </a:lnTo>
                <a:lnTo>
                  <a:pt x="3441713" y="1012203"/>
                </a:lnTo>
                <a:lnTo>
                  <a:pt x="3440422" y="1012409"/>
                </a:lnTo>
                <a:lnTo>
                  <a:pt x="3439022" y="1012726"/>
                </a:lnTo>
                <a:lnTo>
                  <a:pt x="3437901" y="1013067"/>
                </a:lnTo>
                <a:cubicBezTo>
                  <a:pt x="3436112" y="1013688"/>
                  <a:pt x="3434504" y="1014747"/>
                  <a:pt x="3433213" y="1016136"/>
                </a:cubicBezTo>
                <a:lnTo>
                  <a:pt x="3431789" y="1017877"/>
                </a:lnTo>
                <a:lnTo>
                  <a:pt x="3430705" y="1019192"/>
                </a:lnTo>
                <a:lnTo>
                  <a:pt x="3428269" y="1021944"/>
                </a:lnTo>
                <a:cubicBezTo>
                  <a:pt x="3427210" y="1023100"/>
                  <a:pt x="3425785" y="1023856"/>
                  <a:pt x="3424227" y="1024051"/>
                </a:cubicBezTo>
                <a:cubicBezTo>
                  <a:pt x="3418516" y="1025633"/>
                  <a:pt x="3416239" y="1028106"/>
                  <a:pt x="3416239" y="1028106"/>
                </a:cubicBezTo>
                <a:lnTo>
                  <a:pt x="3413706" y="1030407"/>
                </a:lnTo>
                <a:cubicBezTo>
                  <a:pt x="3403806" y="1040660"/>
                  <a:pt x="3389827" y="1044374"/>
                  <a:pt x="3389827" y="1044374"/>
                </a:cubicBezTo>
                <a:cubicBezTo>
                  <a:pt x="3384774" y="1045774"/>
                  <a:pt x="3379586" y="1046590"/>
                  <a:pt x="3374350" y="1046809"/>
                </a:cubicBezTo>
                <a:lnTo>
                  <a:pt x="3370783" y="1046894"/>
                </a:lnTo>
                <a:lnTo>
                  <a:pt x="3368798" y="1046894"/>
                </a:lnTo>
                <a:cubicBezTo>
                  <a:pt x="3367982" y="1046870"/>
                  <a:pt x="3367166" y="1046918"/>
                  <a:pt x="3366362" y="1047040"/>
                </a:cubicBezTo>
                <a:lnTo>
                  <a:pt x="3365279" y="1047235"/>
                </a:lnTo>
                <a:lnTo>
                  <a:pt x="3364183" y="1047418"/>
                </a:lnTo>
                <a:lnTo>
                  <a:pt x="3360931" y="1047880"/>
                </a:lnTo>
                <a:lnTo>
                  <a:pt x="3354587" y="1048903"/>
                </a:lnTo>
                <a:cubicBezTo>
                  <a:pt x="3350533" y="1049610"/>
                  <a:pt x="3346770" y="1053664"/>
                  <a:pt x="3346770" y="1053653"/>
                </a:cubicBezTo>
                <a:cubicBezTo>
                  <a:pt x="3345552" y="1054955"/>
                  <a:pt x="3344432" y="1056246"/>
                  <a:pt x="3343275" y="1057549"/>
                </a:cubicBezTo>
                <a:lnTo>
                  <a:pt x="3340487" y="1061641"/>
                </a:lnTo>
                <a:cubicBezTo>
                  <a:pt x="3335165" y="1068667"/>
                  <a:pt x="3338538" y="1078566"/>
                  <a:pt x="3338526" y="1078554"/>
                </a:cubicBezTo>
                <a:cubicBezTo>
                  <a:pt x="3341096" y="1085921"/>
                  <a:pt x="3338526" y="1089513"/>
                  <a:pt x="3338526" y="1089513"/>
                </a:cubicBezTo>
                <a:cubicBezTo>
                  <a:pt x="3337406" y="1094214"/>
                  <a:pt x="3327774" y="1101325"/>
                  <a:pt x="3327774" y="1101325"/>
                </a:cubicBezTo>
                <a:lnTo>
                  <a:pt x="3321223" y="1106196"/>
                </a:lnTo>
                <a:cubicBezTo>
                  <a:pt x="3314221" y="1111468"/>
                  <a:pt x="3315621" y="1117155"/>
                  <a:pt x="3315621" y="1117155"/>
                </a:cubicBezTo>
                <a:lnTo>
                  <a:pt x="3316060" y="1119201"/>
                </a:lnTo>
                <a:cubicBezTo>
                  <a:pt x="3316230" y="1119736"/>
                  <a:pt x="3316401" y="1120260"/>
                  <a:pt x="3316583" y="1120783"/>
                </a:cubicBezTo>
                <a:cubicBezTo>
                  <a:pt x="3316766" y="1121307"/>
                  <a:pt x="3316815" y="1121684"/>
                  <a:pt x="3316924" y="1122135"/>
                </a:cubicBezTo>
                <a:lnTo>
                  <a:pt x="3317143" y="1123353"/>
                </a:lnTo>
                <a:cubicBezTo>
                  <a:pt x="3317339" y="1124923"/>
                  <a:pt x="3317411" y="1126519"/>
                  <a:pt x="3317375" y="1128101"/>
                </a:cubicBezTo>
                <a:lnTo>
                  <a:pt x="3317302" y="1130208"/>
                </a:lnTo>
                <a:cubicBezTo>
                  <a:pt x="3317058" y="1133764"/>
                  <a:pt x="3317619" y="1137320"/>
                  <a:pt x="3318946" y="1140631"/>
                </a:cubicBezTo>
                <a:cubicBezTo>
                  <a:pt x="3320224" y="1143517"/>
                  <a:pt x="3322160" y="1146075"/>
                  <a:pt x="3324596" y="1148096"/>
                </a:cubicBezTo>
                <a:cubicBezTo>
                  <a:pt x="3327749" y="1150641"/>
                  <a:pt x="3331244" y="1152748"/>
                  <a:pt x="3334971" y="1154343"/>
                </a:cubicBezTo>
                <a:cubicBezTo>
                  <a:pt x="3337150" y="1155378"/>
                  <a:pt x="3339452" y="1156108"/>
                  <a:pt x="3341826" y="1156510"/>
                </a:cubicBezTo>
                <a:cubicBezTo>
                  <a:pt x="3344529" y="1156912"/>
                  <a:pt x="3347269" y="1156973"/>
                  <a:pt x="3349984" y="1156668"/>
                </a:cubicBezTo>
                <a:lnTo>
                  <a:pt x="3351373" y="1156510"/>
                </a:lnTo>
                <a:lnTo>
                  <a:pt x="3353370" y="1156254"/>
                </a:lnTo>
                <a:lnTo>
                  <a:pt x="3354807" y="1156072"/>
                </a:lnTo>
                <a:lnTo>
                  <a:pt x="3356828" y="1155841"/>
                </a:lnTo>
                <a:lnTo>
                  <a:pt x="3358800" y="1155682"/>
                </a:lnTo>
                <a:cubicBezTo>
                  <a:pt x="3359994" y="1155621"/>
                  <a:pt x="3361200" y="1155621"/>
                  <a:pt x="3362393" y="1155682"/>
                </a:cubicBezTo>
                <a:cubicBezTo>
                  <a:pt x="3363611" y="1155682"/>
                  <a:pt x="3364901" y="1155536"/>
                  <a:pt x="3364901" y="1155536"/>
                </a:cubicBezTo>
                <a:lnTo>
                  <a:pt x="3365620" y="1155427"/>
                </a:lnTo>
                <a:lnTo>
                  <a:pt x="3366837" y="1155171"/>
                </a:lnTo>
                <a:lnTo>
                  <a:pt x="3368140" y="1154842"/>
                </a:lnTo>
                <a:lnTo>
                  <a:pt x="3369358" y="1154477"/>
                </a:lnTo>
                <a:lnTo>
                  <a:pt x="3371501" y="1153795"/>
                </a:lnTo>
                <a:lnTo>
                  <a:pt x="3373571" y="1153161"/>
                </a:lnTo>
                <a:lnTo>
                  <a:pt x="3374582" y="1152894"/>
                </a:lnTo>
                <a:cubicBezTo>
                  <a:pt x="3374898" y="1152808"/>
                  <a:pt x="3375191" y="1152626"/>
                  <a:pt x="3375410" y="1152383"/>
                </a:cubicBezTo>
                <a:lnTo>
                  <a:pt x="3376067" y="1151591"/>
                </a:lnTo>
                <a:lnTo>
                  <a:pt x="3381096" y="1145344"/>
                </a:lnTo>
                <a:cubicBezTo>
                  <a:pt x="3383727" y="1142044"/>
                  <a:pt x="3386369" y="1138756"/>
                  <a:pt x="3389011" y="1135456"/>
                </a:cubicBezTo>
                <a:lnTo>
                  <a:pt x="3396050" y="1126714"/>
                </a:lnTo>
                <a:cubicBezTo>
                  <a:pt x="3398826" y="1123268"/>
                  <a:pt x="3401602" y="1119833"/>
                  <a:pt x="3404391" y="1116388"/>
                </a:cubicBezTo>
                <a:lnTo>
                  <a:pt x="3409262" y="1110116"/>
                </a:lnTo>
                <a:lnTo>
                  <a:pt x="3414765" y="1102810"/>
                </a:lnTo>
                <a:lnTo>
                  <a:pt x="3420671" y="1095906"/>
                </a:lnTo>
                <a:cubicBezTo>
                  <a:pt x="3433067" y="1082938"/>
                  <a:pt x="3433968" y="1077129"/>
                  <a:pt x="3433968" y="1077129"/>
                </a:cubicBezTo>
                <a:cubicBezTo>
                  <a:pt x="3434163" y="1076509"/>
                  <a:pt x="3434358" y="1075912"/>
                  <a:pt x="3434541" y="1075266"/>
                </a:cubicBezTo>
                <a:cubicBezTo>
                  <a:pt x="3434723" y="1074621"/>
                  <a:pt x="3434772" y="1074292"/>
                  <a:pt x="3434882" y="1073793"/>
                </a:cubicBezTo>
                <a:cubicBezTo>
                  <a:pt x="3435113" y="1072052"/>
                  <a:pt x="3436112" y="1070517"/>
                  <a:pt x="3437609" y="1069604"/>
                </a:cubicBezTo>
                <a:lnTo>
                  <a:pt x="3438425" y="1069068"/>
                </a:lnTo>
                <a:lnTo>
                  <a:pt x="3439570" y="1068179"/>
                </a:lnTo>
                <a:cubicBezTo>
                  <a:pt x="3441420" y="1066499"/>
                  <a:pt x="3442699" y="1064270"/>
                  <a:pt x="3443223" y="1061823"/>
                </a:cubicBezTo>
                <a:cubicBezTo>
                  <a:pt x="3443320" y="1061288"/>
                  <a:pt x="3443418" y="1060764"/>
                  <a:pt x="3443527" y="1060228"/>
                </a:cubicBezTo>
                <a:cubicBezTo>
                  <a:pt x="3443527" y="1059997"/>
                  <a:pt x="3443612" y="1059777"/>
                  <a:pt x="3443661" y="1059546"/>
                </a:cubicBezTo>
                <a:cubicBezTo>
                  <a:pt x="3445000" y="1056064"/>
                  <a:pt x="3447095" y="1056197"/>
                  <a:pt x="3447107" y="1056197"/>
                </a:cubicBezTo>
                <a:cubicBezTo>
                  <a:pt x="3448933" y="1056100"/>
                  <a:pt x="3450724" y="1055649"/>
                  <a:pt x="3452367" y="1054870"/>
                </a:cubicBezTo>
                <a:cubicBezTo>
                  <a:pt x="3455947" y="1053336"/>
                  <a:pt x="3454973" y="1047564"/>
                  <a:pt x="3454973" y="1047564"/>
                </a:cubicBezTo>
                <a:close/>
                <a:moveTo>
                  <a:pt x="4996477" y="1014321"/>
                </a:moveTo>
                <a:cubicBezTo>
                  <a:pt x="4993408" y="1012592"/>
                  <a:pt x="4990462" y="1010656"/>
                  <a:pt x="4987661" y="1008537"/>
                </a:cubicBezTo>
                <a:cubicBezTo>
                  <a:pt x="4982461" y="1004811"/>
                  <a:pt x="4976178" y="1002924"/>
                  <a:pt x="4969797" y="1003167"/>
                </a:cubicBezTo>
                <a:lnTo>
                  <a:pt x="4960653" y="1002510"/>
                </a:lnTo>
                <a:lnTo>
                  <a:pt x="4952129" y="1001840"/>
                </a:lnTo>
                <a:lnTo>
                  <a:pt x="4949523" y="1001621"/>
                </a:lnTo>
                <a:lnTo>
                  <a:pt x="4948305" y="1001742"/>
                </a:lnTo>
                <a:lnTo>
                  <a:pt x="4948050" y="1001840"/>
                </a:lnTo>
                <a:lnTo>
                  <a:pt x="4947721" y="1002132"/>
                </a:lnTo>
                <a:lnTo>
                  <a:pt x="4947331" y="1002753"/>
                </a:lnTo>
                <a:lnTo>
                  <a:pt x="4946686" y="1003447"/>
                </a:lnTo>
                <a:cubicBezTo>
                  <a:pt x="4946686" y="1003447"/>
                  <a:pt x="4944567" y="1005675"/>
                  <a:pt x="4937711" y="1005188"/>
                </a:cubicBezTo>
                <a:cubicBezTo>
                  <a:pt x="4937711" y="1005188"/>
                  <a:pt x="4927738" y="1004275"/>
                  <a:pt x="4927678" y="1007174"/>
                </a:cubicBezTo>
                <a:cubicBezTo>
                  <a:pt x="4927678" y="1007174"/>
                  <a:pt x="4926825" y="1008951"/>
                  <a:pt x="4933876" y="1016915"/>
                </a:cubicBezTo>
                <a:lnTo>
                  <a:pt x="4935617" y="1018863"/>
                </a:lnTo>
                <a:lnTo>
                  <a:pt x="4936640" y="1020081"/>
                </a:lnTo>
                <a:lnTo>
                  <a:pt x="4937858" y="1021834"/>
                </a:lnTo>
                <a:cubicBezTo>
                  <a:pt x="4938272" y="1022455"/>
                  <a:pt x="4938698" y="1023052"/>
                  <a:pt x="4939075" y="1023709"/>
                </a:cubicBezTo>
                <a:cubicBezTo>
                  <a:pt x="4939453" y="1024367"/>
                  <a:pt x="4939648" y="1024696"/>
                  <a:pt x="4939940" y="1025195"/>
                </a:cubicBezTo>
                <a:cubicBezTo>
                  <a:pt x="4939940" y="1025195"/>
                  <a:pt x="4940768" y="1026790"/>
                  <a:pt x="4940269" y="1027217"/>
                </a:cubicBezTo>
                <a:cubicBezTo>
                  <a:pt x="4940269" y="1027217"/>
                  <a:pt x="4936932" y="1029518"/>
                  <a:pt x="4939233" y="1034121"/>
                </a:cubicBezTo>
                <a:lnTo>
                  <a:pt x="4940524" y="1036556"/>
                </a:lnTo>
                <a:lnTo>
                  <a:pt x="4941912" y="1038699"/>
                </a:lnTo>
                <a:lnTo>
                  <a:pt x="4944165" y="1041938"/>
                </a:lnTo>
                <a:lnTo>
                  <a:pt x="4945602" y="1044130"/>
                </a:lnTo>
                <a:lnTo>
                  <a:pt x="4946601" y="1045847"/>
                </a:lnTo>
                <a:cubicBezTo>
                  <a:pt x="4946601" y="1045847"/>
                  <a:pt x="4957791" y="1051193"/>
                  <a:pt x="4962369" y="1047954"/>
                </a:cubicBezTo>
                <a:cubicBezTo>
                  <a:pt x="4962369" y="1047954"/>
                  <a:pt x="4964610" y="1046553"/>
                  <a:pt x="4968251" y="1040136"/>
                </a:cubicBezTo>
                <a:lnTo>
                  <a:pt x="4970747" y="1035630"/>
                </a:lnTo>
                <a:lnTo>
                  <a:pt x="4971880" y="1033719"/>
                </a:lnTo>
                <a:cubicBezTo>
                  <a:pt x="4971880" y="1033719"/>
                  <a:pt x="4978175" y="1041098"/>
                  <a:pt x="4983034" y="1043740"/>
                </a:cubicBezTo>
                <a:cubicBezTo>
                  <a:pt x="4986114" y="1045518"/>
                  <a:pt x="4989646" y="1046395"/>
                  <a:pt x="4993202" y="1046249"/>
                </a:cubicBezTo>
                <a:lnTo>
                  <a:pt x="4993786" y="1046249"/>
                </a:lnTo>
                <a:lnTo>
                  <a:pt x="4994042" y="1046249"/>
                </a:lnTo>
                <a:cubicBezTo>
                  <a:pt x="4994358" y="1046236"/>
                  <a:pt x="4994675" y="1046298"/>
                  <a:pt x="4994955" y="1046431"/>
                </a:cubicBezTo>
                <a:cubicBezTo>
                  <a:pt x="4995734" y="1046736"/>
                  <a:pt x="4996489" y="1047113"/>
                  <a:pt x="4997195" y="1047564"/>
                </a:cubicBezTo>
                <a:lnTo>
                  <a:pt x="4998315" y="1048185"/>
                </a:lnTo>
                <a:lnTo>
                  <a:pt x="4998852" y="1048465"/>
                </a:lnTo>
                <a:cubicBezTo>
                  <a:pt x="4999461" y="1048769"/>
                  <a:pt x="5000093" y="1049038"/>
                  <a:pt x="5000751" y="1049244"/>
                </a:cubicBezTo>
                <a:lnTo>
                  <a:pt x="5001567" y="1049500"/>
                </a:lnTo>
                <a:lnTo>
                  <a:pt x="5002870" y="1049865"/>
                </a:lnTo>
                <a:cubicBezTo>
                  <a:pt x="5004818" y="1050474"/>
                  <a:pt x="5006888" y="1050535"/>
                  <a:pt x="5008861" y="1050048"/>
                </a:cubicBezTo>
                <a:cubicBezTo>
                  <a:pt x="5008861" y="1050048"/>
                  <a:pt x="5011686" y="1049622"/>
                  <a:pt x="5011004" y="1047053"/>
                </a:cubicBezTo>
                <a:cubicBezTo>
                  <a:pt x="5011004" y="1047053"/>
                  <a:pt x="5010529" y="1044994"/>
                  <a:pt x="5006425" y="1040489"/>
                </a:cubicBezTo>
                <a:cubicBezTo>
                  <a:pt x="5003284" y="1037055"/>
                  <a:pt x="4999387" y="1034388"/>
                  <a:pt x="4995040" y="1032733"/>
                </a:cubicBezTo>
                <a:cubicBezTo>
                  <a:pt x="4995040" y="1032733"/>
                  <a:pt x="4988745" y="1030163"/>
                  <a:pt x="4984921" y="1028726"/>
                </a:cubicBezTo>
                <a:lnTo>
                  <a:pt x="4977712" y="1025999"/>
                </a:lnTo>
                <a:lnTo>
                  <a:pt x="4969907" y="1029895"/>
                </a:lnTo>
                <a:cubicBezTo>
                  <a:pt x="4964220" y="1024477"/>
                  <a:pt x="4958546" y="1019058"/>
                  <a:pt x="4952860" y="1013663"/>
                </a:cubicBezTo>
                <a:lnTo>
                  <a:pt x="4954162" y="1013213"/>
                </a:lnTo>
                <a:cubicBezTo>
                  <a:pt x="4961882" y="1017316"/>
                  <a:pt x="4969590" y="1021457"/>
                  <a:pt x="4977298" y="1025633"/>
                </a:cubicBezTo>
                <a:lnTo>
                  <a:pt x="4977590" y="1025791"/>
                </a:lnTo>
                <a:lnTo>
                  <a:pt x="4978272" y="1025791"/>
                </a:lnTo>
                <a:lnTo>
                  <a:pt x="4979247" y="1025791"/>
                </a:lnTo>
                <a:cubicBezTo>
                  <a:pt x="4981512" y="1025889"/>
                  <a:pt x="4983764" y="1026255"/>
                  <a:pt x="4985944" y="1026900"/>
                </a:cubicBezTo>
                <a:cubicBezTo>
                  <a:pt x="4991314" y="1028337"/>
                  <a:pt x="4996513" y="1030382"/>
                  <a:pt x="5001421" y="1032988"/>
                </a:cubicBezTo>
                <a:cubicBezTo>
                  <a:pt x="5005196" y="1034949"/>
                  <a:pt x="5008727" y="1037323"/>
                  <a:pt x="5011966" y="1040087"/>
                </a:cubicBezTo>
                <a:cubicBezTo>
                  <a:pt x="5013391" y="1041341"/>
                  <a:pt x="5014511" y="1042900"/>
                  <a:pt x="5015242" y="1044654"/>
                </a:cubicBezTo>
                <a:cubicBezTo>
                  <a:pt x="5015449" y="1045250"/>
                  <a:pt x="5015667" y="1045871"/>
                  <a:pt x="5015887" y="1046420"/>
                </a:cubicBezTo>
                <a:lnTo>
                  <a:pt x="5016471" y="1047893"/>
                </a:lnTo>
                <a:cubicBezTo>
                  <a:pt x="5016581" y="1048124"/>
                  <a:pt x="5016678" y="1048367"/>
                  <a:pt x="5016788" y="1048599"/>
                </a:cubicBezTo>
                <a:cubicBezTo>
                  <a:pt x="5016995" y="1049049"/>
                  <a:pt x="5017202" y="1049500"/>
                  <a:pt x="5017397" y="1049951"/>
                </a:cubicBezTo>
                <a:lnTo>
                  <a:pt x="5018493" y="1052471"/>
                </a:lnTo>
                <a:cubicBezTo>
                  <a:pt x="5018846" y="1053251"/>
                  <a:pt x="5019187" y="1054030"/>
                  <a:pt x="5019528" y="1054809"/>
                </a:cubicBezTo>
                <a:cubicBezTo>
                  <a:pt x="5019771" y="1055320"/>
                  <a:pt x="5020027" y="1055832"/>
                  <a:pt x="5020271" y="1056331"/>
                </a:cubicBezTo>
                <a:lnTo>
                  <a:pt x="5021488" y="1058596"/>
                </a:lnTo>
                <a:cubicBezTo>
                  <a:pt x="5021488" y="1058596"/>
                  <a:pt x="5024142" y="1063467"/>
                  <a:pt x="5028064" y="1065695"/>
                </a:cubicBezTo>
                <a:cubicBezTo>
                  <a:pt x="5028539" y="1065975"/>
                  <a:pt x="5029038" y="1066219"/>
                  <a:pt x="5029550" y="1066426"/>
                </a:cubicBezTo>
                <a:cubicBezTo>
                  <a:pt x="5030535" y="1066816"/>
                  <a:pt x="5031570" y="1067072"/>
                  <a:pt x="5032618" y="1067205"/>
                </a:cubicBezTo>
                <a:cubicBezTo>
                  <a:pt x="5034980" y="1067400"/>
                  <a:pt x="5037343" y="1067303"/>
                  <a:pt x="5039680" y="1066913"/>
                </a:cubicBezTo>
                <a:lnTo>
                  <a:pt x="5045245" y="1066146"/>
                </a:lnTo>
                <a:lnTo>
                  <a:pt x="5047364" y="1065829"/>
                </a:lnTo>
                <a:lnTo>
                  <a:pt x="5050275" y="1065428"/>
                </a:lnTo>
                <a:lnTo>
                  <a:pt x="5051772" y="1066706"/>
                </a:lnTo>
                <a:lnTo>
                  <a:pt x="5053854" y="1068508"/>
                </a:lnTo>
                <a:lnTo>
                  <a:pt x="5055827" y="1070176"/>
                </a:lnTo>
                <a:cubicBezTo>
                  <a:pt x="5055827" y="1070176"/>
                  <a:pt x="5060697" y="1074475"/>
                  <a:pt x="5065154" y="1075632"/>
                </a:cubicBezTo>
                <a:cubicBezTo>
                  <a:pt x="5066457" y="1075973"/>
                  <a:pt x="5067821" y="1076094"/>
                  <a:pt x="5069161" y="1075985"/>
                </a:cubicBezTo>
                <a:lnTo>
                  <a:pt x="5070378" y="1075790"/>
                </a:lnTo>
                <a:lnTo>
                  <a:pt x="5070536" y="1075790"/>
                </a:lnTo>
                <a:cubicBezTo>
                  <a:pt x="5070536" y="1075790"/>
                  <a:pt x="5070707" y="1075644"/>
                  <a:pt x="5071547" y="1075924"/>
                </a:cubicBezTo>
                <a:lnTo>
                  <a:pt x="5071973" y="1076094"/>
                </a:lnTo>
                <a:lnTo>
                  <a:pt x="5072387" y="1076277"/>
                </a:lnTo>
                <a:lnTo>
                  <a:pt x="5072655" y="1076423"/>
                </a:lnTo>
                <a:lnTo>
                  <a:pt x="5072838" y="1076545"/>
                </a:lnTo>
                <a:cubicBezTo>
                  <a:pt x="5072911" y="1076594"/>
                  <a:pt x="5072996" y="1076654"/>
                  <a:pt x="5073057" y="1076715"/>
                </a:cubicBezTo>
                <a:lnTo>
                  <a:pt x="5073167" y="1076813"/>
                </a:lnTo>
                <a:lnTo>
                  <a:pt x="5073313" y="1076959"/>
                </a:lnTo>
                <a:lnTo>
                  <a:pt x="5073532" y="1077178"/>
                </a:lnTo>
                <a:lnTo>
                  <a:pt x="5073836" y="1077458"/>
                </a:lnTo>
                <a:cubicBezTo>
                  <a:pt x="5075298" y="1078895"/>
                  <a:pt x="5076990" y="1080088"/>
                  <a:pt x="5078841" y="1080977"/>
                </a:cubicBezTo>
                <a:cubicBezTo>
                  <a:pt x="5080193" y="1081562"/>
                  <a:pt x="5081654" y="1081842"/>
                  <a:pt x="5083128" y="1081781"/>
                </a:cubicBezTo>
                <a:cubicBezTo>
                  <a:pt x="5083943" y="1081744"/>
                  <a:pt x="5084759" y="1081635"/>
                  <a:pt x="5085563" y="1081440"/>
                </a:cubicBezTo>
                <a:lnTo>
                  <a:pt x="5087390" y="1081111"/>
                </a:lnTo>
                <a:lnTo>
                  <a:pt x="5088546" y="1082329"/>
                </a:lnTo>
                <a:lnTo>
                  <a:pt x="5089532" y="1083388"/>
                </a:lnTo>
                <a:cubicBezTo>
                  <a:pt x="5089532" y="1083388"/>
                  <a:pt x="5092881" y="1087041"/>
                  <a:pt x="5093612" y="1087723"/>
                </a:cubicBezTo>
                <a:lnTo>
                  <a:pt x="5094111" y="1088198"/>
                </a:lnTo>
                <a:lnTo>
                  <a:pt x="5094623" y="1088637"/>
                </a:lnTo>
                <a:cubicBezTo>
                  <a:pt x="5095207" y="1089148"/>
                  <a:pt x="5095901" y="1089537"/>
                  <a:pt x="5096643" y="1089769"/>
                </a:cubicBezTo>
                <a:cubicBezTo>
                  <a:pt x="5097727" y="1090049"/>
                  <a:pt x="5098860" y="1090086"/>
                  <a:pt x="5099968" y="1089891"/>
                </a:cubicBezTo>
                <a:cubicBezTo>
                  <a:pt x="5100967" y="1089684"/>
                  <a:pt x="5101904" y="1089270"/>
                  <a:pt x="5102720" y="1088673"/>
                </a:cubicBezTo>
                <a:cubicBezTo>
                  <a:pt x="5103231" y="1088235"/>
                  <a:pt x="5103645" y="1087687"/>
                  <a:pt x="5103938" y="1087066"/>
                </a:cubicBezTo>
                <a:cubicBezTo>
                  <a:pt x="5104814" y="1085337"/>
                  <a:pt x="5105533" y="1083535"/>
                  <a:pt x="5106081" y="1081671"/>
                </a:cubicBezTo>
                <a:cubicBezTo>
                  <a:pt x="5106446" y="1080088"/>
                  <a:pt x="5106677" y="1078481"/>
                  <a:pt x="5106751" y="1076862"/>
                </a:cubicBezTo>
                <a:cubicBezTo>
                  <a:pt x="5106751" y="1076472"/>
                  <a:pt x="5106751" y="1076070"/>
                  <a:pt x="5106751" y="1075644"/>
                </a:cubicBezTo>
                <a:cubicBezTo>
                  <a:pt x="5106751" y="1075449"/>
                  <a:pt x="5106751" y="1075254"/>
                  <a:pt x="5106751" y="1075060"/>
                </a:cubicBezTo>
                <a:cubicBezTo>
                  <a:pt x="5106751" y="1074865"/>
                  <a:pt x="5106751" y="1074621"/>
                  <a:pt x="5106811" y="1074390"/>
                </a:cubicBezTo>
                <a:cubicBezTo>
                  <a:pt x="5106872" y="1074158"/>
                  <a:pt x="5106921" y="1073574"/>
                  <a:pt x="5106982" y="1073172"/>
                </a:cubicBezTo>
                <a:cubicBezTo>
                  <a:pt x="5107043" y="1072770"/>
                  <a:pt x="5107177" y="1072271"/>
                  <a:pt x="5107286" y="1071820"/>
                </a:cubicBezTo>
                <a:cubicBezTo>
                  <a:pt x="5107396" y="1071370"/>
                  <a:pt x="5107506" y="1071029"/>
                  <a:pt x="5107603" y="1070603"/>
                </a:cubicBezTo>
                <a:cubicBezTo>
                  <a:pt x="5107700" y="1070176"/>
                  <a:pt x="5107944" y="1069494"/>
                  <a:pt x="5108102" y="1068947"/>
                </a:cubicBezTo>
                <a:cubicBezTo>
                  <a:pt x="5108260" y="1068399"/>
                  <a:pt x="5108455" y="1067729"/>
                  <a:pt x="5108626" y="1067193"/>
                </a:cubicBezTo>
                <a:cubicBezTo>
                  <a:pt x="5108796" y="1066414"/>
                  <a:pt x="5108979" y="1065623"/>
                  <a:pt x="5109149" y="1064831"/>
                </a:cubicBezTo>
                <a:cubicBezTo>
                  <a:pt x="5109357" y="1063053"/>
                  <a:pt x="5109295" y="1061251"/>
                  <a:pt x="5108967" y="1059485"/>
                </a:cubicBezTo>
                <a:cubicBezTo>
                  <a:pt x="5108626" y="1058097"/>
                  <a:pt x="5108126" y="1056757"/>
                  <a:pt x="5107469" y="1055479"/>
                </a:cubicBezTo>
                <a:cubicBezTo>
                  <a:pt x="5107469" y="1055479"/>
                  <a:pt x="5110854" y="1055479"/>
                  <a:pt x="5111511" y="1052702"/>
                </a:cubicBezTo>
                <a:cubicBezTo>
                  <a:pt x="5111816" y="1051010"/>
                  <a:pt x="5111853" y="1049269"/>
                  <a:pt x="5111609" y="1047564"/>
                </a:cubicBezTo>
                <a:cubicBezTo>
                  <a:pt x="5111609" y="1047211"/>
                  <a:pt x="5111609" y="1046870"/>
                  <a:pt x="5111609" y="1046517"/>
                </a:cubicBezTo>
                <a:cubicBezTo>
                  <a:pt x="5111609" y="1046163"/>
                  <a:pt x="5111609" y="1046066"/>
                  <a:pt x="5111609" y="1045847"/>
                </a:cubicBezTo>
                <a:cubicBezTo>
                  <a:pt x="5111609" y="1045628"/>
                  <a:pt x="5111609" y="1045482"/>
                  <a:pt x="5111670" y="1045299"/>
                </a:cubicBezTo>
                <a:lnTo>
                  <a:pt x="5111853" y="1044471"/>
                </a:lnTo>
                <a:cubicBezTo>
                  <a:pt x="5111999" y="1043923"/>
                  <a:pt x="5112157" y="1043400"/>
                  <a:pt x="5112303" y="1042852"/>
                </a:cubicBezTo>
                <a:cubicBezTo>
                  <a:pt x="5112449" y="1042303"/>
                  <a:pt x="5112510" y="1041719"/>
                  <a:pt x="5112620" y="1041147"/>
                </a:cubicBezTo>
                <a:cubicBezTo>
                  <a:pt x="5112961" y="1036970"/>
                  <a:pt x="5112425" y="1032769"/>
                  <a:pt x="5111061" y="1028799"/>
                </a:cubicBezTo>
                <a:cubicBezTo>
                  <a:pt x="5109527" y="1024014"/>
                  <a:pt x="5107384" y="1019436"/>
                  <a:pt x="5104693" y="1015198"/>
                </a:cubicBezTo>
                <a:cubicBezTo>
                  <a:pt x="5104693" y="1015198"/>
                  <a:pt x="5099725" y="1006747"/>
                  <a:pt x="5097654" y="1003983"/>
                </a:cubicBezTo>
                <a:cubicBezTo>
                  <a:pt x="5095743" y="1000951"/>
                  <a:pt x="5093015" y="998515"/>
                  <a:pt x="5089764" y="996993"/>
                </a:cubicBezTo>
                <a:cubicBezTo>
                  <a:pt x="5089764" y="996993"/>
                  <a:pt x="5084162" y="994558"/>
                  <a:pt x="5079328" y="995167"/>
                </a:cubicBezTo>
                <a:cubicBezTo>
                  <a:pt x="5074494" y="995776"/>
                  <a:pt x="5079170" y="995167"/>
                  <a:pt x="5079182" y="995167"/>
                </a:cubicBezTo>
                <a:cubicBezTo>
                  <a:pt x="5079195" y="995167"/>
                  <a:pt x="5076053" y="995435"/>
                  <a:pt x="5077136" y="1001487"/>
                </a:cubicBezTo>
                <a:cubicBezTo>
                  <a:pt x="5077282" y="1002704"/>
                  <a:pt x="5077429" y="1003922"/>
                  <a:pt x="5077587" y="1005066"/>
                </a:cubicBezTo>
                <a:lnTo>
                  <a:pt x="5078135" y="1010145"/>
                </a:lnTo>
                <a:cubicBezTo>
                  <a:pt x="5078135" y="1010145"/>
                  <a:pt x="5079353" y="1017548"/>
                  <a:pt x="5077075" y="1023746"/>
                </a:cubicBezTo>
                <a:cubicBezTo>
                  <a:pt x="5077075" y="1023746"/>
                  <a:pt x="5075213" y="1030590"/>
                  <a:pt x="5068820" y="1031832"/>
                </a:cubicBezTo>
                <a:cubicBezTo>
                  <a:pt x="5068820" y="1031832"/>
                  <a:pt x="5063949" y="1033561"/>
                  <a:pt x="5054366" y="1031539"/>
                </a:cubicBezTo>
                <a:lnTo>
                  <a:pt x="5049690" y="1030407"/>
                </a:lnTo>
                <a:cubicBezTo>
                  <a:pt x="5046877" y="1027217"/>
                  <a:pt x="5044052" y="1024026"/>
                  <a:pt x="5041239" y="1020824"/>
                </a:cubicBezTo>
                <a:lnTo>
                  <a:pt x="5037136" y="1022711"/>
                </a:lnTo>
                <a:lnTo>
                  <a:pt x="5033957" y="1024184"/>
                </a:lnTo>
                <a:lnTo>
                  <a:pt x="5030767" y="1025670"/>
                </a:lnTo>
                <a:lnTo>
                  <a:pt x="5025896" y="1027911"/>
                </a:lnTo>
                <a:lnTo>
                  <a:pt x="5023351" y="1029128"/>
                </a:lnTo>
                <a:cubicBezTo>
                  <a:pt x="5018115" y="1026230"/>
                  <a:pt x="5012867" y="1023344"/>
                  <a:pt x="5007607" y="1020483"/>
                </a:cubicBezTo>
                <a:cubicBezTo>
                  <a:pt x="5003941" y="1018400"/>
                  <a:pt x="5000252" y="1016343"/>
                  <a:pt x="4996526" y="1014333"/>
                </a:cubicBezTo>
                <a:close/>
                <a:moveTo>
                  <a:pt x="5091712" y="984792"/>
                </a:moveTo>
                <a:lnTo>
                  <a:pt x="5096108" y="988908"/>
                </a:lnTo>
                <a:lnTo>
                  <a:pt x="5101320" y="993779"/>
                </a:lnTo>
                <a:lnTo>
                  <a:pt x="5110246" y="1002193"/>
                </a:lnTo>
                <a:lnTo>
                  <a:pt x="5118172" y="1009706"/>
                </a:lnTo>
                <a:lnTo>
                  <a:pt x="5119683" y="1011058"/>
                </a:lnTo>
                <a:lnTo>
                  <a:pt x="5121485" y="1011252"/>
                </a:lnTo>
                <a:lnTo>
                  <a:pt x="5122422" y="1011350"/>
                </a:lnTo>
                <a:lnTo>
                  <a:pt x="5122861" y="1011350"/>
                </a:lnTo>
                <a:cubicBezTo>
                  <a:pt x="5122970" y="1011326"/>
                  <a:pt x="5123079" y="1011289"/>
                  <a:pt x="5123165" y="1011216"/>
                </a:cubicBezTo>
                <a:lnTo>
                  <a:pt x="5123494" y="1010948"/>
                </a:lnTo>
                <a:lnTo>
                  <a:pt x="5124090" y="1010474"/>
                </a:lnTo>
                <a:lnTo>
                  <a:pt x="5124967" y="1009840"/>
                </a:lnTo>
                <a:cubicBezTo>
                  <a:pt x="5124967" y="1009840"/>
                  <a:pt x="5129485" y="1005675"/>
                  <a:pt x="5138130" y="1010790"/>
                </a:cubicBezTo>
                <a:cubicBezTo>
                  <a:pt x="5139701" y="1011679"/>
                  <a:pt x="5141211" y="1012677"/>
                  <a:pt x="5142648" y="1013761"/>
                </a:cubicBezTo>
                <a:lnTo>
                  <a:pt x="5143768" y="1014601"/>
                </a:lnTo>
                <a:lnTo>
                  <a:pt x="5144901" y="1015478"/>
                </a:lnTo>
                <a:cubicBezTo>
                  <a:pt x="5144901" y="1015478"/>
                  <a:pt x="5148736" y="1018571"/>
                  <a:pt x="5152012" y="1016866"/>
                </a:cubicBezTo>
                <a:cubicBezTo>
                  <a:pt x="5152791" y="1016318"/>
                  <a:pt x="5153169" y="1015356"/>
                  <a:pt x="5152949" y="1014431"/>
                </a:cubicBezTo>
                <a:cubicBezTo>
                  <a:pt x="5152828" y="1013737"/>
                  <a:pt x="5152621" y="1013055"/>
                  <a:pt x="5152316" y="1012421"/>
                </a:cubicBezTo>
                <a:cubicBezTo>
                  <a:pt x="5151999" y="1011703"/>
                  <a:pt x="5151683" y="1010972"/>
                  <a:pt x="5151354" y="1010254"/>
                </a:cubicBezTo>
                <a:lnTo>
                  <a:pt x="5148761" y="1004555"/>
                </a:lnTo>
                <a:cubicBezTo>
                  <a:pt x="5147872" y="1002631"/>
                  <a:pt x="5146970" y="1000708"/>
                  <a:pt x="5146082" y="998796"/>
                </a:cubicBezTo>
                <a:lnTo>
                  <a:pt x="5143890" y="994084"/>
                </a:lnTo>
                <a:cubicBezTo>
                  <a:pt x="5141930" y="993304"/>
                  <a:pt x="5140018" y="992403"/>
                  <a:pt x="5138179" y="991380"/>
                </a:cubicBezTo>
                <a:cubicBezTo>
                  <a:pt x="5135281" y="989700"/>
                  <a:pt x="5132553" y="987751"/>
                  <a:pt x="5130020" y="985560"/>
                </a:cubicBezTo>
                <a:cubicBezTo>
                  <a:pt x="5130020" y="985560"/>
                  <a:pt x="5126976" y="983124"/>
                  <a:pt x="5119208" y="974807"/>
                </a:cubicBezTo>
                <a:lnTo>
                  <a:pt x="5112133" y="967233"/>
                </a:lnTo>
                <a:cubicBezTo>
                  <a:pt x="5109600" y="964567"/>
                  <a:pt x="5107079" y="961900"/>
                  <a:pt x="5104534" y="959245"/>
                </a:cubicBezTo>
                <a:lnTo>
                  <a:pt x="5099858" y="954374"/>
                </a:lnTo>
                <a:cubicBezTo>
                  <a:pt x="5099858" y="954374"/>
                  <a:pt x="5092552" y="946606"/>
                  <a:pt x="5087888" y="942514"/>
                </a:cubicBezTo>
                <a:cubicBezTo>
                  <a:pt x="5084297" y="939360"/>
                  <a:pt x="5080449" y="936499"/>
                  <a:pt x="5076382" y="933991"/>
                </a:cubicBezTo>
                <a:cubicBezTo>
                  <a:pt x="5076564" y="934538"/>
                  <a:pt x="5076735" y="935086"/>
                  <a:pt x="5076905" y="935622"/>
                </a:cubicBezTo>
                <a:lnTo>
                  <a:pt x="5078220" y="939640"/>
                </a:lnTo>
                <a:cubicBezTo>
                  <a:pt x="5078573" y="940724"/>
                  <a:pt x="5078915" y="941820"/>
                  <a:pt x="5079267" y="942904"/>
                </a:cubicBezTo>
                <a:cubicBezTo>
                  <a:pt x="5079267" y="942904"/>
                  <a:pt x="5080582" y="947239"/>
                  <a:pt x="5080875" y="948493"/>
                </a:cubicBezTo>
                <a:cubicBezTo>
                  <a:pt x="5080875" y="948493"/>
                  <a:pt x="5081520" y="951428"/>
                  <a:pt x="5081666" y="952353"/>
                </a:cubicBezTo>
                <a:cubicBezTo>
                  <a:pt x="5081666" y="952353"/>
                  <a:pt x="5082129" y="955373"/>
                  <a:pt x="5082299" y="956847"/>
                </a:cubicBezTo>
                <a:cubicBezTo>
                  <a:pt x="5082470" y="958320"/>
                  <a:pt x="5082616" y="959818"/>
                  <a:pt x="5082786" y="961315"/>
                </a:cubicBezTo>
                <a:cubicBezTo>
                  <a:pt x="5082848" y="961924"/>
                  <a:pt x="5082920" y="962533"/>
                  <a:pt x="5082981" y="963142"/>
                </a:cubicBezTo>
                <a:cubicBezTo>
                  <a:pt x="5083042" y="963751"/>
                  <a:pt x="5083140" y="964420"/>
                  <a:pt x="5083213" y="965066"/>
                </a:cubicBezTo>
                <a:cubicBezTo>
                  <a:pt x="5079024" y="962545"/>
                  <a:pt x="5074835" y="960037"/>
                  <a:pt x="5070634" y="957516"/>
                </a:cubicBezTo>
                <a:lnTo>
                  <a:pt x="5067310" y="961230"/>
                </a:lnTo>
                <a:cubicBezTo>
                  <a:pt x="5065703" y="963081"/>
                  <a:pt x="5065021" y="965553"/>
                  <a:pt x="5065447" y="967964"/>
                </a:cubicBezTo>
                <a:lnTo>
                  <a:pt x="5066665" y="971228"/>
                </a:lnTo>
                <a:cubicBezTo>
                  <a:pt x="5067833" y="973833"/>
                  <a:pt x="5068990" y="976439"/>
                  <a:pt x="5070147" y="979045"/>
                </a:cubicBezTo>
                <a:cubicBezTo>
                  <a:pt x="5070683" y="980190"/>
                  <a:pt x="5071206" y="981346"/>
                  <a:pt x="5071742" y="982491"/>
                </a:cubicBezTo>
                <a:lnTo>
                  <a:pt x="5073507" y="986375"/>
                </a:lnTo>
                <a:lnTo>
                  <a:pt x="5076308" y="987751"/>
                </a:lnTo>
                <a:lnTo>
                  <a:pt x="5079876" y="989517"/>
                </a:lnTo>
                <a:cubicBezTo>
                  <a:pt x="5079876" y="989517"/>
                  <a:pt x="5082811" y="990881"/>
                  <a:pt x="5083651" y="990406"/>
                </a:cubicBezTo>
                <a:cubicBezTo>
                  <a:pt x="5083651" y="990406"/>
                  <a:pt x="5085624" y="989712"/>
                  <a:pt x="5087231" y="986363"/>
                </a:cubicBezTo>
                <a:lnTo>
                  <a:pt x="5088181" y="984549"/>
                </a:lnTo>
                <a:cubicBezTo>
                  <a:pt x="5088181" y="984549"/>
                  <a:pt x="5088814" y="983331"/>
                  <a:pt x="5089399" y="982588"/>
                </a:cubicBezTo>
                <a:close/>
                <a:moveTo>
                  <a:pt x="4799395" y="1041439"/>
                </a:moveTo>
                <a:cubicBezTo>
                  <a:pt x="4800612" y="1034937"/>
                  <a:pt x="4789933" y="1029128"/>
                  <a:pt x="4789933" y="1029140"/>
                </a:cubicBezTo>
                <a:cubicBezTo>
                  <a:pt x="4777623" y="1022480"/>
                  <a:pt x="4772094" y="1027922"/>
                  <a:pt x="4772094" y="1027922"/>
                </a:cubicBezTo>
                <a:lnTo>
                  <a:pt x="4765190" y="1033329"/>
                </a:lnTo>
                <a:cubicBezTo>
                  <a:pt x="4759589" y="1037774"/>
                  <a:pt x="4760660" y="1042303"/>
                  <a:pt x="4760660" y="1042291"/>
                </a:cubicBezTo>
                <a:cubicBezTo>
                  <a:pt x="4761366" y="1050706"/>
                  <a:pt x="4772411" y="1062018"/>
                  <a:pt x="4772423" y="1062042"/>
                </a:cubicBezTo>
                <a:cubicBezTo>
                  <a:pt x="4772959" y="1061799"/>
                  <a:pt x="4773507" y="1061579"/>
                  <a:pt x="4774055" y="1061348"/>
                </a:cubicBezTo>
                <a:lnTo>
                  <a:pt x="4776490" y="1060399"/>
                </a:lnTo>
                <a:lnTo>
                  <a:pt x="4779193" y="1059181"/>
                </a:lnTo>
                <a:lnTo>
                  <a:pt x="4780411" y="1058401"/>
                </a:lnTo>
                <a:lnTo>
                  <a:pt x="4783553" y="1055966"/>
                </a:lnTo>
                <a:lnTo>
                  <a:pt x="4786293" y="1053726"/>
                </a:lnTo>
                <a:lnTo>
                  <a:pt x="4789702" y="1050876"/>
                </a:lnTo>
                <a:lnTo>
                  <a:pt x="4792527" y="1048514"/>
                </a:lnTo>
                <a:lnTo>
                  <a:pt x="4795388" y="1046176"/>
                </a:lnTo>
                <a:cubicBezTo>
                  <a:pt x="4800600" y="1042583"/>
                  <a:pt x="4799456" y="1041451"/>
                  <a:pt x="4799443" y="1041451"/>
                </a:cubicBezTo>
                <a:close/>
                <a:moveTo>
                  <a:pt x="4465177" y="1289847"/>
                </a:moveTo>
                <a:lnTo>
                  <a:pt x="4467612" y="1292173"/>
                </a:lnTo>
                <a:cubicBezTo>
                  <a:pt x="4473165" y="1297153"/>
                  <a:pt x="4479107" y="1301683"/>
                  <a:pt x="4485366" y="1305738"/>
                </a:cubicBezTo>
                <a:cubicBezTo>
                  <a:pt x="4490553" y="1309111"/>
                  <a:pt x="4498103" y="1313141"/>
                  <a:pt x="4498103" y="1313141"/>
                </a:cubicBezTo>
                <a:cubicBezTo>
                  <a:pt x="4500952" y="1314760"/>
                  <a:pt x="4507844" y="1317902"/>
                  <a:pt x="4507844" y="1317915"/>
                </a:cubicBezTo>
                <a:lnTo>
                  <a:pt x="4510048" y="1318913"/>
                </a:lnTo>
                <a:cubicBezTo>
                  <a:pt x="4513117" y="1320252"/>
                  <a:pt x="4514798" y="1321202"/>
                  <a:pt x="4514785" y="1321202"/>
                </a:cubicBezTo>
                <a:cubicBezTo>
                  <a:pt x="4516112" y="1321945"/>
                  <a:pt x="4517342" y="1322858"/>
                  <a:pt x="4518438" y="1323930"/>
                </a:cubicBezTo>
                <a:cubicBezTo>
                  <a:pt x="4520131" y="1325428"/>
                  <a:pt x="4521945" y="1326803"/>
                  <a:pt x="4523857" y="1328021"/>
                </a:cubicBezTo>
                <a:cubicBezTo>
                  <a:pt x="4526865" y="1329896"/>
                  <a:pt x="4529982" y="1331577"/>
                  <a:pt x="4533197" y="1333062"/>
                </a:cubicBezTo>
                <a:lnTo>
                  <a:pt x="4537751" y="1335145"/>
                </a:lnTo>
                <a:lnTo>
                  <a:pt x="4541026" y="1336642"/>
                </a:lnTo>
                <a:lnTo>
                  <a:pt x="4542561" y="1337349"/>
                </a:lnTo>
                <a:lnTo>
                  <a:pt x="4544533" y="1338311"/>
                </a:lnTo>
                <a:lnTo>
                  <a:pt x="4545337" y="1338712"/>
                </a:lnTo>
                <a:cubicBezTo>
                  <a:pt x="4545776" y="1338907"/>
                  <a:pt x="4546238" y="1339041"/>
                  <a:pt x="4546713" y="1339127"/>
                </a:cubicBezTo>
                <a:cubicBezTo>
                  <a:pt x="4548016" y="1339467"/>
                  <a:pt x="4549392" y="1339345"/>
                  <a:pt x="4550622" y="1338798"/>
                </a:cubicBezTo>
                <a:cubicBezTo>
                  <a:pt x="4551925" y="1337726"/>
                  <a:pt x="4550378" y="1334840"/>
                  <a:pt x="4550378" y="1334828"/>
                </a:cubicBezTo>
                <a:cubicBezTo>
                  <a:pt x="4549806" y="1333489"/>
                  <a:pt x="4546932" y="1331638"/>
                  <a:pt x="4546908" y="1331638"/>
                </a:cubicBezTo>
                <a:lnTo>
                  <a:pt x="4544789" y="1330286"/>
                </a:lnTo>
                <a:lnTo>
                  <a:pt x="4543900" y="1329689"/>
                </a:lnTo>
                <a:lnTo>
                  <a:pt x="4540612" y="1327376"/>
                </a:lnTo>
                <a:cubicBezTo>
                  <a:pt x="4538019" y="1325695"/>
                  <a:pt x="4535595" y="1323747"/>
                  <a:pt x="4533404" y="1321568"/>
                </a:cubicBezTo>
                <a:lnTo>
                  <a:pt x="4530968" y="1319132"/>
                </a:lnTo>
                <a:cubicBezTo>
                  <a:pt x="4530079" y="1318206"/>
                  <a:pt x="4529178" y="1317293"/>
                  <a:pt x="4528277" y="1316368"/>
                </a:cubicBezTo>
                <a:lnTo>
                  <a:pt x="4524198" y="1312094"/>
                </a:lnTo>
                <a:lnTo>
                  <a:pt x="4522578" y="1310413"/>
                </a:lnTo>
                <a:lnTo>
                  <a:pt x="4522091" y="1309914"/>
                </a:lnTo>
                <a:cubicBezTo>
                  <a:pt x="4522298" y="1309829"/>
                  <a:pt x="4522530" y="1309805"/>
                  <a:pt x="4522761" y="1309829"/>
                </a:cubicBezTo>
                <a:cubicBezTo>
                  <a:pt x="4522956" y="1309853"/>
                  <a:pt x="4523151" y="1309902"/>
                  <a:pt x="4523333" y="1309975"/>
                </a:cubicBezTo>
                <a:lnTo>
                  <a:pt x="4523882" y="1310207"/>
                </a:lnTo>
                <a:cubicBezTo>
                  <a:pt x="4526975" y="1311424"/>
                  <a:pt x="4528338" y="1311302"/>
                  <a:pt x="4528338" y="1311278"/>
                </a:cubicBezTo>
                <a:cubicBezTo>
                  <a:pt x="4533209" y="1310645"/>
                  <a:pt x="4526646" y="1304045"/>
                  <a:pt x="4526646" y="1304032"/>
                </a:cubicBezTo>
                <a:cubicBezTo>
                  <a:pt x="4524831" y="1302486"/>
                  <a:pt x="4522810" y="1301208"/>
                  <a:pt x="4520630" y="1300234"/>
                </a:cubicBezTo>
                <a:cubicBezTo>
                  <a:pt x="4503047" y="1292416"/>
                  <a:pt x="4493926" y="1284598"/>
                  <a:pt x="4493926" y="1284598"/>
                </a:cubicBezTo>
                <a:lnTo>
                  <a:pt x="4491418" y="1282407"/>
                </a:lnTo>
                <a:lnTo>
                  <a:pt x="4489043" y="1280434"/>
                </a:lnTo>
                <a:lnTo>
                  <a:pt x="4484172" y="1276781"/>
                </a:lnTo>
                <a:cubicBezTo>
                  <a:pt x="4478912" y="1276574"/>
                  <a:pt x="4473737" y="1275405"/>
                  <a:pt x="4468891" y="1273335"/>
                </a:cubicBezTo>
                <a:cubicBezTo>
                  <a:pt x="4453840" y="1267393"/>
                  <a:pt x="4449517" y="1259843"/>
                  <a:pt x="4449517" y="1259831"/>
                </a:cubicBezTo>
                <a:cubicBezTo>
                  <a:pt x="4447593" y="1257225"/>
                  <a:pt x="4445207" y="1254996"/>
                  <a:pt x="4442467" y="1253267"/>
                </a:cubicBezTo>
                <a:lnTo>
                  <a:pt x="4440300" y="1251928"/>
                </a:lnTo>
                <a:lnTo>
                  <a:pt x="4438095" y="1250711"/>
                </a:lnTo>
                <a:cubicBezTo>
                  <a:pt x="4436354" y="1249907"/>
                  <a:pt x="4430862" y="1246266"/>
                  <a:pt x="4430862" y="1246266"/>
                </a:cubicBezTo>
                <a:lnTo>
                  <a:pt x="4429133" y="1245048"/>
                </a:lnTo>
                <a:lnTo>
                  <a:pt x="4426211" y="1242966"/>
                </a:lnTo>
                <a:lnTo>
                  <a:pt x="4423021" y="1240713"/>
                </a:lnTo>
                <a:cubicBezTo>
                  <a:pt x="4417419" y="1237060"/>
                  <a:pt x="4415946" y="1236731"/>
                  <a:pt x="4415958" y="1236743"/>
                </a:cubicBezTo>
                <a:cubicBezTo>
                  <a:pt x="4408591" y="1234052"/>
                  <a:pt x="4399848" y="1241310"/>
                  <a:pt x="4399860" y="1241310"/>
                </a:cubicBezTo>
                <a:cubicBezTo>
                  <a:pt x="4400494" y="1241919"/>
                  <a:pt x="4405486" y="1245572"/>
                  <a:pt x="4405486" y="1245572"/>
                </a:cubicBezTo>
                <a:cubicBezTo>
                  <a:pt x="4407130" y="1246729"/>
                  <a:pt x="4410734" y="1249712"/>
                  <a:pt x="4410722" y="1249712"/>
                </a:cubicBezTo>
                <a:cubicBezTo>
                  <a:pt x="4412000" y="1250820"/>
                  <a:pt x="4413206" y="1252013"/>
                  <a:pt x="4414314" y="1253292"/>
                </a:cubicBezTo>
                <a:cubicBezTo>
                  <a:pt x="4416335" y="1255435"/>
                  <a:pt x="4420403" y="1259137"/>
                  <a:pt x="4420403" y="1259137"/>
                </a:cubicBezTo>
                <a:cubicBezTo>
                  <a:pt x="4430059" y="1267661"/>
                  <a:pt x="4444269" y="1275064"/>
                  <a:pt x="4444269" y="1275064"/>
                </a:cubicBezTo>
                <a:cubicBezTo>
                  <a:pt x="4457481" y="1282139"/>
                  <a:pt x="4463557" y="1288288"/>
                  <a:pt x="4463545" y="1288288"/>
                </a:cubicBezTo>
                <a:close/>
                <a:moveTo>
                  <a:pt x="4770414" y="1146160"/>
                </a:moveTo>
                <a:cubicBezTo>
                  <a:pt x="4772971" y="1143724"/>
                  <a:pt x="4779887" y="1144078"/>
                  <a:pt x="4779887" y="1144066"/>
                </a:cubicBezTo>
                <a:lnTo>
                  <a:pt x="4782871" y="1143639"/>
                </a:lnTo>
                <a:cubicBezTo>
                  <a:pt x="4788825" y="1142117"/>
                  <a:pt x="4788326" y="1135883"/>
                  <a:pt x="4788326" y="1135895"/>
                </a:cubicBezTo>
                <a:cubicBezTo>
                  <a:pt x="4788326" y="1134738"/>
                  <a:pt x="4788326" y="1133581"/>
                  <a:pt x="4788326" y="1132425"/>
                </a:cubicBezTo>
                <a:lnTo>
                  <a:pt x="4787997" y="1128467"/>
                </a:lnTo>
                <a:cubicBezTo>
                  <a:pt x="4787827" y="1127006"/>
                  <a:pt x="4787644" y="1125545"/>
                  <a:pt x="4787462" y="1124083"/>
                </a:cubicBezTo>
                <a:cubicBezTo>
                  <a:pt x="4787279" y="1122622"/>
                  <a:pt x="4787108" y="1120917"/>
                  <a:pt x="4786926" y="1119334"/>
                </a:cubicBezTo>
                <a:cubicBezTo>
                  <a:pt x="4783090" y="1116302"/>
                  <a:pt x="4779242" y="1113246"/>
                  <a:pt x="4775394" y="1110238"/>
                </a:cubicBezTo>
                <a:cubicBezTo>
                  <a:pt x="4763144" y="1100327"/>
                  <a:pt x="4759771" y="1101982"/>
                  <a:pt x="4759771" y="1101970"/>
                </a:cubicBezTo>
                <a:cubicBezTo>
                  <a:pt x="4758822" y="1102104"/>
                  <a:pt x="4757945" y="1102530"/>
                  <a:pt x="4757251" y="1103188"/>
                </a:cubicBezTo>
                <a:cubicBezTo>
                  <a:pt x="4756569" y="1104028"/>
                  <a:pt x="4756057" y="1104990"/>
                  <a:pt x="4755753" y="1106025"/>
                </a:cubicBezTo>
                <a:lnTo>
                  <a:pt x="4755497" y="1107036"/>
                </a:lnTo>
                <a:cubicBezTo>
                  <a:pt x="4755497" y="1107365"/>
                  <a:pt x="4755387" y="1107705"/>
                  <a:pt x="4755339" y="1108046"/>
                </a:cubicBezTo>
                <a:cubicBezTo>
                  <a:pt x="4755412" y="1108278"/>
                  <a:pt x="4755351" y="1108533"/>
                  <a:pt x="4755180" y="1108704"/>
                </a:cubicBezTo>
                <a:lnTo>
                  <a:pt x="4754742" y="1109374"/>
                </a:lnTo>
                <a:lnTo>
                  <a:pt x="4753805" y="1111200"/>
                </a:lnTo>
                <a:lnTo>
                  <a:pt x="4753111" y="1112966"/>
                </a:lnTo>
                <a:lnTo>
                  <a:pt x="4752380" y="1114878"/>
                </a:lnTo>
                <a:lnTo>
                  <a:pt x="4751430" y="1116972"/>
                </a:lnTo>
                <a:cubicBezTo>
                  <a:pt x="4750310" y="1119201"/>
                  <a:pt x="4748240" y="1120795"/>
                  <a:pt x="4745792" y="1121307"/>
                </a:cubicBezTo>
                <a:cubicBezTo>
                  <a:pt x="4740800" y="1121904"/>
                  <a:pt x="4739339" y="1123268"/>
                  <a:pt x="4739339" y="1123268"/>
                </a:cubicBezTo>
                <a:cubicBezTo>
                  <a:pt x="4733847" y="1127347"/>
                  <a:pt x="4735686" y="1136224"/>
                  <a:pt x="4735686" y="1136224"/>
                </a:cubicBezTo>
                <a:cubicBezTo>
                  <a:pt x="4736441" y="1140011"/>
                  <a:pt x="4741080" y="1144686"/>
                  <a:pt x="4741080" y="1144686"/>
                </a:cubicBezTo>
                <a:lnTo>
                  <a:pt x="4745305" y="1148985"/>
                </a:lnTo>
                <a:cubicBezTo>
                  <a:pt x="4751722" y="1155439"/>
                  <a:pt x="4751954" y="1158629"/>
                  <a:pt x="4751954" y="1158641"/>
                </a:cubicBezTo>
                <a:cubicBezTo>
                  <a:pt x="4752027" y="1159019"/>
                  <a:pt x="4752551" y="1159457"/>
                  <a:pt x="4752551" y="1159469"/>
                </a:cubicBezTo>
                <a:cubicBezTo>
                  <a:pt x="4753987" y="1160663"/>
                  <a:pt x="4755595" y="1161625"/>
                  <a:pt x="4757311" y="1162331"/>
                </a:cubicBezTo>
                <a:lnTo>
                  <a:pt x="4759491" y="1163074"/>
                </a:lnTo>
                <a:cubicBezTo>
                  <a:pt x="4763327" y="1164656"/>
                  <a:pt x="4766639" y="1167299"/>
                  <a:pt x="4769026" y="1170696"/>
                </a:cubicBezTo>
                <a:lnTo>
                  <a:pt x="4772484" y="1175482"/>
                </a:lnTo>
                <a:cubicBezTo>
                  <a:pt x="4773689" y="1177223"/>
                  <a:pt x="4775090" y="1178806"/>
                  <a:pt x="4776672" y="1180206"/>
                </a:cubicBezTo>
                <a:lnTo>
                  <a:pt x="4780167" y="1183519"/>
                </a:lnTo>
                <a:lnTo>
                  <a:pt x="4784831" y="1187902"/>
                </a:lnTo>
                <a:lnTo>
                  <a:pt x="4788837" y="1191629"/>
                </a:lnTo>
                <a:cubicBezTo>
                  <a:pt x="4791053" y="1193674"/>
                  <a:pt x="4793270" y="1195707"/>
                  <a:pt x="4795486" y="1197717"/>
                </a:cubicBezTo>
                <a:lnTo>
                  <a:pt x="4797519" y="1199324"/>
                </a:lnTo>
                <a:lnTo>
                  <a:pt x="4801757" y="1202490"/>
                </a:lnTo>
                <a:cubicBezTo>
                  <a:pt x="4801757" y="1201662"/>
                  <a:pt x="4801757" y="1200834"/>
                  <a:pt x="4801757" y="1200055"/>
                </a:cubicBezTo>
                <a:cubicBezTo>
                  <a:pt x="4801757" y="1197741"/>
                  <a:pt x="4801757" y="1195440"/>
                  <a:pt x="4801757" y="1193126"/>
                </a:cubicBezTo>
                <a:cubicBezTo>
                  <a:pt x="4801757" y="1191640"/>
                  <a:pt x="4801672" y="1190143"/>
                  <a:pt x="4801623" y="1188657"/>
                </a:cubicBezTo>
                <a:cubicBezTo>
                  <a:pt x="4801367" y="1187281"/>
                  <a:pt x="4800710" y="1186003"/>
                  <a:pt x="4799736" y="1185004"/>
                </a:cubicBezTo>
                <a:lnTo>
                  <a:pt x="4798676" y="1183994"/>
                </a:lnTo>
                <a:lnTo>
                  <a:pt x="4794159" y="1179537"/>
                </a:lnTo>
                <a:cubicBezTo>
                  <a:pt x="4784685" y="1169564"/>
                  <a:pt x="4777111" y="1166922"/>
                  <a:pt x="4777111" y="1166909"/>
                </a:cubicBezTo>
                <a:cubicBezTo>
                  <a:pt x="4767735" y="1163439"/>
                  <a:pt x="4767991" y="1158447"/>
                  <a:pt x="4767991" y="1158447"/>
                </a:cubicBezTo>
                <a:cubicBezTo>
                  <a:pt x="4767991" y="1157947"/>
                  <a:pt x="4767991" y="1157448"/>
                  <a:pt x="4767991" y="1156936"/>
                </a:cubicBezTo>
                <a:cubicBezTo>
                  <a:pt x="4766895" y="1150568"/>
                  <a:pt x="4769488" y="1147122"/>
                  <a:pt x="4769488" y="1147134"/>
                </a:cubicBezTo>
                <a:close/>
                <a:moveTo>
                  <a:pt x="4744599" y="1157618"/>
                </a:moveTo>
                <a:cubicBezTo>
                  <a:pt x="4744599" y="1157618"/>
                  <a:pt x="4740593" y="1154879"/>
                  <a:pt x="4739557" y="1154294"/>
                </a:cubicBezTo>
                <a:cubicBezTo>
                  <a:pt x="4738499" y="1159579"/>
                  <a:pt x="4739144" y="1165058"/>
                  <a:pt x="4741408" y="1169941"/>
                </a:cubicBezTo>
                <a:cubicBezTo>
                  <a:pt x="4741408" y="1169941"/>
                  <a:pt x="4744209" y="1175823"/>
                  <a:pt x="4748045" y="1177893"/>
                </a:cubicBezTo>
                <a:cubicBezTo>
                  <a:pt x="4748983" y="1178611"/>
                  <a:pt x="4750067" y="1179135"/>
                  <a:pt x="4751211" y="1179439"/>
                </a:cubicBezTo>
                <a:cubicBezTo>
                  <a:pt x="4751211" y="1179439"/>
                  <a:pt x="4755083" y="1179914"/>
                  <a:pt x="4756873" y="1177540"/>
                </a:cubicBezTo>
                <a:cubicBezTo>
                  <a:pt x="4756873" y="1177540"/>
                  <a:pt x="4759248" y="1173473"/>
                  <a:pt x="4755741" y="1168151"/>
                </a:cubicBezTo>
                <a:cubicBezTo>
                  <a:pt x="4755789" y="1168212"/>
                  <a:pt x="4753232" y="1163573"/>
                  <a:pt x="4744648" y="1157667"/>
                </a:cubicBezTo>
                <a:close/>
                <a:moveTo>
                  <a:pt x="4761306" y="1195939"/>
                </a:moveTo>
                <a:lnTo>
                  <a:pt x="4758870" y="1199762"/>
                </a:lnTo>
                <a:cubicBezTo>
                  <a:pt x="4758200" y="1200968"/>
                  <a:pt x="4757604" y="1202222"/>
                  <a:pt x="4757080" y="1203501"/>
                </a:cubicBezTo>
                <a:cubicBezTo>
                  <a:pt x="4756922" y="1204024"/>
                  <a:pt x="4756922" y="1204572"/>
                  <a:pt x="4757080" y="1205096"/>
                </a:cubicBezTo>
                <a:cubicBezTo>
                  <a:pt x="4757324" y="1205778"/>
                  <a:pt x="4757616" y="1206435"/>
                  <a:pt x="4757957" y="1207081"/>
                </a:cubicBezTo>
                <a:cubicBezTo>
                  <a:pt x="4758529" y="1208043"/>
                  <a:pt x="4759224" y="1208932"/>
                  <a:pt x="4760015" y="1209723"/>
                </a:cubicBezTo>
                <a:cubicBezTo>
                  <a:pt x="4761062" y="1210308"/>
                  <a:pt x="4762195" y="1210721"/>
                  <a:pt x="4763375" y="1210941"/>
                </a:cubicBezTo>
                <a:lnTo>
                  <a:pt x="4764508" y="1211148"/>
                </a:lnTo>
                <a:lnTo>
                  <a:pt x="4765726" y="1211270"/>
                </a:lnTo>
                <a:lnTo>
                  <a:pt x="4767540" y="1211172"/>
                </a:lnTo>
                <a:cubicBezTo>
                  <a:pt x="4768453" y="1211075"/>
                  <a:pt x="4769366" y="1210953"/>
                  <a:pt x="4770280" y="1210843"/>
                </a:cubicBezTo>
                <a:lnTo>
                  <a:pt x="4771741" y="1210612"/>
                </a:lnTo>
                <a:lnTo>
                  <a:pt x="4773336" y="1210332"/>
                </a:lnTo>
                <a:lnTo>
                  <a:pt x="4775418" y="1209966"/>
                </a:lnTo>
                <a:lnTo>
                  <a:pt x="4776916" y="1209699"/>
                </a:lnTo>
                <a:lnTo>
                  <a:pt x="4778012" y="1209516"/>
                </a:lnTo>
                <a:lnTo>
                  <a:pt x="4778792" y="1209382"/>
                </a:lnTo>
                <a:cubicBezTo>
                  <a:pt x="4773592" y="1203890"/>
                  <a:pt x="4768381" y="1198423"/>
                  <a:pt x="4763144" y="1192967"/>
                </a:cubicBezTo>
                <a:cubicBezTo>
                  <a:pt x="4762597" y="1194027"/>
                  <a:pt x="4761975" y="1195002"/>
                  <a:pt x="4761354" y="1195987"/>
                </a:cubicBezTo>
                <a:close/>
                <a:moveTo>
                  <a:pt x="4773166" y="1213583"/>
                </a:moveTo>
                <a:cubicBezTo>
                  <a:pt x="4771400" y="1213510"/>
                  <a:pt x="4769623" y="1213668"/>
                  <a:pt x="4767893" y="1214034"/>
                </a:cubicBezTo>
                <a:cubicBezTo>
                  <a:pt x="4766115" y="1214326"/>
                  <a:pt x="4764569" y="1215398"/>
                  <a:pt x="4763668" y="1216956"/>
                </a:cubicBezTo>
                <a:cubicBezTo>
                  <a:pt x="4762669" y="1218807"/>
                  <a:pt x="4763668" y="1221656"/>
                  <a:pt x="4763668" y="1221656"/>
                </a:cubicBezTo>
                <a:cubicBezTo>
                  <a:pt x="4764459" y="1223678"/>
                  <a:pt x="4765555" y="1225565"/>
                  <a:pt x="4766907" y="1227258"/>
                </a:cubicBezTo>
                <a:cubicBezTo>
                  <a:pt x="4767905" y="1228536"/>
                  <a:pt x="4768989" y="1229754"/>
                  <a:pt x="4770134" y="1230911"/>
                </a:cubicBezTo>
                <a:cubicBezTo>
                  <a:pt x="4770487" y="1230911"/>
                  <a:pt x="4771839" y="1230911"/>
                  <a:pt x="4773787" y="1230789"/>
                </a:cubicBezTo>
                <a:cubicBezTo>
                  <a:pt x="4775735" y="1230667"/>
                  <a:pt x="4777793" y="1230278"/>
                  <a:pt x="4778987" y="1230217"/>
                </a:cubicBezTo>
                <a:lnTo>
                  <a:pt x="4779047" y="1230217"/>
                </a:lnTo>
                <a:cubicBezTo>
                  <a:pt x="4780447" y="1229973"/>
                  <a:pt x="4781823" y="1229632"/>
                  <a:pt x="4783175" y="1229194"/>
                </a:cubicBezTo>
                <a:cubicBezTo>
                  <a:pt x="4785002" y="1228597"/>
                  <a:pt x="4786718" y="1227708"/>
                  <a:pt x="4788265" y="1226576"/>
                </a:cubicBezTo>
                <a:cubicBezTo>
                  <a:pt x="4789446" y="1225626"/>
                  <a:pt x="4790445" y="1224457"/>
                  <a:pt x="4791188" y="1223130"/>
                </a:cubicBezTo>
                <a:cubicBezTo>
                  <a:pt x="4792040" y="1221596"/>
                  <a:pt x="4792515" y="1219891"/>
                  <a:pt x="4792600" y="1218138"/>
                </a:cubicBezTo>
                <a:cubicBezTo>
                  <a:pt x="4790640" y="1216432"/>
                  <a:pt x="4788362" y="1215130"/>
                  <a:pt x="4785891" y="1214314"/>
                </a:cubicBezTo>
                <a:cubicBezTo>
                  <a:pt x="4783869" y="1213705"/>
                  <a:pt x="4781763" y="1213425"/>
                  <a:pt x="4779644" y="1213461"/>
                </a:cubicBezTo>
                <a:lnTo>
                  <a:pt x="4777513" y="1213534"/>
                </a:lnTo>
                <a:lnTo>
                  <a:pt x="4775954" y="1213607"/>
                </a:lnTo>
                <a:lnTo>
                  <a:pt x="4774907" y="1213607"/>
                </a:lnTo>
                <a:close/>
                <a:moveTo>
                  <a:pt x="4798396" y="1208579"/>
                </a:moveTo>
                <a:cubicBezTo>
                  <a:pt x="4798335" y="1209638"/>
                  <a:pt x="4798274" y="1210710"/>
                  <a:pt x="4798214" y="1211757"/>
                </a:cubicBezTo>
                <a:cubicBezTo>
                  <a:pt x="4798214" y="1211854"/>
                  <a:pt x="4798214" y="1211939"/>
                  <a:pt x="4798214" y="1212025"/>
                </a:cubicBezTo>
                <a:lnTo>
                  <a:pt x="4798214" y="1212025"/>
                </a:lnTo>
                <a:lnTo>
                  <a:pt x="4798116" y="1211866"/>
                </a:lnTo>
                <a:lnTo>
                  <a:pt x="4796777" y="1209808"/>
                </a:lnTo>
                <a:lnTo>
                  <a:pt x="4795766" y="1208250"/>
                </a:lnTo>
                <a:lnTo>
                  <a:pt x="4788630" y="1197291"/>
                </a:lnTo>
                <a:cubicBezTo>
                  <a:pt x="4787182" y="1195062"/>
                  <a:pt x="4785720" y="1192846"/>
                  <a:pt x="4784247" y="1190618"/>
                </a:cubicBezTo>
                <a:cubicBezTo>
                  <a:pt x="4783809" y="1189936"/>
                  <a:pt x="4783358" y="1189266"/>
                  <a:pt x="4782920" y="1188596"/>
                </a:cubicBezTo>
                <a:cubicBezTo>
                  <a:pt x="4783053" y="1189424"/>
                  <a:pt x="4783175" y="1190252"/>
                  <a:pt x="4783309" y="1191032"/>
                </a:cubicBezTo>
                <a:cubicBezTo>
                  <a:pt x="4783687" y="1193382"/>
                  <a:pt x="4784052" y="1195744"/>
                  <a:pt x="4784429" y="1198082"/>
                </a:cubicBezTo>
                <a:lnTo>
                  <a:pt x="4785124" y="1202588"/>
                </a:lnTo>
                <a:cubicBezTo>
                  <a:pt x="4785124" y="1202916"/>
                  <a:pt x="4785221" y="1203245"/>
                  <a:pt x="4785282" y="1203573"/>
                </a:cubicBezTo>
                <a:cubicBezTo>
                  <a:pt x="4788618" y="1205729"/>
                  <a:pt x="4791955" y="1207897"/>
                  <a:pt x="4795279" y="1210064"/>
                </a:cubicBezTo>
                <a:lnTo>
                  <a:pt x="4797994" y="1211830"/>
                </a:lnTo>
                <a:lnTo>
                  <a:pt x="4798226" y="1211988"/>
                </a:lnTo>
                <a:cubicBezTo>
                  <a:pt x="4798226" y="1211988"/>
                  <a:pt x="4798226" y="1211988"/>
                  <a:pt x="4798226" y="1211988"/>
                </a:cubicBezTo>
                <a:lnTo>
                  <a:pt x="4798384" y="1212073"/>
                </a:lnTo>
                <a:lnTo>
                  <a:pt x="4798968" y="1212487"/>
                </a:lnTo>
                <a:cubicBezTo>
                  <a:pt x="4799967" y="1213181"/>
                  <a:pt x="4800905" y="1213973"/>
                  <a:pt x="4801769" y="1214837"/>
                </a:cubicBezTo>
                <a:cubicBezTo>
                  <a:pt x="4801769" y="1214837"/>
                  <a:pt x="4803742" y="1216712"/>
                  <a:pt x="4802037" y="1217809"/>
                </a:cubicBezTo>
                <a:cubicBezTo>
                  <a:pt x="4802037" y="1217809"/>
                  <a:pt x="4800345" y="1218673"/>
                  <a:pt x="4799882" y="1219026"/>
                </a:cubicBezTo>
                <a:cubicBezTo>
                  <a:pt x="4799115" y="1219550"/>
                  <a:pt x="4798408" y="1220158"/>
                  <a:pt x="4797775" y="1220829"/>
                </a:cubicBezTo>
                <a:cubicBezTo>
                  <a:pt x="4797130" y="1221620"/>
                  <a:pt x="4796606" y="1222509"/>
                  <a:pt x="4796253" y="1223458"/>
                </a:cubicBezTo>
                <a:cubicBezTo>
                  <a:pt x="4795839" y="1224810"/>
                  <a:pt x="4795705" y="1226235"/>
                  <a:pt x="4795851" y="1227647"/>
                </a:cubicBezTo>
                <a:lnTo>
                  <a:pt x="4795997" y="1228731"/>
                </a:lnTo>
                <a:cubicBezTo>
                  <a:pt x="4796460" y="1230753"/>
                  <a:pt x="4797081" y="1232737"/>
                  <a:pt x="4797848" y="1234661"/>
                </a:cubicBezTo>
                <a:cubicBezTo>
                  <a:pt x="4798006" y="1234990"/>
                  <a:pt x="4798153" y="1235331"/>
                  <a:pt x="4798299" y="1235672"/>
                </a:cubicBezTo>
                <a:lnTo>
                  <a:pt x="4799517" y="1238107"/>
                </a:lnTo>
                <a:lnTo>
                  <a:pt x="4801075" y="1241054"/>
                </a:lnTo>
                <a:lnTo>
                  <a:pt x="4802536" y="1243636"/>
                </a:lnTo>
                <a:cubicBezTo>
                  <a:pt x="4804363" y="1243940"/>
                  <a:pt x="4806238" y="1243696"/>
                  <a:pt x="4807931" y="1242954"/>
                </a:cubicBezTo>
                <a:cubicBezTo>
                  <a:pt x="4807931" y="1242954"/>
                  <a:pt x="4809769" y="1242150"/>
                  <a:pt x="4809392" y="1238619"/>
                </a:cubicBezTo>
                <a:lnTo>
                  <a:pt x="4809173" y="1236755"/>
                </a:lnTo>
                <a:cubicBezTo>
                  <a:pt x="4809173" y="1236317"/>
                  <a:pt x="4809075" y="1235867"/>
                  <a:pt x="4809039" y="1235428"/>
                </a:cubicBezTo>
                <a:cubicBezTo>
                  <a:pt x="4809002" y="1234990"/>
                  <a:pt x="4809039" y="1234734"/>
                  <a:pt x="4809039" y="1234381"/>
                </a:cubicBezTo>
                <a:cubicBezTo>
                  <a:pt x="4809063" y="1234028"/>
                  <a:pt x="4809136" y="1233687"/>
                  <a:pt x="4809246" y="1233346"/>
                </a:cubicBezTo>
                <a:lnTo>
                  <a:pt x="4810159" y="1233346"/>
                </a:lnTo>
                <a:lnTo>
                  <a:pt x="4811243" y="1233346"/>
                </a:lnTo>
                <a:lnTo>
                  <a:pt x="4812716" y="1233444"/>
                </a:lnTo>
                <a:lnTo>
                  <a:pt x="4814469" y="1233566"/>
                </a:lnTo>
                <a:lnTo>
                  <a:pt x="4815553" y="1233566"/>
                </a:lnTo>
                <a:lnTo>
                  <a:pt x="4816247" y="1233566"/>
                </a:lnTo>
                <a:cubicBezTo>
                  <a:pt x="4817173" y="1233639"/>
                  <a:pt x="4818086" y="1233261"/>
                  <a:pt x="4818683" y="1232542"/>
                </a:cubicBezTo>
                <a:cubicBezTo>
                  <a:pt x="4819353" y="1231726"/>
                  <a:pt x="4819888" y="1230801"/>
                  <a:pt x="4820278" y="1229815"/>
                </a:cubicBezTo>
                <a:cubicBezTo>
                  <a:pt x="4820278" y="1229815"/>
                  <a:pt x="4821922" y="1226527"/>
                  <a:pt x="4819158" y="1221376"/>
                </a:cubicBezTo>
                <a:cubicBezTo>
                  <a:pt x="4819158" y="1221376"/>
                  <a:pt x="4817380" y="1217090"/>
                  <a:pt x="4809221" y="1211123"/>
                </a:cubicBezTo>
                <a:cubicBezTo>
                  <a:pt x="4805897" y="1208834"/>
                  <a:pt x="4802390" y="1206837"/>
                  <a:pt x="4798725" y="1205157"/>
                </a:cubicBezTo>
                <a:cubicBezTo>
                  <a:pt x="4798579" y="1206399"/>
                  <a:pt x="4798518" y="1207519"/>
                  <a:pt x="4798445" y="1208627"/>
                </a:cubicBezTo>
                <a:close/>
                <a:moveTo>
                  <a:pt x="4791395" y="1295752"/>
                </a:moveTo>
                <a:cubicBezTo>
                  <a:pt x="4791991" y="1295046"/>
                  <a:pt x="4792612" y="1294340"/>
                  <a:pt x="4793172" y="1293646"/>
                </a:cubicBezTo>
                <a:lnTo>
                  <a:pt x="4794390" y="1292184"/>
                </a:lnTo>
                <a:lnTo>
                  <a:pt x="4795803" y="1290504"/>
                </a:lnTo>
                <a:lnTo>
                  <a:pt x="4796935" y="1289128"/>
                </a:lnTo>
                <a:lnTo>
                  <a:pt x="4797617" y="1288264"/>
                </a:lnTo>
                <a:lnTo>
                  <a:pt x="4798494" y="1287107"/>
                </a:lnTo>
                <a:lnTo>
                  <a:pt x="4799419" y="1285743"/>
                </a:lnTo>
                <a:cubicBezTo>
                  <a:pt x="4800637" y="1284051"/>
                  <a:pt x="4801574" y="1283965"/>
                  <a:pt x="4801562" y="1283978"/>
                </a:cubicBezTo>
                <a:cubicBezTo>
                  <a:pt x="4802975" y="1283758"/>
                  <a:pt x="4805216" y="1285268"/>
                  <a:pt x="4805216" y="1285268"/>
                </a:cubicBezTo>
                <a:cubicBezTo>
                  <a:pt x="4805714" y="1285609"/>
                  <a:pt x="4807042" y="1286303"/>
                  <a:pt x="4807030" y="1286291"/>
                </a:cubicBezTo>
                <a:cubicBezTo>
                  <a:pt x="4808393" y="1287131"/>
                  <a:pt x="4809976" y="1287521"/>
                  <a:pt x="4811571" y="1287424"/>
                </a:cubicBezTo>
                <a:cubicBezTo>
                  <a:pt x="4812242" y="1287289"/>
                  <a:pt x="4812874" y="1287009"/>
                  <a:pt x="4813410" y="1286595"/>
                </a:cubicBezTo>
                <a:lnTo>
                  <a:pt x="4814007" y="1286047"/>
                </a:lnTo>
                <a:cubicBezTo>
                  <a:pt x="4814275" y="1285767"/>
                  <a:pt x="4814555" y="1285487"/>
                  <a:pt x="4814823" y="1285195"/>
                </a:cubicBezTo>
                <a:lnTo>
                  <a:pt x="4815590" y="1284440"/>
                </a:lnTo>
                <a:lnTo>
                  <a:pt x="4816187" y="1283783"/>
                </a:lnTo>
                <a:cubicBezTo>
                  <a:pt x="4816369" y="1283502"/>
                  <a:pt x="4816503" y="1283186"/>
                  <a:pt x="4816552" y="1282845"/>
                </a:cubicBezTo>
                <a:cubicBezTo>
                  <a:pt x="4816552" y="1282699"/>
                  <a:pt x="4816552" y="1282565"/>
                  <a:pt x="4816552" y="1282419"/>
                </a:cubicBezTo>
                <a:lnTo>
                  <a:pt x="4816662" y="1279752"/>
                </a:lnTo>
                <a:cubicBezTo>
                  <a:pt x="4816722" y="1278595"/>
                  <a:pt x="4816771" y="1277427"/>
                  <a:pt x="4816832" y="1276269"/>
                </a:cubicBezTo>
                <a:cubicBezTo>
                  <a:pt x="4816893" y="1274625"/>
                  <a:pt x="4816978" y="1272970"/>
                  <a:pt x="4817039" y="1271326"/>
                </a:cubicBezTo>
                <a:cubicBezTo>
                  <a:pt x="4817039" y="1270522"/>
                  <a:pt x="4817100" y="1269730"/>
                  <a:pt x="4817124" y="1268890"/>
                </a:cubicBezTo>
                <a:cubicBezTo>
                  <a:pt x="4817124" y="1267381"/>
                  <a:pt x="4817124" y="1265870"/>
                  <a:pt x="4817185" y="1264361"/>
                </a:cubicBezTo>
                <a:cubicBezTo>
                  <a:pt x="4817185" y="1263448"/>
                  <a:pt x="4817185" y="1262522"/>
                  <a:pt x="4817185" y="1261609"/>
                </a:cubicBezTo>
                <a:cubicBezTo>
                  <a:pt x="4817185" y="1259697"/>
                  <a:pt x="4816917" y="1256738"/>
                  <a:pt x="4816905" y="1256738"/>
                </a:cubicBezTo>
                <a:cubicBezTo>
                  <a:pt x="4816345" y="1254656"/>
                  <a:pt x="4815078" y="1252842"/>
                  <a:pt x="4813325" y="1251587"/>
                </a:cubicBezTo>
                <a:cubicBezTo>
                  <a:pt x="4810549" y="1249565"/>
                  <a:pt x="4809100" y="1250247"/>
                  <a:pt x="4809100" y="1250247"/>
                </a:cubicBezTo>
                <a:lnTo>
                  <a:pt x="4808393" y="1250516"/>
                </a:lnTo>
                <a:cubicBezTo>
                  <a:pt x="4807005" y="1250856"/>
                  <a:pt x="4805568" y="1250991"/>
                  <a:pt x="4804132" y="1250893"/>
                </a:cubicBezTo>
                <a:lnTo>
                  <a:pt x="4802573" y="1250771"/>
                </a:lnTo>
                <a:lnTo>
                  <a:pt x="4801477" y="1250637"/>
                </a:lnTo>
                <a:lnTo>
                  <a:pt x="4798859" y="1250284"/>
                </a:lnTo>
                <a:lnTo>
                  <a:pt x="4795924" y="1249919"/>
                </a:lnTo>
                <a:lnTo>
                  <a:pt x="4793928" y="1249785"/>
                </a:lnTo>
                <a:lnTo>
                  <a:pt x="4792575" y="1249785"/>
                </a:lnTo>
                <a:cubicBezTo>
                  <a:pt x="4791577" y="1249882"/>
                  <a:pt x="4790591" y="1250114"/>
                  <a:pt x="4789653" y="1250491"/>
                </a:cubicBezTo>
                <a:lnTo>
                  <a:pt x="4789106" y="1250808"/>
                </a:lnTo>
                <a:lnTo>
                  <a:pt x="4788777" y="1251039"/>
                </a:lnTo>
                <a:lnTo>
                  <a:pt x="4788435" y="1251343"/>
                </a:lnTo>
                <a:cubicBezTo>
                  <a:pt x="4787973" y="1251624"/>
                  <a:pt x="4787413" y="1251733"/>
                  <a:pt x="4786877" y="1251648"/>
                </a:cubicBezTo>
                <a:lnTo>
                  <a:pt x="4786073" y="1251648"/>
                </a:lnTo>
                <a:lnTo>
                  <a:pt x="4784977" y="1251514"/>
                </a:lnTo>
                <a:lnTo>
                  <a:pt x="4784259" y="1251429"/>
                </a:lnTo>
                <a:lnTo>
                  <a:pt x="4783869" y="1251429"/>
                </a:lnTo>
                <a:lnTo>
                  <a:pt x="4783528" y="1251429"/>
                </a:lnTo>
                <a:lnTo>
                  <a:pt x="4781872" y="1250077"/>
                </a:lnTo>
                <a:lnTo>
                  <a:pt x="4781616" y="1249858"/>
                </a:lnTo>
                <a:lnTo>
                  <a:pt x="4781300" y="1249565"/>
                </a:lnTo>
                <a:cubicBezTo>
                  <a:pt x="4781191" y="1249444"/>
                  <a:pt x="4781093" y="1249322"/>
                  <a:pt x="4780971" y="1249200"/>
                </a:cubicBezTo>
                <a:lnTo>
                  <a:pt x="4780387" y="1248531"/>
                </a:lnTo>
                <a:lnTo>
                  <a:pt x="4779717" y="1247763"/>
                </a:lnTo>
                <a:lnTo>
                  <a:pt x="4778694" y="1246607"/>
                </a:lnTo>
                <a:lnTo>
                  <a:pt x="4777574" y="1245389"/>
                </a:lnTo>
                <a:cubicBezTo>
                  <a:pt x="4777257" y="1245036"/>
                  <a:pt x="4776929" y="1244707"/>
                  <a:pt x="4776612" y="1244366"/>
                </a:cubicBezTo>
                <a:lnTo>
                  <a:pt x="4775516" y="1243307"/>
                </a:lnTo>
                <a:cubicBezTo>
                  <a:pt x="4773872" y="1241712"/>
                  <a:pt x="4771839" y="1240567"/>
                  <a:pt x="4769623" y="1239970"/>
                </a:cubicBezTo>
                <a:lnTo>
                  <a:pt x="4768526" y="1239703"/>
                </a:lnTo>
                <a:lnTo>
                  <a:pt x="4766724" y="1239325"/>
                </a:lnTo>
                <a:lnTo>
                  <a:pt x="4764106" y="1238874"/>
                </a:lnTo>
                <a:lnTo>
                  <a:pt x="4761671" y="1238485"/>
                </a:lnTo>
                <a:cubicBezTo>
                  <a:pt x="4760867" y="1238375"/>
                  <a:pt x="4760088" y="1238168"/>
                  <a:pt x="4759333" y="1237888"/>
                </a:cubicBezTo>
                <a:lnTo>
                  <a:pt x="4758359" y="1237523"/>
                </a:lnTo>
                <a:lnTo>
                  <a:pt x="4756301" y="1236743"/>
                </a:lnTo>
                <a:cubicBezTo>
                  <a:pt x="4755546" y="1236390"/>
                  <a:pt x="4754693" y="1236257"/>
                  <a:pt x="4753865" y="1236390"/>
                </a:cubicBezTo>
                <a:lnTo>
                  <a:pt x="4752648" y="1236573"/>
                </a:lnTo>
                <a:lnTo>
                  <a:pt x="4750882" y="1236877"/>
                </a:lnTo>
                <a:lnTo>
                  <a:pt x="4747083" y="1237766"/>
                </a:lnTo>
                <a:lnTo>
                  <a:pt x="4744806" y="1238497"/>
                </a:lnTo>
                <a:lnTo>
                  <a:pt x="4742285" y="1239544"/>
                </a:lnTo>
                <a:lnTo>
                  <a:pt x="4741847" y="1239848"/>
                </a:lnTo>
                <a:cubicBezTo>
                  <a:pt x="4741372" y="1240823"/>
                  <a:pt x="4741092" y="1241882"/>
                  <a:pt x="4741055" y="1242966"/>
                </a:cubicBezTo>
                <a:cubicBezTo>
                  <a:pt x="4740995" y="1244050"/>
                  <a:pt x="4740861" y="1245134"/>
                  <a:pt x="4740654" y="1246205"/>
                </a:cubicBezTo>
                <a:cubicBezTo>
                  <a:pt x="4746340" y="1246923"/>
                  <a:pt x="4752039" y="1247666"/>
                  <a:pt x="4757774" y="1248433"/>
                </a:cubicBezTo>
                <a:cubicBezTo>
                  <a:pt x="4762730" y="1252050"/>
                  <a:pt x="4767674" y="1255691"/>
                  <a:pt x="4772606" y="1259331"/>
                </a:cubicBezTo>
                <a:cubicBezTo>
                  <a:pt x="4762462" y="1273554"/>
                  <a:pt x="4791480" y="1295741"/>
                  <a:pt x="4791443" y="1295801"/>
                </a:cubicBezTo>
                <a:close/>
                <a:moveTo>
                  <a:pt x="4414144" y="1227404"/>
                </a:moveTo>
                <a:lnTo>
                  <a:pt x="4421194" y="1218186"/>
                </a:lnTo>
                <a:cubicBezTo>
                  <a:pt x="4423812" y="1214655"/>
                  <a:pt x="4426174" y="1210928"/>
                  <a:pt x="4428245" y="1207056"/>
                </a:cubicBezTo>
                <a:cubicBezTo>
                  <a:pt x="4431751" y="1199750"/>
                  <a:pt x="4423690" y="1193394"/>
                  <a:pt x="4423703" y="1193406"/>
                </a:cubicBezTo>
                <a:cubicBezTo>
                  <a:pt x="4417517" y="1188742"/>
                  <a:pt x="4415690" y="1185454"/>
                  <a:pt x="4415690" y="1185467"/>
                </a:cubicBezTo>
                <a:cubicBezTo>
                  <a:pt x="4414411" y="1183519"/>
                  <a:pt x="4413778" y="1181217"/>
                  <a:pt x="4413876" y="1178891"/>
                </a:cubicBezTo>
                <a:cubicBezTo>
                  <a:pt x="4414277" y="1177004"/>
                  <a:pt x="4414241" y="1175055"/>
                  <a:pt x="4413766" y="1173193"/>
                </a:cubicBezTo>
                <a:cubicBezTo>
                  <a:pt x="4412110" y="1168091"/>
                  <a:pt x="4404780" y="1164303"/>
                  <a:pt x="4404780" y="1164303"/>
                </a:cubicBezTo>
                <a:cubicBezTo>
                  <a:pt x="4405522" y="1163427"/>
                  <a:pt x="4406923" y="1161271"/>
                  <a:pt x="4406923" y="1161271"/>
                </a:cubicBezTo>
                <a:cubicBezTo>
                  <a:pt x="4410698" y="1155183"/>
                  <a:pt x="4405632" y="1149095"/>
                  <a:pt x="4405632" y="1149095"/>
                </a:cubicBezTo>
                <a:lnTo>
                  <a:pt x="4404256" y="1147231"/>
                </a:lnTo>
                <a:lnTo>
                  <a:pt x="4403233" y="1146014"/>
                </a:lnTo>
                <a:lnTo>
                  <a:pt x="4402016" y="1144419"/>
                </a:lnTo>
                <a:lnTo>
                  <a:pt x="4401090" y="1143201"/>
                </a:lnTo>
                <a:lnTo>
                  <a:pt x="4399665" y="1141240"/>
                </a:lnTo>
                <a:lnTo>
                  <a:pt x="4397461" y="1138330"/>
                </a:lnTo>
                <a:lnTo>
                  <a:pt x="4394831" y="1135335"/>
                </a:lnTo>
                <a:lnTo>
                  <a:pt x="4392323" y="1132960"/>
                </a:lnTo>
                <a:lnTo>
                  <a:pt x="4390435" y="1131256"/>
                </a:lnTo>
                <a:lnTo>
                  <a:pt x="4388877" y="1129587"/>
                </a:lnTo>
                <a:lnTo>
                  <a:pt x="4387598" y="1128004"/>
                </a:lnTo>
                <a:cubicBezTo>
                  <a:pt x="4387257" y="1127566"/>
                  <a:pt x="4386916" y="1127103"/>
                  <a:pt x="4386575" y="1126652"/>
                </a:cubicBezTo>
                <a:cubicBezTo>
                  <a:pt x="4386076" y="1125983"/>
                  <a:pt x="4385589" y="1125313"/>
                  <a:pt x="4385090" y="1124656"/>
                </a:cubicBezTo>
                <a:lnTo>
                  <a:pt x="4383507" y="1122610"/>
                </a:lnTo>
                <a:cubicBezTo>
                  <a:pt x="4382861" y="1121843"/>
                  <a:pt x="4382204" y="1121088"/>
                  <a:pt x="4381558" y="1120333"/>
                </a:cubicBezTo>
                <a:lnTo>
                  <a:pt x="4379964" y="1118421"/>
                </a:lnTo>
                <a:cubicBezTo>
                  <a:pt x="4378368" y="1116595"/>
                  <a:pt x="4376615" y="1114926"/>
                  <a:pt x="4374715" y="1113417"/>
                </a:cubicBezTo>
                <a:lnTo>
                  <a:pt x="4373205" y="1112540"/>
                </a:lnTo>
                <a:cubicBezTo>
                  <a:pt x="4365388" y="1108180"/>
                  <a:pt x="4362635" y="1102676"/>
                  <a:pt x="4362635" y="1102676"/>
                </a:cubicBezTo>
                <a:lnTo>
                  <a:pt x="4361625" y="1100887"/>
                </a:lnTo>
                <a:cubicBezTo>
                  <a:pt x="4361223" y="1100192"/>
                  <a:pt x="4360821" y="1099498"/>
                  <a:pt x="4360407" y="1098804"/>
                </a:cubicBezTo>
                <a:lnTo>
                  <a:pt x="4357399" y="1094079"/>
                </a:lnTo>
                <a:lnTo>
                  <a:pt x="4354258" y="1089148"/>
                </a:lnTo>
                <a:lnTo>
                  <a:pt x="4351348" y="1085312"/>
                </a:lnTo>
                <a:cubicBezTo>
                  <a:pt x="4350227" y="1083948"/>
                  <a:pt x="4349095" y="1082584"/>
                  <a:pt x="4347962" y="1081233"/>
                </a:cubicBezTo>
                <a:lnTo>
                  <a:pt x="4344858" y="1077641"/>
                </a:lnTo>
                <a:lnTo>
                  <a:pt x="4342507" y="1074950"/>
                </a:lnTo>
                <a:lnTo>
                  <a:pt x="4339756" y="1071711"/>
                </a:lnTo>
                <a:lnTo>
                  <a:pt x="4336784" y="1068058"/>
                </a:lnTo>
                <a:lnTo>
                  <a:pt x="4334288" y="1064636"/>
                </a:lnTo>
                <a:lnTo>
                  <a:pt x="4332388" y="1061628"/>
                </a:lnTo>
                <a:cubicBezTo>
                  <a:pt x="4332035" y="1060971"/>
                  <a:pt x="4331670" y="1060313"/>
                  <a:pt x="4331304" y="1059655"/>
                </a:cubicBezTo>
                <a:cubicBezTo>
                  <a:pt x="4329807" y="1056928"/>
                  <a:pt x="4327688" y="1054602"/>
                  <a:pt x="4325106" y="1052873"/>
                </a:cubicBezTo>
                <a:lnTo>
                  <a:pt x="4319907" y="1049719"/>
                </a:lnTo>
                <a:cubicBezTo>
                  <a:pt x="4310165" y="1044325"/>
                  <a:pt x="4300424" y="1038979"/>
                  <a:pt x="4290682" y="1033682"/>
                </a:cubicBezTo>
                <a:cubicBezTo>
                  <a:pt x="4289453" y="1034474"/>
                  <a:pt x="4288357" y="1035460"/>
                  <a:pt x="4287444" y="1036605"/>
                </a:cubicBezTo>
                <a:cubicBezTo>
                  <a:pt x="4284277" y="1040587"/>
                  <a:pt x="4289002" y="1045811"/>
                  <a:pt x="4288990" y="1045811"/>
                </a:cubicBezTo>
                <a:lnTo>
                  <a:pt x="4292095" y="1049878"/>
                </a:lnTo>
                <a:cubicBezTo>
                  <a:pt x="4293727" y="1052009"/>
                  <a:pt x="4295359" y="1054127"/>
                  <a:pt x="4296966" y="1056258"/>
                </a:cubicBezTo>
                <a:cubicBezTo>
                  <a:pt x="4298147" y="1057695"/>
                  <a:pt x="4299316" y="1059132"/>
                  <a:pt x="4300473" y="1060569"/>
                </a:cubicBezTo>
                <a:lnTo>
                  <a:pt x="4304601" y="1065196"/>
                </a:lnTo>
                <a:cubicBezTo>
                  <a:pt x="4307365" y="1068094"/>
                  <a:pt x="4309776" y="1071297"/>
                  <a:pt x="4311809" y="1074743"/>
                </a:cubicBezTo>
                <a:cubicBezTo>
                  <a:pt x="4312735" y="1076338"/>
                  <a:pt x="4313502" y="1078018"/>
                  <a:pt x="4314099" y="1079760"/>
                </a:cubicBezTo>
                <a:cubicBezTo>
                  <a:pt x="4314513" y="1080953"/>
                  <a:pt x="4314829" y="1082171"/>
                  <a:pt x="4315048" y="1083413"/>
                </a:cubicBezTo>
                <a:cubicBezTo>
                  <a:pt x="4315328" y="1084789"/>
                  <a:pt x="4315889" y="1086104"/>
                  <a:pt x="4316692" y="1087260"/>
                </a:cubicBezTo>
                <a:cubicBezTo>
                  <a:pt x="4317313" y="1088332"/>
                  <a:pt x="4318214" y="1089209"/>
                  <a:pt x="4319311" y="1089793"/>
                </a:cubicBezTo>
                <a:cubicBezTo>
                  <a:pt x="4320662" y="1090488"/>
                  <a:pt x="4322282" y="1091535"/>
                  <a:pt x="4322269" y="1091535"/>
                </a:cubicBezTo>
                <a:cubicBezTo>
                  <a:pt x="4327956" y="1095395"/>
                  <a:pt x="4328589" y="1099985"/>
                  <a:pt x="4328589" y="1099973"/>
                </a:cubicBezTo>
                <a:cubicBezTo>
                  <a:pt x="4328711" y="1100533"/>
                  <a:pt x="4328821" y="1101105"/>
                  <a:pt x="4328942" y="1101666"/>
                </a:cubicBezTo>
                <a:cubicBezTo>
                  <a:pt x="4329076" y="1102554"/>
                  <a:pt x="4329210" y="1103456"/>
                  <a:pt x="4329356" y="1104357"/>
                </a:cubicBezTo>
                <a:cubicBezTo>
                  <a:pt x="4329637" y="1106134"/>
                  <a:pt x="4329928" y="1107913"/>
                  <a:pt x="4330221" y="1109690"/>
                </a:cubicBezTo>
                <a:cubicBezTo>
                  <a:pt x="4330513" y="1111383"/>
                  <a:pt x="4330708" y="1113088"/>
                  <a:pt x="4330793" y="1114792"/>
                </a:cubicBezTo>
                <a:cubicBezTo>
                  <a:pt x="4330793" y="1114792"/>
                  <a:pt x="4330793" y="1115779"/>
                  <a:pt x="4330793" y="1117690"/>
                </a:cubicBezTo>
                <a:cubicBezTo>
                  <a:pt x="4330793" y="1117690"/>
                  <a:pt x="4330793" y="1117690"/>
                  <a:pt x="4330793" y="1117690"/>
                </a:cubicBezTo>
                <a:cubicBezTo>
                  <a:pt x="4330842" y="1118872"/>
                  <a:pt x="4331085" y="1120041"/>
                  <a:pt x="4331524" y="1121137"/>
                </a:cubicBezTo>
                <a:cubicBezTo>
                  <a:pt x="4332339" y="1122537"/>
                  <a:pt x="4333411" y="1123767"/>
                  <a:pt x="4334665" y="1124790"/>
                </a:cubicBezTo>
                <a:cubicBezTo>
                  <a:pt x="4335603" y="1125447"/>
                  <a:pt x="4336370" y="1126336"/>
                  <a:pt x="4336894" y="1127359"/>
                </a:cubicBezTo>
                <a:cubicBezTo>
                  <a:pt x="4337088" y="1127748"/>
                  <a:pt x="4337271" y="1128150"/>
                  <a:pt x="4337454" y="1128576"/>
                </a:cubicBezTo>
                <a:lnTo>
                  <a:pt x="4338221" y="1130610"/>
                </a:lnTo>
                <a:cubicBezTo>
                  <a:pt x="4338890" y="1132425"/>
                  <a:pt x="4339561" y="1134263"/>
                  <a:pt x="4340218" y="1136065"/>
                </a:cubicBezTo>
                <a:lnTo>
                  <a:pt x="4342105" y="1141326"/>
                </a:lnTo>
                <a:cubicBezTo>
                  <a:pt x="4342836" y="1143371"/>
                  <a:pt x="4343567" y="1145429"/>
                  <a:pt x="4344285" y="1147475"/>
                </a:cubicBezTo>
                <a:cubicBezTo>
                  <a:pt x="4344845" y="1149046"/>
                  <a:pt x="4345405" y="1150617"/>
                  <a:pt x="4345978" y="1152188"/>
                </a:cubicBezTo>
                <a:cubicBezTo>
                  <a:pt x="4346550" y="1153758"/>
                  <a:pt x="4347195" y="1155561"/>
                  <a:pt x="4347829" y="1157241"/>
                </a:cubicBezTo>
                <a:cubicBezTo>
                  <a:pt x="4348425" y="1158641"/>
                  <a:pt x="4349046" y="1160041"/>
                  <a:pt x="4349594" y="1161442"/>
                </a:cubicBezTo>
                <a:cubicBezTo>
                  <a:pt x="4349984" y="1162209"/>
                  <a:pt x="4350386" y="1162976"/>
                  <a:pt x="4350812" y="1163743"/>
                </a:cubicBezTo>
                <a:cubicBezTo>
                  <a:pt x="4351238" y="1164511"/>
                  <a:pt x="4351859" y="1165496"/>
                  <a:pt x="4352382" y="1166373"/>
                </a:cubicBezTo>
                <a:cubicBezTo>
                  <a:pt x="4353479" y="1168017"/>
                  <a:pt x="4354562" y="1169686"/>
                  <a:pt x="4355658" y="1171329"/>
                </a:cubicBezTo>
                <a:lnTo>
                  <a:pt x="4359567" y="1177272"/>
                </a:lnTo>
                <a:lnTo>
                  <a:pt x="4362697" y="1182605"/>
                </a:lnTo>
                <a:lnTo>
                  <a:pt x="4366021" y="1188536"/>
                </a:lnTo>
                <a:lnTo>
                  <a:pt x="4368249" y="1192444"/>
                </a:lnTo>
                <a:cubicBezTo>
                  <a:pt x="4369163" y="1193918"/>
                  <a:pt x="4370063" y="1195391"/>
                  <a:pt x="4370952" y="1196864"/>
                </a:cubicBezTo>
                <a:lnTo>
                  <a:pt x="4374776" y="1202502"/>
                </a:lnTo>
                <a:lnTo>
                  <a:pt x="4379282" y="1208846"/>
                </a:lnTo>
                <a:lnTo>
                  <a:pt x="4383166" y="1214570"/>
                </a:lnTo>
                <a:lnTo>
                  <a:pt x="4385601" y="1218612"/>
                </a:lnTo>
                <a:cubicBezTo>
                  <a:pt x="4386405" y="1220037"/>
                  <a:pt x="4387318" y="1221389"/>
                  <a:pt x="4388317" y="1222679"/>
                </a:cubicBezTo>
                <a:cubicBezTo>
                  <a:pt x="4389753" y="1224640"/>
                  <a:pt x="4394697" y="1225918"/>
                  <a:pt x="4394710" y="1225918"/>
                </a:cubicBezTo>
                <a:lnTo>
                  <a:pt x="4398131" y="1226856"/>
                </a:lnTo>
                <a:cubicBezTo>
                  <a:pt x="4400579" y="1227501"/>
                  <a:pt x="4402990" y="1228317"/>
                  <a:pt x="4405327" y="1229291"/>
                </a:cubicBezTo>
                <a:lnTo>
                  <a:pt x="4411026" y="1231556"/>
                </a:lnTo>
                <a:close/>
                <a:moveTo>
                  <a:pt x="4558402" y="1350268"/>
                </a:moveTo>
                <a:cubicBezTo>
                  <a:pt x="4559693" y="1350682"/>
                  <a:pt x="4560923" y="1351267"/>
                  <a:pt x="4562056" y="1351997"/>
                </a:cubicBezTo>
                <a:cubicBezTo>
                  <a:pt x="4563079" y="1352862"/>
                  <a:pt x="4563943" y="1353897"/>
                  <a:pt x="4564625" y="1355054"/>
                </a:cubicBezTo>
                <a:cubicBezTo>
                  <a:pt x="4566537" y="1357635"/>
                  <a:pt x="4568887" y="1359876"/>
                  <a:pt x="4571554" y="1361666"/>
                </a:cubicBezTo>
                <a:cubicBezTo>
                  <a:pt x="4574245" y="1363334"/>
                  <a:pt x="4577192" y="1364515"/>
                  <a:pt x="4580285" y="1365173"/>
                </a:cubicBezTo>
                <a:cubicBezTo>
                  <a:pt x="4582367" y="1365514"/>
                  <a:pt x="4584473" y="1365672"/>
                  <a:pt x="4586580" y="1365647"/>
                </a:cubicBezTo>
                <a:lnTo>
                  <a:pt x="4587639" y="1365647"/>
                </a:lnTo>
                <a:lnTo>
                  <a:pt x="4592510" y="1368667"/>
                </a:lnTo>
                <a:cubicBezTo>
                  <a:pt x="4594750" y="1370104"/>
                  <a:pt x="4597076" y="1371395"/>
                  <a:pt x="4599475" y="1372552"/>
                </a:cubicBezTo>
                <a:cubicBezTo>
                  <a:pt x="4600510" y="1373051"/>
                  <a:pt x="4601679" y="1373234"/>
                  <a:pt x="4602824" y="1373064"/>
                </a:cubicBezTo>
                <a:cubicBezTo>
                  <a:pt x="4602824" y="1373064"/>
                  <a:pt x="4603944" y="1372893"/>
                  <a:pt x="4604845" y="1370738"/>
                </a:cubicBezTo>
                <a:cubicBezTo>
                  <a:pt x="4605174" y="1369958"/>
                  <a:pt x="4605515" y="1369167"/>
                  <a:pt x="4605844" y="1368375"/>
                </a:cubicBezTo>
                <a:lnTo>
                  <a:pt x="4601594" y="1365854"/>
                </a:lnTo>
                <a:cubicBezTo>
                  <a:pt x="4601594" y="1365854"/>
                  <a:pt x="4594288" y="1361312"/>
                  <a:pt x="4591560" y="1359766"/>
                </a:cubicBezTo>
                <a:cubicBezTo>
                  <a:pt x="4588869" y="1358268"/>
                  <a:pt x="4586044" y="1357039"/>
                  <a:pt x="4583109" y="1356113"/>
                </a:cubicBezTo>
                <a:lnTo>
                  <a:pt x="4579311" y="1354895"/>
                </a:lnTo>
                <a:cubicBezTo>
                  <a:pt x="4579311" y="1354895"/>
                  <a:pt x="4572820" y="1353008"/>
                  <a:pt x="4569752" y="1349051"/>
                </a:cubicBezTo>
                <a:cubicBezTo>
                  <a:pt x="4569192" y="1348417"/>
                  <a:pt x="4568717" y="1347711"/>
                  <a:pt x="4568351" y="1346944"/>
                </a:cubicBezTo>
                <a:cubicBezTo>
                  <a:pt x="4567852" y="1345726"/>
                  <a:pt x="4566951" y="1344715"/>
                  <a:pt x="4565794" y="1344095"/>
                </a:cubicBezTo>
                <a:lnTo>
                  <a:pt x="4560253" y="1340332"/>
                </a:lnTo>
                <a:cubicBezTo>
                  <a:pt x="4557916" y="1340856"/>
                  <a:pt x="4555663" y="1341684"/>
                  <a:pt x="4553532" y="1342767"/>
                </a:cubicBezTo>
                <a:cubicBezTo>
                  <a:pt x="4553532" y="1342767"/>
                  <a:pt x="4550744" y="1344350"/>
                  <a:pt x="4551669" y="1346116"/>
                </a:cubicBezTo>
                <a:cubicBezTo>
                  <a:pt x="4551669" y="1346164"/>
                  <a:pt x="4551876" y="1347662"/>
                  <a:pt x="4558402" y="1350268"/>
                </a:cubicBezTo>
                <a:close/>
                <a:moveTo>
                  <a:pt x="4593435" y="1378872"/>
                </a:moveTo>
                <a:cubicBezTo>
                  <a:pt x="4593582" y="1379273"/>
                  <a:pt x="4593728" y="1379675"/>
                  <a:pt x="4593862" y="1380090"/>
                </a:cubicBezTo>
                <a:cubicBezTo>
                  <a:pt x="4594081" y="1380650"/>
                  <a:pt x="4594373" y="1381161"/>
                  <a:pt x="4594750" y="1381624"/>
                </a:cubicBezTo>
                <a:cubicBezTo>
                  <a:pt x="4594970" y="1381831"/>
                  <a:pt x="4595189" y="1382062"/>
                  <a:pt x="4595408" y="1382281"/>
                </a:cubicBezTo>
                <a:lnTo>
                  <a:pt x="4596833" y="1383718"/>
                </a:lnTo>
                <a:lnTo>
                  <a:pt x="4598684" y="1385581"/>
                </a:lnTo>
                <a:lnTo>
                  <a:pt x="4601923" y="1388808"/>
                </a:lnTo>
                <a:lnTo>
                  <a:pt x="4606051" y="1392838"/>
                </a:lnTo>
                <a:cubicBezTo>
                  <a:pt x="4608267" y="1394969"/>
                  <a:pt x="4612212" y="1398574"/>
                  <a:pt x="4612212" y="1398562"/>
                </a:cubicBezTo>
                <a:cubicBezTo>
                  <a:pt x="4613260" y="1399134"/>
                  <a:pt x="4614392" y="1399548"/>
                  <a:pt x="4615561" y="1399779"/>
                </a:cubicBezTo>
                <a:cubicBezTo>
                  <a:pt x="4617996" y="1400291"/>
                  <a:pt x="4618557" y="1399901"/>
                  <a:pt x="4618557" y="1399901"/>
                </a:cubicBezTo>
                <a:cubicBezTo>
                  <a:pt x="4618837" y="1399292"/>
                  <a:pt x="4619031" y="1398647"/>
                  <a:pt x="4619129" y="1397977"/>
                </a:cubicBezTo>
                <a:cubicBezTo>
                  <a:pt x="4619348" y="1396760"/>
                  <a:pt x="4619262" y="1395505"/>
                  <a:pt x="4618897" y="1394324"/>
                </a:cubicBezTo>
                <a:cubicBezTo>
                  <a:pt x="4618581" y="1393703"/>
                  <a:pt x="4618167" y="1393118"/>
                  <a:pt x="4617680" y="1392619"/>
                </a:cubicBezTo>
                <a:lnTo>
                  <a:pt x="4616791" y="1391718"/>
                </a:lnTo>
                <a:lnTo>
                  <a:pt x="4615390" y="1390354"/>
                </a:lnTo>
                <a:lnTo>
                  <a:pt x="4614282" y="1389319"/>
                </a:lnTo>
                <a:lnTo>
                  <a:pt x="4612979" y="1388101"/>
                </a:lnTo>
                <a:lnTo>
                  <a:pt x="4611896" y="1387164"/>
                </a:lnTo>
                <a:cubicBezTo>
                  <a:pt x="4609898" y="1385399"/>
                  <a:pt x="4607816" y="1383730"/>
                  <a:pt x="4605649" y="1382184"/>
                </a:cubicBezTo>
                <a:lnTo>
                  <a:pt x="4604578" y="1381392"/>
                </a:lnTo>
                <a:lnTo>
                  <a:pt x="4603360" y="1380528"/>
                </a:lnTo>
                <a:cubicBezTo>
                  <a:pt x="4602398" y="1379833"/>
                  <a:pt x="4601338" y="1379286"/>
                  <a:pt x="4600218" y="1378920"/>
                </a:cubicBezTo>
                <a:lnTo>
                  <a:pt x="4598708" y="1378457"/>
                </a:lnTo>
                <a:lnTo>
                  <a:pt x="4596407" y="1377849"/>
                </a:lnTo>
                <a:cubicBezTo>
                  <a:pt x="4595067" y="1377508"/>
                  <a:pt x="4592656" y="1376789"/>
                  <a:pt x="4592656" y="1376802"/>
                </a:cubicBezTo>
                <a:cubicBezTo>
                  <a:pt x="4592656" y="1376814"/>
                  <a:pt x="4592790" y="1377142"/>
                  <a:pt x="4592863" y="1377325"/>
                </a:cubicBezTo>
                <a:cubicBezTo>
                  <a:pt x="4593070" y="1377897"/>
                  <a:pt x="4593253" y="1378397"/>
                  <a:pt x="4593435" y="1378908"/>
                </a:cubicBezTo>
                <a:close/>
                <a:moveTo>
                  <a:pt x="4634386" y="1394470"/>
                </a:moveTo>
                <a:cubicBezTo>
                  <a:pt x="4636822" y="1395846"/>
                  <a:pt x="4640694" y="1397722"/>
                  <a:pt x="4640682" y="1397709"/>
                </a:cubicBezTo>
                <a:lnTo>
                  <a:pt x="4643385" y="1399012"/>
                </a:lnTo>
                <a:lnTo>
                  <a:pt x="4644834" y="1399694"/>
                </a:lnTo>
                <a:lnTo>
                  <a:pt x="4646173" y="1400303"/>
                </a:lnTo>
                <a:lnTo>
                  <a:pt x="4647172" y="1400766"/>
                </a:lnTo>
                <a:lnTo>
                  <a:pt x="4647683" y="1400985"/>
                </a:lnTo>
                <a:cubicBezTo>
                  <a:pt x="4647817" y="1401070"/>
                  <a:pt x="4647975" y="1401118"/>
                  <a:pt x="4648134" y="1401143"/>
                </a:cubicBezTo>
                <a:cubicBezTo>
                  <a:pt x="4648487" y="1401143"/>
                  <a:pt x="4648999" y="1400741"/>
                  <a:pt x="4648999" y="1400753"/>
                </a:cubicBezTo>
                <a:lnTo>
                  <a:pt x="4649120" y="1400656"/>
                </a:lnTo>
                <a:lnTo>
                  <a:pt x="4649266" y="1400522"/>
                </a:lnTo>
                <a:lnTo>
                  <a:pt x="4649461" y="1400340"/>
                </a:lnTo>
                <a:lnTo>
                  <a:pt x="4649778" y="1400011"/>
                </a:lnTo>
                <a:lnTo>
                  <a:pt x="4650448" y="1399292"/>
                </a:lnTo>
                <a:lnTo>
                  <a:pt x="4650703" y="1399049"/>
                </a:lnTo>
                <a:lnTo>
                  <a:pt x="4650971" y="1398793"/>
                </a:lnTo>
                <a:lnTo>
                  <a:pt x="4651044" y="1398720"/>
                </a:lnTo>
                <a:lnTo>
                  <a:pt x="4651044" y="1398720"/>
                </a:lnTo>
                <a:lnTo>
                  <a:pt x="4651142" y="1398793"/>
                </a:lnTo>
                <a:lnTo>
                  <a:pt x="4651142" y="1398793"/>
                </a:lnTo>
                <a:lnTo>
                  <a:pt x="4651142" y="1398793"/>
                </a:lnTo>
                <a:lnTo>
                  <a:pt x="4651142" y="1398793"/>
                </a:lnTo>
                <a:lnTo>
                  <a:pt x="4653077" y="1400558"/>
                </a:lnTo>
                <a:lnTo>
                  <a:pt x="4656560" y="1403700"/>
                </a:lnTo>
                <a:lnTo>
                  <a:pt x="4659337" y="1406209"/>
                </a:lnTo>
                <a:cubicBezTo>
                  <a:pt x="4658752" y="1405052"/>
                  <a:pt x="4658058" y="1403956"/>
                  <a:pt x="4657267" y="1402933"/>
                </a:cubicBezTo>
                <a:cubicBezTo>
                  <a:pt x="4656097" y="1401520"/>
                  <a:pt x="4654636" y="1400364"/>
                  <a:pt x="4652992" y="1399560"/>
                </a:cubicBezTo>
                <a:lnTo>
                  <a:pt x="4652043" y="1399122"/>
                </a:lnTo>
                <a:lnTo>
                  <a:pt x="4651397" y="1398866"/>
                </a:lnTo>
                <a:lnTo>
                  <a:pt x="4651093" y="1398756"/>
                </a:lnTo>
                <a:lnTo>
                  <a:pt x="4650983" y="1398659"/>
                </a:lnTo>
                <a:lnTo>
                  <a:pt x="4650983" y="1398659"/>
                </a:lnTo>
                <a:lnTo>
                  <a:pt x="4650983" y="1398659"/>
                </a:lnTo>
                <a:lnTo>
                  <a:pt x="4650679" y="1398440"/>
                </a:lnTo>
                <a:lnTo>
                  <a:pt x="4649072" y="1397222"/>
                </a:lnTo>
                <a:lnTo>
                  <a:pt x="4645906" y="1394787"/>
                </a:lnTo>
                <a:lnTo>
                  <a:pt x="4641473" y="1391450"/>
                </a:lnTo>
                <a:lnTo>
                  <a:pt x="4635738" y="1387188"/>
                </a:lnTo>
                <a:lnTo>
                  <a:pt x="4629893" y="1382939"/>
                </a:lnTo>
                <a:cubicBezTo>
                  <a:pt x="4629893" y="1382939"/>
                  <a:pt x="4628870" y="1382208"/>
                  <a:pt x="4625570" y="1379906"/>
                </a:cubicBezTo>
                <a:lnTo>
                  <a:pt x="4625485" y="1379846"/>
                </a:lnTo>
                <a:cubicBezTo>
                  <a:pt x="4624206" y="1378884"/>
                  <a:pt x="4622855" y="1378019"/>
                  <a:pt x="4621455" y="1377252"/>
                </a:cubicBezTo>
                <a:cubicBezTo>
                  <a:pt x="4619055" y="1375851"/>
                  <a:pt x="4616291" y="1375219"/>
                  <a:pt x="4613527" y="1375426"/>
                </a:cubicBezTo>
                <a:cubicBezTo>
                  <a:pt x="4611676" y="1375669"/>
                  <a:pt x="4609898" y="1376278"/>
                  <a:pt x="4608279" y="1377215"/>
                </a:cubicBezTo>
                <a:cubicBezTo>
                  <a:pt x="4610167" y="1378762"/>
                  <a:pt x="4613442" y="1381149"/>
                  <a:pt x="4613442" y="1381149"/>
                </a:cubicBezTo>
                <a:cubicBezTo>
                  <a:pt x="4619530" y="1385630"/>
                  <a:pt x="4624986" y="1388930"/>
                  <a:pt x="4624974" y="1388942"/>
                </a:cubicBezTo>
                <a:cubicBezTo>
                  <a:pt x="4629308" y="1391816"/>
                  <a:pt x="4634398" y="1394507"/>
                  <a:pt x="4634386" y="1394507"/>
                </a:cubicBezTo>
                <a:close/>
                <a:moveTo>
                  <a:pt x="4667471" y="1407584"/>
                </a:moveTo>
                <a:lnTo>
                  <a:pt x="4667033" y="1409070"/>
                </a:lnTo>
                <a:lnTo>
                  <a:pt x="4673304" y="1412261"/>
                </a:lnTo>
                <a:lnTo>
                  <a:pt x="4673742" y="1410799"/>
                </a:lnTo>
                <a:cubicBezTo>
                  <a:pt x="4671660" y="1409740"/>
                  <a:pt x="4669565" y="1408681"/>
                  <a:pt x="4667471" y="1407621"/>
                </a:cubicBezTo>
                <a:close/>
                <a:moveTo>
                  <a:pt x="4684981" y="1417825"/>
                </a:moveTo>
                <a:lnTo>
                  <a:pt x="4690400" y="1420943"/>
                </a:lnTo>
                <a:cubicBezTo>
                  <a:pt x="4690704" y="1420529"/>
                  <a:pt x="4691009" y="1420114"/>
                  <a:pt x="4691301" y="1419725"/>
                </a:cubicBezTo>
                <a:lnTo>
                  <a:pt x="4685346" y="1416668"/>
                </a:lnTo>
                <a:close/>
                <a:moveTo>
                  <a:pt x="4658070" y="1426994"/>
                </a:moveTo>
                <a:cubicBezTo>
                  <a:pt x="4660335" y="1428882"/>
                  <a:pt x="4662868" y="1430416"/>
                  <a:pt x="4665583" y="1431549"/>
                </a:cubicBezTo>
                <a:cubicBezTo>
                  <a:pt x="4665583" y="1431549"/>
                  <a:pt x="4667227" y="1432097"/>
                  <a:pt x="4669236" y="1432535"/>
                </a:cubicBezTo>
                <a:lnTo>
                  <a:pt x="4671282" y="1432596"/>
                </a:lnTo>
                <a:cubicBezTo>
                  <a:pt x="4671282" y="1432596"/>
                  <a:pt x="4674594" y="1432669"/>
                  <a:pt x="4675933" y="1432803"/>
                </a:cubicBezTo>
                <a:lnTo>
                  <a:pt x="4679586" y="1433229"/>
                </a:lnTo>
                <a:lnTo>
                  <a:pt x="4684616" y="1434130"/>
                </a:lnTo>
                <a:lnTo>
                  <a:pt x="4689925" y="1435348"/>
                </a:lnTo>
                <a:lnTo>
                  <a:pt x="4695685" y="1437004"/>
                </a:lnTo>
                <a:lnTo>
                  <a:pt x="4700373" y="1438490"/>
                </a:lnTo>
                <a:lnTo>
                  <a:pt x="4704902" y="1440012"/>
                </a:lnTo>
                <a:lnTo>
                  <a:pt x="4710357" y="1441899"/>
                </a:lnTo>
                <a:lnTo>
                  <a:pt x="4714449" y="1443287"/>
                </a:lnTo>
                <a:lnTo>
                  <a:pt x="4715971" y="1443714"/>
                </a:lnTo>
                <a:lnTo>
                  <a:pt x="4719551" y="1444468"/>
                </a:lnTo>
                <a:lnTo>
                  <a:pt x="4724678" y="1445394"/>
                </a:lnTo>
                <a:lnTo>
                  <a:pt x="4726882" y="1445832"/>
                </a:lnTo>
                <a:cubicBezTo>
                  <a:pt x="4726882" y="1445832"/>
                  <a:pt x="4714997" y="1431817"/>
                  <a:pt x="4703599" y="1427835"/>
                </a:cubicBezTo>
                <a:cubicBezTo>
                  <a:pt x="4700373" y="1426580"/>
                  <a:pt x="4696878" y="1426167"/>
                  <a:pt x="4693444" y="1426617"/>
                </a:cubicBezTo>
                <a:cubicBezTo>
                  <a:pt x="4689998" y="1427019"/>
                  <a:pt x="4686503" y="1426678"/>
                  <a:pt x="4683191" y="1425618"/>
                </a:cubicBezTo>
                <a:cubicBezTo>
                  <a:pt x="4679623" y="1424583"/>
                  <a:pt x="4676165" y="1423232"/>
                  <a:pt x="4672840" y="1421576"/>
                </a:cubicBezTo>
                <a:cubicBezTo>
                  <a:pt x="4672840" y="1421576"/>
                  <a:pt x="4666752" y="1418422"/>
                  <a:pt x="4662576" y="1419676"/>
                </a:cubicBezTo>
                <a:cubicBezTo>
                  <a:pt x="4662576" y="1419676"/>
                  <a:pt x="4658228" y="1420565"/>
                  <a:pt x="4656938" y="1423694"/>
                </a:cubicBezTo>
                <a:cubicBezTo>
                  <a:pt x="4656487" y="1424925"/>
                  <a:pt x="4656962" y="1426288"/>
                  <a:pt x="4658070" y="1426982"/>
                </a:cubicBezTo>
                <a:close/>
                <a:moveTo>
                  <a:pt x="4495789" y="1196146"/>
                </a:moveTo>
                <a:cubicBezTo>
                  <a:pt x="4495789" y="1196146"/>
                  <a:pt x="4496204" y="1197875"/>
                  <a:pt x="4494487" y="1201431"/>
                </a:cubicBezTo>
                <a:cubicBezTo>
                  <a:pt x="4494011" y="1202648"/>
                  <a:pt x="4493549" y="1203793"/>
                  <a:pt x="4493074" y="1204962"/>
                </a:cubicBezTo>
                <a:cubicBezTo>
                  <a:pt x="4493074" y="1204962"/>
                  <a:pt x="4491382" y="1208834"/>
                  <a:pt x="4492197" y="1212097"/>
                </a:cubicBezTo>
                <a:cubicBezTo>
                  <a:pt x="4492904" y="1214192"/>
                  <a:pt x="4494060" y="1216092"/>
                  <a:pt x="4495607" y="1217674"/>
                </a:cubicBezTo>
                <a:lnTo>
                  <a:pt x="4496617" y="1218698"/>
                </a:lnTo>
                <a:cubicBezTo>
                  <a:pt x="4496617" y="1218698"/>
                  <a:pt x="4497835" y="1219538"/>
                  <a:pt x="4497653" y="1223422"/>
                </a:cubicBezTo>
                <a:cubicBezTo>
                  <a:pt x="4497653" y="1225115"/>
                  <a:pt x="4497762" y="1226795"/>
                  <a:pt x="4497811" y="1228475"/>
                </a:cubicBezTo>
                <a:cubicBezTo>
                  <a:pt x="4497811" y="1229693"/>
                  <a:pt x="4497811" y="1230911"/>
                  <a:pt x="4497811" y="1232189"/>
                </a:cubicBezTo>
                <a:cubicBezTo>
                  <a:pt x="4497811" y="1233468"/>
                  <a:pt x="4497811" y="1234333"/>
                  <a:pt x="4497811" y="1235416"/>
                </a:cubicBezTo>
                <a:lnTo>
                  <a:pt x="4497884" y="1238192"/>
                </a:lnTo>
                <a:cubicBezTo>
                  <a:pt x="4498298" y="1241419"/>
                  <a:pt x="4500197" y="1244257"/>
                  <a:pt x="4503022" y="1245864"/>
                </a:cubicBezTo>
                <a:cubicBezTo>
                  <a:pt x="4505921" y="1247788"/>
                  <a:pt x="4508989" y="1249420"/>
                  <a:pt x="4512204" y="1250734"/>
                </a:cubicBezTo>
                <a:lnTo>
                  <a:pt x="4516174" y="1252378"/>
                </a:lnTo>
                <a:cubicBezTo>
                  <a:pt x="4516174" y="1252378"/>
                  <a:pt x="4517281" y="1257542"/>
                  <a:pt x="4520654" y="1260196"/>
                </a:cubicBezTo>
                <a:cubicBezTo>
                  <a:pt x="4522700" y="1261828"/>
                  <a:pt x="4525062" y="1263033"/>
                  <a:pt x="4527583" y="1263728"/>
                </a:cubicBezTo>
                <a:cubicBezTo>
                  <a:pt x="4527583" y="1263728"/>
                  <a:pt x="4531979" y="1265018"/>
                  <a:pt x="4535693" y="1265724"/>
                </a:cubicBezTo>
                <a:lnTo>
                  <a:pt x="4541854" y="1266759"/>
                </a:lnTo>
                <a:lnTo>
                  <a:pt x="4548759" y="1272677"/>
                </a:lnTo>
                <a:lnTo>
                  <a:pt x="4555078" y="1278109"/>
                </a:lnTo>
                <a:lnTo>
                  <a:pt x="4559377" y="1281834"/>
                </a:lnTo>
                <a:cubicBezTo>
                  <a:pt x="4560266" y="1284696"/>
                  <a:pt x="4561155" y="1287546"/>
                  <a:pt x="4562031" y="1290358"/>
                </a:cubicBezTo>
                <a:lnTo>
                  <a:pt x="4566841" y="1291856"/>
                </a:lnTo>
                <a:lnTo>
                  <a:pt x="4575828" y="1294681"/>
                </a:lnTo>
                <a:lnTo>
                  <a:pt x="4584351" y="1297384"/>
                </a:lnTo>
                <a:cubicBezTo>
                  <a:pt x="4586787" y="1298152"/>
                  <a:pt x="4589125" y="1298906"/>
                  <a:pt x="4591512" y="1299686"/>
                </a:cubicBezTo>
                <a:cubicBezTo>
                  <a:pt x="4591512" y="1299686"/>
                  <a:pt x="4589076" y="1292721"/>
                  <a:pt x="4595944" y="1290577"/>
                </a:cubicBezTo>
                <a:cubicBezTo>
                  <a:pt x="4597637" y="1289981"/>
                  <a:pt x="4599378" y="1289542"/>
                  <a:pt x="4601156" y="1289262"/>
                </a:cubicBezTo>
                <a:cubicBezTo>
                  <a:pt x="4602385" y="1289250"/>
                  <a:pt x="4603384" y="1288251"/>
                  <a:pt x="4603396" y="1287022"/>
                </a:cubicBezTo>
                <a:cubicBezTo>
                  <a:pt x="4603396" y="1287022"/>
                  <a:pt x="4602860" y="1281311"/>
                  <a:pt x="4608340" y="1279813"/>
                </a:cubicBezTo>
                <a:cubicBezTo>
                  <a:pt x="4608340" y="1279813"/>
                  <a:pt x="4610532" y="1278327"/>
                  <a:pt x="4622843" y="1281116"/>
                </a:cubicBezTo>
                <a:cubicBezTo>
                  <a:pt x="4622843" y="1281116"/>
                  <a:pt x="4629601" y="1283551"/>
                  <a:pt x="4632085" y="1278181"/>
                </a:cubicBezTo>
                <a:cubicBezTo>
                  <a:pt x="4632085" y="1278181"/>
                  <a:pt x="4635275" y="1269523"/>
                  <a:pt x="4642471" y="1271752"/>
                </a:cubicBezTo>
                <a:cubicBezTo>
                  <a:pt x="4645004" y="1272373"/>
                  <a:pt x="4647464" y="1273298"/>
                  <a:pt x="4649778" y="1274492"/>
                </a:cubicBezTo>
                <a:cubicBezTo>
                  <a:pt x="4649778" y="1274492"/>
                  <a:pt x="4651775" y="1275332"/>
                  <a:pt x="4655672" y="1276683"/>
                </a:cubicBezTo>
                <a:lnTo>
                  <a:pt x="4660055" y="1278218"/>
                </a:lnTo>
                <a:lnTo>
                  <a:pt x="4658168" y="1272885"/>
                </a:lnTo>
                <a:cubicBezTo>
                  <a:pt x="4657632" y="1271448"/>
                  <a:pt x="4657108" y="1270010"/>
                  <a:pt x="4656585" y="1268574"/>
                </a:cubicBezTo>
                <a:lnTo>
                  <a:pt x="4655197" y="1265761"/>
                </a:lnTo>
                <a:cubicBezTo>
                  <a:pt x="4655197" y="1265761"/>
                  <a:pt x="4652761" y="1262777"/>
                  <a:pt x="4653686" y="1260086"/>
                </a:cubicBezTo>
                <a:cubicBezTo>
                  <a:pt x="4654028" y="1259161"/>
                  <a:pt x="4654478" y="1258272"/>
                  <a:pt x="4655001" y="1257432"/>
                </a:cubicBezTo>
                <a:lnTo>
                  <a:pt x="4655477" y="1256214"/>
                </a:lnTo>
                <a:cubicBezTo>
                  <a:pt x="4655696" y="1254960"/>
                  <a:pt x="4655379" y="1253669"/>
                  <a:pt x="4654612" y="1252647"/>
                </a:cubicBezTo>
                <a:cubicBezTo>
                  <a:pt x="4654612" y="1252647"/>
                  <a:pt x="4652055" y="1249480"/>
                  <a:pt x="4654454" y="1244293"/>
                </a:cubicBezTo>
                <a:lnTo>
                  <a:pt x="4655903" y="1241297"/>
                </a:lnTo>
                <a:cubicBezTo>
                  <a:pt x="4656280" y="1240348"/>
                  <a:pt x="4656524" y="1239350"/>
                  <a:pt x="4656597" y="1238326"/>
                </a:cubicBezTo>
                <a:cubicBezTo>
                  <a:pt x="4656597" y="1238326"/>
                  <a:pt x="4655964" y="1235063"/>
                  <a:pt x="4660640" y="1235891"/>
                </a:cubicBezTo>
                <a:cubicBezTo>
                  <a:pt x="4662003" y="1236110"/>
                  <a:pt x="4663331" y="1236561"/>
                  <a:pt x="4664549" y="1237219"/>
                </a:cubicBezTo>
                <a:cubicBezTo>
                  <a:pt x="4664549" y="1237219"/>
                  <a:pt x="4671855" y="1241042"/>
                  <a:pt x="4674290" y="1238668"/>
                </a:cubicBezTo>
                <a:cubicBezTo>
                  <a:pt x="4674290" y="1238668"/>
                  <a:pt x="4675240" y="1238095"/>
                  <a:pt x="4675142" y="1235550"/>
                </a:cubicBezTo>
                <a:lnTo>
                  <a:pt x="4676737" y="1235623"/>
                </a:lnTo>
                <a:lnTo>
                  <a:pt x="4677602" y="1235623"/>
                </a:lnTo>
                <a:cubicBezTo>
                  <a:pt x="4678308" y="1235696"/>
                  <a:pt x="4678990" y="1235879"/>
                  <a:pt x="4679623" y="1236183"/>
                </a:cubicBezTo>
                <a:lnTo>
                  <a:pt x="4680427" y="1236451"/>
                </a:lnTo>
                <a:lnTo>
                  <a:pt x="4681425" y="1236670"/>
                </a:lnTo>
                <a:lnTo>
                  <a:pt x="4682753" y="1236914"/>
                </a:lnTo>
                <a:cubicBezTo>
                  <a:pt x="4682753" y="1236914"/>
                  <a:pt x="4687623" y="1237815"/>
                  <a:pt x="4688841" y="1236317"/>
                </a:cubicBezTo>
                <a:cubicBezTo>
                  <a:pt x="4688841" y="1236317"/>
                  <a:pt x="4690132" y="1235233"/>
                  <a:pt x="4686406" y="1230655"/>
                </a:cubicBezTo>
                <a:cubicBezTo>
                  <a:pt x="4686406" y="1230655"/>
                  <a:pt x="4682363" y="1225931"/>
                  <a:pt x="4679210" y="1222862"/>
                </a:cubicBezTo>
                <a:cubicBezTo>
                  <a:pt x="4677760" y="1221364"/>
                  <a:pt x="4676202" y="1219988"/>
                  <a:pt x="4674533" y="1218746"/>
                </a:cubicBezTo>
                <a:cubicBezTo>
                  <a:pt x="4672634" y="1217346"/>
                  <a:pt x="4670953" y="1215678"/>
                  <a:pt x="4669553" y="1213766"/>
                </a:cubicBezTo>
                <a:lnTo>
                  <a:pt x="4668725" y="1212426"/>
                </a:lnTo>
                <a:lnTo>
                  <a:pt x="4667897" y="1210685"/>
                </a:lnTo>
                <a:lnTo>
                  <a:pt x="4667069" y="1208639"/>
                </a:lnTo>
                <a:cubicBezTo>
                  <a:pt x="4666716" y="1207860"/>
                  <a:pt x="4666375" y="1207081"/>
                  <a:pt x="4666022" y="1206289"/>
                </a:cubicBezTo>
                <a:lnTo>
                  <a:pt x="4664634" y="1203477"/>
                </a:lnTo>
                <a:cubicBezTo>
                  <a:pt x="4664134" y="1202526"/>
                  <a:pt x="4663647" y="1201577"/>
                  <a:pt x="4663160" y="1200627"/>
                </a:cubicBezTo>
                <a:lnTo>
                  <a:pt x="4661943" y="1198313"/>
                </a:lnTo>
                <a:cubicBezTo>
                  <a:pt x="4661565" y="1197583"/>
                  <a:pt x="4661187" y="1196876"/>
                  <a:pt x="4660798" y="1196146"/>
                </a:cubicBezTo>
                <a:lnTo>
                  <a:pt x="4659483" y="1193589"/>
                </a:lnTo>
                <a:lnTo>
                  <a:pt x="4654941" y="1194380"/>
                </a:lnTo>
                <a:lnTo>
                  <a:pt x="4649254" y="1195342"/>
                </a:lnTo>
                <a:lnTo>
                  <a:pt x="4644712" y="1196134"/>
                </a:lnTo>
                <a:lnTo>
                  <a:pt x="4636882" y="1197644"/>
                </a:lnTo>
                <a:lnTo>
                  <a:pt x="4633583" y="1198301"/>
                </a:lnTo>
                <a:cubicBezTo>
                  <a:pt x="4633583" y="1198301"/>
                  <a:pt x="4627092" y="1199665"/>
                  <a:pt x="4622075" y="1198508"/>
                </a:cubicBezTo>
                <a:cubicBezTo>
                  <a:pt x="4620139" y="1198167"/>
                  <a:pt x="4618240" y="1197729"/>
                  <a:pt x="4616352" y="1197181"/>
                </a:cubicBezTo>
                <a:cubicBezTo>
                  <a:pt x="4611604" y="1196122"/>
                  <a:pt x="4606805" y="1195378"/>
                  <a:pt x="4601959" y="1194940"/>
                </a:cubicBezTo>
                <a:cubicBezTo>
                  <a:pt x="4598075" y="1194758"/>
                  <a:pt x="4594179" y="1195087"/>
                  <a:pt x="4590367" y="1195890"/>
                </a:cubicBezTo>
                <a:cubicBezTo>
                  <a:pt x="4590367" y="1195890"/>
                  <a:pt x="4586385" y="1197035"/>
                  <a:pt x="4581453" y="1198788"/>
                </a:cubicBezTo>
                <a:cubicBezTo>
                  <a:pt x="4581453" y="1198788"/>
                  <a:pt x="4576083" y="1200822"/>
                  <a:pt x="4568059" y="1196609"/>
                </a:cubicBezTo>
                <a:cubicBezTo>
                  <a:pt x="4568059" y="1196609"/>
                  <a:pt x="4555882" y="1191020"/>
                  <a:pt x="4547845" y="1191494"/>
                </a:cubicBezTo>
                <a:cubicBezTo>
                  <a:pt x="4547845" y="1191494"/>
                  <a:pt x="4540417" y="1191920"/>
                  <a:pt x="4536338" y="1195878"/>
                </a:cubicBezTo>
                <a:lnTo>
                  <a:pt x="4535875" y="1196304"/>
                </a:lnTo>
                <a:cubicBezTo>
                  <a:pt x="4535875" y="1196304"/>
                  <a:pt x="4535730" y="1196426"/>
                  <a:pt x="4534804" y="1196304"/>
                </a:cubicBezTo>
                <a:lnTo>
                  <a:pt x="4533087" y="1196146"/>
                </a:lnTo>
                <a:lnTo>
                  <a:pt x="4527583" y="1192590"/>
                </a:lnTo>
                <a:cubicBezTo>
                  <a:pt x="4525148" y="1191007"/>
                  <a:pt x="4522713" y="1189436"/>
                  <a:pt x="4520277" y="1187878"/>
                </a:cubicBezTo>
                <a:lnTo>
                  <a:pt x="4512886" y="1183153"/>
                </a:lnTo>
                <a:lnTo>
                  <a:pt x="4512252" y="1182739"/>
                </a:lnTo>
                <a:lnTo>
                  <a:pt x="4510207" y="1183312"/>
                </a:lnTo>
                <a:lnTo>
                  <a:pt x="4507686" y="1184006"/>
                </a:lnTo>
                <a:lnTo>
                  <a:pt x="4505373" y="1184456"/>
                </a:lnTo>
                <a:cubicBezTo>
                  <a:pt x="4505373" y="1184456"/>
                  <a:pt x="4499662" y="1184858"/>
                  <a:pt x="4496666" y="1188499"/>
                </a:cubicBezTo>
                <a:cubicBezTo>
                  <a:pt x="4495595" y="1190131"/>
                  <a:pt x="4495156" y="1192103"/>
                  <a:pt x="4495449" y="1194040"/>
                </a:cubicBezTo>
                <a:cubicBezTo>
                  <a:pt x="4495449" y="1194040"/>
                  <a:pt x="4495740" y="1195817"/>
                  <a:pt x="4495789" y="1196182"/>
                </a:cubicBezTo>
                <a:close/>
                <a:moveTo>
                  <a:pt x="4691703" y="1366999"/>
                </a:moveTo>
                <a:cubicBezTo>
                  <a:pt x="4692323" y="1367060"/>
                  <a:pt x="4692360" y="1366391"/>
                  <a:pt x="4692360" y="1366391"/>
                </a:cubicBezTo>
                <a:cubicBezTo>
                  <a:pt x="4692409" y="1365416"/>
                  <a:pt x="4692323" y="1364430"/>
                  <a:pt x="4692116" y="1363468"/>
                </a:cubicBezTo>
                <a:cubicBezTo>
                  <a:pt x="4691910" y="1362092"/>
                  <a:pt x="4691715" y="1360716"/>
                  <a:pt x="4691508" y="1359340"/>
                </a:cubicBezTo>
                <a:lnTo>
                  <a:pt x="4690850" y="1354895"/>
                </a:lnTo>
                <a:cubicBezTo>
                  <a:pt x="4690583" y="1353081"/>
                  <a:pt x="4690302" y="1351242"/>
                  <a:pt x="4690022" y="1349428"/>
                </a:cubicBezTo>
                <a:cubicBezTo>
                  <a:pt x="4689742" y="1347613"/>
                  <a:pt x="4689425" y="1345544"/>
                  <a:pt x="4689121" y="1343595"/>
                </a:cubicBezTo>
                <a:cubicBezTo>
                  <a:pt x="4688902" y="1342207"/>
                  <a:pt x="4688695" y="1340819"/>
                  <a:pt x="4688476" y="1339443"/>
                </a:cubicBezTo>
                <a:cubicBezTo>
                  <a:pt x="4688305" y="1338384"/>
                  <a:pt x="4688147" y="1337336"/>
                  <a:pt x="4687976" y="1336289"/>
                </a:cubicBezTo>
                <a:cubicBezTo>
                  <a:pt x="4687806" y="1335242"/>
                  <a:pt x="4687685" y="1334402"/>
                  <a:pt x="4687526" y="1333464"/>
                </a:cubicBezTo>
                <a:lnTo>
                  <a:pt x="4689036" y="1333781"/>
                </a:lnTo>
                <a:lnTo>
                  <a:pt x="4692336" y="1334487"/>
                </a:lnTo>
                <a:lnTo>
                  <a:pt x="4696464" y="1335388"/>
                </a:lnTo>
                <a:lnTo>
                  <a:pt x="4703271" y="1336874"/>
                </a:lnTo>
                <a:lnTo>
                  <a:pt x="4707654" y="1337799"/>
                </a:lnTo>
                <a:lnTo>
                  <a:pt x="4714205" y="1339017"/>
                </a:lnTo>
                <a:cubicBezTo>
                  <a:pt x="4715484" y="1339260"/>
                  <a:pt x="4716811" y="1339151"/>
                  <a:pt x="4718041" y="1338712"/>
                </a:cubicBezTo>
                <a:lnTo>
                  <a:pt x="4719953" y="1337921"/>
                </a:lnTo>
                <a:lnTo>
                  <a:pt x="4721171" y="1337494"/>
                </a:lnTo>
                <a:lnTo>
                  <a:pt x="4718102" y="1334658"/>
                </a:lnTo>
                <a:lnTo>
                  <a:pt x="4714644" y="1331577"/>
                </a:lnTo>
                <a:cubicBezTo>
                  <a:pt x="4713426" y="1330627"/>
                  <a:pt x="4712050" y="1329896"/>
                  <a:pt x="4710577" y="1329421"/>
                </a:cubicBezTo>
                <a:cubicBezTo>
                  <a:pt x="4702686" y="1327303"/>
                  <a:pt x="4695672" y="1321202"/>
                  <a:pt x="4695672" y="1321202"/>
                </a:cubicBezTo>
                <a:lnTo>
                  <a:pt x="4693237" y="1319181"/>
                </a:lnTo>
                <a:cubicBezTo>
                  <a:pt x="4692750" y="1318913"/>
                  <a:pt x="4692251" y="1318657"/>
                  <a:pt x="4691751" y="1318402"/>
                </a:cubicBezTo>
                <a:lnTo>
                  <a:pt x="4690083" y="1317622"/>
                </a:lnTo>
                <a:lnTo>
                  <a:pt x="4686272" y="1318292"/>
                </a:lnTo>
                <a:lnTo>
                  <a:pt x="4681328" y="1319168"/>
                </a:lnTo>
                <a:lnTo>
                  <a:pt x="4678040" y="1314712"/>
                </a:lnTo>
                <a:cubicBezTo>
                  <a:pt x="4677139" y="1313531"/>
                  <a:pt x="4676335" y="1312289"/>
                  <a:pt x="4675605" y="1310998"/>
                </a:cubicBezTo>
                <a:cubicBezTo>
                  <a:pt x="4674886" y="1308855"/>
                  <a:pt x="4676068" y="1304703"/>
                  <a:pt x="4676068" y="1304714"/>
                </a:cubicBezTo>
                <a:cubicBezTo>
                  <a:pt x="4677943" y="1299430"/>
                  <a:pt x="4680670" y="1299844"/>
                  <a:pt x="4680658" y="1299844"/>
                </a:cubicBezTo>
                <a:cubicBezTo>
                  <a:pt x="4683471" y="1299564"/>
                  <a:pt x="4689912" y="1303911"/>
                  <a:pt x="4689912" y="1303911"/>
                </a:cubicBezTo>
                <a:lnTo>
                  <a:pt x="4695124" y="1307174"/>
                </a:lnTo>
                <a:cubicBezTo>
                  <a:pt x="4699471" y="1309878"/>
                  <a:pt x="4703806" y="1312593"/>
                  <a:pt x="4708153" y="1315333"/>
                </a:cubicBezTo>
                <a:cubicBezTo>
                  <a:pt x="4713365" y="1318438"/>
                  <a:pt x="4723009" y="1325330"/>
                  <a:pt x="4723009" y="1325342"/>
                </a:cubicBezTo>
                <a:cubicBezTo>
                  <a:pt x="4729268" y="1330006"/>
                  <a:pt x="4736489" y="1333196"/>
                  <a:pt x="4744148" y="1334670"/>
                </a:cubicBezTo>
                <a:cubicBezTo>
                  <a:pt x="4751454" y="1335802"/>
                  <a:pt x="4755546" y="1334548"/>
                  <a:pt x="4755546" y="1334536"/>
                </a:cubicBezTo>
                <a:cubicBezTo>
                  <a:pt x="4757580" y="1334036"/>
                  <a:pt x="4759528" y="1333221"/>
                  <a:pt x="4761293" y="1332100"/>
                </a:cubicBezTo>
                <a:cubicBezTo>
                  <a:pt x="4762937" y="1330043"/>
                  <a:pt x="4760624" y="1326170"/>
                  <a:pt x="4760611" y="1326170"/>
                </a:cubicBezTo>
                <a:cubicBezTo>
                  <a:pt x="4759224" y="1324466"/>
                  <a:pt x="4752514" y="1323163"/>
                  <a:pt x="4752514" y="1323138"/>
                </a:cubicBezTo>
                <a:lnTo>
                  <a:pt x="4750919" y="1323345"/>
                </a:lnTo>
                <a:lnTo>
                  <a:pt x="4748142" y="1323905"/>
                </a:lnTo>
                <a:lnTo>
                  <a:pt x="4743539" y="1323187"/>
                </a:lnTo>
                <a:cubicBezTo>
                  <a:pt x="4740714" y="1322907"/>
                  <a:pt x="4737987" y="1322079"/>
                  <a:pt x="4735479" y="1320751"/>
                </a:cubicBezTo>
                <a:lnTo>
                  <a:pt x="4733749" y="1319631"/>
                </a:lnTo>
                <a:cubicBezTo>
                  <a:pt x="4729402" y="1316526"/>
                  <a:pt x="4725055" y="1313433"/>
                  <a:pt x="4720696" y="1310377"/>
                </a:cubicBezTo>
                <a:cubicBezTo>
                  <a:pt x="4716276" y="1307125"/>
                  <a:pt x="4711855" y="1303887"/>
                  <a:pt x="4707423" y="1300636"/>
                </a:cubicBezTo>
                <a:lnTo>
                  <a:pt x="4698339" y="1293962"/>
                </a:lnTo>
                <a:cubicBezTo>
                  <a:pt x="4695611" y="1291953"/>
                  <a:pt x="4694796" y="1292306"/>
                  <a:pt x="4694808" y="1292306"/>
                </a:cubicBezTo>
                <a:cubicBezTo>
                  <a:pt x="4694491" y="1292733"/>
                  <a:pt x="4689401" y="1291880"/>
                  <a:pt x="4689414" y="1291880"/>
                </a:cubicBezTo>
                <a:cubicBezTo>
                  <a:pt x="4686467" y="1291357"/>
                  <a:pt x="4683532" y="1290857"/>
                  <a:pt x="4680585" y="1290358"/>
                </a:cubicBezTo>
                <a:cubicBezTo>
                  <a:pt x="4671964" y="1288873"/>
                  <a:pt x="4668055" y="1290797"/>
                  <a:pt x="4668055" y="1290797"/>
                </a:cubicBezTo>
                <a:lnTo>
                  <a:pt x="4662771" y="1293841"/>
                </a:lnTo>
                <a:lnTo>
                  <a:pt x="4655014" y="1301902"/>
                </a:lnTo>
                <a:cubicBezTo>
                  <a:pt x="4654113" y="1303582"/>
                  <a:pt x="4648706" y="1306845"/>
                  <a:pt x="4648706" y="1306845"/>
                </a:cubicBezTo>
                <a:lnTo>
                  <a:pt x="4642849" y="1310389"/>
                </a:lnTo>
                <a:cubicBezTo>
                  <a:pt x="4641193" y="1311180"/>
                  <a:pt x="4639391" y="1311595"/>
                  <a:pt x="4637552" y="1311607"/>
                </a:cubicBezTo>
                <a:cubicBezTo>
                  <a:pt x="4633558" y="1312325"/>
                  <a:pt x="4632584" y="1314444"/>
                  <a:pt x="4632584" y="1314444"/>
                </a:cubicBezTo>
                <a:cubicBezTo>
                  <a:pt x="4629941" y="1318462"/>
                  <a:pt x="4635896" y="1324806"/>
                  <a:pt x="4635896" y="1324819"/>
                </a:cubicBezTo>
                <a:cubicBezTo>
                  <a:pt x="4636347" y="1325513"/>
                  <a:pt x="4636785" y="1326207"/>
                  <a:pt x="4637223" y="1326901"/>
                </a:cubicBezTo>
                <a:cubicBezTo>
                  <a:pt x="4639525" y="1331248"/>
                  <a:pt x="4637467" y="1333391"/>
                  <a:pt x="4637467" y="1333391"/>
                </a:cubicBezTo>
                <a:lnTo>
                  <a:pt x="4635884" y="1335388"/>
                </a:lnTo>
                <a:lnTo>
                  <a:pt x="4632694" y="1338749"/>
                </a:lnTo>
                <a:lnTo>
                  <a:pt x="4629041" y="1342718"/>
                </a:lnTo>
                <a:cubicBezTo>
                  <a:pt x="4627592" y="1344119"/>
                  <a:pt x="4627543" y="1346433"/>
                  <a:pt x="4628956" y="1347882"/>
                </a:cubicBezTo>
                <a:cubicBezTo>
                  <a:pt x="4629016" y="1347955"/>
                  <a:pt x="4629077" y="1348015"/>
                  <a:pt x="4629150" y="1348077"/>
                </a:cubicBezTo>
                <a:cubicBezTo>
                  <a:pt x="4632706" y="1351401"/>
                  <a:pt x="4639635" y="1352825"/>
                  <a:pt x="4639635" y="1352825"/>
                </a:cubicBezTo>
                <a:cubicBezTo>
                  <a:pt x="4641059" y="1353288"/>
                  <a:pt x="4642630" y="1353008"/>
                  <a:pt x="4643811" y="1352095"/>
                </a:cubicBezTo>
                <a:lnTo>
                  <a:pt x="4644931" y="1351218"/>
                </a:lnTo>
                <a:lnTo>
                  <a:pt x="4646320" y="1350000"/>
                </a:lnTo>
                <a:lnTo>
                  <a:pt x="4652030" y="1345531"/>
                </a:lnTo>
                <a:cubicBezTo>
                  <a:pt x="4654125" y="1343924"/>
                  <a:pt x="4655890" y="1341927"/>
                  <a:pt x="4657242" y="1339650"/>
                </a:cubicBezTo>
                <a:cubicBezTo>
                  <a:pt x="4658350" y="1337349"/>
                  <a:pt x="4658801" y="1334779"/>
                  <a:pt x="4658521" y="1332234"/>
                </a:cubicBezTo>
                <a:cubicBezTo>
                  <a:pt x="4658301" y="1331747"/>
                  <a:pt x="4658338" y="1331187"/>
                  <a:pt x="4658630" y="1330737"/>
                </a:cubicBezTo>
                <a:lnTo>
                  <a:pt x="4659434" y="1329714"/>
                </a:lnTo>
                <a:lnTo>
                  <a:pt x="4660018" y="1329787"/>
                </a:lnTo>
                <a:cubicBezTo>
                  <a:pt x="4665036" y="1330651"/>
                  <a:pt x="4665766" y="1332514"/>
                  <a:pt x="4665766" y="1332502"/>
                </a:cubicBezTo>
                <a:cubicBezTo>
                  <a:pt x="4667203" y="1334877"/>
                  <a:pt x="4665949" y="1336058"/>
                  <a:pt x="4665936" y="1336070"/>
                </a:cubicBezTo>
                <a:cubicBezTo>
                  <a:pt x="4665157" y="1337276"/>
                  <a:pt x="4664682" y="1338664"/>
                  <a:pt x="4664573" y="1340100"/>
                </a:cubicBezTo>
                <a:cubicBezTo>
                  <a:pt x="4664573" y="1340989"/>
                  <a:pt x="4664463" y="1341878"/>
                  <a:pt x="4664414" y="1342767"/>
                </a:cubicBezTo>
                <a:cubicBezTo>
                  <a:pt x="4664365" y="1343656"/>
                  <a:pt x="4664414" y="1344253"/>
                  <a:pt x="4664354" y="1344996"/>
                </a:cubicBezTo>
                <a:cubicBezTo>
                  <a:pt x="4664293" y="1345738"/>
                  <a:pt x="4664220" y="1346445"/>
                  <a:pt x="4664159" y="1347163"/>
                </a:cubicBezTo>
                <a:cubicBezTo>
                  <a:pt x="4663562" y="1350171"/>
                  <a:pt x="4662843" y="1350816"/>
                  <a:pt x="4662843" y="1350816"/>
                </a:cubicBezTo>
                <a:cubicBezTo>
                  <a:pt x="4659190" y="1354615"/>
                  <a:pt x="4664829" y="1358123"/>
                  <a:pt x="4664816" y="1358123"/>
                </a:cubicBezTo>
                <a:cubicBezTo>
                  <a:pt x="4666838" y="1359535"/>
                  <a:pt x="4669102" y="1360558"/>
                  <a:pt x="4671489" y="1361167"/>
                </a:cubicBezTo>
                <a:lnTo>
                  <a:pt x="4675568" y="1362141"/>
                </a:lnTo>
                <a:lnTo>
                  <a:pt x="4681292" y="1363590"/>
                </a:lnTo>
                <a:lnTo>
                  <a:pt x="4679684" y="1364527"/>
                </a:lnTo>
                <a:cubicBezTo>
                  <a:pt x="4676542" y="1366792"/>
                  <a:pt x="4676895" y="1368850"/>
                  <a:pt x="4676895" y="1368850"/>
                </a:cubicBezTo>
                <a:cubicBezTo>
                  <a:pt x="4676713" y="1372223"/>
                  <a:pt x="4682326" y="1376875"/>
                  <a:pt x="4682326" y="1376875"/>
                </a:cubicBezTo>
                <a:cubicBezTo>
                  <a:pt x="4683106" y="1376278"/>
                  <a:pt x="4683776" y="1375560"/>
                  <a:pt x="4684312" y="1374744"/>
                </a:cubicBezTo>
                <a:cubicBezTo>
                  <a:pt x="4684616" y="1374196"/>
                  <a:pt x="4684920" y="1373648"/>
                  <a:pt x="4685212" y="1373100"/>
                </a:cubicBezTo>
                <a:cubicBezTo>
                  <a:pt x="4685505" y="1372552"/>
                  <a:pt x="4685907" y="1371663"/>
                  <a:pt x="4686247" y="1370957"/>
                </a:cubicBezTo>
                <a:cubicBezTo>
                  <a:pt x="4686759" y="1369800"/>
                  <a:pt x="4687575" y="1368789"/>
                  <a:pt x="4688610" y="1368047"/>
                </a:cubicBezTo>
                <a:cubicBezTo>
                  <a:pt x="4689560" y="1367486"/>
                  <a:pt x="4690607" y="1367133"/>
                  <a:pt x="4691703" y="1366999"/>
                </a:cubicBezTo>
                <a:close/>
                <a:moveTo>
                  <a:pt x="4732033" y="1358646"/>
                </a:moveTo>
                <a:cubicBezTo>
                  <a:pt x="4733055" y="1360119"/>
                  <a:pt x="4734175" y="1361520"/>
                  <a:pt x="4735381" y="1362835"/>
                </a:cubicBezTo>
                <a:cubicBezTo>
                  <a:pt x="4737451" y="1364941"/>
                  <a:pt x="4739643" y="1366926"/>
                  <a:pt x="4741944" y="1368777"/>
                </a:cubicBezTo>
                <a:cubicBezTo>
                  <a:pt x="4741944" y="1368777"/>
                  <a:pt x="4746645" y="1372662"/>
                  <a:pt x="4748032" y="1374049"/>
                </a:cubicBezTo>
                <a:cubicBezTo>
                  <a:pt x="4750273" y="1376083"/>
                  <a:pt x="4752136" y="1378506"/>
                  <a:pt x="4753536" y="1381197"/>
                </a:cubicBezTo>
                <a:lnTo>
                  <a:pt x="4757189" y="1377715"/>
                </a:lnTo>
                <a:lnTo>
                  <a:pt x="4759929" y="1375084"/>
                </a:lnTo>
                <a:cubicBezTo>
                  <a:pt x="4750310" y="1368935"/>
                  <a:pt x="4740666" y="1362847"/>
                  <a:pt x="4731009" y="1356819"/>
                </a:cubicBezTo>
                <a:cubicBezTo>
                  <a:pt x="4731009" y="1356819"/>
                  <a:pt x="4731886" y="1358390"/>
                  <a:pt x="4732033" y="1358646"/>
                </a:cubicBezTo>
                <a:close/>
                <a:moveTo>
                  <a:pt x="4763315" y="1406306"/>
                </a:moveTo>
                <a:cubicBezTo>
                  <a:pt x="4764800" y="1406964"/>
                  <a:pt x="4766493" y="1406964"/>
                  <a:pt x="4767966" y="1406306"/>
                </a:cubicBezTo>
                <a:cubicBezTo>
                  <a:pt x="4767966" y="1406306"/>
                  <a:pt x="4768989" y="1406087"/>
                  <a:pt x="4771754" y="1403018"/>
                </a:cubicBezTo>
                <a:lnTo>
                  <a:pt x="4765738" y="1398549"/>
                </a:lnTo>
                <a:cubicBezTo>
                  <a:pt x="4764131" y="1397380"/>
                  <a:pt x="4762584" y="1396126"/>
                  <a:pt x="4761111" y="1394787"/>
                </a:cubicBezTo>
                <a:lnTo>
                  <a:pt x="4759430" y="1393350"/>
                </a:lnTo>
                <a:cubicBezTo>
                  <a:pt x="4759430" y="1393350"/>
                  <a:pt x="4753841" y="1388126"/>
                  <a:pt x="4749957" y="1388260"/>
                </a:cubicBezTo>
                <a:cubicBezTo>
                  <a:pt x="4749957" y="1388260"/>
                  <a:pt x="4744209" y="1388443"/>
                  <a:pt x="4745183" y="1391840"/>
                </a:cubicBezTo>
                <a:cubicBezTo>
                  <a:pt x="4745670" y="1392960"/>
                  <a:pt x="4746438" y="1393934"/>
                  <a:pt x="4747400" y="1394689"/>
                </a:cubicBezTo>
                <a:cubicBezTo>
                  <a:pt x="4747400" y="1394689"/>
                  <a:pt x="4749031" y="1396126"/>
                  <a:pt x="4750127" y="1396954"/>
                </a:cubicBezTo>
                <a:cubicBezTo>
                  <a:pt x="4750127" y="1396954"/>
                  <a:pt x="4753525" y="1399718"/>
                  <a:pt x="4754876" y="1400838"/>
                </a:cubicBezTo>
                <a:cubicBezTo>
                  <a:pt x="4754888" y="1400838"/>
                  <a:pt x="4760818" y="1405405"/>
                  <a:pt x="4763315" y="1406282"/>
                </a:cubicBezTo>
                <a:close/>
                <a:moveTo>
                  <a:pt x="4781081" y="1411469"/>
                </a:moveTo>
                <a:cubicBezTo>
                  <a:pt x="4782238" y="1412358"/>
                  <a:pt x="4783467" y="1413174"/>
                  <a:pt x="4784734" y="1413904"/>
                </a:cubicBezTo>
                <a:cubicBezTo>
                  <a:pt x="4784734" y="1413904"/>
                  <a:pt x="4789191" y="1416498"/>
                  <a:pt x="4791735" y="1418398"/>
                </a:cubicBezTo>
                <a:cubicBezTo>
                  <a:pt x="4794975" y="1420711"/>
                  <a:pt x="4798031" y="1423232"/>
                  <a:pt x="4800917" y="1425972"/>
                </a:cubicBezTo>
                <a:cubicBezTo>
                  <a:pt x="4800917" y="1425972"/>
                  <a:pt x="4804205" y="1429077"/>
                  <a:pt x="4806360" y="1431622"/>
                </a:cubicBezTo>
                <a:lnTo>
                  <a:pt x="4807723" y="1433168"/>
                </a:lnTo>
                <a:cubicBezTo>
                  <a:pt x="4807723" y="1433168"/>
                  <a:pt x="4810622" y="1436699"/>
                  <a:pt x="4813459" y="1436724"/>
                </a:cubicBezTo>
                <a:cubicBezTo>
                  <a:pt x="4813459" y="1436724"/>
                  <a:pt x="4816771" y="1436833"/>
                  <a:pt x="4816966" y="1434642"/>
                </a:cubicBezTo>
                <a:cubicBezTo>
                  <a:pt x="4816966" y="1434642"/>
                  <a:pt x="4817209" y="1433911"/>
                  <a:pt x="4816089" y="1432011"/>
                </a:cubicBezTo>
                <a:cubicBezTo>
                  <a:pt x="4815115" y="1430477"/>
                  <a:pt x="4813971" y="1429040"/>
                  <a:pt x="4812692" y="1427749"/>
                </a:cubicBezTo>
                <a:cubicBezTo>
                  <a:pt x="4811255" y="1426081"/>
                  <a:pt x="4809721" y="1424498"/>
                  <a:pt x="4808089" y="1423025"/>
                </a:cubicBezTo>
                <a:lnTo>
                  <a:pt x="4801282" y="1417813"/>
                </a:lnTo>
                <a:lnTo>
                  <a:pt x="4791906" y="1410775"/>
                </a:lnTo>
                <a:cubicBezTo>
                  <a:pt x="4789653" y="1409082"/>
                  <a:pt x="4787388" y="1407390"/>
                  <a:pt x="4785124" y="1405722"/>
                </a:cubicBezTo>
                <a:lnTo>
                  <a:pt x="4781909" y="1403286"/>
                </a:lnTo>
                <a:lnTo>
                  <a:pt x="4781811" y="1403213"/>
                </a:lnTo>
                <a:cubicBezTo>
                  <a:pt x="4781811" y="1403213"/>
                  <a:pt x="4781811" y="1403213"/>
                  <a:pt x="4781811" y="1403213"/>
                </a:cubicBezTo>
                <a:cubicBezTo>
                  <a:pt x="4781616" y="1403518"/>
                  <a:pt x="4779267" y="1406866"/>
                  <a:pt x="4779376" y="1408425"/>
                </a:cubicBezTo>
                <a:cubicBezTo>
                  <a:pt x="4779498" y="1409630"/>
                  <a:pt x="4780119" y="1410726"/>
                  <a:pt x="4781081" y="1411469"/>
                </a:cubicBezTo>
                <a:close/>
                <a:moveTo>
                  <a:pt x="4812546" y="1411883"/>
                </a:moveTo>
                <a:lnTo>
                  <a:pt x="4814031" y="1414063"/>
                </a:lnTo>
                <a:lnTo>
                  <a:pt x="4819560" y="1414257"/>
                </a:lnTo>
                <a:lnTo>
                  <a:pt x="4817977" y="1411506"/>
                </a:lnTo>
                <a:close/>
                <a:moveTo>
                  <a:pt x="4785124" y="1390720"/>
                </a:moveTo>
                <a:lnTo>
                  <a:pt x="4786220" y="1391146"/>
                </a:lnTo>
                <a:lnTo>
                  <a:pt x="4788655" y="1390354"/>
                </a:lnTo>
                <a:cubicBezTo>
                  <a:pt x="4785915" y="1387517"/>
                  <a:pt x="4783175" y="1384680"/>
                  <a:pt x="4780411" y="1381831"/>
                </a:cubicBezTo>
                <a:cubicBezTo>
                  <a:pt x="4780411" y="1381831"/>
                  <a:pt x="4780922" y="1386214"/>
                  <a:pt x="4781629" y="1387408"/>
                </a:cubicBezTo>
                <a:cubicBezTo>
                  <a:pt x="4782311" y="1388930"/>
                  <a:pt x="4783565" y="1390123"/>
                  <a:pt x="4785124" y="1390720"/>
                </a:cubicBezTo>
                <a:close/>
                <a:moveTo>
                  <a:pt x="4794475" y="1380978"/>
                </a:moveTo>
                <a:cubicBezTo>
                  <a:pt x="4794475" y="1380978"/>
                  <a:pt x="4794573" y="1379675"/>
                  <a:pt x="4791797" y="1375949"/>
                </a:cubicBezTo>
                <a:cubicBezTo>
                  <a:pt x="4791139" y="1375073"/>
                  <a:pt x="4790493" y="1374184"/>
                  <a:pt x="4789836" y="1373295"/>
                </a:cubicBezTo>
                <a:cubicBezTo>
                  <a:pt x="4789836" y="1373295"/>
                  <a:pt x="4782079" y="1371261"/>
                  <a:pt x="4781227" y="1373149"/>
                </a:cubicBezTo>
                <a:cubicBezTo>
                  <a:pt x="4781227" y="1373149"/>
                  <a:pt x="4779278" y="1374975"/>
                  <a:pt x="4783662" y="1378981"/>
                </a:cubicBezTo>
                <a:cubicBezTo>
                  <a:pt x="4784941" y="1380272"/>
                  <a:pt x="4786390" y="1381392"/>
                  <a:pt x="4787949" y="1382330"/>
                </a:cubicBezTo>
                <a:cubicBezTo>
                  <a:pt x="4787949" y="1382330"/>
                  <a:pt x="4791602" y="1384132"/>
                  <a:pt x="4793197" y="1383548"/>
                </a:cubicBezTo>
                <a:cubicBezTo>
                  <a:pt x="4794110" y="1383036"/>
                  <a:pt x="4794621" y="1382013"/>
                  <a:pt x="4794475" y="1380966"/>
                </a:cubicBezTo>
                <a:close/>
                <a:moveTo>
                  <a:pt x="4817721" y="1373404"/>
                </a:moveTo>
                <a:cubicBezTo>
                  <a:pt x="4817721" y="1373404"/>
                  <a:pt x="4819304" y="1373344"/>
                  <a:pt x="4819462" y="1372040"/>
                </a:cubicBezTo>
                <a:cubicBezTo>
                  <a:pt x="4819608" y="1371091"/>
                  <a:pt x="4819486" y="1370129"/>
                  <a:pt x="4819085" y="1369252"/>
                </a:cubicBezTo>
                <a:cubicBezTo>
                  <a:pt x="4818646" y="1367949"/>
                  <a:pt x="4818196" y="1366646"/>
                  <a:pt x="4817757" y="1365355"/>
                </a:cubicBezTo>
                <a:lnTo>
                  <a:pt x="4809160" y="1362798"/>
                </a:lnTo>
                <a:cubicBezTo>
                  <a:pt x="4808869" y="1360217"/>
                  <a:pt x="4808564" y="1357635"/>
                  <a:pt x="4808272" y="1355054"/>
                </a:cubicBezTo>
                <a:cubicBezTo>
                  <a:pt x="4808272" y="1355054"/>
                  <a:pt x="4802536" y="1353836"/>
                  <a:pt x="4798628" y="1355870"/>
                </a:cubicBezTo>
                <a:cubicBezTo>
                  <a:pt x="4795815" y="1357294"/>
                  <a:pt x="4793903" y="1360034"/>
                  <a:pt x="4793562" y="1363176"/>
                </a:cubicBezTo>
                <a:cubicBezTo>
                  <a:pt x="4793282" y="1365100"/>
                  <a:pt x="4793221" y="1367048"/>
                  <a:pt x="4793391" y="1368984"/>
                </a:cubicBezTo>
                <a:cubicBezTo>
                  <a:pt x="4793391" y="1368984"/>
                  <a:pt x="4805301" y="1371651"/>
                  <a:pt x="4808003" y="1372162"/>
                </a:cubicBezTo>
                <a:cubicBezTo>
                  <a:pt x="4808028" y="1372187"/>
                  <a:pt x="4816284" y="1373806"/>
                  <a:pt x="4817721" y="1373404"/>
                </a:cubicBezTo>
                <a:close/>
                <a:moveTo>
                  <a:pt x="4815553" y="1356077"/>
                </a:moveTo>
                <a:cubicBezTo>
                  <a:pt x="4815553" y="1356077"/>
                  <a:pt x="4814007" y="1357112"/>
                  <a:pt x="4815188" y="1360022"/>
                </a:cubicBezTo>
                <a:cubicBezTo>
                  <a:pt x="4815188" y="1360022"/>
                  <a:pt x="4824077" y="1363054"/>
                  <a:pt x="4823115" y="1356088"/>
                </a:cubicBezTo>
                <a:cubicBezTo>
                  <a:pt x="4823115" y="1356077"/>
                  <a:pt x="4816905" y="1354786"/>
                  <a:pt x="4815553" y="1356064"/>
                </a:cubicBezTo>
                <a:close/>
                <a:moveTo>
                  <a:pt x="4843109" y="1498741"/>
                </a:moveTo>
                <a:cubicBezTo>
                  <a:pt x="4843109" y="1498741"/>
                  <a:pt x="4864176" y="1510114"/>
                  <a:pt x="4856650" y="1492579"/>
                </a:cubicBezTo>
                <a:cubicBezTo>
                  <a:pt x="4856650" y="1492567"/>
                  <a:pt x="4852206" y="1490680"/>
                  <a:pt x="4843109" y="1498728"/>
                </a:cubicBezTo>
                <a:close/>
                <a:moveTo>
                  <a:pt x="4910496" y="1478795"/>
                </a:moveTo>
                <a:cubicBezTo>
                  <a:pt x="4911702" y="1479732"/>
                  <a:pt x="4913126" y="1480341"/>
                  <a:pt x="4914636" y="1480572"/>
                </a:cubicBezTo>
                <a:lnTo>
                  <a:pt x="4917230" y="1481133"/>
                </a:lnTo>
                <a:cubicBezTo>
                  <a:pt x="4913419" y="1477821"/>
                  <a:pt x="4909595" y="1474508"/>
                  <a:pt x="4905784" y="1471208"/>
                </a:cubicBezTo>
                <a:lnTo>
                  <a:pt x="4904566" y="1472292"/>
                </a:lnTo>
                <a:cubicBezTo>
                  <a:pt x="4904566" y="1472292"/>
                  <a:pt x="4908937" y="1477833"/>
                  <a:pt x="4910496" y="1478783"/>
                </a:cubicBezTo>
                <a:close/>
                <a:moveTo>
                  <a:pt x="5025263" y="1601111"/>
                </a:moveTo>
                <a:cubicBezTo>
                  <a:pt x="5024642" y="1599370"/>
                  <a:pt x="5023862" y="1597702"/>
                  <a:pt x="5022937" y="1596107"/>
                </a:cubicBezTo>
                <a:cubicBezTo>
                  <a:pt x="5022085" y="1595120"/>
                  <a:pt x="5016739" y="1585257"/>
                  <a:pt x="5016739" y="1585245"/>
                </a:cubicBezTo>
                <a:lnTo>
                  <a:pt x="5012843" y="1578548"/>
                </a:lnTo>
                <a:cubicBezTo>
                  <a:pt x="5010529" y="1574919"/>
                  <a:pt x="5007923" y="1571485"/>
                  <a:pt x="5005050" y="1568283"/>
                </a:cubicBezTo>
                <a:cubicBezTo>
                  <a:pt x="5002444" y="1565421"/>
                  <a:pt x="4999850" y="1562559"/>
                  <a:pt x="4997232" y="1559698"/>
                </a:cubicBezTo>
                <a:cubicBezTo>
                  <a:pt x="4991351" y="1552940"/>
                  <a:pt x="4985445" y="1546206"/>
                  <a:pt x="4979490" y="1539472"/>
                </a:cubicBezTo>
                <a:lnTo>
                  <a:pt x="4971246" y="1530010"/>
                </a:lnTo>
                <a:cubicBezTo>
                  <a:pt x="4968288" y="1526637"/>
                  <a:pt x="4965329" y="1523277"/>
                  <a:pt x="4962345" y="1519928"/>
                </a:cubicBezTo>
                <a:cubicBezTo>
                  <a:pt x="4959094" y="1516190"/>
                  <a:pt x="4955806" y="1512452"/>
                  <a:pt x="4952458" y="1508738"/>
                </a:cubicBezTo>
                <a:lnTo>
                  <a:pt x="4942643" y="1497657"/>
                </a:lnTo>
                <a:cubicBezTo>
                  <a:pt x="4939806" y="1494466"/>
                  <a:pt x="4938186" y="1492908"/>
                  <a:pt x="4938199" y="1492908"/>
                </a:cubicBezTo>
                <a:cubicBezTo>
                  <a:pt x="4935483" y="1490278"/>
                  <a:pt x="4932122" y="1488402"/>
                  <a:pt x="4928457" y="1487477"/>
                </a:cubicBezTo>
                <a:lnTo>
                  <a:pt x="4922271" y="1486186"/>
                </a:lnTo>
                <a:cubicBezTo>
                  <a:pt x="4917388" y="1485480"/>
                  <a:pt x="4912712" y="1483714"/>
                  <a:pt x="4908572" y="1481011"/>
                </a:cubicBezTo>
                <a:cubicBezTo>
                  <a:pt x="4907939" y="1480500"/>
                  <a:pt x="4907172" y="1480183"/>
                  <a:pt x="4906368" y="1480074"/>
                </a:cubicBezTo>
                <a:lnTo>
                  <a:pt x="4901144" y="1480427"/>
                </a:lnTo>
                <a:cubicBezTo>
                  <a:pt x="4896420" y="1480621"/>
                  <a:pt x="4891707" y="1480829"/>
                  <a:pt x="4886995" y="1481047"/>
                </a:cubicBezTo>
                <a:cubicBezTo>
                  <a:pt x="4885326" y="1478320"/>
                  <a:pt x="4882550" y="1467860"/>
                  <a:pt x="4882550" y="1467860"/>
                </a:cubicBezTo>
                <a:cubicBezTo>
                  <a:pt x="4879750" y="1457205"/>
                  <a:pt x="4885607" y="1451263"/>
                  <a:pt x="4885607" y="1451275"/>
                </a:cubicBezTo>
                <a:cubicBezTo>
                  <a:pt x="4882879" y="1446453"/>
                  <a:pt x="4880139" y="1441631"/>
                  <a:pt x="4877375" y="1436809"/>
                </a:cubicBezTo>
                <a:cubicBezTo>
                  <a:pt x="4869862" y="1426033"/>
                  <a:pt x="4855871" y="1420772"/>
                  <a:pt x="4855883" y="1420785"/>
                </a:cubicBezTo>
                <a:lnTo>
                  <a:pt x="4849393" y="1418118"/>
                </a:lnTo>
                <a:cubicBezTo>
                  <a:pt x="4842902" y="1415451"/>
                  <a:pt x="4836425" y="1412808"/>
                  <a:pt x="4829971" y="1410179"/>
                </a:cubicBezTo>
                <a:cubicBezTo>
                  <a:pt x="4829569" y="1411092"/>
                  <a:pt x="4829386" y="1412090"/>
                  <a:pt x="4829435" y="1413088"/>
                </a:cubicBezTo>
                <a:cubicBezTo>
                  <a:pt x="4829825" y="1417131"/>
                  <a:pt x="4836083" y="1421503"/>
                  <a:pt x="4836083" y="1421491"/>
                </a:cubicBezTo>
                <a:cubicBezTo>
                  <a:pt x="4837423" y="1422440"/>
                  <a:pt x="4838702" y="1423463"/>
                  <a:pt x="4839907" y="1424571"/>
                </a:cubicBezTo>
                <a:cubicBezTo>
                  <a:pt x="4843219" y="1427092"/>
                  <a:pt x="4845338" y="1430867"/>
                  <a:pt x="4845789" y="1434995"/>
                </a:cubicBezTo>
                <a:cubicBezTo>
                  <a:pt x="4846458" y="1439610"/>
                  <a:pt x="4853497" y="1444359"/>
                  <a:pt x="4853497" y="1444359"/>
                </a:cubicBezTo>
                <a:cubicBezTo>
                  <a:pt x="4854933" y="1445308"/>
                  <a:pt x="4857977" y="1447671"/>
                  <a:pt x="4857977" y="1447683"/>
                </a:cubicBezTo>
                <a:lnTo>
                  <a:pt x="4861874" y="1450763"/>
                </a:lnTo>
                <a:lnTo>
                  <a:pt x="4861338" y="1451884"/>
                </a:lnTo>
                <a:cubicBezTo>
                  <a:pt x="4853923" y="1448633"/>
                  <a:pt x="4846495" y="1445418"/>
                  <a:pt x="4839054" y="1442215"/>
                </a:cubicBezTo>
                <a:lnTo>
                  <a:pt x="4839201" y="1443884"/>
                </a:lnTo>
                <a:cubicBezTo>
                  <a:pt x="4839505" y="1449363"/>
                  <a:pt x="4840504" y="1456998"/>
                  <a:pt x="4840504" y="1456998"/>
                </a:cubicBezTo>
                <a:cubicBezTo>
                  <a:pt x="4841855" y="1465741"/>
                  <a:pt x="4846507" y="1468067"/>
                  <a:pt x="4846507" y="1468067"/>
                </a:cubicBezTo>
                <a:cubicBezTo>
                  <a:pt x="4848406" y="1469346"/>
                  <a:pt x="4850854" y="1469528"/>
                  <a:pt x="4852924" y="1468554"/>
                </a:cubicBezTo>
                <a:lnTo>
                  <a:pt x="4854933" y="1467835"/>
                </a:lnTo>
                <a:cubicBezTo>
                  <a:pt x="4855335" y="1467750"/>
                  <a:pt x="4855761" y="1467775"/>
                  <a:pt x="4856151" y="1467933"/>
                </a:cubicBezTo>
                <a:lnTo>
                  <a:pt x="4858952" y="1468932"/>
                </a:lnTo>
                <a:lnTo>
                  <a:pt x="4860535" y="1470928"/>
                </a:lnTo>
                <a:lnTo>
                  <a:pt x="4862556" y="1473449"/>
                </a:lnTo>
                <a:lnTo>
                  <a:pt x="4864468" y="1476067"/>
                </a:lnTo>
                <a:lnTo>
                  <a:pt x="4867926" y="1481510"/>
                </a:lnTo>
                <a:cubicBezTo>
                  <a:pt x="4872249" y="1488183"/>
                  <a:pt x="4884499" y="1500457"/>
                  <a:pt x="4884486" y="1500457"/>
                </a:cubicBezTo>
                <a:lnTo>
                  <a:pt x="4892194" y="1508787"/>
                </a:lnTo>
                <a:lnTo>
                  <a:pt x="4900195" y="1518284"/>
                </a:lnTo>
                <a:cubicBezTo>
                  <a:pt x="4906770" y="1525177"/>
                  <a:pt x="4906588" y="1531277"/>
                  <a:pt x="4906588" y="1531277"/>
                </a:cubicBezTo>
                <a:cubicBezTo>
                  <a:pt x="4906588" y="1533579"/>
                  <a:pt x="4906515" y="1535880"/>
                  <a:pt x="4906466" y="1538181"/>
                </a:cubicBezTo>
                <a:cubicBezTo>
                  <a:pt x="4906186" y="1541969"/>
                  <a:pt x="4905906" y="1545755"/>
                  <a:pt x="4905613" y="1549567"/>
                </a:cubicBezTo>
                <a:cubicBezTo>
                  <a:pt x="4903056" y="1548860"/>
                  <a:pt x="4900451" y="1548337"/>
                  <a:pt x="4897820" y="1547971"/>
                </a:cubicBezTo>
                <a:cubicBezTo>
                  <a:pt x="4886045" y="1545914"/>
                  <a:pt x="4883512" y="1553597"/>
                  <a:pt x="4883500" y="1553585"/>
                </a:cubicBezTo>
                <a:cubicBezTo>
                  <a:pt x="4887981" y="1558480"/>
                  <a:pt x="4893570" y="1562218"/>
                  <a:pt x="4899805" y="1564483"/>
                </a:cubicBezTo>
                <a:cubicBezTo>
                  <a:pt x="4909315" y="1567589"/>
                  <a:pt x="4910338" y="1568623"/>
                  <a:pt x="4910338" y="1568611"/>
                </a:cubicBezTo>
                <a:cubicBezTo>
                  <a:pt x="4912981" y="1570218"/>
                  <a:pt x="4915123" y="1572532"/>
                  <a:pt x="4916512" y="1575296"/>
                </a:cubicBezTo>
                <a:cubicBezTo>
                  <a:pt x="4917011" y="1576209"/>
                  <a:pt x="4920165" y="1583540"/>
                  <a:pt x="4920165" y="1583540"/>
                </a:cubicBezTo>
                <a:cubicBezTo>
                  <a:pt x="4924487" y="1593830"/>
                  <a:pt x="4931623" y="1602694"/>
                  <a:pt x="4940755" y="1609111"/>
                </a:cubicBezTo>
                <a:cubicBezTo>
                  <a:pt x="4954820" y="1618853"/>
                  <a:pt x="4961298" y="1617976"/>
                  <a:pt x="4961310" y="1617964"/>
                </a:cubicBezTo>
                <a:cubicBezTo>
                  <a:pt x="4961944" y="1617964"/>
                  <a:pt x="4968275" y="1617209"/>
                  <a:pt x="4968275" y="1617209"/>
                </a:cubicBezTo>
                <a:cubicBezTo>
                  <a:pt x="4971734" y="1617124"/>
                  <a:pt x="4975192" y="1617319"/>
                  <a:pt x="4978614" y="1617806"/>
                </a:cubicBezTo>
                <a:cubicBezTo>
                  <a:pt x="4981317" y="1618183"/>
                  <a:pt x="4983862" y="1619291"/>
                  <a:pt x="4985993" y="1620996"/>
                </a:cubicBezTo>
                <a:cubicBezTo>
                  <a:pt x="4989646" y="1623517"/>
                  <a:pt x="4995089" y="1631858"/>
                  <a:pt x="4995089" y="1631858"/>
                </a:cubicBezTo>
                <a:cubicBezTo>
                  <a:pt x="4996513" y="1633940"/>
                  <a:pt x="4998194" y="1635840"/>
                  <a:pt x="5000081" y="1637508"/>
                </a:cubicBezTo>
                <a:cubicBezTo>
                  <a:pt x="5002176" y="1639395"/>
                  <a:pt x="5003479" y="1642001"/>
                  <a:pt x="5003734" y="1644814"/>
                </a:cubicBezTo>
                <a:cubicBezTo>
                  <a:pt x="5004027" y="1649003"/>
                  <a:pt x="5004319" y="1653192"/>
                  <a:pt x="5004599" y="1657380"/>
                </a:cubicBezTo>
                <a:cubicBezTo>
                  <a:pt x="5005050" y="1663164"/>
                  <a:pt x="5008459" y="1671871"/>
                  <a:pt x="5008447" y="1671871"/>
                </a:cubicBezTo>
                <a:cubicBezTo>
                  <a:pt x="5011162" y="1677850"/>
                  <a:pt x="5015351" y="1683049"/>
                  <a:pt x="5020624" y="1686970"/>
                </a:cubicBezTo>
                <a:cubicBezTo>
                  <a:pt x="5023290" y="1688773"/>
                  <a:pt x="5024094" y="1689405"/>
                  <a:pt x="5024082" y="1689405"/>
                </a:cubicBezTo>
                <a:cubicBezTo>
                  <a:pt x="5027759" y="1691975"/>
                  <a:pt x="5030998" y="1695117"/>
                  <a:pt x="5033677" y="1698721"/>
                </a:cubicBezTo>
                <a:cubicBezTo>
                  <a:pt x="5034883" y="1700401"/>
                  <a:pt x="5035979" y="1702155"/>
                  <a:pt x="5036941" y="1703994"/>
                </a:cubicBezTo>
                <a:cubicBezTo>
                  <a:pt x="5041409" y="1711860"/>
                  <a:pt x="5045842" y="1713991"/>
                  <a:pt x="5045842" y="1713978"/>
                </a:cubicBezTo>
                <a:cubicBezTo>
                  <a:pt x="5050018" y="1716414"/>
                  <a:pt x="5051797" y="1715963"/>
                  <a:pt x="5051797" y="1715963"/>
                </a:cubicBezTo>
                <a:cubicBezTo>
                  <a:pt x="5053440" y="1715513"/>
                  <a:pt x="5052442" y="1711531"/>
                  <a:pt x="5052442" y="1711519"/>
                </a:cubicBezTo>
                <a:cubicBezTo>
                  <a:pt x="5052186" y="1710520"/>
                  <a:pt x="5051821" y="1709546"/>
                  <a:pt x="5051370" y="1708621"/>
                </a:cubicBezTo>
                <a:cubicBezTo>
                  <a:pt x="5051005" y="1707768"/>
                  <a:pt x="5048667" y="1702812"/>
                  <a:pt x="5048667" y="1702824"/>
                </a:cubicBezTo>
                <a:cubicBezTo>
                  <a:pt x="5047462" y="1700279"/>
                  <a:pt x="5046390" y="1697662"/>
                  <a:pt x="5045464" y="1695007"/>
                </a:cubicBezTo>
                <a:cubicBezTo>
                  <a:pt x="5044186" y="1692073"/>
                  <a:pt x="5044186" y="1688748"/>
                  <a:pt x="5045464" y="1685813"/>
                </a:cubicBezTo>
                <a:lnTo>
                  <a:pt x="5043589" y="1684450"/>
                </a:lnTo>
                <a:cubicBezTo>
                  <a:pt x="5041556" y="1683196"/>
                  <a:pt x="5039668" y="1681710"/>
                  <a:pt x="5037951" y="1680041"/>
                </a:cubicBezTo>
                <a:cubicBezTo>
                  <a:pt x="5034749" y="1677143"/>
                  <a:pt x="5035406" y="1674550"/>
                  <a:pt x="5035419" y="1674550"/>
                </a:cubicBezTo>
                <a:lnTo>
                  <a:pt x="5035674" y="1672784"/>
                </a:lnTo>
                <a:cubicBezTo>
                  <a:pt x="5035674" y="1671859"/>
                  <a:pt x="5035674" y="1670933"/>
                  <a:pt x="5035674" y="1670008"/>
                </a:cubicBezTo>
                <a:lnTo>
                  <a:pt x="5035236" y="1667061"/>
                </a:lnTo>
                <a:lnTo>
                  <a:pt x="5034250" y="1663079"/>
                </a:lnTo>
                <a:cubicBezTo>
                  <a:pt x="5033799" y="1661509"/>
                  <a:pt x="5033336" y="1659938"/>
                  <a:pt x="5032886" y="1658367"/>
                </a:cubicBezTo>
                <a:cubicBezTo>
                  <a:pt x="5032581" y="1657234"/>
                  <a:pt x="5032289" y="1656102"/>
                  <a:pt x="5031997" y="1654982"/>
                </a:cubicBezTo>
                <a:cubicBezTo>
                  <a:pt x="5031705" y="1653861"/>
                  <a:pt x="5031570" y="1652485"/>
                  <a:pt x="5031352" y="1651231"/>
                </a:cubicBezTo>
                <a:lnTo>
                  <a:pt x="5030877" y="1646361"/>
                </a:lnTo>
                <a:cubicBezTo>
                  <a:pt x="5036112" y="1648503"/>
                  <a:pt x="5041349" y="1650659"/>
                  <a:pt x="5046573" y="1652827"/>
                </a:cubicBezTo>
                <a:cubicBezTo>
                  <a:pt x="5047169" y="1646568"/>
                  <a:pt x="5043053" y="1639639"/>
                  <a:pt x="5043053" y="1639651"/>
                </a:cubicBezTo>
                <a:cubicBezTo>
                  <a:pt x="5041178" y="1636668"/>
                  <a:pt x="5039145" y="1633782"/>
                  <a:pt x="5036965" y="1631005"/>
                </a:cubicBezTo>
                <a:cubicBezTo>
                  <a:pt x="5034919" y="1628570"/>
                  <a:pt x="5032886" y="1626038"/>
                  <a:pt x="5030877" y="1623565"/>
                </a:cubicBezTo>
                <a:lnTo>
                  <a:pt x="5027224" y="1618987"/>
                </a:lnTo>
                <a:cubicBezTo>
                  <a:pt x="5028868" y="1618123"/>
                  <a:pt x="5029099" y="1617538"/>
                  <a:pt x="5029086" y="1617526"/>
                </a:cubicBezTo>
                <a:cubicBezTo>
                  <a:pt x="5031266" y="1615175"/>
                  <a:pt x="5029086" y="1609806"/>
                  <a:pt x="5029086" y="1609806"/>
                </a:cubicBezTo>
                <a:lnTo>
                  <a:pt x="5028246" y="1607699"/>
                </a:lnTo>
                <a:cubicBezTo>
                  <a:pt x="5027613" y="1606396"/>
                  <a:pt x="5027029" y="1605093"/>
                  <a:pt x="5026371" y="1603778"/>
                </a:cubicBezTo>
                <a:cubicBezTo>
                  <a:pt x="5025981" y="1602828"/>
                  <a:pt x="5025628" y="1601951"/>
                  <a:pt x="5025263" y="1601111"/>
                </a:cubicBezTo>
                <a:close/>
                <a:moveTo>
                  <a:pt x="5059736" y="1655907"/>
                </a:moveTo>
                <a:cubicBezTo>
                  <a:pt x="5061684" y="1660060"/>
                  <a:pt x="5073057" y="1671226"/>
                  <a:pt x="5073057" y="1671226"/>
                </a:cubicBezTo>
                <a:cubicBezTo>
                  <a:pt x="5085015" y="1682696"/>
                  <a:pt x="5095974" y="1686349"/>
                  <a:pt x="5095974" y="1686276"/>
                </a:cubicBezTo>
                <a:cubicBezTo>
                  <a:pt x="5101734" y="1688480"/>
                  <a:pt x="5107858" y="1689564"/>
                  <a:pt x="5114020" y="1689442"/>
                </a:cubicBezTo>
                <a:cubicBezTo>
                  <a:pt x="5124163" y="1689527"/>
                  <a:pt x="5124578" y="1687738"/>
                  <a:pt x="5124578" y="1687738"/>
                </a:cubicBezTo>
                <a:cubicBezTo>
                  <a:pt x="5127609" y="1685143"/>
                  <a:pt x="5117101" y="1676072"/>
                  <a:pt x="5117101" y="1676072"/>
                </a:cubicBezTo>
                <a:cubicBezTo>
                  <a:pt x="5116395" y="1677217"/>
                  <a:pt x="5115201" y="1677972"/>
                  <a:pt x="5113874" y="1678130"/>
                </a:cubicBezTo>
                <a:cubicBezTo>
                  <a:pt x="5112108" y="1678459"/>
                  <a:pt x="5110282" y="1678385"/>
                  <a:pt x="5108540" y="1677923"/>
                </a:cubicBezTo>
                <a:cubicBezTo>
                  <a:pt x="5106251" y="1677460"/>
                  <a:pt x="5103974" y="1676876"/>
                  <a:pt x="5101746" y="1676181"/>
                </a:cubicBezTo>
                <a:cubicBezTo>
                  <a:pt x="5100431" y="1675877"/>
                  <a:pt x="5099116" y="1675585"/>
                  <a:pt x="5097801" y="1675305"/>
                </a:cubicBezTo>
                <a:cubicBezTo>
                  <a:pt x="5097532" y="1675305"/>
                  <a:pt x="5094927" y="1675061"/>
                  <a:pt x="5094927" y="1675061"/>
                </a:cubicBezTo>
                <a:cubicBezTo>
                  <a:pt x="5094014" y="1675268"/>
                  <a:pt x="5091578" y="1673332"/>
                  <a:pt x="5091590" y="1673344"/>
                </a:cubicBezTo>
                <a:lnTo>
                  <a:pt x="5087840" y="1670312"/>
                </a:lnTo>
                <a:lnTo>
                  <a:pt x="5079560" y="1663359"/>
                </a:lnTo>
                <a:cubicBezTo>
                  <a:pt x="5075322" y="1659791"/>
                  <a:pt x="5071085" y="1656223"/>
                  <a:pt x="5066835" y="1652668"/>
                </a:cubicBezTo>
                <a:lnTo>
                  <a:pt x="5060941" y="1647797"/>
                </a:lnTo>
                <a:cubicBezTo>
                  <a:pt x="5060686" y="1648260"/>
                  <a:pt x="5060430" y="1648723"/>
                  <a:pt x="5060186" y="1649198"/>
                </a:cubicBezTo>
                <a:cubicBezTo>
                  <a:pt x="5058823" y="1651183"/>
                  <a:pt x="5058652" y="1653752"/>
                  <a:pt x="5059736" y="1655907"/>
                </a:cubicBezTo>
                <a:close/>
                <a:moveTo>
                  <a:pt x="5131104" y="1695871"/>
                </a:moveTo>
                <a:lnTo>
                  <a:pt x="5133734" y="1697942"/>
                </a:lnTo>
                <a:cubicBezTo>
                  <a:pt x="5134319" y="1696760"/>
                  <a:pt x="5135013" y="1695640"/>
                  <a:pt x="5135829" y="1694605"/>
                </a:cubicBezTo>
                <a:cubicBezTo>
                  <a:pt x="5138264" y="1691256"/>
                  <a:pt x="5136961" y="1689491"/>
                  <a:pt x="5136961" y="1689491"/>
                </a:cubicBezTo>
                <a:cubicBezTo>
                  <a:pt x="5136827" y="1689150"/>
                  <a:pt x="5136706" y="1688785"/>
                  <a:pt x="5136571" y="1688444"/>
                </a:cubicBezTo>
                <a:cubicBezTo>
                  <a:pt x="5136291" y="1687652"/>
                  <a:pt x="5136011" y="1686861"/>
                  <a:pt x="5135744" y="1686069"/>
                </a:cubicBezTo>
                <a:lnTo>
                  <a:pt x="5133113" y="1678276"/>
                </a:lnTo>
                <a:cubicBezTo>
                  <a:pt x="5130873" y="1671919"/>
                  <a:pt x="5127354" y="1666087"/>
                  <a:pt x="5122787" y="1661143"/>
                </a:cubicBezTo>
                <a:cubicBezTo>
                  <a:pt x="5122069" y="1659925"/>
                  <a:pt x="5115481" y="1655639"/>
                  <a:pt x="5115481" y="1655639"/>
                </a:cubicBezTo>
                <a:cubicBezTo>
                  <a:pt x="5139056" y="1686276"/>
                  <a:pt x="5131056" y="1695896"/>
                  <a:pt x="5131104" y="1695871"/>
                </a:cubicBezTo>
                <a:close/>
                <a:moveTo>
                  <a:pt x="5158648" y="1743361"/>
                </a:moveTo>
                <a:lnTo>
                  <a:pt x="5158758" y="1743909"/>
                </a:lnTo>
                <a:cubicBezTo>
                  <a:pt x="5158709" y="1743739"/>
                  <a:pt x="5158673" y="1743580"/>
                  <a:pt x="5158648" y="1743410"/>
                </a:cubicBezTo>
                <a:close/>
                <a:moveTo>
                  <a:pt x="5152803" y="1746491"/>
                </a:moveTo>
                <a:cubicBezTo>
                  <a:pt x="5152803" y="1746491"/>
                  <a:pt x="5160207" y="1753590"/>
                  <a:pt x="5159330" y="1747087"/>
                </a:cubicBezTo>
                <a:cubicBezTo>
                  <a:pt x="5159330" y="1746953"/>
                  <a:pt x="5159330" y="1746807"/>
                  <a:pt x="5159257" y="1746661"/>
                </a:cubicBezTo>
                <a:cubicBezTo>
                  <a:pt x="5158332" y="1743337"/>
                  <a:pt x="5157394" y="1740012"/>
                  <a:pt x="5156456" y="1736688"/>
                </a:cubicBezTo>
                <a:cubicBezTo>
                  <a:pt x="5155641" y="1733997"/>
                  <a:pt x="5154861" y="1731306"/>
                  <a:pt x="5154107" y="1728603"/>
                </a:cubicBezTo>
                <a:cubicBezTo>
                  <a:pt x="5153461" y="1726375"/>
                  <a:pt x="5152816" y="1724158"/>
                  <a:pt x="5152158" y="1721930"/>
                </a:cubicBezTo>
                <a:cubicBezTo>
                  <a:pt x="5152158" y="1721991"/>
                  <a:pt x="5142051" y="1732037"/>
                  <a:pt x="5152803" y="1746540"/>
                </a:cubicBezTo>
                <a:close/>
                <a:moveTo>
                  <a:pt x="5158807" y="1744214"/>
                </a:moveTo>
                <a:cubicBezTo>
                  <a:pt x="5158880" y="1744554"/>
                  <a:pt x="5158940" y="1744920"/>
                  <a:pt x="5159014" y="1745285"/>
                </a:cubicBezTo>
                <a:cubicBezTo>
                  <a:pt x="5158940" y="1744907"/>
                  <a:pt x="5158867" y="1744554"/>
                  <a:pt x="5158807" y="1744262"/>
                </a:cubicBezTo>
                <a:close/>
                <a:moveTo>
                  <a:pt x="5159220" y="1746393"/>
                </a:moveTo>
                <a:cubicBezTo>
                  <a:pt x="5159220" y="1746150"/>
                  <a:pt x="5159099" y="1745784"/>
                  <a:pt x="5159038" y="1745395"/>
                </a:cubicBezTo>
                <a:cubicBezTo>
                  <a:pt x="5159099" y="1745748"/>
                  <a:pt x="5159147" y="1746076"/>
                  <a:pt x="5159220" y="1746442"/>
                </a:cubicBezTo>
                <a:close/>
                <a:moveTo>
                  <a:pt x="5159220" y="1746393"/>
                </a:moveTo>
                <a:cubicBezTo>
                  <a:pt x="5159209" y="1746430"/>
                  <a:pt x="5159209" y="1746454"/>
                  <a:pt x="5159220" y="1746491"/>
                </a:cubicBezTo>
                <a:lnTo>
                  <a:pt x="5159220" y="1746491"/>
                </a:lnTo>
                <a:cubicBezTo>
                  <a:pt x="5159220" y="1746478"/>
                  <a:pt x="5159220" y="1746454"/>
                  <a:pt x="5159220" y="1746442"/>
                </a:cubicBezTo>
                <a:close/>
                <a:moveTo>
                  <a:pt x="5159220" y="1746491"/>
                </a:moveTo>
                <a:cubicBezTo>
                  <a:pt x="5159220" y="1746491"/>
                  <a:pt x="5159220" y="1746613"/>
                  <a:pt x="5159220" y="1746661"/>
                </a:cubicBezTo>
                <a:lnTo>
                  <a:pt x="5159220" y="1746661"/>
                </a:lnTo>
                <a:cubicBezTo>
                  <a:pt x="5159220" y="1746661"/>
                  <a:pt x="5159294" y="1746661"/>
                  <a:pt x="5159294" y="1746540"/>
                </a:cubicBezTo>
                <a:close/>
                <a:moveTo>
                  <a:pt x="5162874" y="1756695"/>
                </a:moveTo>
                <a:lnTo>
                  <a:pt x="5168572" y="1767861"/>
                </a:lnTo>
                <a:cubicBezTo>
                  <a:pt x="5168572" y="1767861"/>
                  <a:pt x="5173906" y="1763940"/>
                  <a:pt x="5162947" y="1756744"/>
                </a:cubicBezTo>
                <a:close/>
                <a:moveTo>
                  <a:pt x="5153339" y="1768872"/>
                </a:moveTo>
                <a:lnTo>
                  <a:pt x="5155884" y="1770443"/>
                </a:lnTo>
                <a:cubicBezTo>
                  <a:pt x="5155969" y="1769310"/>
                  <a:pt x="5156042" y="1768153"/>
                  <a:pt x="5156103" y="1767021"/>
                </a:cubicBezTo>
                <a:lnTo>
                  <a:pt x="5154496" y="1765998"/>
                </a:lnTo>
                <a:close/>
                <a:moveTo>
                  <a:pt x="5171994" y="1791935"/>
                </a:moveTo>
                <a:lnTo>
                  <a:pt x="5170777" y="1787831"/>
                </a:lnTo>
                <a:cubicBezTo>
                  <a:pt x="5169802" y="1784178"/>
                  <a:pt x="5167477" y="1781036"/>
                  <a:pt x="5164286" y="1779027"/>
                </a:cubicBezTo>
                <a:cubicBezTo>
                  <a:pt x="5164785" y="1779758"/>
                  <a:pt x="5166831" y="1785286"/>
                  <a:pt x="5166831" y="1785286"/>
                </a:cubicBezTo>
                <a:cubicBezTo>
                  <a:pt x="5167854" y="1787990"/>
                  <a:pt x="5169656" y="1790339"/>
                  <a:pt x="5172006" y="1792032"/>
                </a:cubicBezTo>
                <a:close/>
                <a:moveTo>
                  <a:pt x="5188579" y="1794589"/>
                </a:moveTo>
                <a:cubicBezTo>
                  <a:pt x="5186777" y="1792227"/>
                  <a:pt x="5184609" y="1790169"/>
                  <a:pt x="5182150" y="1788501"/>
                </a:cubicBezTo>
                <a:cubicBezTo>
                  <a:pt x="5185803" y="1795503"/>
                  <a:pt x="5189431" y="1802516"/>
                  <a:pt x="5193036" y="1809530"/>
                </a:cubicBezTo>
                <a:cubicBezTo>
                  <a:pt x="5193389" y="1804221"/>
                  <a:pt x="5191818" y="1798961"/>
                  <a:pt x="5188591" y="1794723"/>
                </a:cubicBezTo>
                <a:close/>
                <a:moveTo>
                  <a:pt x="5182174" y="1820088"/>
                </a:moveTo>
                <a:cubicBezTo>
                  <a:pt x="5179495" y="1823046"/>
                  <a:pt x="5192671" y="1833348"/>
                  <a:pt x="5192671" y="1833360"/>
                </a:cubicBezTo>
                <a:lnTo>
                  <a:pt x="5196140" y="1824094"/>
                </a:lnTo>
                <a:lnTo>
                  <a:pt x="5187167" y="1816179"/>
                </a:lnTo>
                <a:cubicBezTo>
                  <a:pt x="5182722" y="1818359"/>
                  <a:pt x="5182186" y="1820185"/>
                  <a:pt x="5182186" y="1820185"/>
                </a:cubicBezTo>
                <a:close/>
                <a:moveTo>
                  <a:pt x="5204896" y="1833628"/>
                </a:moveTo>
                <a:cubicBezTo>
                  <a:pt x="5205030" y="1832666"/>
                  <a:pt x="5205176" y="1831704"/>
                  <a:pt x="5205310" y="1830742"/>
                </a:cubicBezTo>
                <a:cubicBezTo>
                  <a:pt x="5205724" y="1827893"/>
                  <a:pt x="5206126" y="1825031"/>
                  <a:pt x="5206528" y="1822219"/>
                </a:cubicBezTo>
                <a:lnTo>
                  <a:pt x="5204092" y="1820368"/>
                </a:lnTo>
                <a:cubicBezTo>
                  <a:pt x="5202558" y="1821987"/>
                  <a:pt x="5201584" y="1824057"/>
                  <a:pt x="5201304" y="1826274"/>
                </a:cubicBezTo>
                <a:cubicBezTo>
                  <a:pt x="5200610" y="1830012"/>
                  <a:pt x="5202071" y="1836356"/>
                  <a:pt x="5202071" y="1836356"/>
                </a:cubicBezTo>
                <a:lnTo>
                  <a:pt x="5204348" y="1837780"/>
                </a:lnTo>
                <a:cubicBezTo>
                  <a:pt x="5204555" y="1836465"/>
                  <a:pt x="5204737" y="1835102"/>
                  <a:pt x="5204908" y="1833689"/>
                </a:cubicBezTo>
                <a:close/>
                <a:moveTo>
                  <a:pt x="5202326" y="1855790"/>
                </a:moveTo>
                <a:cubicBezTo>
                  <a:pt x="5202448" y="1854572"/>
                  <a:pt x="5202326" y="1851906"/>
                  <a:pt x="5202326" y="1851906"/>
                </a:cubicBezTo>
                <a:cubicBezTo>
                  <a:pt x="5202326" y="1849690"/>
                  <a:pt x="5199708" y="1847753"/>
                  <a:pt x="5199708" y="1847741"/>
                </a:cubicBezTo>
                <a:cubicBezTo>
                  <a:pt x="5198917" y="1847010"/>
                  <a:pt x="5195349" y="1844222"/>
                  <a:pt x="5195349" y="1844234"/>
                </a:cubicBezTo>
                <a:cubicBezTo>
                  <a:pt x="5195252" y="1846572"/>
                  <a:pt x="5195800" y="1848886"/>
                  <a:pt x="5196944" y="1850932"/>
                </a:cubicBezTo>
                <a:cubicBezTo>
                  <a:pt x="5198333" y="1852977"/>
                  <a:pt x="5200184" y="1854682"/>
                  <a:pt x="5202339" y="1855887"/>
                </a:cubicBezTo>
                <a:close/>
                <a:moveTo>
                  <a:pt x="5216598" y="1961948"/>
                </a:moveTo>
                <a:cubicBezTo>
                  <a:pt x="5216415" y="1954033"/>
                  <a:pt x="5218022" y="1946191"/>
                  <a:pt x="5221298" y="1938982"/>
                </a:cubicBezTo>
                <a:cubicBezTo>
                  <a:pt x="5205310" y="1942441"/>
                  <a:pt x="5216634" y="1962045"/>
                  <a:pt x="5216610" y="1962045"/>
                </a:cubicBezTo>
                <a:close/>
                <a:moveTo>
                  <a:pt x="5224756" y="1965284"/>
                </a:moveTo>
                <a:cubicBezTo>
                  <a:pt x="5234498" y="1967025"/>
                  <a:pt x="5234401" y="1960146"/>
                  <a:pt x="5234388" y="1960133"/>
                </a:cubicBezTo>
                <a:cubicBezTo>
                  <a:pt x="5226631" y="1955165"/>
                  <a:pt x="5226400" y="1960986"/>
                  <a:pt x="5226388" y="1960986"/>
                </a:cubicBezTo>
                <a:cubicBezTo>
                  <a:pt x="5225450" y="1965199"/>
                  <a:pt x="5224854" y="1965394"/>
                  <a:pt x="5224769" y="1965381"/>
                </a:cubicBezTo>
                <a:close/>
                <a:moveTo>
                  <a:pt x="5219885" y="1973711"/>
                </a:moveTo>
                <a:lnTo>
                  <a:pt x="5219995" y="1968950"/>
                </a:lnTo>
                <a:cubicBezTo>
                  <a:pt x="5219995" y="1968950"/>
                  <a:pt x="5218327" y="1968036"/>
                  <a:pt x="5217986" y="1967841"/>
                </a:cubicBezTo>
                <a:cubicBezTo>
                  <a:pt x="5217986" y="1969436"/>
                  <a:pt x="5217986" y="1971032"/>
                  <a:pt x="5217901" y="1972639"/>
                </a:cubicBezTo>
                <a:close/>
                <a:moveTo>
                  <a:pt x="5211520" y="1977620"/>
                </a:moveTo>
                <a:lnTo>
                  <a:pt x="5209913" y="1975184"/>
                </a:lnTo>
                <a:lnTo>
                  <a:pt x="5209706" y="1974867"/>
                </a:lnTo>
                <a:lnTo>
                  <a:pt x="5206637" y="1976451"/>
                </a:lnTo>
                <a:cubicBezTo>
                  <a:pt x="5206978" y="1977047"/>
                  <a:pt x="5207331" y="1977668"/>
                  <a:pt x="5207685" y="1978228"/>
                </a:cubicBezTo>
                <a:close/>
                <a:moveTo>
                  <a:pt x="5125138" y="1942307"/>
                </a:moveTo>
                <a:cubicBezTo>
                  <a:pt x="5125162" y="1947116"/>
                  <a:pt x="5125734" y="1951914"/>
                  <a:pt x="5126830" y="1956602"/>
                </a:cubicBezTo>
                <a:cubicBezTo>
                  <a:pt x="5127950" y="1960766"/>
                  <a:pt x="5129375" y="1964834"/>
                  <a:pt x="5131104" y="1968779"/>
                </a:cubicBezTo>
                <a:cubicBezTo>
                  <a:pt x="5132918" y="1972919"/>
                  <a:pt x="5136060" y="1978289"/>
                  <a:pt x="5136060" y="1978301"/>
                </a:cubicBezTo>
                <a:cubicBezTo>
                  <a:pt x="5136888" y="1977558"/>
                  <a:pt x="5137765" y="1976864"/>
                  <a:pt x="5138678" y="1976231"/>
                </a:cubicBezTo>
                <a:cubicBezTo>
                  <a:pt x="5139896" y="1975330"/>
                  <a:pt x="5139835" y="1974539"/>
                  <a:pt x="5139835" y="1974539"/>
                </a:cubicBezTo>
                <a:cubicBezTo>
                  <a:pt x="5139177" y="1971762"/>
                  <a:pt x="5138508" y="1968998"/>
                  <a:pt x="5137838" y="1966222"/>
                </a:cubicBezTo>
                <a:cubicBezTo>
                  <a:pt x="5136633" y="1961984"/>
                  <a:pt x="5135415" y="1957747"/>
                  <a:pt x="5134185" y="1953522"/>
                </a:cubicBezTo>
                <a:cubicBezTo>
                  <a:pt x="5132078" y="1945497"/>
                  <a:pt x="5125819" y="1933904"/>
                  <a:pt x="5125807" y="1933904"/>
                </a:cubicBezTo>
                <a:cubicBezTo>
                  <a:pt x="5125272" y="1937070"/>
                  <a:pt x="5125113" y="1942428"/>
                  <a:pt x="5125101" y="1942428"/>
                </a:cubicBezTo>
                <a:close/>
                <a:moveTo>
                  <a:pt x="5347426" y="2104831"/>
                </a:moveTo>
                <a:cubicBezTo>
                  <a:pt x="5347426" y="2104831"/>
                  <a:pt x="5341057" y="2101677"/>
                  <a:pt x="5343322" y="2108399"/>
                </a:cubicBezTo>
                <a:cubicBezTo>
                  <a:pt x="5343322" y="2108399"/>
                  <a:pt x="5347085" y="2118579"/>
                  <a:pt x="5357764" y="2121355"/>
                </a:cubicBezTo>
                <a:cubicBezTo>
                  <a:pt x="5357764" y="2121355"/>
                  <a:pt x="5361417" y="2122220"/>
                  <a:pt x="5363670" y="2120551"/>
                </a:cubicBezTo>
                <a:cubicBezTo>
                  <a:pt x="5360078" y="2113720"/>
                  <a:pt x="5354367" y="2108253"/>
                  <a:pt x="5347390" y="2104953"/>
                </a:cubicBezTo>
                <a:close/>
                <a:moveTo>
                  <a:pt x="5334409" y="2103382"/>
                </a:moveTo>
                <a:lnTo>
                  <a:pt x="5329076" y="2097293"/>
                </a:lnTo>
                <a:cubicBezTo>
                  <a:pt x="5324959" y="2091996"/>
                  <a:pt x="5322841" y="2091412"/>
                  <a:pt x="5322841" y="2091412"/>
                </a:cubicBezTo>
                <a:cubicBezTo>
                  <a:pt x="5320759" y="2090024"/>
                  <a:pt x="5315693" y="2090194"/>
                  <a:pt x="5315693" y="2090194"/>
                </a:cubicBezTo>
                <a:cubicBezTo>
                  <a:pt x="5309605" y="2092508"/>
                  <a:pt x="5316241" y="2103662"/>
                  <a:pt x="5316217" y="2103674"/>
                </a:cubicBezTo>
                <a:cubicBezTo>
                  <a:pt x="5327492" y="2118530"/>
                  <a:pt x="5330403" y="2114828"/>
                  <a:pt x="5330403" y="2114828"/>
                </a:cubicBezTo>
                <a:cubicBezTo>
                  <a:pt x="5332473" y="2113854"/>
                  <a:pt x="5334385" y="2103516"/>
                  <a:pt x="5334372" y="2103504"/>
                </a:cubicBezTo>
                <a:close/>
                <a:moveTo>
                  <a:pt x="5044405" y="2135224"/>
                </a:moveTo>
                <a:lnTo>
                  <a:pt x="5044405" y="2135224"/>
                </a:lnTo>
                <a:cubicBezTo>
                  <a:pt x="5050810" y="2138330"/>
                  <a:pt x="5045501" y="2135882"/>
                  <a:pt x="5044369" y="2135346"/>
                </a:cubicBezTo>
                <a:close/>
                <a:moveTo>
                  <a:pt x="5044405" y="2135224"/>
                </a:moveTo>
                <a:lnTo>
                  <a:pt x="5044405" y="2135224"/>
                </a:lnTo>
                <a:lnTo>
                  <a:pt x="5044307" y="2135224"/>
                </a:lnTo>
                <a:lnTo>
                  <a:pt x="5044417" y="2135224"/>
                </a:lnTo>
                <a:lnTo>
                  <a:pt x="5044247" y="2135151"/>
                </a:lnTo>
                <a:lnTo>
                  <a:pt x="5044113" y="2135078"/>
                </a:lnTo>
                <a:cubicBezTo>
                  <a:pt x="5037160" y="2131766"/>
                  <a:pt x="5035589" y="2127200"/>
                  <a:pt x="5035589" y="2127187"/>
                </a:cubicBezTo>
                <a:cubicBezTo>
                  <a:pt x="5032057" y="2121830"/>
                  <a:pt x="5037440" y="2118785"/>
                  <a:pt x="5037428" y="2118774"/>
                </a:cubicBezTo>
                <a:cubicBezTo>
                  <a:pt x="5038609" y="2118030"/>
                  <a:pt x="5039668" y="2117117"/>
                  <a:pt x="5040569" y="2116046"/>
                </a:cubicBezTo>
                <a:cubicBezTo>
                  <a:pt x="5038487" y="2113306"/>
                  <a:pt x="5036392" y="2110579"/>
                  <a:pt x="5034310" y="2107851"/>
                </a:cubicBezTo>
                <a:lnTo>
                  <a:pt x="5045404" y="2104027"/>
                </a:lnTo>
                <a:cubicBezTo>
                  <a:pt x="5050201" y="2102237"/>
                  <a:pt x="5048107" y="2096088"/>
                  <a:pt x="5048107" y="2096088"/>
                </a:cubicBezTo>
                <a:cubicBezTo>
                  <a:pt x="5046987" y="2091217"/>
                  <a:pt x="5045854" y="2086310"/>
                  <a:pt x="5044709" y="2081378"/>
                </a:cubicBezTo>
                <a:cubicBezTo>
                  <a:pt x="5034457" y="2078797"/>
                  <a:pt x="5031217" y="2084739"/>
                  <a:pt x="5031217" y="2084739"/>
                </a:cubicBezTo>
                <a:cubicBezTo>
                  <a:pt x="5024593" y="2094407"/>
                  <a:pt x="5020185" y="2097707"/>
                  <a:pt x="5020185" y="2097720"/>
                </a:cubicBezTo>
                <a:cubicBezTo>
                  <a:pt x="5014584" y="2102517"/>
                  <a:pt x="5007144" y="2104551"/>
                  <a:pt x="4999886" y="2103272"/>
                </a:cubicBezTo>
                <a:cubicBezTo>
                  <a:pt x="4992520" y="2102408"/>
                  <a:pt x="4982839" y="2096283"/>
                  <a:pt x="4982839" y="2096283"/>
                </a:cubicBezTo>
                <a:cubicBezTo>
                  <a:pt x="4976361" y="2092435"/>
                  <a:pt x="4974072" y="2093409"/>
                  <a:pt x="4974072" y="2093409"/>
                </a:cubicBezTo>
                <a:cubicBezTo>
                  <a:pt x="4971478" y="2094054"/>
                  <a:pt x="4973317" y="2099729"/>
                  <a:pt x="4973304" y="2099741"/>
                </a:cubicBezTo>
                <a:cubicBezTo>
                  <a:pt x="4973792" y="2101775"/>
                  <a:pt x="4974266" y="2103808"/>
                  <a:pt x="4974741" y="2105830"/>
                </a:cubicBezTo>
                <a:cubicBezTo>
                  <a:pt x="4974486" y="2106207"/>
                  <a:pt x="4972306" y="2106487"/>
                  <a:pt x="4972306" y="2106487"/>
                </a:cubicBezTo>
                <a:cubicBezTo>
                  <a:pt x="4969286" y="2107035"/>
                  <a:pt x="4961688" y="2105525"/>
                  <a:pt x="4961675" y="2105525"/>
                </a:cubicBezTo>
                <a:cubicBezTo>
                  <a:pt x="4955587" y="2105026"/>
                  <a:pt x="4953943" y="2107717"/>
                  <a:pt x="4953943" y="2107704"/>
                </a:cubicBezTo>
                <a:lnTo>
                  <a:pt x="4955161" y="2108995"/>
                </a:lnTo>
                <a:cubicBezTo>
                  <a:pt x="4955770" y="2109775"/>
                  <a:pt x="4956452" y="2110481"/>
                  <a:pt x="4957207" y="2111102"/>
                </a:cubicBezTo>
                <a:lnTo>
                  <a:pt x="4963940" y="2115145"/>
                </a:lnTo>
                <a:cubicBezTo>
                  <a:pt x="4973012" y="2120831"/>
                  <a:pt x="4982851" y="2125203"/>
                  <a:pt x="4993165" y="2128113"/>
                </a:cubicBezTo>
                <a:cubicBezTo>
                  <a:pt x="4999253" y="2129818"/>
                  <a:pt x="5007631" y="2128661"/>
                  <a:pt x="5007631" y="2128661"/>
                </a:cubicBezTo>
                <a:cubicBezTo>
                  <a:pt x="5013160" y="2128661"/>
                  <a:pt x="5018517" y="2134007"/>
                  <a:pt x="5018517" y="2134007"/>
                </a:cubicBezTo>
                <a:cubicBezTo>
                  <a:pt x="5022974" y="2137915"/>
                  <a:pt x="5031570" y="2141118"/>
                  <a:pt x="5031570" y="2141130"/>
                </a:cubicBezTo>
                <a:lnTo>
                  <a:pt x="5038779" y="2143480"/>
                </a:lnTo>
                <a:lnTo>
                  <a:pt x="5046682" y="2145989"/>
                </a:lnTo>
                <a:cubicBezTo>
                  <a:pt x="5049239" y="2147207"/>
                  <a:pt x="5050189" y="2146878"/>
                  <a:pt x="5050201" y="2146878"/>
                </a:cubicBezTo>
                <a:lnTo>
                  <a:pt x="5054098" y="2146074"/>
                </a:lnTo>
                <a:cubicBezTo>
                  <a:pt x="5052771" y="2139705"/>
                  <a:pt x="5045793" y="2136040"/>
                  <a:pt x="5044405" y="2135370"/>
                </a:cubicBezTo>
                <a:close/>
                <a:moveTo>
                  <a:pt x="4937541" y="2077226"/>
                </a:moveTo>
                <a:cubicBezTo>
                  <a:pt x="4937541" y="2077226"/>
                  <a:pt x="4937724" y="2076629"/>
                  <a:pt x="4927556" y="2073865"/>
                </a:cubicBezTo>
                <a:cubicBezTo>
                  <a:pt x="4927556" y="2073865"/>
                  <a:pt x="4913748" y="2069847"/>
                  <a:pt x="4909924" y="2067618"/>
                </a:cubicBezTo>
                <a:lnTo>
                  <a:pt x="4905211" y="2065463"/>
                </a:lnTo>
                <a:lnTo>
                  <a:pt x="4904627" y="2065365"/>
                </a:lnTo>
                <a:lnTo>
                  <a:pt x="4903300" y="2065365"/>
                </a:lnTo>
                <a:lnTo>
                  <a:pt x="4899647" y="2064660"/>
                </a:lnTo>
                <a:lnTo>
                  <a:pt x="4890892" y="2062602"/>
                </a:lnTo>
                <a:lnTo>
                  <a:pt x="4883926" y="2060543"/>
                </a:lnTo>
                <a:cubicBezTo>
                  <a:pt x="4881333" y="2059581"/>
                  <a:pt x="4878751" y="2058644"/>
                  <a:pt x="4876170" y="2057707"/>
                </a:cubicBezTo>
                <a:cubicBezTo>
                  <a:pt x="4872529" y="2056014"/>
                  <a:pt x="4868876" y="2054334"/>
                  <a:pt x="4865211" y="2052653"/>
                </a:cubicBezTo>
                <a:cubicBezTo>
                  <a:pt x="4861338" y="2050632"/>
                  <a:pt x="4857576" y="2048403"/>
                  <a:pt x="4853935" y="2045980"/>
                </a:cubicBezTo>
                <a:cubicBezTo>
                  <a:pt x="4850793" y="2044093"/>
                  <a:pt x="4847651" y="2042218"/>
                  <a:pt x="4844498" y="2040330"/>
                </a:cubicBezTo>
                <a:cubicBezTo>
                  <a:pt x="4844498" y="2040330"/>
                  <a:pt x="4833940" y="2035143"/>
                  <a:pt x="4829995" y="2034388"/>
                </a:cubicBezTo>
                <a:lnTo>
                  <a:pt x="4827158" y="2033791"/>
                </a:lnTo>
                <a:cubicBezTo>
                  <a:pt x="4827158" y="2033791"/>
                  <a:pt x="4826184" y="2034108"/>
                  <a:pt x="4821289" y="2032038"/>
                </a:cubicBezTo>
                <a:cubicBezTo>
                  <a:pt x="4817015" y="2030223"/>
                  <a:pt x="4812765" y="2028445"/>
                  <a:pt x="4808454" y="2026668"/>
                </a:cubicBezTo>
                <a:lnTo>
                  <a:pt x="4797958" y="2022381"/>
                </a:lnTo>
                <a:lnTo>
                  <a:pt x="4792502" y="2020311"/>
                </a:lnTo>
                <a:cubicBezTo>
                  <a:pt x="4792502" y="2020311"/>
                  <a:pt x="4786548" y="2018071"/>
                  <a:pt x="4783053" y="2017949"/>
                </a:cubicBezTo>
                <a:lnTo>
                  <a:pt x="4773288" y="2017559"/>
                </a:lnTo>
                <a:cubicBezTo>
                  <a:pt x="4775723" y="2020494"/>
                  <a:pt x="4778158" y="2023428"/>
                  <a:pt x="4780594" y="2026376"/>
                </a:cubicBezTo>
                <a:lnTo>
                  <a:pt x="4787547" y="2033925"/>
                </a:lnTo>
                <a:lnTo>
                  <a:pt x="4793501" y="2039794"/>
                </a:lnTo>
                <a:lnTo>
                  <a:pt x="4797799" y="2043800"/>
                </a:lnTo>
                <a:lnTo>
                  <a:pt x="4799614" y="2045322"/>
                </a:lnTo>
                <a:lnTo>
                  <a:pt x="4805094" y="2048123"/>
                </a:lnTo>
                <a:lnTo>
                  <a:pt x="4812302" y="2051508"/>
                </a:lnTo>
                <a:lnTo>
                  <a:pt x="4821739" y="2055478"/>
                </a:lnTo>
                <a:lnTo>
                  <a:pt x="4830409" y="2058571"/>
                </a:lnTo>
                <a:lnTo>
                  <a:pt x="4841368" y="2061579"/>
                </a:lnTo>
                <a:lnTo>
                  <a:pt x="4849892" y="2063259"/>
                </a:lnTo>
                <a:cubicBezTo>
                  <a:pt x="4849892" y="2063259"/>
                  <a:pt x="4860620" y="2065220"/>
                  <a:pt x="4872651" y="2073902"/>
                </a:cubicBezTo>
                <a:lnTo>
                  <a:pt x="4880675" y="2079552"/>
                </a:lnTo>
                <a:lnTo>
                  <a:pt x="4884730" y="2082219"/>
                </a:lnTo>
                <a:cubicBezTo>
                  <a:pt x="4884730" y="2082219"/>
                  <a:pt x="4887859" y="2084350"/>
                  <a:pt x="4899805" y="2087089"/>
                </a:cubicBezTo>
                <a:lnTo>
                  <a:pt x="4908329" y="2089756"/>
                </a:lnTo>
                <a:lnTo>
                  <a:pt x="4915635" y="2092106"/>
                </a:lnTo>
                <a:cubicBezTo>
                  <a:pt x="4919288" y="2093324"/>
                  <a:pt x="4922856" y="2094480"/>
                  <a:pt x="4926472" y="2095686"/>
                </a:cubicBezTo>
                <a:cubicBezTo>
                  <a:pt x="4926472" y="2095686"/>
                  <a:pt x="4935422" y="2098767"/>
                  <a:pt x="4938016" y="2098974"/>
                </a:cubicBezTo>
                <a:cubicBezTo>
                  <a:pt x="4938016" y="2098974"/>
                  <a:pt x="4944847" y="2100666"/>
                  <a:pt x="4952701" y="2095114"/>
                </a:cubicBezTo>
                <a:cubicBezTo>
                  <a:pt x="4949048" y="2092240"/>
                  <a:pt x="4945395" y="2089367"/>
                  <a:pt x="4941742" y="2086517"/>
                </a:cubicBezTo>
                <a:cubicBezTo>
                  <a:pt x="4942181" y="2082876"/>
                  <a:pt x="4940561" y="2079296"/>
                  <a:pt x="4937541" y="2077226"/>
                </a:cubicBezTo>
                <a:close/>
                <a:moveTo>
                  <a:pt x="4648840" y="1840995"/>
                </a:moveTo>
                <a:lnTo>
                  <a:pt x="4642618" y="1837208"/>
                </a:lnTo>
                <a:cubicBezTo>
                  <a:pt x="4640438" y="1835722"/>
                  <a:pt x="4638246" y="1834237"/>
                  <a:pt x="4636067" y="1832764"/>
                </a:cubicBezTo>
                <a:cubicBezTo>
                  <a:pt x="4632584" y="1830535"/>
                  <a:pt x="4629406" y="1827881"/>
                  <a:pt x="4626593" y="1824849"/>
                </a:cubicBezTo>
                <a:cubicBezTo>
                  <a:pt x="4624231" y="1822219"/>
                  <a:pt x="4621101" y="1819321"/>
                  <a:pt x="4621101" y="1819332"/>
                </a:cubicBezTo>
                <a:cubicBezTo>
                  <a:pt x="4619677" y="1818103"/>
                  <a:pt x="4617875" y="1817408"/>
                  <a:pt x="4615999" y="1817384"/>
                </a:cubicBezTo>
                <a:lnTo>
                  <a:pt x="4611494" y="1817944"/>
                </a:lnTo>
                <a:cubicBezTo>
                  <a:pt x="4607634" y="1818054"/>
                  <a:pt x="4603469" y="1821756"/>
                  <a:pt x="4603469" y="1821768"/>
                </a:cubicBezTo>
                <a:cubicBezTo>
                  <a:pt x="4597819" y="1826797"/>
                  <a:pt x="4596029" y="1826639"/>
                  <a:pt x="4596029" y="1826639"/>
                </a:cubicBezTo>
                <a:lnTo>
                  <a:pt x="4593168" y="1827734"/>
                </a:lnTo>
                <a:cubicBezTo>
                  <a:pt x="4589003" y="1830267"/>
                  <a:pt x="4589515" y="1837732"/>
                  <a:pt x="4589515" y="1837732"/>
                </a:cubicBezTo>
                <a:cubicBezTo>
                  <a:pt x="4589515" y="1839400"/>
                  <a:pt x="4592875" y="1843954"/>
                  <a:pt x="4592863" y="1843954"/>
                </a:cubicBezTo>
                <a:lnTo>
                  <a:pt x="4596516" y="1846000"/>
                </a:lnTo>
                <a:cubicBezTo>
                  <a:pt x="4608109" y="1852392"/>
                  <a:pt x="4623634" y="1853635"/>
                  <a:pt x="4623634" y="1853635"/>
                </a:cubicBezTo>
                <a:cubicBezTo>
                  <a:pt x="4633120" y="1855132"/>
                  <a:pt x="4646478" y="1852746"/>
                  <a:pt x="4646490" y="1852758"/>
                </a:cubicBezTo>
                <a:cubicBezTo>
                  <a:pt x="4654819" y="1851796"/>
                  <a:pt x="4656560" y="1850152"/>
                  <a:pt x="4656560" y="1850152"/>
                </a:cubicBezTo>
                <a:cubicBezTo>
                  <a:pt x="4658740" y="1847084"/>
                  <a:pt x="4648828" y="1840995"/>
                  <a:pt x="4648840" y="1840995"/>
                </a:cubicBezTo>
                <a:close/>
                <a:moveTo>
                  <a:pt x="4912652" y="1843650"/>
                </a:moveTo>
                <a:lnTo>
                  <a:pt x="4919142" y="1840691"/>
                </a:lnTo>
                <a:cubicBezTo>
                  <a:pt x="4923477" y="1838742"/>
                  <a:pt x="4927812" y="1836806"/>
                  <a:pt x="4932135" y="1834882"/>
                </a:cubicBezTo>
                <a:lnTo>
                  <a:pt x="4925559" y="1830889"/>
                </a:lnTo>
                <a:cubicBezTo>
                  <a:pt x="4925096" y="1830207"/>
                  <a:pt x="4925401" y="1821950"/>
                  <a:pt x="4925389" y="1821950"/>
                </a:cubicBezTo>
                <a:cubicBezTo>
                  <a:pt x="4926119" y="1815789"/>
                  <a:pt x="4925303" y="1809530"/>
                  <a:pt x="4923014" y="1803758"/>
                </a:cubicBezTo>
                <a:cubicBezTo>
                  <a:pt x="4922210" y="1802370"/>
                  <a:pt x="4922625" y="1800592"/>
                  <a:pt x="4923964" y="1799703"/>
                </a:cubicBezTo>
                <a:cubicBezTo>
                  <a:pt x="4929931" y="1794090"/>
                  <a:pt x="4924256" y="1785615"/>
                  <a:pt x="4924244" y="1785627"/>
                </a:cubicBezTo>
                <a:cubicBezTo>
                  <a:pt x="4922783" y="1783253"/>
                  <a:pt x="4921102" y="1781024"/>
                  <a:pt x="4919227" y="1778954"/>
                </a:cubicBezTo>
                <a:cubicBezTo>
                  <a:pt x="4919227" y="1778491"/>
                  <a:pt x="4919337" y="1778029"/>
                  <a:pt x="4919398" y="1777554"/>
                </a:cubicBezTo>
                <a:cubicBezTo>
                  <a:pt x="4919458" y="1777079"/>
                  <a:pt x="4919678" y="1776920"/>
                  <a:pt x="4919665" y="1776920"/>
                </a:cubicBezTo>
                <a:cubicBezTo>
                  <a:pt x="4922685" y="1775240"/>
                  <a:pt x="4923416" y="1771295"/>
                  <a:pt x="4923416" y="1771307"/>
                </a:cubicBezTo>
                <a:cubicBezTo>
                  <a:pt x="4923550" y="1769919"/>
                  <a:pt x="4923672" y="1768531"/>
                  <a:pt x="4923793" y="1767143"/>
                </a:cubicBezTo>
                <a:cubicBezTo>
                  <a:pt x="4923854" y="1764707"/>
                  <a:pt x="4923903" y="1762296"/>
                  <a:pt x="4923964" y="1759922"/>
                </a:cubicBezTo>
                <a:cubicBezTo>
                  <a:pt x="4924207" y="1758582"/>
                  <a:pt x="4924549" y="1757255"/>
                  <a:pt x="4924974" y="1755964"/>
                </a:cubicBezTo>
                <a:cubicBezTo>
                  <a:pt x="4925644" y="1755197"/>
                  <a:pt x="4925924" y="1754174"/>
                  <a:pt x="4925718" y="1753176"/>
                </a:cubicBezTo>
                <a:lnTo>
                  <a:pt x="4923123" y="1747245"/>
                </a:lnTo>
                <a:cubicBezTo>
                  <a:pt x="4921029" y="1742947"/>
                  <a:pt x="4918923" y="1738661"/>
                  <a:pt x="4916792" y="1734363"/>
                </a:cubicBezTo>
                <a:lnTo>
                  <a:pt x="4912737" y="1727057"/>
                </a:lnTo>
                <a:cubicBezTo>
                  <a:pt x="4910070" y="1721613"/>
                  <a:pt x="4913674" y="1718533"/>
                  <a:pt x="4913686" y="1718533"/>
                </a:cubicBezTo>
                <a:cubicBezTo>
                  <a:pt x="4915099" y="1716816"/>
                  <a:pt x="4916524" y="1715111"/>
                  <a:pt x="4917936" y="1713406"/>
                </a:cubicBezTo>
                <a:cubicBezTo>
                  <a:pt x="4919519" y="1711409"/>
                  <a:pt x="4921943" y="1707501"/>
                  <a:pt x="4921943" y="1707501"/>
                </a:cubicBezTo>
                <a:lnTo>
                  <a:pt x="4925827" y="1700279"/>
                </a:lnTo>
                <a:lnTo>
                  <a:pt x="4928567" y="1694739"/>
                </a:lnTo>
                <a:cubicBezTo>
                  <a:pt x="4929894" y="1691938"/>
                  <a:pt x="4931221" y="1689162"/>
                  <a:pt x="4932549" y="1686374"/>
                </a:cubicBezTo>
                <a:cubicBezTo>
                  <a:pt x="4934034" y="1684303"/>
                  <a:pt x="4932427" y="1681381"/>
                  <a:pt x="4932427" y="1681393"/>
                </a:cubicBezTo>
                <a:lnTo>
                  <a:pt x="4931440" y="1678897"/>
                </a:lnTo>
                <a:cubicBezTo>
                  <a:pt x="4930320" y="1675074"/>
                  <a:pt x="4928591" y="1671457"/>
                  <a:pt x="4926314" y="1668181"/>
                </a:cubicBezTo>
                <a:cubicBezTo>
                  <a:pt x="4923745" y="1665295"/>
                  <a:pt x="4920652" y="1662909"/>
                  <a:pt x="4917194" y="1661180"/>
                </a:cubicBezTo>
                <a:lnTo>
                  <a:pt x="4919945" y="1660364"/>
                </a:lnTo>
                <a:cubicBezTo>
                  <a:pt x="4923672" y="1658732"/>
                  <a:pt x="4926423" y="1655456"/>
                  <a:pt x="4927410" y="1651511"/>
                </a:cubicBezTo>
                <a:cubicBezTo>
                  <a:pt x="4927751" y="1650159"/>
                  <a:pt x="4928104" y="1648808"/>
                  <a:pt x="4928445" y="1647456"/>
                </a:cubicBezTo>
                <a:cubicBezTo>
                  <a:pt x="4928786" y="1646105"/>
                  <a:pt x="4929091" y="1644960"/>
                  <a:pt x="4929419" y="1643706"/>
                </a:cubicBezTo>
                <a:cubicBezTo>
                  <a:pt x="4930831" y="1640077"/>
                  <a:pt x="4931891" y="1636315"/>
                  <a:pt x="4932560" y="1632479"/>
                </a:cubicBezTo>
                <a:cubicBezTo>
                  <a:pt x="4933231" y="1627876"/>
                  <a:pt x="4932841" y="1623176"/>
                  <a:pt x="4931416" y="1618743"/>
                </a:cubicBezTo>
                <a:lnTo>
                  <a:pt x="4926545" y="1619961"/>
                </a:lnTo>
                <a:lnTo>
                  <a:pt x="4921090" y="1621374"/>
                </a:lnTo>
                <a:lnTo>
                  <a:pt x="4916280" y="1622945"/>
                </a:lnTo>
                <a:lnTo>
                  <a:pt x="4909559" y="1625039"/>
                </a:lnTo>
                <a:lnTo>
                  <a:pt x="4899002" y="1628424"/>
                </a:lnTo>
                <a:lnTo>
                  <a:pt x="4890392" y="1632077"/>
                </a:lnTo>
                <a:lnTo>
                  <a:pt x="4882368" y="1636948"/>
                </a:lnTo>
                <a:lnTo>
                  <a:pt x="4877728" y="1639152"/>
                </a:lnTo>
                <a:lnTo>
                  <a:pt x="4870337" y="1642062"/>
                </a:lnTo>
                <a:lnTo>
                  <a:pt x="4862167" y="1645106"/>
                </a:lnTo>
                <a:lnTo>
                  <a:pt x="4853910" y="1648759"/>
                </a:lnTo>
                <a:cubicBezTo>
                  <a:pt x="4848589" y="1651901"/>
                  <a:pt x="4846020" y="1650976"/>
                  <a:pt x="4846020" y="1650963"/>
                </a:cubicBezTo>
                <a:cubicBezTo>
                  <a:pt x="4838007" y="1650306"/>
                  <a:pt x="4831334" y="1639273"/>
                  <a:pt x="4831323" y="1639261"/>
                </a:cubicBezTo>
                <a:cubicBezTo>
                  <a:pt x="4829922" y="1637057"/>
                  <a:pt x="4828522" y="1634841"/>
                  <a:pt x="4827109" y="1632637"/>
                </a:cubicBezTo>
                <a:cubicBezTo>
                  <a:pt x="4825928" y="1630604"/>
                  <a:pt x="4824735" y="1628570"/>
                  <a:pt x="4823529" y="1626549"/>
                </a:cubicBezTo>
                <a:cubicBezTo>
                  <a:pt x="4821910" y="1623432"/>
                  <a:pt x="4820242" y="1620314"/>
                  <a:pt x="4818524" y="1617209"/>
                </a:cubicBezTo>
                <a:cubicBezTo>
                  <a:pt x="4815566" y="1611486"/>
                  <a:pt x="4812582" y="1605775"/>
                  <a:pt x="4809587" y="1600064"/>
                </a:cubicBezTo>
                <a:cubicBezTo>
                  <a:pt x="4807553" y="1596241"/>
                  <a:pt x="4805520" y="1592417"/>
                  <a:pt x="4803498" y="1588594"/>
                </a:cubicBezTo>
                <a:cubicBezTo>
                  <a:pt x="4802281" y="1586304"/>
                  <a:pt x="4801063" y="1584003"/>
                  <a:pt x="4799845" y="1581713"/>
                </a:cubicBezTo>
                <a:lnTo>
                  <a:pt x="4802865" y="1580642"/>
                </a:lnTo>
                <a:cubicBezTo>
                  <a:pt x="4804534" y="1580033"/>
                  <a:pt x="4808576" y="1578608"/>
                  <a:pt x="4808576" y="1578608"/>
                </a:cubicBezTo>
                <a:cubicBezTo>
                  <a:pt x="4811425" y="1577866"/>
                  <a:pt x="4814348" y="1577464"/>
                  <a:pt x="4817295" y="1577391"/>
                </a:cubicBezTo>
                <a:lnTo>
                  <a:pt x="4822519" y="1577391"/>
                </a:lnTo>
                <a:lnTo>
                  <a:pt x="4828765" y="1577391"/>
                </a:lnTo>
                <a:cubicBezTo>
                  <a:pt x="4830555" y="1577427"/>
                  <a:pt x="4832333" y="1577355"/>
                  <a:pt x="4834111" y="1577171"/>
                </a:cubicBezTo>
                <a:cubicBezTo>
                  <a:pt x="4836790" y="1576928"/>
                  <a:pt x="4837362" y="1573884"/>
                  <a:pt x="4837350" y="1573884"/>
                </a:cubicBezTo>
                <a:cubicBezTo>
                  <a:pt x="4837581" y="1572240"/>
                  <a:pt x="4837374" y="1570560"/>
                  <a:pt x="4836741" y="1569013"/>
                </a:cubicBezTo>
                <a:cubicBezTo>
                  <a:pt x="4836145" y="1567540"/>
                  <a:pt x="4834951" y="1566383"/>
                  <a:pt x="4833465" y="1565823"/>
                </a:cubicBezTo>
                <a:lnTo>
                  <a:pt x="4832966" y="1565652"/>
                </a:lnTo>
                <a:lnTo>
                  <a:pt x="4831748" y="1565153"/>
                </a:lnTo>
                <a:cubicBezTo>
                  <a:pt x="4826939" y="1563119"/>
                  <a:pt x="4822117" y="1557920"/>
                  <a:pt x="4822117" y="1557920"/>
                </a:cubicBezTo>
                <a:cubicBezTo>
                  <a:pt x="4821337" y="1557153"/>
                  <a:pt x="4819243" y="1555241"/>
                  <a:pt x="4819243" y="1555241"/>
                </a:cubicBezTo>
                <a:cubicBezTo>
                  <a:pt x="4818719" y="1554790"/>
                  <a:pt x="4818184" y="1554352"/>
                  <a:pt x="4817648" y="1553914"/>
                </a:cubicBezTo>
                <a:cubicBezTo>
                  <a:pt x="4809794" y="1547326"/>
                  <a:pt x="4800844" y="1538802"/>
                  <a:pt x="4800832" y="1538802"/>
                </a:cubicBezTo>
                <a:cubicBezTo>
                  <a:pt x="4798250" y="1536501"/>
                  <a:pt x="4792564" y="1530486"/>
                  <a:pt x="4792564" y="1530486"/>
                </a:cubicBezTo>
                <a:lnTo>
                  <a:pt x="4789544" y="1527283"/>
                </a:lnTo>
                <a:cubicBezTo>
                  <a:pt x="4788326" y="1525810"/>
                  <a:pt x="4784247" y="1521755"/>
                  <a:pt x="4784247" y="1521755"/>
                </a:cubicBezTo>
                <a:cubicBezTo>
                  <a:pt x="4781519" y="1519113"/>
                  <a:pt x="4778353" y="1516957"/>
                  <a:pt x="4774895" y="1515386"/>
                </a:cubicBezTo>
                <a:cubicBezTo>
                  <a:pt x="4775102" y="1516202"/>
                  <a:pt x="4775321" y="1517018"/>
                  <a:pt x="4775528" y="1517822"/>
                </a:cubicBezTo>
                <a:cubicBezTo>
                  <a:pt x="4775784" y="1518613"/>
                  <a:pt x="4775918" y="1519429"/>
                  <a:pt x="4775918" y="1520257"/>
                </a:cubicBezTo>
                <a:cubicBezTo>
                  <a:pt x="4775759" y="1521292"/>
                  <a:pt x="4775540" y="1522315"/>
                  <a:pt x="4775236" y="1523313"/>
                </a:cubicBezTo>
                <a:cubicBezTo>
                  <a:pt x="4774310" y="1526382"/>
                  <a:pt x="4772326" y="1525250"/>
                  <a:pt x="4772326" y="1525250"/>
                </a:cubicBezTo>
                <a:cubicBezTo>
                  <a:pt x="4769111" y="1524300"/>
                  <a:pt x="4766103" y="1522729"/>
                  <a:pt x="4763497" y="1520622"/>
                </a:cubicBezTo>
                <a:lnTo>
                  <a:pt x="4761720" y="1519246"/>
                </a:lnTo>
                <a:lnTo>
                  <a:pt x="4759820" y="1517846"/>
                </a:lnTo>
                <a:lnTo>
                  <a:pt x="4757189" y="1516056"/>
                </a:lnTo>
                <a:lnTo>
                  <a:pt x="4754231" y="1514266"/>
                </a:lnTo>
                <a:lnTo>
                  <a:pt x="4751710" y="1512987"/>
                </a:lnTo>
                <a:lnTo>
                  <a:pt x="4749104" y="1511928"/>
                </a:lnTo>
                <a:lnTo>
                  <a:pt x="4746596" y="1511185"/>
                </a:lnTo>
                <a:lnTo>
                  <a:pt x="4744234" y="1510771"/>
                </a:lnTo>
                <a:lnTo>
                  <a:pt x="4741007" y="1510613"/>
                </a:lnTo>
                <a:lnTo>
                  <a:pt x="4738572" y="1510796"/>
                </a:lnTo>
                <a:lnTo>
                  <a:pt x="4735101" y="1511465"/>
                </a:lnTo>
                <a:cubicBezTo>
                  <a:pt x="4733360" y="1511880"/>
                  <a:pt x="4731582" y="1512111"/>
                  <a:pt x="4729792" y="1512172"/>
                </a:cubicBezTo>
                <a:lnTo>
                  <a:pt x="4725067" y="1512293"/>
                </a:lnTo>
                <a:lnTo>
                  <a:pt x="4718005" y="1512208"/>
                </a:lnTo>
                <a:cubicBezTo>
                  <a:pt x="4716081" y="1512147"/>
                  <a:pt x="4714169" y="1512378"/>
                  <a:pt x="4712318" y="1512914"/>
                </a:cubicBezTo>
                <a:cubicBezTo>
                  <a:pt x="4707058" y="1514376"/>
                  <a:pt x="4708081" y="1520573"/>
                  <a:pt x="4708081" y="1520573"/>
                </a:cubicBezTo>
                <a:lnTo>
                  <a:pt x="4704951" y="1518138"/>
                </a:lnTo>
                <a:cubicBezTo>
                  <a:pt x="4700738" y="1514887"/>
                  <a:pt x="4696525" y="1511685"/>
                  <a:pt x="4692300" y="1508518"/>
                </a:cubicBezTo>
                <a:cubicBezTo>
                  <a:pt x="4693298" y="1506083"/>
                  <a:pt x="4692019" y="1502674"/>
                  <a:pt x="4692007" y="1502674"/>
                </a:cubicBezTo>
                <a:cubicBezTo>
                  <a:pt x="4691082" y="1499739"/>
                  <a:pt x="4687514" y="1494722"/>
                  <a:pt x="4687514" y="1494734"/>
                </a:cubicBezTo>
                <a:lnTo>
                  <a:pt x="4685079" y="1491276"/>
                </a:lnTo>
                <a:cubicBezTo>
                  <a:pt x="4683508" y="1488536"/>
                  <a:pt x="4676884" y="1485724"/>
                  <a:pt x="4676884" y="1485736"/>
                </a:cubicBezTo>
                <a:lnTo>
                  <a:pt x="4673876" y="1484956"/>
                </a:lnTo>
                <a:cubicBezTo>
                  <a:pt x="4673157" y="1484786"/>
                  <a:pt x="4672463" y="1484579"/>
                  <a:pt x="4671782" y="1484311"/>
                </a:cubicBezTo>
                <a:cubicBezTo>
                  <a:pt x="4659702" y="1478807"/>
                  <a:pt x="4655355" y="1478856"/>
                  <a:pt x="4655367" y="1478856"/>
                </a:cubicBezTo>
                <a:cubicBezTo>
                  <a:pt x="4647245" y="1477468"/>
                  <a:pt x="4642788" y="1480962"/>
                  <a:pt x="4642788" y="1480950"/>
                </a:cubicBezTo>
                <a:cubicBezTo>
                  <a:pt x="4630417" y="1475361"/>
                  <a:pt x="4628907" y="1475982"/>
                  <a:pt x="4628907" y="1475970"/>
                </a:cubicBezTo>
                <a:cubicBezTo>
                  <a:pt x="4626362" y="1475361"/>
                  <a:pt x="4624657" y="1480962"/>
                  <a:pt x="4624657" y="1480962"/>
                </a:cubicBezTo>
                <a:cubicBezTo>
                  <a:pt x="4620919" y="1479867"/>
                  <a:pt x="4617119" y="1478990"/>
                  <a:pt x="4613271" y="1478344"/>
                </a:cubicBezTo>
                <a:cubicBezTo>
                  <a:pt x="4608729" y="1477127"/>
                  <a:pt x="4605965" y="1483873"/>
                  <a:pt x="4605965" y="1483860"/>
                </a:cubicBezTo>
                <a:lnTo>
                  <a:pt x="4604041" y="1486856"/>
                </a:lnTo>
                <a:cubicBezTo>
                  <a:pt x="4602020" y="1481985"/>
                  <a:pt x="4599987" y="1477078"/>
                  <a:pt x="4597953" y="1472122"/>
                </a:cubicBezTo>
                <a:cubicBezTo>
                  <a:pt x="4577618" y="1467373"/>
                  <a:pt x="4575207" y="1480000"/>
                  <a:pt x="4575207" y="1480000"/>
                </a:cubicBezTo>
                <a:cubicBezTo>
                  <a:pt x="4570336" y="1480074"/>
                  <a:pt x="4565490" y="1480159"/>
                  <a:pt x="4560680" y="1480268"/>
                </a:cubicBezTo>
                <a:cubicBezTo>
                  <a:pt x="4540929" y="1485967"/>
                  <a:pt x="4522371" y="1473839"/>
                  <a:pt x="4522347" y="1473827"/>
                </a:cubicBezTo>
                <a:cubicBezTo>
                  <a:pt x="4520289" y="1472463"/>
                  <a:pt x="4518134" y="1471233"/>
                  <a:pt x="4515905" y="1470174"/>
                </a:cubicBezTo>
                <a:lnTo>
                  <a:pt x="4513202" y="1469187"/>
                </a:lnTo>
                <a:lnTo>
                  <a:pt x="4504045" y="1466106"/>
                </a:lnTo>
                <a:lnTo>
                  <a:pt x="4496812" y="1463817"/>
                </a:lnTo>
                <a:lnTo>
                  <a:pt x="4492551" y="1462600"/>
                </a:lnTo>
                <a:lnTo>
                  <a:pt x="4490395" y="1462368"/>
                </a:lnTo>
                <a:cubicBezTo>
                  <a:pt x="4486839" y="1462660"/>
                  <a:pt x="4483272" y="1461955"/>
                  <a:pt x="4480081" y="1460347"/>
                </a:cubicBezTo>
                <a:cubicBezTo>
                  <a:pt x="4460598" y="1450009"/>
                  <a:pt x="4448117" y="1451665"/>
                  <a:pt x="4448117" y="1451652"/>
                </a:cubicBezTo>
                <a:lnTo>
                  <a:pt x="4444464" y="1451507"/>
                </a:lnTo>
                <a:lnTo>
                  <a:pt x="4438302" y="1450910"/>
                </a:lnTo>
                <a:cubicBezTo>
                  <a:pt x="4430229" y="1449656"/>
                  <a:pt x="4422168" y="1448438"/>
                  <a:pt x="4414107" y="1447257"/>
                </a:cubicBezTo>
                <a:cubicBezTo>
                  <a:pt x="4413644" y="1449047"/>
                  <a:pt x="4412768" y="1450715"/>
                  <a:pt x="4411562" y="1452127"/>
                </a:cubicBezTo>
                <a:cubicBezTo>
                  <a:pt x="4405474" y="1457705"/>
                  <a:pt x="4395623" y="1459604"/>
                  <a:pt x="4395623" y="1459616"/>
                </a:cubicBezTo>
                <a:cubicBezTo>
                  <a:pt x="4388085" y="1462051"/>
                  <a:pt x="4388049" y="1468213"/>
                  <a:pt x="4388049" y="1468201"/>
                </a:cubicBezTo>
                <a:cubicBezTo>
                  <a:pt x="4387768" y="1471879"/>
                  <a:pt x="4387099" y="1475532"/>
                  <a:pt x="4386039" y="1479063"/>
                </a:cubicBezTo>
                <a:lnTo>
                  <a:pt x="4384481" y="1476896"/>
                </a:lnTo>
                <a:cubicBezTo>
                  <a:pt x="4380731" y="1472280"/>
                  <a:pt x="4372645" y="1473242"/>
                  <a:pt x="4372657" y="1473242"/>
                </a:cubicBezTo>
                <a:lnTo>
                  <a:pt x="4370063" y="1482984"/>
                </a:lnTo>
                <a:cubicBezTo>
                  <a:pt x="4369686" y="1489182"/>
                  <a:pt x="4369272" y="1495368"/>
                  <a:pt x="4368846" y="1501554"/>
                </a:cubicBezTo>
                <a:cubicBezTo>
                  <a:pt x="4369649" y="1509931"/>
                  <a:pt x="4365193" y="1511660"/>
                  <a:pt x="4365193" y="1511660"/>
                </a:cubicBezTo>
                <a:cubicBezTo>
                  <a:pt x="4358715" y="1518102"/>
                  <a:pt x="4354891" y="1535868"/>
                  <a:pt x="4354879" y="1535880"/>
                </a:cubicBezTo>
                <a:cubicBezTo>
                  <a:pt x="4354745" y="1536513"/>
                  <a:pt x="4354697" y="1537147"/>
                  <a:pt x="4354720" y="1537792"/>
                </a:cubicBezTo>
                <a:cubicBezTo>
                  <a:pt x="4354611" y="1539423"/>
                  <a:pt x="4353759" y="1539484"/>
                  <a:pt x="4353759" y="1539484"/>
                </a:cubicBezTo>
                <a:lnTo>
                  <a:pt x="4350020" y="1541408"/>
                </a:lnTo>
                <a:cubicBezTo>
                  <a:pt x="4346538" y="1543515"/>
                  <a:pt x="4342934" y="1545402"/>
                  <a:pt x="4339219" y="1547082"/>
                </a:cubicBezTo>
                <a:cubicBezTo>
                  <a:pt x="4333862" y="1549104"/>
                  <a:pt x="4325995" y="1548446"/>
                  <a:pt x="4325995" y="1548446"/>
                </a:cubicBezTo>
                <a:cubicBezTo>
                  <a:pt x="4319566" y="1548873"/>
                  <a:pt x="4319006" y="1553135"/>
                  <a:pt x="4319006" y="1553135"/>
                </a:cubicBezTo>
                <a:cubicBezTo>
                  <a:pt x="4321088" y="1555582"/>
                  <a:pt x="4322854" y="1558297"/>
                  <a:pt x="4324242" y="1561196"/>
                </a:cubicBezTo>
                <a:cubicBezTo>
                  <a:pt x="4326337" y="1566602"/>
                  <a:pt x="4329941" y="1571290"/>
                  <a:pt x="4334605" y="1574724"/>
                </a:cubicBezTo>
                <a:cubicBezTo>
                  <a:pt x="4342751" y="1581470"/>
                  <a:pt x="4357741" y="1582651"/>
                  <a:pt x="4357741" y="1582675"/>
                </a:cubicBezTo>
                <a:cubicBezTo>
                  <a:pt x="4361978" y="1583893"/>
                  <a:pt x="4375032" y="1583893"/>
                  <a:pt x="4375044" y="1583893"/>
                </a:cubicBezTo>
                <a:cubicBezTo>
                  <a:pt x="4387939" y="1584502"/>
                  <a:pt x="4404390" y="1595242"/>
                  <a:pt x="4404378" y="1595254"/>
                </a:cubicBezTo>
                <a:cubicBezTo>
                  <a:pt x="4417444" y="1603230"/>
                  <a:pt x="4427843" y="1608576"/>
                  <a:pt x="4427843" y="1608576"/>
                </a:cubicBezTo>
                <a:cubicBezTo>
                  <a:pt x="4436780" y="1612886"/>
                  <a:pt x="4439691" y="1612229"/>
                  <a:pt x="4439703" y="1612229"/>
                </a:cubicBezTo>
                <a:cubicBezTo>
                  <a:pt x="4441651" y="1611937"/>
                  <a:pt x="4443624" y="1611839"/>
                  <a:pt x="4445584" y="1611912"/>
                </a:cubicBezTo>
                <a:cubicBezTo>
                  <a:pt x="4454449" y="1612557"/>
                  <a:pt x="4464398" y="1616685"/>
                  <a:pt x="4464385" y="1616685"/>
                </a:cubicBezTo>
                <a:cubicBezTo>
                  <a:pt x="4466894" y="1617757"/>
                  <a:pt x="4469500" y="1618610"/>
                  <a:pt x="4472166" y="1619218"/>
                </a:cubicBezTo>
                <a:lnTo>
                  <a:pt x="4475612" y="1620046"/>
                </a:lnTo>
                <a:lnTo>
                  <a:pt x="4478182" y="1620765"/>
                </a:lnTo>
                <a:lnTo>
                  <a:pt x="4483052" y="1622445"/>
                </a:lnTo>
                <a:lnTo>
                  <a:pt x="4491309" y="1625550"/>
                </a:lnTo>
                <a:cubicBezTo>
                  <a:pt x="4495716" y="1627352"/>
                  <a:pt x="4500124" y="1629167"/>
                  <a:pt x="4504544" y="1630981"/>
                </a:cubicBezTo>
                <a:cubicBezTo>
                  <a:pt x="4511035" y="1633696"/>
                  <a:pt x="4517501" y="1636448"/>
                  <a:pt x="4523918" y="1639237"/>
                </a:cubicBezTo>
                <a:cubicBezTo>
                  <a:pt x="4528874" y="1641270"/>
                  <a:pt x="4533830" y="1643304"/>
                  <a:pt x="4538786" y="1645325"/>
                </a:cubicBezTo>
                <a:cubicBezTo>
                  <a:pt x="4545739" y="1648260"/>
                  <a:pt x="4552473" y="1651657"/>
                  <a:pt x="4558963" y="1655505"/>
                </a:cubicBezTo>
                <a:cubicBezTo>
                  <a:pt x="4562068" y="1657307"/>
                  <a:pt x="4565075" y="1659280"/>
                  <a:pt x="4567974" y="1661399"/>
                </a:cubicBezTo>
                <a:cubicBezTo>
                  <a:pt x="4570799" y="1663554"/>
                  <a:pt x="4571188" y="1664942"/>
                  <a:pt x="4571188" y="1664942"/>
                </a:cubicBezTo>
                <a:lnTo>
                  <a:pt x="4571566" y="1665673"/>
                </a:lnTo>
                <a:cubicBezTo>
                  <a:pt x="4573794" y="1669302"/>
                  <a:pt x="4576485" y="1672638"/>
                  <a:pt x="4579554" y="1675585"/>
                </a:cubicBezTo>
                <a:cubicBezTo>
                  <a:pt x="4581380" y="1677485"/>
                  <a:pt x="4583207" y="1679396"/>
                  <a:pt x="4585021" y="1681308"/>
                </a:cubicBezTo>
                <a:cubicBezTo>
                  <a:pt x="4590002" y="1686556"/>
                  <a:pt x="4589782" y="1689576"/>
                  <a:pt x="4589782" y="1689564"/>
                </a:cubicBezTo>
                <a:cubicBezTo>
                  <a:pt x="4589733" y="1692377"/>
                  <a:pt x="4589673" y="1695189"/>
                  <a:pt x="4589612" y="1697990"/>
                </a:cubicBezTo>
                <a:cubicBezTo>
                  <a:pt x="4589052" y="1703921"/>
                  <a:pt x="4586264" y="1705759"/>
                  <a:pt x="4586251" y="1705747"/>
                </a:cubicBezTo>
                <a:cubicBezTo>
                  <a:pt x="4583304" y="1708681"/>
                  <a:pt x="4585399" y="1714648"/>
                  <a:pt x="4585399" y="1714648"/>
                </a:cubicBezTo>
                <a:cubicBezTo>
                  <a:pt x="4586957" y="1718873"/>
                  <a:pt x="4595213" y="1719519"/>
                  <a:pt x="4595213" y="1719458"/>
                </a:cubicBezTo>
                <a:lnTo>
                  <a:pt x="4604298" y="1720919"/>
                </a:lnTo>
                <a:cubicBezTo>
                  <a:pt x="4609022" y="1721796"/>
                  <a:pt x="4613746" y="1722685"/>
                  <a:pt x="4618471" y="1723586"/>
                </a:cubicBezTo>
                <a:lnTo>
                  <a:pt x="4627530" y="1725364"/>
                </a:lnTo>
                <a:cubicBezTo>
                  <a:pt x="4624243" y="1727860"/>
                  <a:pt x="4618142" y="1727470"/>
                  <a:pt x="4618142" y="1727470"/>
                </a:cubicBezTo>
                <a:cubicBezTo>
                  <a:pt x="4615597" y="1727470"/>
                  <a:pt x="4613053" y="1727470"/>
                  <a:pt x="4610507" y="1727470"/>
                </a:cubicBezTo>
                <a:cubicBezTo>
                  <a:pt x="4601667" y="1726679"/>
                  <a:pt x="4597113" y="1730064"/>
                  <a:pt x="4597113" y="1730064"/>
                </a:cubicBezTo>
                <a:cubicBezTo>
                  <a:pt x="4602592" y="1733121"/>
                  <a:pt x="4608072" y="1736201"/>
                  <a:pt x="4613540" y="1739307"/>
                </a:cubicBezTo>
                <a:lnTo>
                  <a:pt x="4610678" y="1743544"/>
                </a:lnTo>
                <a:cubicBezTo>
                  <a:pt x="4612261" y="1745602"/>
                  <a:pt x="4613710" y="1747769"/>
                  <a:pt x="4615000" y="1750034"/>
                </a:cubicBezTo>
                <a:cubicBezTo>
                  <a:pt x="4617570" y="1754113"/>
                  <a:pt x="4613491" y="1756561"/>
                  <a:pt x="4613491" y="1756573"/>
                </a:cubicBezTo>
                <a:cubicBezTo>
                  <a:pt x="4606952" y="1761602"/>
                  <a:pt x="4604687" y="1765389"/>
                  <a:pt x="4604687" y="1765389"/>
                </a:cubicBezTo>
                <a:cubicBezTo>
                  <a:pt x="4601411" y="1770369"/>
                  <a:pt x="4606063" y="1776020"/>
                  <a:pt x="4606063" y="1776020"/>
                </a:cubicBezTo>
                <a:cubicBezTo>
                  <a:pt x="4606867" y="1776896"/>
                  <a:pt x="4607671" y="1777797"/>
                  <a:pt x="4608498" y="1778686"/>
                </a:cubicBezTo>
                <a:lnTo>
                  <a:pt x="4611713" y="1781926"/>
                </a:lnTo>
                <a:lnTo>
                  <a:pt x="4616267" y="1786601"/>
                </a:lnTo>
                <a:lnTo>
                  <a:pt x="4620784" y="1791326"/>
                </a:lnTo>
                <a:cubicBezTo>
                  <a:pt x="4622611" y="1793274"/>
                  <a:pt x="4624426" y="1795223"/>
                  <a:pt x="4626240" y="1797183"/>
                </a:cubicBezTo>
                <a:lnTo>
                  <a:pt x="4629308" y="1800142"/>
                </a:lnTo>
                <a:cubicBezTo>
                  <a:pt x="4633120" y="1803174"/>
                  <a:pt x="4637576" y="1805317"/>
                  <a:pt x="4642326" y="1806401"/>
                </a:cubicBezTo>
                <a:lnTo>
                  <a:pt x="4646746" y="1807618"/>
                </a:lnTo>
                <a:cubicBezTo>
                  <a:pt x="4650046" y="1808702"/>
                  <a:pt x="4653346" y="1809786"/>
                  <a:pt x="4656645" y="1810894"/>
                </a:cubicBezTo>
                <a:cubicBezTo>
                  <a:pt x="4658046" y="1815217"/>
                  <a:pt x="4661516" y="1824106"/>
                  <a:pt x="4661516" y="1824106"/>
                </a:cubicBezTo>
                <a:cubicBezTo>
                  <a:pt x="4663111" y="1827698"/>
                  <a:pt x="4666241" y="1830389"/>
                  <a:pt x="4670040" y="1831412"/>
                </a:cubicBezTo>
                <a:cubicBezTo>
                  <a:pt x="4673157" y="1831899"/>
                  <a:pt x="4686917" y="1836161"/>
                  <a:pt x="4686917" y="1836149"/>
                </a:cubicBezTo>
                <a:cubicBezTo>
                  <a:pt x="4698924" y="1840301"/>
                  <a:pt x="4710455" y="1845720"/>
                  <a:pt x="4721317" y="1852307"/>
                </a:cubicBezTo>
                <a:cubicBezTo>
                  <a:pt x="4731996" y="1857069"/>
                  <a:pt x="4746888" y="1853683"/>
                  <a:pt x="4746888" y="1853683"/>
                </a:cubicBezTo>
                <a:cubicBezTo>
                  <a:pt x="4761038" y="1851614"/>
                  <a:pt x="4768332" y="1853683"/>
                  <a:pt x="4768332" y="1853683"/>
                </a:cubicBezTo>
                <a:cubicBezTo>
                  <a:pt x="4773081" y="1855169"/>
                  <a:pt x="4774018" y="1854828"/>
                  <a:pt x="4774018" y="1854816"/>
                </a:cubicBezTo>
                <a:cubicBezTo>
                  <a:pt x="4775345" y="1854365"/>
                  <a:pt x="4776721" y="1854110"/>
                  <a:pt x="4778122" y="1854036"/>
                </a:cubicBezTo>
                <a:cubicBezTo>
                  <a:pt x="4783078" y="1853915"/>
                  <a:pt x="4788034" y="1853805"/>
                  <a:pt x="4793014" y="1853696"/>
                </a:cubicBezTo>
                <a:cubicBezTo>
                  <a:pt x="4796119" y="1853696"/>
                  <a:pt x="4826026" y="1859784"/>
                  <a:pt x="4826050" y="1859881"/>
                </a:cubicBezTo>
                <a:lnTo>
                  <a:pt x="4835329" y="1861379"/>
                </a:lnTo>
                <a:cubicBezTo>
                  <a:pt x="4840820" y="1862110"/>
                  <a:pt x="4846312" y="1862865"/>
                  <a:pt x="4851816" y="1863632"/>
                </a:cubicBezTo>
                <a:cubicBezTo>
                  <a:pt x="4853217" y="1863887"/>
                  <a:pt x="4854641" y="1863936"/>
                  <a:pt x="4856054" y="1863802"/>
                </a:cubicBezTo>
                <a:lnTo>
                  <a:pt x="4861083" y="1862767"/>
                </a:lnTo>
                <a:cubicBezTo>
                  <a:pt x="4865953" y="1861732"/>
                  <a:pt x="4870824" y="1860709"/>
                  <a:pt x="4875695" y="1859699"/>
                </a:cubicBezTo>
                <a:cubicBezTo>
                  <a:pt x="4881783" y="1858432"/>
                  <a:pt x="4887872" y="1857190"/>
                  <a:pt x="4893960" y="1855961"/>
                </a:cubicBezTo>
                <a:lnTo>
                  <a:pt x="4902326" y="1854158"/>
                </a:lnTo>
                <a:cubicBezTo>
                  <a:pt x="4908268" y="1852247"/>
                  <a:pt x="4907440" y="1847632"/>
                  <a:pt x="4907440" y="1847632"/>
                </a:cubicBezTo>
                <a:cubicBezTo>
                  <a:pt x="4906904" y="1845598"/>
                  <a:pt x="4909181" y="1845062"/>
                  <a:pt x="4909181" y="1845062"/>
                </a:cubicBezTo>
                <a:close/>
                <a:moveTo>
                  <a:pt x="2599720" y="409582"/>
                </a:moveTo>
                <a:cubicBezTo>
                  <a:pt x="2599720" y="409582"/>
                  <a:pt x="2605212" y="408304"/>
                  <a:pt x="2606198" y="404773"/>
                </a:cubicBezTo>
                <a:lnTo>
                  <a:pt x="2599416" y="401741"/>
                </a:lnTo>
                <a:lnTo>
                  <a:pt x="2591391" y="407123"/>
                </a:lnTo>
                <a:cubicBezTo>
                  <a:pt x="2591391" y="407123"/>
                  <a:pt x="2597748" y="410216"/>
                  <a:pt x="2599720" y="409582"/>
                </a:cubicBezTo>
                <a:close/>
                <a:moveTo>
                  <a:pt x="2698267" y="385716"/>
                </a:moveTo>
                <a:cubicBezTo>
                  <a:pt x="2699083" y="389941"/>
                  <a:pt x="2699850" y="394167"/>
                  <a:pt x="2700581" y="398416"/>
                </a:cubicBezTo>
                <a:cubicBezTo>
                  <a:pt x="2700581" y="398416"/>
                  <a:pt x="2701446" y="403798"/>
                  <a:pt x="2704807" y="403932"/>
                </a:cubicBezTo>
                <a:cubicBezTo>
                  <a:pt x="2704807" y="403932"/>
                  <a:pt x="2710432" y="406526"/>
                  <a:pt x="2719114" y="402337"/>
                </a:cubicBezTo>
                <a:cubicBezTo>
                  <a:pt x="2719114" y="402337"/>
                  <a:pt x="2726225" y="399403"/>
                  <a:pt x="2726834" y="394860"/>
                </a:cubicBezTo>
                <a:cubicBezTo>
                  <a:pt x="2726834" y="394860"/>
                  <a:pt x="2727589" y="384620"/>
                  <a:pt x="2720916" y="379031"/>
                </a:cubicBezTo>
                <a:cubicBezTo>
                  <a:pt x="2720916" y="379031"/>
                  <a:pt x="2715571" y="376388"/>
                  <a:pt x="2717763" y="372541"/>
                </a:cubicBezTo>
                <a:cubicBezTo>
                  <a:pt x="2717763" y="372541"/>
                  <a:pt x="2723230" y="364759"/>
                  <a:pt x="2720198" y="361520"/>
                </a:cubicBezTo>
                <a:lnTo>
                  <a:pt x="2717860" y="359438"/>
                </a:lnTo>
                <a:cubicBezTo>
                  <a:pt x="2717860" y="359438"/>
                  <a:pt x="2708228" y="361338"/>
                  <a:pt x="2702737" y="364041"/>
                </a:cubicBezTo>
                <a:cubicBezTo>
                  <a:pt x="2702737" y="364041"/>
                  <a:pt x="2699534" y="367548"/>
                  <a:pt x="2704928" y="371213"/>
                </a:cubicBezTo>
                <a:lnTo>
                  <a:pt x="2713306" y="376693"/>
                </a:lnTo>
                <a:cubicBezTo>
                  <a:pt x="2713306" y="376693"/>
                  <a:pt x="2696051" y="381978"/>
                  <a:pt x="2698267" y="385716"/>
                </a:cubicBezTo>
                <a:close/>
                <a:moveTo>
                  <a:pt x="3038842" y="437540"/>
                </a:moveTo>
                <a:cubicBezTo>
                  <a:pt x="3036053" y="437540"/>
                  <a:pt x="3017544" y="434898"/>
                  <a:pt x="3017544" y="434910"/>
                </a:cubicBezTo>
                <a:cubicBezTo>
                  <a:pt x="3002652" y="432852"/>
                  <a:pt x="2994104" y="434801"/>
                  <a:pt x="2994116" y="434788"/>
                </a:cubicBezTo>
                <a:cubicBezTo>
                  <a:pt x="3004150" y="437723"/>
                  <a:pt x="3019687" y="438441"/>
                  <a:pt x="3019687" y="438441"/>
                </a:cubicBezTo>
                <a:cubicBezTo>
                  <a:pt x="3026080" y="438661"/>
                  <a:pt x="3032498" y="438356"/>
                  <a:pt x="3038842" y="437540"/>
                </a:cubicBezTo>
                <a:close/>
                <a:moveTo>
                  <a:pt x="3175868" y="448317"/>
                </a:moveTo>
                <a:cubicBezTo>
                  <a:pt x="3180763" y="447939"/>
                  <a:pt x="3185463" y="446308"/>
                  <a:pt x="3189530" y="443556"/>
                </a:cubicBezTo>
                <a:lnTo>
                  <a:pt x="3198651" y="437175"/>
                </a:lnTo>
                <a:cubicBezTo>
                  <a:pt x="3194011" y="437589"/>
                  <a:pt x="3189384" y="438015"/>
                  <a:pt x="3184745" y="438466"/>
                </a:cubicBezTo>
                <a:cubicBezTo>
                  <a:pt x="3170924" y="439684"/>
                  <a:pt x="3161925" y="441413"/>
                  <a:pt x="3161925" y="441401"/>
                </a:cubicBezTo>
                <a:cubicBezTo>
                  <a:pt x="3160562" y="441875"/>
                  <a:pt x="3157688" y="446052"/>
                  <a:pt x="3157688" y="446052"/>
                </a:cubicBezTo>
                <a:lnTo>
                  <a:pt x="3163155" y="447818"/>
                </a:lnTo>
                <a:cubicBezTo>
                  <a:pt x="3167831" y="449182"/>
                  <a:pt x="3175868" y="448317"/>
                  <a:pt x="3175868" y="448317"/>
                </a:cubicBezTo>
                <a:close/>
                <a:moveTo>
                  <a:pt x="3701652" y="107438"/>
                </a:moveTo>
                <a:lnTo>
                  <a:pt x="3701652" y="107438"/>
                </a:lnTo>
                <a:lnTo>
                  <a:pt x="3700848" y="107304"/>
                </a:lnTo>
                <a:cubicBezTo>
                  <a:pt x="3700994" y="107475"/>
                  <a:pt x="3701140" y="107633"/>
                  <a:pt x="3701299" y="107791"/>
                </a:cubicBezTo>
                <a:lnTo>
                  <a:pt x="3702383" y="108193"/>
                </a:lnTo>
                <a:cubicBezTo>
                  <a:pt x="3702102" y="107925"/>
                  <a:pt x="3701871" y="107682"/>
                  <a:pt x="3701652" y="107438"/>
                </a:cubicBezTo>
                <a:close/>
                <a:moveTo>
                  <a:pt x="428588" y="1230789"/>
                </a:moveTo>
                <a:cubicBezTo>
                  <a:pt x="428065" y="1230886"/>
                  <a:pt x="427675" y="1230935"/>
                  <a:pt x="427517" y="1230947"/>
                </a:cubicBezTo>
                <a:lnTo>
                  <a:pt x="425861" y="1233577"/>
                </a:lnTo>
                <a:lnTo>
                  <a:pt x="427176" y="1233285"/>
                </a:lnTo>
                <a:lnTo>
                  <a:pt x="428467" y="1232226"/>
                </a:lnTo>
                <a:cubicBezTo>
                  <a:pt x="428515" y="1231751"/>
                  <a:pt x="428588" y="1231264"/>
                  <a:pt x="428588" y="1230789"/>
                </a:cubicBezTo>
                <a:close/>
              </a:path>
            </a:pathLst>
          </a:custGeom>
          <a:solidFill>
            <a:srgbClr val="BCB6B1">
              <a:alpha val="52157"/>
            </a:srgbClr>
          </a:solidFill>
          <a:ln w="1218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1200" cap="none" spc="0" normalizeH="0" baseline="0" noProof="0" dirty="0">
              <a:ln>
                <a:noFill/>
              </a:ln>
              <a:solidFill>
                <a:srgbClr val="312D2A"/>
              </a:solidFill>
              <a:effectLst/>
              <a:uLnTx/>
              <a:uFillTx/>
              <a:latin typeface="Oracle Sans Tab"/>
              <a:ea typeface="+mn-ea"/>
              <a:cs typeface="+mn-cs"/>
            </a:endParaRPr>
          </a:p>
        </p:txBody>
      </p:sp>
      <p:cxnSp>
        <p:nvCxnSpPr>
          <p:cNvPr id="457" name="Straight Connector 456">
            <a:extLst>
              <a:ext uri="{FF2B5EF4-FFF2-40B4-BE49-F238E27FC236}">
                <a16:creationId xmlns:a16="http://schemas.microsoft.com/office/drawing/2014/main" id="{EBEA2DA7-88F2-E64C-A7FC-DDD1B0D5EF81}"/>
              </a:ext>
            </a:extLst>
          </p:cNvPr>
          <p:cNvCxnSpPr/>
          <p:nvPr>
            <p:custDataLst>
              <p:tags r:id="rId2"/>
            </p:custDataLst>
          </p:nvPr>
        </p:nvCxnSpPr>
        <p:spPr>
          <a:xfrm>
            <a:off x="3564366" y="4398342"/>
            <a:ext cx="432134" cy="0"/>
          </a:xfrm>
          <a:prstGeom prst="line">
            <a:avLst/>
          </a:prstGeom>
          <a:ln>
            <a:solidFill>
              <a:srgbClr val="2C596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3" name="Footer Placeholder 4">
            <a:extLst>
              <a:ext uri="{FF2B5EF4-FFF2-40B4-BE49-F238E27FC236}">
                <a16:creationId xmlns:a16="http://schemas.microsoft.com/office/drawing/2014/main" id="{87895CEF-FEB5-DF42-81FD-220193AD57C6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3"/>
            </p:custDataLst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8B8580"/>
                </a:solidFill>
                <a:effectLst/>
                <a:uLnTx/>
                <a:uFillTx/>
                <a:latin typeface="Oracle Sans Tab"/>
                <a:ea typeface="+mn-ea"/>
                <a:cs typeface="+mn-cs"/>
              </a:rPr>
              <a:t>Copyright © 2024, Oracle and/or its affiliates. All rights reserved   </a:t>
            </a: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8B8580"/>
              </a:solidFill>
              <a:effectLst/>
              <a:uLnTx/>
              <a:uFillTx/>
              <a:latin typeface="Oracle Sans Tab"/>
              <a:ea typeface="+mn-ea"/>
              <a:cs typeface="+mn-cs"/>
            </a:endParaRPr>
          </a:p>
        </p:txBody>
      </p:sp>
      <p:pic>
        <p:nvPicPr>
          <p:cNvPr id="403" name="Picture 402" descr="A picture containing dark, night sky&#10;&#10;Description automatically generated">
            <a:extLst>
              <a:ext uri="{FF2B5EF4-FFF2-40B4-BE49-F238E27FC236}">
                <a16:creationId xmlns:a16="http://schemas.microsoft.com/office/drawing/2014/main" id="{9DFAE731-0A50-684B-B8A9-AFADE9FF6930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399">
            <a:alphaModFix amt="24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0800000">
            <a:off x="1589" y="5879669"/>
            <a:ext cx="2690289" cy="1226936"/>
          </a:xfrm>
          <a:prstGeom prst="rect">
            <a:avLst/>
          </a:prstGeom>
        </p:spPr>
      </p:pic>
      <p:sp>
        <p:nvSpPr>
          <p:cNvPr id="362" name="TextBox 361">
            <a:extLst>
              <a:ext uri="{FF2B5EF4-FFF2-40B4-BE49-F238E27FC236}">
                <a16:creationId xmlns:a16="http://schemas.microsoft.com/office/drawing/2014/main" id="{F2499615-2A2B-1F41-8FA3-BB7BB2C992C0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3042232" y="4363435"/>
            <a:ext cx="630909" cy="11021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srgbClr val="312D2A"/>
                </a:solidFill>
                <a:effectLst/>
                <a:uLnTx/>
                <a:uFillTx/>
                <a:latin typeface="Oracle Sans Semi Bold" panose="020B0503020204020204" pitchFamily="34" charset="0"/>
                <a:ea typeface="+mn-ea"/>
                <a:cs typeface="Oracle Sans Semi Bold" panose="020B0503020204020204" pitchFamily="34" charset="0"/>
              </a:rPr>
              <a:t>Santiago</a:t>
            </a:r>
          </a:p>
        </p:txBody>
      </p:sp>
      <p:grpSp>
        <p:nvGrpSpPr>
          <p:cNvPr id="411" name="Group 410">
            <a:extLst>
              <a:ext uri="{FF2B5EF4-FFF2-40B4-BE49-F238E27FC236}">
                <a16:creationId xmlns:a16="http://schemas.microsoft.com/office/drawing/2014/main" id="{72E9A2DE-B931-084B-9CE5-0C1E39351D6F}"/>
              </a:ext>
            </a:extLst>
          </p:cNvPr>
          <p:cNvGrpSpPr/>
          <p:nvPr>
            <p:custDataLst>
              <p:tags r:id="rId6"/>
            </p:custDataLst>
          </p:nvPr>
        </p:nvGrpSpPr>
        <p:grpSpPr>
          <a:xfrm>
            <a:off x="3910613" y="4271626"/>
            <a:ext cx="244096" cy="244096"/>
            <a:chOff x="-763325" y="1701579"/>
            <a:chExt cx="349858" cy="349858"/>
          </a:xfrm>
        </p:grpSpPr>
        <p:sp>
          <p:nvSpPr>
            <p:cNvPr id="412" name="Oval 411">
              <a:extLst>
                <a:ext uri="{FF2B5EF4-FFF2-40B4-BE49-F238E27FC236}">
                  <a16:creationId xmlns:a16="http://schemas.microsoft.com/office/drawing/2014/main" id="{34A5965F-B833-CF4D-AF7A-B2543B3FEF26}"/>
                </a:ext>
              </a:extLst>
            </p:cNvPr>
            <p:cNvSpPr/>
            <p:nvPr>
              <p:custDataLst>
                <p:tags r:id="rId395"/>
              </p:custDataLst>
            </p:nvPr>
          </p:nvSpPr>
          <p:spPr>
            <a:xfrm>
              <a:off x="-763325" y="1701579"/>
              <a:ext cx="349858" cy="349858"/>
            </a:xfrm>
            <a:prstGeom prst="ellipse">
              <a:avLst/>
            </a:prstGeom>
            <a:solidFill>
              <a:srgbClr val="2C5967">
                <a:alpha val="42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1200" cap="none" spc="0" normalizeH="0" baseline="0" noProof="0" dirty="0">
                <a:ln>
                  <a:noFill/>
                </a:ln>
                <a:solidFill>
                  <a:srgbClr val="312D2A"/>
                </a:solidFill>
                <a:effectLst/>
                <a:uLnTx/>
                <a:uFillTx/>
                <a:latin typeface="Oracle Sans Tab"/>
                <a:ea typeface="+mn-ea"/>
                <a:cs typeface="+mn-cs"/>
              </a:endParaRPr>
            </a:p>
          </p:txBody>
        </p:sp>
        <p:sp>
          <p:nvSpPr>
            <p:cNvPr id="413" name="Oval 412">
              <a:extLst>
                <a:ext uri="{FF2B5EF4-FFF2-40B4-BE49-F238E27FC236}">
                  <a16:creationId xmlns:a16="http://schemas.microsoft.com/office/drawing/2014/main" id="{638B9C5E-B387-3E44-80D4-C01BBA600EE6}"/>
                </a:ext>
              </a:extLst>
            </p:cNvPr>
            <p:cNvSpPr/>
            <p:nvPr>
              <p:custDataLst>
                <p:tags r:id="rId396"/>
              </p:custDataLst>
            </p:nvPr>
          </p:nvSpPr>
          <p:spPr>
            <a:xfrm>
              <a:off x="-676936" y="1787968"/>
              <a:ext cx="177080" cy="177080"/>
            </a:xfrm>
            <a:prstGeom prst="ellipse">
              <a:avLst/>
            </a:prstGeom>
            <a:solidFill>
              <a:srgbClr val="2C596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1200" cap="none" spc="0" normalizeH="0" baseline="0" noProof="0" dirty="0">
                <a:ln>
                  <a:noFill/>
                </a:ln>
                <a:solidFill>
                  <a:srgbClr val="312D2A"/>
                </a:solidFill>
                <a:effectLst/>
                <a:uLnTx/>
                <a:uFillTx/>
                <a:latin typeface="Oracle Sans Tab"/>
                <a:ea typeface="+mn-ea"/>
                <a:cs typeface="+mn-cs"/>
              </a:endParaRPr>
            </a:p>
          </p:txBody>
        </p:sp>
      </p:grpSp>
      <p:grpSp>
        <p:nvGrpSpPr>
          <p:cNvPr id="11" name="Group 10">
            <a:extLst>
              <a:ext uri="{FF2B5EF4-FFF2-40B4-BE49-F238E27FC236}">
                <a16:creationId xmlns:a16="http://schemas.microsoft.com/office/drawing/2014/main" id="{D40B661C-A846-7940-876D-A235F33E2DCD}"/>
              </a:ext>
            </a:extLst>
          </p:cNvPr>
          <p:cNvGrpSpPr/>
          <p:nvPr>
            <p:custDataLst>
              <p:tags r:id="rId7"/>
            </p:custDataLst>
          </p:nvPr>
        </p:nvGrpSpPr>
        <p:grpSpPr>
          <a:xfrm>
            <a:off x="1711456" y="2878800"/>
            <a:ext cx="531350" cy="1419158"/>
            <a:chOff x="1710314" y="2878657"/>
            <a:chExt cx="531488" cy="1419528"/>
          </a:xfrm>
        </p:grpSpPr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949FE133-213D-BC4C-B262-48871C6B681E}"/>
                </a:ext>
              </a:extLst>
            </p:cNvPr>
            <p:cNvGrpSpPr/>
            <p:nvPr>
              <p:custDataLst>
                <p:tags r:id="rId385"/>
              </p:custDataLst>
            </p:nvPr>
          </p:nvGrpSpPr>
          <p:grpSpPr>
            <a:xfrm>
              <a:off x="1853978" y="3112529"/>
              <a:ext cx="244160" cy="1185656"/>
              <a:chOff x="1853978" y="3112529"/>
              <a:chExt cx="244160" cy="1185656"/>
            </a:xfrm>
          </p:grpSpPr>
          <p:grpSp>
            <p:nvGrpSpPr>
              <p:cNvPr id="380" name="Group 379">
                <a:extLst>
                  <a:ext uri="{FF2B5EF4-FFF2-40B4-BE49-F238E27FC236}">
                    <a16:creationId xmlns:a16="http://schemas.microsoft.com/office/drawing/2014/main" id="{072525B5-295B-4840-92BD-4447E9636C12}"/>
                  </a:ext>
                </a:extLst>
              </p:cNvPr>
              <p:cNvGrpSpPr/>
              <p:nvPr>
                <p:custDataLst>
                  <p:tags r:id="rId391"/>
                </p:custDataLst>
              </p:nvPr>
            </p:nvGrpSpPr>
            <p:grpSpPr>
              <a:xfrm>
                <a:off x="1853978" y="4054025"/>
                <a:ext cx="244160" cy="244160"/>
                <a:chOff x="-763325" y="1701579"/>
                <a:chExt cx="349858" cy="349858"/>
              </a:xfrm>
            </p:grpSpPr>
            <p:sp>
              <p:nvSpPr>
                <p:cNvPr id="381" name="Oval 380">
                  <a:extLst>
                    <a:ext uri="{FF2B5EF4-FFF2-40B4-BE49-F238E27FC236}">
                      <a16:creationId xmlns:a16="http://schemas.microsoft.com/office/drawing/2014/main" id="{DA7702AD-A6D2-C043-9E53-AA90BC80D6C9}"/>
                    </a:ext>
                  </a:extLst>
                </p:cNvPr>
                <p:cNvSpPr/>
                <p:nvPr>
                  <p:custDataLst>
                    <p:tags r:id="rId393"/>
                  </p:custDataLst>
                </p:nvPr>
              </p:nvSpPr>
              <p:spPr>
                <a:xfrm>
                  <a:off x="-763325" y="1701579"/>
                  <a:ext cx="349858" cy="349858"/>
                </a:xfrm>
                <a:prstGeom prst="ellipse">
                  <a:avLst/>
                </a:prstGeom>
                <a:solidFill>
                  <a:srgbClr val="2C5967">
                    <a:alpha val="42000"/>
                  </a:srgb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799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12D2A"/>
                    </a:solidFill>
                    <a:effectLst/>
                    <a:uLnTx/>
                    <a:uFillTx/>
                    <a:latin typeface="Oracle Sans Tab"/>
                    <a:ea typeface="+mn-ea"/>
                    <a:cs typeface="+mn-cs"/>
                  </a:endParaRPr>
                </a:p>
              </p:txBody>
            </p:sp>
            <p:sp>
              <p:nvSpPr>
                <p:cNvPr id="382" name="Oval 381">
                  <a:extLst>
                    <a:ext uri="{FF2B5EF4-FFF2-40B4-BE49-F238E27FC236}">
                      <a16:creationId xmlns:a16="http://schemas.microsoft.com/office/drawing/2014/main" id="{941E06B3-AF38-9E43-83B2-601B4D7A798C}"/>
                    </a:ext>
                  </a:extLst>
                </p:cNvPr>
                <p:cNvSpPr/>
                <p:nvPr>
                  <p:custDataLst>
                    <p:tags r:id="rId394"/>
                  </p:custDataLst>
                </p:nvPr>
              </p:nvSpPr>
              <p:spPr>
                <a:xfrm>
                  <a:off x="-676936" y="1787968"/>
                  <a:ext cx="177080" cy="177080"/>
                </a:xfrm>
                <a:prstGeom prst="ellipse">
                  <a:avLst/>
                </a:prstGeom>
                <a:solidFill>
                  <a:srgbClr val="2C5967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799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12D2A"/>
                    </a:solidFill>
                    <a:effectLst/>
                    <a:uLnTx/>
                    <a:uFillTx/>
                    <a:latin typeface="Oracle Sans Tab"/>
                    <a:ea typeface="+mn-ea"/>
                    <a:cs typeface="+mn-cs"/>
                  </a:endParaRPr>
                </a:p>
              </p:txBody>
            </p:sp>
          </p:grpSp>
          <p:cxnSp>
            <p:nvCxnSpPr>
              <p:cNvPr id="6" name="Straight Connector 5">
                <a:extLst>
                  <a:ext uri="{FF2B5EF4-FFF2-40B4-BE49-F238E27FC236}">
                    <a16:creationId xmlns:a16="http://schemas.microsoft.com/office/drawing/2014/main" id="{4349E427-D9BF-4B4B-B47B-34F58E3BAE00}"/>
                  </a:ext>
                </a:extLst>
              </p:cNvPr>
              <p:cNvCxnSpPr/>
              <p:nvPr>
                <p:custDataLst>
                  <p:tags r:id="rId392"/>
                </p:custDataLst>
              </p:nvPr>
            </p:nvCxnSpPr>
            <p:spPr>
              <a:xfrm flipH="1">
                <a:off x="1976058" y="3112529"/>
                <a:ext cx="0" cy="1000879"/>
              </a:xfrm>
              <a:prstGeom prst="line">
                <a:avLst/>
              </a:prstGeom>
              <a:ln>
                <a:solidFill>
                  <a:srgbClr val="2C5967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id="{59E6CA4A-A83D-4F49-99FD-E0747F17D4B6}"/>
                </a:ext>
              </a:extLst>
            </p:cNvPr>
            <p:cNvGrpSpPr/>
            <p:nvPr>
              <p:custDataLst>
                <p:tags r:id="rId386"/>
              </p:custDataLst>
            </p:nvPr>
          </p:nvGrpSpPr>
          <p:grpSpPr>
            <a:xfrm>
              <a:off x="1710314" y="2878657"/>
              <a:ext cx="531488" cy="201846"/>
              <a:chOff x="1710314" y="2878657"/>
              <a:chExt cx="531488" cy="201846"/>
            </a:xfrm>
          </p:grpSpPr>
          <p:sp>
            <p:nvSpPr>
              <p:cNvPr id="385" name="TextBox 384">
                <a:extLst>
                  <a:ext uri="{FF2B5EF4-FFF2-40B4-BE49-F238E27FC236}">
                    <a16:creationId xmlns:a16="http://schemas.microsoft.com/office/drawing/2014/main" id="{24F8EC73-3C95-424F-A0E0-C522CFEA52A0}"/>
                  </a:ext>
                </a:extLst>
              </p:cNvPr>
              <p:cNvSpPr txBox="1"/>
              <p:nvPr>
                <p:custDataLst>
                  <p:tags r:id="rId387"/>
                </p:custDataLst>
              </p:nvPr>
            </p:nvSpPr>
            <p:spPr>
              <a:xfrm>
                <a:off x="1710314" y="2878657"/>
                <a:ext cx="531488" cy="110247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7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12D2A"/>
                    </a:solidFill>
                    <a:effectLst/>
                    <a:uLnTx/>
                    <a:uFillTx/>
                    <a:latin typeface="Oracle Sans Semi Bold" panose="020B0503020204020204" pitchFamily="34" charset="0"/>
                    <a:ea typeface="+mn-ea"/>
                    <a:cs typeface="Oracle Sans Semi Bold" panose="020B0503020204020204" pitchFamily="34" charset="0"/>
                  </a:rPr>
                  <a:t>San Jose</a:t>
                </a:r>
              </a:p>
            </p:txBody>
          </p:sp>
          <p:grpSp>
            <p:nvGrpSpPr>
              <p:cNvPr id="5" name="Group 4">
                <a:extLst>
                  <a:ext uri="{FF2B5EF4-FFF2-40B4-BE49-F238E27FC236}">
                    <a16:creationId xmlns:a16="http://schemas.microsoft.com/office/drawing/2014/main" id="{A6475844-9995-DF4A-B628-DCC6C1B86F05}"/>
                  </a:ext>
                </a:extLst>
              </p:cNvPr>
              <p:cNvGrpSpPr/>
              <p:nvPr>
                <p:custDataLst>
                  <p:tags r:id="rId388"/>
                </p:custDataLst>
              </p:nvPr>
            </p:nvGrpSpPr>
            <p:grpSpPr>
              <a:xfrm>
                <a:off x="1905037" y="2995831"/>
                <a:ext cx="167270" cy="84672"/>
                <a:chOff x="1905037" y="2995831"/>
                <a:chExt cx="167270" cy="84672"/>
              </a:xfrm>
            </p:grpSpPr>
            <p:pic>
              <p:nvPicPr>
                <p:cNvPr id="450" name="Graphic 449">
                  <a:extLst>
                    <a:ext uri="{FF2B5EF4-FFF2-40B4-BE49-F238E27FC236}">
                      <a16:creationId xmlns:a16="http://schemas.microsoft.com/office/drawing/2014/main" id="{E7EFE378-E6BF-7643-9EFF-AE17884CF631}"/>
                    </a:ext>
                  </a:extLst>
                </p:cNvPr>
                <p:cNvPicPr>
                  <a:picLocks noChangeAspect="1"/>
                </p:cNvPicPr>
                <p:nvPr>
                  <p:custDataLst>
                    <p:tags r:id="rId389"/>
                  </p:custDataLst>
                </p:nvPr>
              </p:nvPicPr>
              <p:blipFill>
                <a:blip r:embed="rId400">
                  <a:extLst>
                    <a:ext uri="{28A0092B-C50C-407E-A947-70E740481C1C}">
                      <a14:useLocalDpi xmlns:a14="http://schemas.microsoft.com/office/drawing/2010/main"/>
                    </a:ext>
                    <a:ext uri="{96DAC541-7B7A-43D3-8B79-37D633B846F1}">
                      <asvg:svgBlip xmlns:asvg="http://schemas.microsoft.com/office/drawing/2016/SVG/main" xmlns="" r:embed="rId401"/>
                    </a:ext>
                  </a:extLst>
                </a:blip>
                <a:srcRect l="18105" t="74641" r="15135" b="15469"/>
                <a:stretch>
                  <a:fillRect/>
                </a:stretch>
              </p:blipFill>
              <p:spPr>
                <a:xfrm>
                  <a:off x="1980867" y="2995831"/>
                  <a:ext cx="91440" cy="84672"/>
                </a:xfrm>
                <a:prstGeom prst="rect">
                  <a:avLst/>
                </a:prstGeom>
              </p:spPr>
            </p:pic>
            <p:sp>
              <p:nvSpPr>
                <p:cNvPr id="505" name="Rounded Rectangle 504">
                  <a:extLst>
                    <a:ext uri="{FF2B5EF4-FFF2-40B4-BE49-F238E27FC236}">
                      <a16:creationId xmlns:a16="http://schemas.microsoft.com/office/drawing/2014/main" id="{34B576E6-F203-EC42-A7CC-631AA98934A7}"/>
                    </a:ext>
                  </a:extLst>
                </p:cNvPr>
                <p:cNvSpPr>
                  <a:spLocks noChangeAspect="1"/>
                </p:cNvSpPr>
                <p:nvPr>
                  <p:custDataLst>
                    <p:tags r:id="rId390"/>
                  </p:custDataLst>
                </p:nvPr>
              </p:nvSpPr>
              <p:spPr>
                <a:xfrm>
                  <a:off x="1905037" y="3004363"/>
                  <a:ext cx="65931" cy="65931"/>
                </a:xfrm>
                <a:prstGeom prst="roundRect">
                  <a:avLst>
                    <a:gd name="adj" fmla="val 10205"/>
                  </a:avLst>
                </a:prstGeom>
                <a:solidFill>
                  <a:schemeClr val="accent1"/>
                </a:solidFill>
                <a:ln w="9525" cap="flat">
                  <a:noFill/>
                  <a:prstDash val="solid"/>
                  <a:miter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0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312D2A"/>
                      </a:solidFill>
                      <a:effectLst/>
                      <a:uLnTx/>
                      <a:uFillTx/>
                      <a:latin typeface="Oracle Sans Tab"/>
                      <a:ea typeface="+mn-ea"/>
                      <a:cs typeface="+mn-cs"/>
                    </a:rPr>
                    <a:t>   </a:t>
                  </a:r>
                </a:p>
              </p:txBody>
            </p:sp>
          </p:grpSp>
        </p:grpSp>
      </p:grpSp>
      <p:grpSp>
        <p:nvGrpSpPr>
          <p:cNvPr id="17" name="Group 16">
            <a:extLst>
              <a:ext uri="{FF2B5EF4-FFF2-40B4-BE49-F238E27FC236}">
                <a16:creationId xmlns:a16="http://schemas.microsoft.com/office/drawing/2014/main" id="{E409DDF8-B83C-2748-953F-F63E67AA9294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2997981" y="1954150"/>
            <a:ext cx="534887" cy="1303036"/>
            <a:chOff x="2845823" y="1825967"/>
            <a:chExt cx="535026" cy="1303375"/>
          </a:xfrm>
        </p:grpSpPr>
        <p:grpSp>
          <p:nvGrpSpPr>
            <p:cNvPr id="7" name="Group 6">
              <a:extLst>
                <a:ext uri="{FF2B5EF4-FFF2-40B4-BE49-F238E27FC236}">
                  <a16:creationId xmlns:a16="http://schemas.microsoft.com/office/drawing/2014/main" id="{4E76697A-109F-2446-9515-31327AF5198F}"/>
                </a:ext>
              </a:extLst>
            </p:cNvPr>
            <p:cNvGrpSpPr/>
            <p:nvPr>
              <p:custDataLst>
                <p:tags r:id="rId376"/>
              </p:custDataLst>
            </p:nvPr>
          </p:nvGrpSpPr>
          <p:grpSpPr>
            <a:xfrm>
              <a:off x="2845823" y="1825967"/>
              <a:ext cx="535026" cy="201756"/>
              <a:chOff x="2292757" y="1816022"/>
              <a:chExt cx="522774" cy="197137"/>
            </a:xfrm>
          </p:grpSpPr>
          <p:sp>
            <p:nvSpPr>
              <p:cNvPr id="355" name="TextBox 354">
                <a:extLst>
                  <a:ext uri="{FF2B5EF4-FFF2-40B4-BE49-F238E27FC236}">
                    <a16:creationId xmlns:a16="http://schemas.microsoft.com/office/drawing/2014/main" id="{D95F656B-1D60-3A43-B92C-080B3BC3C843}"/>
                  </a:ext>
                </a:extLst>
              </p:cNvPr>
              <p:cNvSpPr txBox="1"/>
              <p:nvPr>
                <p:custDataLst>
                  <p:tags r:id="rId383"/>
                </p:custDataLst>
              </p:nvPr>
            </p:nvSpPr>
            <p:spPr>
              <a:xfrm>
                <a:off x="2292757" y="1816022"/>
                <a:ext cx="522774" cy="107723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7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12D2A"/>
                    </a:solidFill>
                    <a:effectLst/>
                    <a:uLnTx/>
                    <a:uFillTx/>
                    <a:latin typeface="Oracle Sans Semi Bold" panose="020B0503020204020204" pitchFamily="34" charset="0"/>
                    <a:ea typeface="+mn-ea"/>
                    <a:cs typeface="Oracle Sans Semi Bold" panose="020B0503020204020204" pitchFamily="34" charset="0"/>
                  </a:rPr>
                  <a:t>Toronto</a:t>
                </a:r>
              </a:p>
            </p:txBody>
          </p:sp>
          <p:pic>
            <p:nvPicPr>
              <p:cNvPr id="374" name="Graphic 373">
                <a:extLst>
                  <a:ext uri="{FF2B5EF4-FFF2-40B4-BE49-F238E27FC236}">
                    <a16:creationId xmlns:a16="http://schemas.microsoft.com/office/drawing/2014/main" id="{F530E4C1-579D-6944-8DFF-EAF3F4446259}"/>
                  </a:ext>
                </a:extLst>
              </p:cNvPr>
              <p:cNvPicPr>
                <a:picLocks noChangeAspect="1"/>
              </p:cNvPicPr>
              <p:nvPr>
                <p:custDataLst>
                  <p:tags r:id="rId384"/>
                </p:custDataLst>
              </p:nvPr>
            </p:nvPicPr>
            <p:blipFill>
              <a:blip r:embed="rId400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xmlns="" r:embed="rId401"/>
                  </a:ext>
                </a:extLst>
              </a:blip>
              <a:srcRect l="18105" t="74641" r="15135" b="15469"/>
              <a:stretch>
                <a:fillRect/>
              </a:stretch>
            </p:blipFill>
            <p:spPr>
              <a:xfrm>
                <a:off x="2542191" y="1933561"/>
                <a:ext cx="85959" cy="79598"/>
              </a:xfrm>
              <a:prstGeom prst="rect">
                <a:avLst/>
              </a:prstGeom>
            </p:spPr>
          </p:pic>
        </p:grpSp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BE237D36-9E1B-FC40-8223-49BA50829502}"/>
                </a:ext>
              </a:extLst>
            </p:cNvPr>
            <p:cNvGrpSpPr/>
            <p:nvPr>
              <p:custDataLst>
                <p:tags r:id="rId377"/>
              </p:custDataLst>
            </p:nvPr>
          </p:nvGrpSpPr>
          <p:grpSpPr>
            <a:xfrm>
              <a:off x="2970514" y="2069155"/>
              <a:ext cx="244160" cy="1060187"/>
              <a:chOff x="2970514" y="2069155"/>
              <a:chExt cx="244160" cy="1060187"/>
            </a:xfrm>
          </p:grpSpPr>
          <p:cxnSp>
            <p:nvCxnSpPr>
              <p:cNvPr id="366" name="Straight Connector 365">
                <a:extLst>
                  <a:ext uri="{FF2B5EF4-FFF2-40B4-BE49-F238E27FC236}">
                    <a16:creationId xmlns:a16="http://schemas.microsoft.com/office/drawing/2014/main" id="{FEFCDA2E-A8EE-7D4D-BE27-82E0538A7440}"/>
                  </a:ext>
                </a:extLst>
              </p:cNvPr>
              <p:cNvCxnSpPr/>
              <p:nvPr>
                <p:custDataLst>
                  <p:tags r:id="rId379"/>
                </p:custDataLst>
              </p:nvPr>
            </p:nvCxnSpPr>
            <p:spPr>
              <a:xfrm flipH="1">
                <a:off x="3092594" y="2069155"/>
                <a:ext cx="0" cy="965117"/>
              </a:xfrm>
              <a:prstGeom prst="line">
                <a:avLst/>
              </a:prstGeom>
              <a:ln>
                <a:solidFill>
                  <a:srgbClr val="2C5967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grpSp>
            <p:nvGrpSpPr>
              <p:cNvPr id="387" name="Group 386">
                <a:extLst>
                  <a:ext uri="{FF2B5EF4-FFF2-40B4-BE49-F238E27FC236}">
                    <a16:creationId xmlns:a16="http://schemas.microsoft.com/office/drawing/2014/main" id="{4BF2EE15-E895-724D-A40C-9B3450421378}"/>
                  </a:ext>
                </a:extLst>
              </p:cNvPr>
              <p:cNvGrpSpPr/>
              <p:nvPr>
                <p:custDataLst>
                  <p:tags r:id="rId380"/>
                </p:custDataLst>
              </p:nvPr>
            </p:nvGrpSpPr>
            <p:grpSpPr>
              <a:xfrm>
                <a:off x="2970514" y="2885182"/>
                <a:ext cx="244160" cy="244160"/>
                <a:chOff x="-763325" y="1701579"/>
                <a:chExt cx="349858" cy="349858"/>
              </a:xfrm>
            </p:grpSpPr>
            <p:sp>
              <p:nvSpPr>
                <p:cNvPr id="388" name="Oval 387">
                  <a:extLst>
                    <a:ext uri="{FF2B5EF4-FFF2-40B4-BE49-F238E27FC236}">
                      <a16:creationId xmlns:a16="http://schemas.microsoft.com/office/drawing/2014/main" id="{BD45ED1D-4BD7-134B-8340-2919EC6C931E}"/>
                    </a:ext>
                  </a:extLst>
                </p:cNvPr>
                <p:cNvSpPr/>
                <p:nvPr>
                  <p:custDataLst>
                    <p:tags r:id="rId381"/>
                  </p:custDataLst>
                </p:nvPr>
              </p:nvSpPr>
              <p:spPr>
                <a:xfrm>
                  <a:off x="-763325" y="1701579"/>
                  <a:ext cx="349858" cy="349858"/>
                </a:xfrm>
                <a:prstGeom prst="ellipse">
                  <a:avLst/>
                </a:prstGeom>
                <a:solidFill>
                  <a:srgbClr val="2C5967">
                    <a:alpha val="42000"/>
                  </a:srgb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799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12D2A"/>
                    </a:solidFill>
                    <a:effectLst/>
                    <a:uLnTx/>
                    <a:uFillTx/>
                    <a:latin typeface="Oracle Sans Tab"/>
                    <a:ea typeface="+mn-ea"/>
                    <a:cs typeface="+mn-cs"/>
                  </a:endParaRPr>
                </a:p>
              </p:txBody>
            </p:sp>
            <p:sp>
              <p:nvSpPr>
                <p:cNvPr id="394" name="Oval 393">
                  <a:extLst>
                    <a:ext uri="{FF2B5EF4-FFF2-40B4-BE49-F238E27FC236}">
                      <a16:creationId xmlns:a16="http://schemas.microsoft.com/office/drawing/2014/main" id="{B6650264-F081-FA45-A8C1-72F5A86D83CE}"/>
                    </a:ext>
                  </a:extLst>
                </p:cNvPr>
                <p:cNvSpPr/>
                <p:nvPr>
                  <p:custDataLst>
                    <p:tags r:id="rId382"/>
                  </p:custDataLst>
                </p:nvPr>
              </p:nvSpPr>
              <p:spPr>
                <a:xfrm>
                  <a:off x="-676936" y="1787968"/>
                  <a:ext cx="177080" cy="177080"/>
                </a:xfrm>
                <a:prstGeom prst="ellipse">
                  <a:avLst/>
                </a:prstGeom>
                <a:solidFill>
                  <a:srgbClr val="2C5967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799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12D2A"/>
                    </a:solidFill>
                    <a:effectLst/>
                    <a:uLnTx/>
                    <a:uFillTx/>
                    <a:latin typeface="Oracle Sans Tab"/>
                    <a:ea typeface="+mn-ea"/>
                    <a:cs typeface="+mn-cs"/>
                  </a:endParaRPr>
                </a:p>
              </p:txBody>
            </p:sp>
          </p:grpSp>
        </p:grpSp>
        <p:sp>
          <p:nvSpPr>
            <p:cNvPr id="506" name="Rounded Rectangle 505">
              <a:extLst>
                <a:ext uri="{FF2B5EF4-FFF2-40B4-BE49-F238E27FC236}">
                  <a16:creationId xmlns:a16="http://schemas.microsoft.com/office/drawing/2014/main" id="{D9754CB7-5175-CB4A-9ED2-E4544D4FF565}"/>
                </a:ext>
              </a:extLst>
            </p:cNvPr>
            <p:cNvSpPr>
              <a:spLocks noChangeAspect="1"/>
            </p:cNvSpPr>
            <p:nvPr>
              <p:custDataLst>
                <p:tags r:id="rId378"/>
              </p:custDataLst>
            </p:nvPr>
          </p:nvSpPr>
          <p:spPr>
            <a:xfrm>
              <a:off x="3020949" y="1948449"/>
              <a:ext cx="65931" cy="65931"/>
            </a:xfrm>
            <a:prstGeom prst="roundRect">
              <a:avLst>
                <a:gd name="adj" fmla="val 10205"/>
              </a:avLst>
            </a:prstGeom>
            <a:solidFill>
              <a:schemeClr val="accent1"/>
            </a:solidFill>
            <a:ln w="9525" cap="flat">
              <a:noFill/>
              <a:prstDash val="solid"/>
              <a:miter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312D2A"/>
                  </a:solidFill>
                  <a:effectLst/>
                  <a:uLnTx/>
                  <a:uFillTx/>
                  <a:latin typeface="Oracle Sans Tab"/>
                  <a:ea typeface="+mn-ea"/>
                  <a:cs typeface="+mn-cs"/>
                </a:rPr>
                <a:t>   </a:t>
              </a:r>
            </a:p>
          </p:txBody>
        </p:sp>
      </p:grpSp>
      <p:grpSp>
        <p:nvGrpSpPr>
          <p:cNvPr id="13" name="Group 12">
            <a:extLst>
              <a:ext uri="{FF2B5EF4-FFF2-40B4-BE49-F238E27FC236}">
                <a16:creationId xmlns:a16="http://schemas.microsoft.com/office/drawing/2014/main" id="{62FB7F17-45E0-E841-BA0B-E9A7B245DBBD}"/>
              </a:ext>
            </a:extLst>
          </p:cNvPr>
          <p:cNvGrpSpPr/>
          <p:nvPr>
            <p:custDataLst>
              <p:tags r:id="rId9"/>
            </p:custDataLst>
          </p:nvPr>
        </p:nvGrpSpPr>
        <p:grpSpPr>
          <a:xfrm>
            <a:off x="1924217" y="3299051"/>
            <a:ext cx="531350" cy="887618"/>
            <a:chOff x="1923131" y="3299017"/>
            <a:chExt cx="531488" cy="887849"/>
          </a:xfrm>
        </p:grpSpPr>
        <p:sp>
          <p:nvSpPr>
            <p:cNvPr id="402" name="TextBox 401">
              <a:extLst>
                <a:ext uri="{FF2B5EF4-FFF2-40B4-BE49-F238E27FC236}">
                  <a16:creationId xmlns:a16="http://schemas.microsoft.com/office/drawing/2014/main" id="{AF9F92DE-AA41-8848-9FD0-816350FDD4AD}"/>
                </a:ext>
              </a:extLst>
            </p:cNvPr>
            <p:cNvSpPr txBox="1"/>
            <p:nvPr>
              <p:custDataLst>
                <p:tags r:id="rId366"/>
              </p:custDataLst>
            </p:nvPr>
          </p:nvSpPr>
          <p:spPr>
            <a:xfrm>
              <a:off x="1923131" y="3299017"/>
              <a:ext cx="531488" cy="11024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00" b="0" i="0" u="none" strike="noStrike" kern="1200" cap="none" spc="0" normalizeH="0" baseline="0" noProof="0" dirty="0">
                  <a:ln>
                    <a:noFill/>
                  </a:ln>
                  <a:solidFill>
                    <a:srgbClr val="312D2A"/>
                  </a:solidFill>
                  <a:effectLst/>
                  <a:uLnTx/>
                  <a:uFillTx/>
                  <a:latin typeface="Oracle Sans Semi Bold" panose="020B0503020204020204" pitchFamily="34" charset="0"/>
                  <a:ea typeface="+mn-ea"/>
                  <a:cs typeface="Oracle Sans Semi Bold" panose="020B0503020204020204" pitchFamily="34" charset="0"/>
                </a:rPr>
                <a:t>Phoenix</a:t>
              </a:r>
            </a:p>
          </p:txBody>
        </p:sp>
        <p:grpSp>
          <p:nvGrpSpPr>
            <p:cNvPr id="12" name="Group 11">
              <a:extLst>
                <a:ext uri="{FF2B5EF4-FFF2-40B4-BE49-F238E27FC236}">
                  <a16:creationId xmlns:a16="http://schemas.microsoft.com/office/drawing/2014/main" id="{477AE78B-A72C-124D-B27C-B0A8291CD670}"/>
                </a:ext>
              </a:extLst>
            </p:cNvPr>
            <p:cNvGrpSpPr/>
            <p:nvPr>
              <p:custDataLst>
                <p:tags r:id="rId367"/>
              </p:custDataLst>
            </p:nvPr>
          </p:nvGrpSpPr>
          <p:grpSpPr>
            <a:xfrm>
              <a:off x="2040212" y="3539853"/>
              <a:ext cx="244160" cy="647013"/>
              <a:chOff x="2040212" y="3539853"/>
              <a:chExt cx="244160" cy="647013"/>
            </a:xfrm>
          </p:grpSpPr>
          <p:grpSp>
            <p:nvGrpSpPr>
              <p:cNvPr id="377" name="Group 376">
                <a:extLst>
                  <a:ext uri="{FF2B5EF4-FFF2-40B4-BE49-F238E27FC236}">
                    <a16:creationId xmlns:a16="http://schemas.microsoft.com/office/drawing/2014/main" id="{C1B5D684-E987-A944-86F2-1A2E1CA87B1E}"/>
                  </a:ext>
                </a:extLst>
              </p:cNvPr>
              <p:cNvGrpSpPr/>
              <p:nvPr>
                <p:custDataLst>
                  <p:tags r:id="rId372"/>
                </p:custDataLst>
              </p:nvPr>
            </p:nvGrpSpPr>
            <p:grpSpPr>
              <a:xfrm>
                <a:off x="2040212" y="3942706"/>
                <a:ext cx="244160" cy="244160"/>
                <a:chOff x="-763325" y="1701579"/>
                <a:chExt cx="349858" cy="349858"/>
              </a:xfrm>
            </p:grpSpPr>
            <p:sp>
              <p:nvSpPr>
                <p:cNvPr id="378" name="Oval 377">
                  <a:extLst>
                    <a:ext uri="{FF2B5EF4-FFF2-40B4-BE49-F238E27FC236}">
                      <a16:creationId xmlns:a16="http://schemas.microsoft.com/office/drawing/2014/main" id="{9DA463E0-9781-E34F-BA68-94287A79D9CD}"/>
                    </a:ext>
                  </a:extLst>
                </p:cNvPr>
                <p:cNvSpPr/>
                <p:nvPr>
                  <p:custDataLst>
                    <p:tags r:id="rId374"/>
                  </p:custDataLst>
                </p:nvPr>
              </p:nvSpPr>
              <p:spPr>
                <a:xfrm>
                  <a:off x="-763325" y="1701579"/>
                  <a:ext cx="349858" cy="349858"/>
                </a:xfrm>
                <a:prstGeom prst="ellipse">
                  <a:avLst/>
                </a:prstGeom>
                <a:solidFill>
                  <a:srgbClr val="2C5967">
                    <a:alpha val="42000"/>
                  </a:srgb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799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12D2A"/>
                    </a:solidFill>
                    <a:effectLst/>
                    <a:uLnTx/>
                    <a:uFillTx/>
                    <a:latin typeface="Oracle Sans Tab"/>
                    <a:ea typeface="+mn-ea"/>
                    <a:cs typeface="+mn-cs"/>
                  </a:endParaRPr>
                </a:p>
              </p:txBody>
            </p:sp>
            <p:sp>
              <p:nvSpPr>
                <p:cNvPr id="379" name="Oval 378">
                  <a:extLst>
                    <a:ext uri="{FF2B5EF4-FFF2-40B4-BE49-F238E27FC236}">
                      <a16:creationId xmlns:a16="http://schemas.microsoft.com/office/drawing/2014/main" id="{0B6CFFBD-1685-F545-9896-66EADB767FD1}"/>
                    </a:ext>
                  </a:extLst>
                </p:cNvPr>
                <p:cNvSpPr/>
                <p:nvPr>
                  <p:custDataLst>
                    <p:tags r:id="rId375"/>
                  </p:custDataLst>
                </p:nvPr>
              </p:nvSpPr>
              <p:spPr>
                <a:xfrm>
                  <a:off x="-676936" y="1787968"/>
                  <a:ext cx="177080" cy="177080"/>
                </a:xfrm>
                <a:prstGeom prst="ellipse">
                  <a:avLst/>
                </a:prstGeom>
                <a:solidFill>
                  <a:srgbClr val="2C5967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799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12D2A"/>
                    </a:solidFill>
                    <a:effectLst/>
                    <a:uLnTx/>
                    <a:uFillTx/>
                    <a:latin typeface="Oracle Sans Tab"/>
                    <a:ea typeface="+mn-ea"/>
                    <a:cs typeface="+mn-cs"/>
                  </a:endParaRPr>
                </a:p>
              </p:txBody>
            </p:sp>
          </p:grpSp>
          <p:cxnSp>
            <p:nvCxnSpPr>
              <p:cNvPr id="361" name="Straight Connector 360">
                <a:extLst>
                  <a:ext uri="{FF2B5EF4-FFF2-40B4-BE49-F238E27FC236}">
                    <a16:creationId xmlns:a16="http://schemas.microsoft.com/office/drawing/2014/main" id="{9E05B853-53F6-EF48-BF21-59010EBBE2E4}"/>
                  </a:ext>
                </a:extLst>
              </p:cNvPr>
              <p:cNvCxnSpPr/>
              <p:nvPr>
                <p:custDataLst>
                  <p:tags r:id="rId373"/>
                </p:custDataLst>
              </p:nvPr>
            </p:nvCxnSpPr>
            <p:spPr>
              <a:xfrm flipH="1">
                <a:off x="2162292" y="3539853"/>
                <a:ext cx="0" cy="477764"/>
              </a:xfrm>
              <a:prstGeom prst="line">
                <a:avLst/>
              </a:prstGeom>
              <a:ln>
                <a:solidFill>
                  <a:srgbClr val="2C5967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2" name="Group 61">
              <a:extLst>
                <a:ext uri="{FF2B5EF4-FFF2-40B4-BE49-F238E27FC236}">
                  <a16:creationId xmlns:a16="http://schemas.microsoft.com/office/drawing/2014/main" id="{C6487525-D617-0E40-AC6C-812A9724D409}"/>
                </a:ext>
              </a:extLst>
            </p:cNvPr>
            <p:cNvGrpSpPr/>
            <p:nvPr>
              <p:custDataLst>
                <p:tags r:id="rId368"/>
              </p:custDataLst>
            </p:nvPr>
          </p:nvGrpSpPr>
          <p:grpSpPr>
            <a:xfrm>
              <a:off x="2039557" y="3426498"/>
              <a:ext cx="239924" cy="65931"/>
              <a:chOff x="1120304" y="2229030"/>
              <a:chExt cx="239924" cy="65931"/>
            </a:xfrm>
          </p:grpSpPr>
          <p:sp>
            <p:nvSpPr>
              <p:cNvPr id="502" name="Rounded Rectangle 501">
                <a:extLst>
                  <a:ext uri="{FF2B5EF4-FFF2-40B4-BE49-F238E27FC236}">
                    <a16:creationId xmlns:a16="http://schemas.microsoft.com/office/drawing/2014/main" id="{2F596CD0-88DC-B140-A023-BAF686FB43C9}"/>
                  </a:ext>
                </a:extLst>
              </p:cNvPr>
              <p:cNvSpPr>
                <a:spLocks noChangeAspect="1"/>
              </p:cNvSpPr>
              <p:nvPr>
                <p:custDataLst>
                  <p:tags r:id="rId369"/>
                </p:custDataLst>
              </p:nvPr>
            </p:nvSpPr>
            <p:spPr>
              <a:xfrm>
                <a:off x="1207301" y="2229030"/>
                <a:ext cx="65931" cy="65931"/>
              </a:xfrm>
              <a:prstGeom prst="roundRect">
                <a:avLst>
                  <a:gd name="adj" fmla="val 10205"/>
                </a:avLst>
              </a:prstGeom>
              <a:solidFill>
                <a:srgbClr val="41817E"/>
              </a:solidFill>
              <a:ln w="9525" cap="flat">
                <a:noFill/>
                <a:prstDash val="solid"/>
                <a:miter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12D2A"/>
                    </a:solidFill>
                    <a:effectLst/>
                    <a:uLnTx/>
                    <a:uFillTx/>
                    <a:latin typeface="Oracle Sans Tab"/>
                    <a:ea typeface="+mn-ea"/>
                    <a:cs typeface="+mn-cs"/>
                  </a:rPr>
                  <a:t>   </a:t>
                </a:r>
              </a:p>
            </p:txBody>
          </p:sp>
          <p:sp>
            <p:nvSpPr>
              <p:cNvPr id="507" name="Rounded Rectangle 506">
                <a:extLst>
                  <a:ext uri="{FF2B5EF4-FFF2-40B4-BE49-F238E27FC236}">
                    <a16:creationId xmlns:a16="http://schemas.microsoft.com/office/drawing/2014/main" id="{C4EB6F0B-7592-8E40-BCC2-E197333E4B3F}"/>
                  </a:ext>
                </a:extLst>
              </p:cNvPr>
              <p:cNvSpPr>
                <a:spLocks noChangeAspect="1"/>
              </p:cNvSpPr>
              <p:nvPr>
                <p:custDataLst>
                  <p:tags r:id="rId370"/>
                </p:custDataLst>
              </p:nvPr>
            </p:nvSpPr>
            <p:spPr>
              <a:xfrm>
                <a:off x="1120304" y="2229030"/>
                <a:ext cx="65931" cy="65931"/>
              </a:xfrm>
              <a:prstGeom prst="roundRect">
                <a:avLst>
                  <a:gd name="adj" fmla="val 10205"/>
                </a:avLst>
              </a:prstGeom>
              <a:solidFill>
                <a:schemeClr val="accent1"/>
              </a:solidFill>
              <a:ln w="9525" cap="flat">
                <a:noFill/>
                <a:prstDash val="solid"/>
                <a:miter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12D2A"/>
                    </a:solidFill>
                    <a:effectLst/>
                    <a:uLnTx/>
                    <a:uFillTx/>
                    <a:latin typeface="Oracle Sans Tab"/>
                    <a:ea typeface="+mn-ea"/>
                    <a:cs typeface="+mn-cs"/>
                  </a:rPr>
                  <a:t>   </a:t>
                </a:r>
              </a:p>
            </p:txBody>
          </p:sp>
          <p:sp>
            <p:nvSpPr>
              <p:cNvPr id="508" name="Rounded Rectangle 507">
                <a:extLst>
                  <a:ext uri="{FF2B5EF4-FFF2-40B4-BE49-F238E27FC236}">
                    <a16:creationId xmlns:a16="http://schemas.microsoft.com/office/drawing/2014/main" id="{12DEBFBE-86B3-DE45-B8C4-642F3F719460}"/>
                  </a:ext>
                </a:extLst>
              </p:cNvPr>
              <p:cNvSpPr>
                <a:spLocks noChangeAspect="1"/>
              </p:cNvSpPr>
              <p:nvPr>
                <p:custDataLst>
                  <p:tags r:id="rId371"/>
                </p:custDataLst>
              </p:nvPr>
            </p:nvSpPr>
            <p:spPr>
              <a:xfrm>
                <a:off x="1294297" y="2229030"/>
                <a:ext cx="65931" cy="65931"/>
              </a:xfrm>
              <a:prstGeom prst="roundRect">
                <a:avLst>
                  <a:gd name="adj" fmla="val 10205"/>
                </a:avLst>
              </a:prstGeom>
              <a:solidFill>
                <a:srgbClr val="41817E"/>
              </a:solidFill>
              <a:ln w="9525" cap="flat">
                <a:noFill/>
                <a:prstDash val="solid"/>
                <a:miter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12D2A"/>
                    </a:solidFill>
                    <a:effectLst/>
                    <a:uLnTx/>
                    <a:uFillTx/>
                    <a:latin typeface="Oracle Sans Tab"/>
                    <a:ea typeface="+mn-ea"/>
                    <a:cs typeface="+mn-cs"/>
                  </a:rPr>
                  <a:t>   </a:t>
                </a:r>
              </a:p>
            </p:txBody>
          </p:sp>
        </p:grpSp>
      </p:grpSp>
      <p:grpSp>
        <p:nvGrpSpPr>
          <p:cNvPr id="15" name="Group 14">
            <a:extLst>
              <a:ext uri="{FF2B5EF4-FFF2-40B4-BE49-F238E27FC236}">
                <a16:creationId xmlns:a16="http://schemas.microsoft.com/office/drawing/2014/main" id="{97EF5AE1-3ECA-0846-B49A-7F3B50F13D46}"/>
              </a:ext>
            </a:extLst>
          </p:cNvPr>
          <p:cNvGrpSpPr/>
          <p:nvPr>
            <p:custDataLst>
              <p:tags r:id="rId10"/>
            </p:custDataLst>
          </p:nvPr>
        </p:nvGrpSpPr>
        <p:grpSpPr>
          <a:xfrm>
            <a:off x="2682134" y="2225860"/>
            <a:ext cx="534887" cy="1233596"/>
            <a:chOff x="2632439" y="2173721"/>
            <a:chExt cx="535026" cy="1233917"/>
          </a:xfrm>
        </p:grpSpPr>
        <p:sp>
          <p:nvSpPr>
            <p:cNvPr id="401" name="TextBox 400">
              <a:extLst>
                <a:ext uri="{FF2B5EF4-FFF2-40B4-BE49-F238E27FC236}">
                  <a16:creationId xmlns:a16="http://schemas.microsoft.com/office/drawing/2014/main" id="{DA5242CA-6764-B541-AF06-7B2C7F824408}"/>
                </a:ext>
              </a:extLst>
            </p:cNvPr>
            <p:cNvSpPr txBox="1"/>
            <p:nvPr>
              <p:custDataLst>
                <p:tags r:id="rId359"/>
              </p:custDataLst>
            </p:nvPr>
          </p:nvSpPr>
          <p:spPr>
            <a:xfrm>
              <a:off x="2632439" y="2173721"/>
              <a:ext cx="535026" cy="11024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00" b="0" i="0" u="none" strike="noStrike" kern="1200" cap="none" spc="0" normalizeH="0" baseline="0" noProof="0" dirty="0">
                  <a:ln>
                    <a:noFill/>
                  </a:ln>
                  <a:solidFill>
                    <a:srgbClr val="312D2A"/>
                  </a:solidFill>
                  <a:effectLst/>
                  <a:uLnTx/>
                  <a:uFillTx/>
                  <a:latin typeface="Oracle Sans Semi Bold" panose="020B0503020204020204" pitchFamily="34" charset="0"/>
                  <a:ea typeface="+mn-ea"/>
                  <a:cs typeface="Oracle Sans Semi Bold" panose="020B0503020204020204" pitchFamily="34" charset="0"/>
                </a:rPr>
                <a:t>Chicago</a:t>
              </a:r>
            </a:p>
          </p:txBody>
        </p:sp>
        <p:grpSp>
          <p:nvGrpSpPr>
            <p:cNvPr id="14" name="Group 13">
              <a:extLst>
                <a:ext uri="{FF2B5EF4-FFF2-40B4-BE49-F238E27FC236}">
                  <a16:creationId xmlns:a16="http://schemas.microsoft.com/office/drawing/2014/main" id="{1B142AC4-01C5-EB4D-A0D2-93592343595F}"/>
                </a:ext>
              </a:extLst>
            </p:cNvPr>
            <p:cNvGrpSpPr/>
            <p:nvPr>
              <p:custDataLst>
                <p:tags r:id="rId360"/>
              </p:custDataLst>
            </p:nvPr>
          </p:nvGrpSpPr>
          <p:grpSpPr>
            <a:xfrm>
              <a:off x="2771732" y="2404666"/>
              <a:ext cx="244160" cy="1002972"/>
              <a:chOff x="2771732" y="2404666"/>
              <a:chExt cx="244160" cy="1002972"/>
            </a:xfrm>
          </p:grpSpPr>
          <p:cxnSp>
            <p:nvCxnSpPr>
              <p:cNvPr id="364" name="Straight Connector 363">
                <a:extLst>
                  <a:ext uri="{FF2B5EF4-FFF2-40B4-BE49-F238E27FC236}">
                    <a16:creationId xmlns:a16="http://schemas.microsoft.com/office/drawing/2014/main" id="{DE9E99E6-7E19-5F4D-8A70-6B4F846E7656}"/>
                  </a:ext>
                </a:extLst>
              </p:cNvPr>
              <p:cNvCxnSpPr/>
              <p:nvPr>
                <p:custDataLst>
                  <p:tags r:id="rId362"/>
                </p:custDataLst>
              </p:nvPr>
            </p:nvCxnSpPr>
            <p:spPr>
              <a:xfrm flipH="1">
                <a:off x="2893812" y="2404666"/>
                <a:ext cx="0" cy="843514"/>
              </a:xfrm>
              <a:prstGeom prst="line">
                <a:avLst/>
              </a:prstGeom>
              <a:ln>
                <a:solidFill>
                  <a:srgbClr val="2C5967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grpSp>
            <p:nvGrpSpPr>
              <p:cNvPr id="383" name="Group 382">
                <a:extLst>
                  <a:ext uri="{FF2B5EF4-FFF2-40B4-BE49-F238E27FC236}">
                    <a16:creationId xmlns:a16="http://schemas.microsoft.com/office/drawing/2014/main" id="{8B228110-5FE6-9342-995D-6E229DE51EE0}"/>
                  </a:ext>
                </a:extLst>
              </p:cNvPr>
              <p:cNvGrpSpPr/>
              <p:nvPr>
                <p:custDataLst>
                  <p:tags r:id="rId363"/>
                </p:custDataLst>
              </p:nvPr>
            </p:nvGrpSpPr>
            <p:grpSpPr>
              <a:xfrm>
                <a:off x="2771732" y="3163478"/>
                <a:ext cx="244160" cy="244160"/>
                <a:chOff x="-763325" y="1701579"/>
                <a:chExt cx="349858" cy="349858"/>
              </a:xfrm>
            </p:grpSpPr>
            <p:sp>
              <p:nvSpPr>
                <p:cNvPr id="384" name="Oval 383">
                  <a:extLst>
                    <a:ext uri="{FF2B5EF4-FFF2-40B4-BE49-F238E27FC236}">
                      <a16:creationId xmlns:a16="http://schemas.microsoft.com/office/drawing/2014/main" id="{A2759AFE-31AE-714A-87F1-9E0AA1E10599}"/>
                    </a:ext>
                  </a:extLst>
                </p:cNvPr>
                <p:cNvSpPr/>
                <p:nvPr>
                  <p:custDataLst>
                    <p:tags r:id="rId364"/>
                  </p:custDataLst>
                </p:nvPr>
              </p:nvSpPr>
              <p:spPr>
                <a:xfrm>
                  <a:off x="-763325" y="1701579"/>
                  <a:ext cx="349858" cy="349858"/>
                </a:xfrm>
                <a:prstGeom prst="ellipse">
                  <a:avLst/>
                </a:prstGeom>
                <a:solidFill>
                  <a:srgbClr val="2C5967">
                    <a:alpha val="42000"/>
                  </a:srgb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799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12D2A"/>
                    </a:solidFill>
                    <a:effectLst/>
                    <a:uLnTx/>
                    <a:uFillTx/>
                    <a:latin typeface="Oracle Sans Tab"/>
                    <a:ea typeface="+mn-ea"/>
                    <a:cs typeface="+mn-cs"/>
                  </a:endParaRPr>
                </a:p>
              </p:txBody>
            </p:sp>
            <p:sp>
              <p:nvSpPr>
                <p:cNvPr id="386" name="Oval 385">
                  <a:extLst>
                    <a:ext uri="{FF2B5EF4-FFF2-40B4-BE49-F238E27FC236}">
                      <a16:creationId xmlns:a16="http://schemas.microsoft.com/office/drawing/2014/main" id="{70088B1B-6119-6E4F-917C-EE3AA5F6C6C4}"/>
                    </a:ext>
                  </a:extLst>
                </p:cNvPr>
                <p:cNvSpPr/>
                <p:nvPr>
                  <p:custDataLst>
                    <p:tags r:id="rId365"/>
                  </p:custDataLst>
                </p:nvPr>
              </p:nvSpPr>
              <p:spPr>
                <a:xfrm>
                  <a:off x="-676936" y="1787968"/>
                  <a:ext cx="177080" cy="177080"/>
                </a:xfrm>
                <a:prstGeom prst="ellipse">
                  <a:avLst/>
                </a:prstGeom>
                <a:solidFill>
                  <a:srgbClr val="2C5967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799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12D2A"/>
                    </a:solidFill>
                    <a:effectLst/>
                    <a:uLnTx/>
                    <a:uFillTx/>
                    <a:latin typeface="Oracle Sans Tab"/>
                    <a:ea typeface="+mn-ea"/>
                    <a:cs typeface="+mn-cs"/>
                  </a:endParaRPr>
                </a:p>
              </p:txBody>
            </p:sp>
          </p:grpSp>
        </p:grpSp>
        <p:sp>
          <p:nvSpPr>
            <p:cNvPr id="523" name="Rounded Rectangle 522">
              <a:extLst>
                <a:ext uri="{FF2B5EF4-FFF2-40B4-BE49-F238E27FC236}">
                  <a16:creationId xmlns:a16="http://schemas.microsoft.com/office/drawing/2014/main" id="{240AC060-968B-494F-8ECE-06F26B92B7BD}"/>
                </a:ext>
              </a:extLst>
            </p:cNvPr>
            <p:cNvSpPr>
              <a:spLocks noChangeAspect="1"/>
            </p:cNvSpPr>
            <p:nvPr>
              <p:custDataLst>
                <p:tags r:id="rId361"/>
              </p:custDataLst>
            </p:nvPr>
          </p:nvSpPr>
          <p:spPr>
            <a:xfrm>
              <a:off x="2814860" y="2299842"/>
              <a:ext cx="65931" cy="65931"/>
            </a:xfrm>
            <a:prstGeom prst="roundRect">
              <a:avLst>
                <a:gd name="adj" fmla="val 10205"/>
              </a:avLst>
            </a:prstGeom>
            <a:solidFill>
              <a:srgbClr val="41817E"/>
            </a:solidFill>
            <a:ln w="9525" cap="flat">
              <a:noFill/>
              <a:prstDash val="solid"/>
              <a:miter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312D2A"/>
                  </a:solidFill>
                  <a:effectLst/>
                  <a:uLnTx/>
                  <a:uFillTx/>
                  <a:latin typeface="Oracle Sans Tab"/>
                  <a:ea typeface="+mn-ea"/>
                  <a:cs typeface="+mn-cs"/>
                </a:rPr>
                <a:t>   </a:t>
              </a:r>
            </a:p>
          </p:txBody>
        </p:sp>
      </p:grpSp>
      <p:grpSp>
        <p:nvGrpSpPr>
          <p:cNvPr id="19" name="Group 18">
            <a:extLst>
              <a:ext uri="{FF2B5EF4-FFF2-40B4-BE49-F238E27FC236}">
                <a16:creationId xmlns:a16="http://schemas.microsoft.com/office/drawing/2014/main" id="{64AD4698-E182-7244-962B-4AEAAEA5DFCF}"/>
              </a:ext>
            </a:extLst>
          </p:cNvPr>
          <p:cNvGrpSpPr/>
          <p:nvPr>
            <p:custDataLst>
              <p:tags r:id="rId11"/>
            </p:custDataLst>
          </p:nvPr>
        </p:nvGrpSpPr>
        <p:grpSpPr>
          <a:xfrm>
            <a:off x="3197285" y="1452573"/>
            <a:ext cx="534887" cy="1605934"/>
            <a:chOff x="3094579" y="1379867"/>
            <a:chExt cx="535026" cy="1606352"/>
          </a:xfrm>
        </p:grpSpPr>
        <p:sp>
          <p:nvSpPr>
            <p:cNvPr id="288" name="TextBox 287">
              <a:extLst>
                <a:ext uri="{FF2B5EF4-FFF2-40B4-BE49-F238E27FC236}">
                  <a16:creationId xmlns:a16="http://schemas.microsoft.com/office/drawing/2014/main" id="{436B08CD-76D9-184F-87B0-892A6088F9FA}"/>
                </a:ext>
              </a:extLst>
            </p:cNvPr>
            <p:cNvSpPr txBox="1"/>
            <p:nvPr>
              <p:custDataLst>
                <p:tags r:id="rId352"/>
              </p:custDataLst>
            </p:nvPr>
          </p:nvSpPr>
          <p:spPr>
            <a:xfrm>
              <a:off x="3094579" y="1379867"/>
              <a:ext cx="535026" cy="11024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00" b="0" i="0" u="none" strike="noStrike" kern="1200" cap="none" spc="0" normalizeH="0" baseline="0" noProof="0" dirty="0">
                  <a:ln>
                    <a:noFill/>
                  </a:ln>
                  <a:solidFill>
                    <a:srgbClr val="312D2A"/>
                  </a:solidFill>
                  <a:effectLst/>
                  <a:uLnTx/>
                  <a:uFillTx/>
                  <a:latin typeface="Oracle Sans Semi Bold" panose="020B0503020204020204" pitchFamily="34" charset="0"/>
                  <a:ea typeface="+mn-ea"/>
                  <a:cs typeface="Oracle Sans Semi Bold" panose="020B0503020204020204" pitchFamily="34" charset="0"/>
                </a:rPr>
                <a:t>Montreal</a:t>
              </a:r>
            </a:p>
          </p:txBody>
        </p:sp>
        <p:grpSp>
          <p:nvGrpSpPr>
            <p:cNvPr id="18" name="Group 17">
              <a:extLst>
                <a:ext uri="{FF2B5EF4-FFF2-40B4-BE49-F238E27FC236}">
                  <a16:creationId xmlns:a16="http://schemas.microsoft.com/office/drawing/2014/main" id="{E352C720-64E9-0F4F-9ECE-AC35F6286C66}"/>
                </a:ext>
              </a:extLst>
            </p:cNvPr>
            <p:cNvGrpSpPr/>
            <p:nvPr>
              <p:custDataLst>
                <p:tags r:id="rId353"/>
              </p:custDataLst>
            </p:nvPr>
          </p:nvGrpSpPr>
          <p:grpSpPr>
            <a:xfrm>
              <a:off x="3240859" y="1619437"/>
              <a:ext cx="244160" cy="1366782"/>
              <a:chOff x="3240859" y="1619437"/>
              <a:chExt cx="244160" cy="1366782"/>
            </a:xfrm>
          </p:grpSpPr>
          <p:cxnSp>
            <p:nvCxnSpPr>
              <p:cNvPr id="371" name="Straight Connector 370">
                <a:extLst>
                  <a:ext uri="{FF2B5EF4-FFF2-40B4-BE49-F238E27FC236}">
                    <a16:creationId xmlns:a16="http://schemas.microsoft.com/office/drawing/2014/main" id="{C273D87B-9440-F644-A2B1-3674F403950B}"/>
                  </a:ext>
                </a:extLst>
              </p:cNvPr>
              <p:cNvCxnSpPr/>
              <p:nvPr>
                <p:custDataLst>
                  <p:tags r:id="rId355"/>
                </p:custDataLst>
              </p:nvPr>
            </p:nvCxnSpPr>
            <p:spPr>
              <a:xfrm flipH="1">
                <a:off x="3362939" y="1619437"/>
                <a:ext cx="0" cy="1267267"/>
              </a:xfrm>
              <a:prstGeom prst="line">
                <a:avLst/>
              </a:prstGeom>
              <a:ln>
                <a:solidFill>
                  <a:srgbClr val="2C5967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grpSp>
            <p:nvGrpSpPr>
              <p:cNvPr id="404" name="Group 403">
                <a:extLst>
                  <a:ext uri="{FF2B5EF4-FFF2-40B4-BE49-F238E27FC236}">
                    <a16:creationId xmlns:a16="http://schemas.microsoft.com/office/drawing/2014/main" id="{6C73D2A9-F903-4747-8846-8B8BCC4408ED}"/>
                  </a:ext>
                </a:extLst>
              </p:cNvPr>
              <p:cNvGrpSpPr/>
              <p:nvPr>
                <p:custDataLst>
                  <p:tags r:id="rId356"/>
                </p:custDataLst>
              </p:nvPr>
            </p:nvGrpSpPr>
            <p:grpSpPr>
              <a:xfrm>
                <a:off x="3240859" y="2742059"/>
                <a:ext cx="244160" cy="244160"/>
                <a:chOff x="-763325" y="1701579"/>
                <a:chExt cx="349858" cy="349858"/>
              </a:xfrm>
            </p:grpSpPr>
            <p:sp>
              <p:nvSpPr>
                <p:cNvPr id="409" name="Oval 408">
                  <a:extLst>
                    <a:ext uri="{FF2B5EF4-FFF2-40B4-BE49-F238E27FC236}">
                      <a16:creationId xmlns:a16="http://schemas.microsoft.com/office/drawing/2014/main" id="{ADBBA3A4-F273-6C4C-A7AE-72FAC870F4EC}"/>
                    </a:ext>
                  </a:extLst>
                </p:cNvPr>
                <p:cNvSpPr/>
                <p:nvPr>
                  <p:custDataLst>
                    <p:tags r:id="rId357"/>
                  </p:custDataLst>
                </p:nvPr>
              </p:nvSpPr>
              <p:spPr>
                <a:xfrm>
                  <a:off x="-763325" y="1701579"/>
                  <a:ext cx="349858" cy="349858"/>
                </a:xfrm>
                <a:prstGeom prst="ellipse">
                  <a:avLst/>
                </a:prstGeom>
                <a:solidFill>
                  <a:srgbClr val="2C5967">
                    <a:alpha val="42000"/>
                  </a:srgb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799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12D2A"/>
                    </a:solidFill>
                    <a:effectLst/>
                    <a:uLnTx/>
                    <a:uFillTx/>
                    <a:latin typeface="Oracle Sans Tab"/>
                    <a:ea typeface="+mn-ea"/>
                    <a:cs typeface="+mn-cs"/>
                  </a:endParaRPr>
                </a:p>
              </p:txBody>
            </p:sp>
            <p:sp>
              <p:nvSpPr>
                <p:cNvPr id="410" name="Oval 409">
                  <a:extLst>
                    <a:ext uri="{FF2B5EF4-FFF2-40B4-BE49-F238E27FC236}">
                      <a16:creationId xmlns:a16="http://schemas.microsoft.com/office/drawing/2014/main" id="{BCE56B47-9AD6-A242-8B48-59D3B3D357A4}"/>
                    </a:ext>
                  </a:extLst>
                </p:cNvPr>
                <p:cNvSpPr/>
                <p:nvPr>
                  <p:custDataLst>
                    <p:tags r:id="rId358"/>
                  </p:custDataLst>
                </p:nvPr>
              </p:nvSpPr>
              <p:spPr>
                <a:xfrm>
                  <a:off x="-676936" y="1787968"/>
                  <a:ext cx="177080" cy="177080"/>
                </a:xfrm>
                <a:prstGeom prst="ellipse">
                  <a:avLst/>
                </a:prstGeom>
                <a:solidFill>
                  <a:srgbClr val="2C5967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799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12D2A"/>
                    </a:solidFill>
                    <a:effectLst/>
                    <a:uLnTx/>
                    <a:uFillTx/>
                    <a:latin typeface="Oracle Sans Tab"/>
                    <a:ea typeface="+mn-ea"/>
                    <a:cs typeface="+mn-cs"/>
                  </a:endParaRPr>
                </a:p>
              </p:txBody>
            </p:sp>
          </p:grpSp>
        </p:grpSp>
        <p:sp>
          <p:nvSpPr>
            <p:cNvPr id="524" name="Rounded Rectangle 523">
              <a:extLst>
                <a:ext uri="{FF2B5EF4-FFF2-40B4-BE49-F238E27FC236}">
                  <a16:creationId xmlns:a16="http://schemas.microsoft.com/office/drawing/2014/main" id="{F0D0F4BB-CD4D-174E-A56A-0461B838E3B2}"/>
                </a:ext>
              </a:extLst>
            </p:cNvPr>
            <p:cNvSpPr>
              <a:spLocks noChangeAspect="1"/>
            </p:cNvSpPr>
            <p:nvPr>
              <p:custDataLst>
                <p:tags r:id="rId354"/>
              </p:custDataLst>
            </p:nvPr>
          </p:nvSpPr>
          <p:spPr>
            <a:xfrm>
              <a:off x="3329974" y="1508813"/>
              <a:ext cx="65931" cy="65931"/>
            </a:xfrm>
            <a:prstGeom prst="roundRect">
              <a:avLst>
                <a:gd name="adj" fmla="val 10205"/>
              </a:avLst>
            </a:prstGeom>
            <a:solidFill>
              <a:schemeClr val="accent1"/>
            </a:solidFill>
            <a:ln w="9525" cap="flat">
              <a:noFill/>
              <a:prstDash val="solid"/>
              <a:miter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312D2A"/>
                  </a:solidFill>
                  <a:effectLst/>
                  <a:uLnTx/>
                  <a:uFillTx/>
                  <a:latin typeface="Oracle Sans Tab"/>
                  <a:ea typeface="+mn-ea"/>
                  <a:cs typeface="+mn-cs"/>
                </a:rPr>
                <a:t>   </a:t>
              </a:r>
            </a:p>
          </p:txBody>
        </p:sp>
      </p:grpSp>
      <p:grpSp>
        <p:nvGrpSpPr>
          <p:cNvPr id="22" name="Group 21">
            <a:extLst>
              <a:ext uri="{FF2B5EF4-FFF2-40B4-BE49-F238E27FC236}">
                <a16:creationId xmlns:a16="http://schemas.microsoft.com/office/drawing/2014/main" id="{F05A4D85-E3E3-DC40-83EB-6B5570411E9E}"/>
              </a:ext>
            </a:extLst>
          </p:cNvPr>
          <p:cNvGrpSpPr/>
          <p:nvPr>
            <p:custDataLst>
              <p:tags r:id="rId12"/>
            </p:custDataLst>
          </p:nvPr>
        </p:nvGrpSpPr>
        <p:grpSpPr>
          <a:xfrm>
            <a:off x="3130147" y="3169535"/>
            <a:ext cx="1062727" cy="244096"/>
            <a:chOff x="3217005" y="2972647"/>
            <a:chExt cx="1063004" cy="244160"/>
          </a:xfrm>
        </p:grpSpPr>
        <p:sp>
          <p:nvSpPr>
            <p:cNvPr id="270" name="TextBox 269">
              <a:extLst>
                <a:ext uri="{FF2B5EF4-FFF2-40B4-BE49-F238E27FC236}">
                  <a16:creationId xmlns:a16="http://schemas.microsoft.com/office/drawing/2014/main" id="{75B09A35-FD60-5B41-A83D-1C19A2588E4F}"/>
                </a:ext>
              </a:extLst>
            </p:cNvPr>
            <p:cNvSpPr txBox="1"/>
            <p:nvPr>
              <p:custDataLst>
                <p:tags r:id="rId341"/>
              </p:custDataLst>
            </p:nvPr>
          </p:nvSpPr>
          <p:spPr>
            <a:xfrm>
              <a:off x="3744983" y="3007374"/>
              <a:ext cx="535026" cy="11024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00" b="0" i="0" u="none" strike="noStrike" kern="1200" cap="none" spc="0" normalizeH="0" baseline="0" noProof="0" dirty="0">
                  <a:ln>
                    <a:noFill/>
                  </a:ln>
                  <a:solidFill>
                    <a:srgbClr val="312D2A"/>
                  </a:solidFill>
                  <a:effectLst/>
                  <a:uLnTx/>
                  <a:uFillTx/>
                  <a:latin typeface="Oracle Sans Semi Bold" panose="020B0503020204020204" pitchFamily="34" charset="0"/>
                  <a:ea typeface="+mn-ea"/>
                  <a:cs typeface="Oracle Sans Semi Bold" panose="020B0503020204020204" pitchFamily="34" charset="0"/>
                </a:rPr>
                <a:t>Ashburn</a:t>
              </a:r>
            </a:p>
          </p:txBody>
        </p:sp>
        <p:grpSp>
          <p:nvGrpSpPr>
            <p:cNvPr id="21" name="Group 20">
              <a:extLst>
                <a:ext uri="{FF2B5EF4-FFF2-40B4-BE49-F238E27FC236}">
                  <a16:creationId xmlns:a16="http://schemas.microsoft.com/office/drawing/2014/main" id="{0A1B176A-7E15-7B41-B75D-AA8B891D6180}"/>
                </a:ext>
              </a:extLst>
            </p:cNvPr>
            <p:cNvGrpSpPr/>
            <p:nvPr>
              <p:custDataLst>
                <p:tags r:id="rId342"/>
              </p:custDataLst>
            </p:nvPr>
          </p:nvGrpSpPr>
          <p:grpSpPr>
            <a:xfrm>
              <a:off x="3217005" y="2972647"/>
              <a:ext cx="572214" cy="244160"/>
              <a:chOff x="3217005" y="2972647"/>
              <a:chExt cx="572214" cy="244160"/>
            </a:xfrm>
          </p:grpSpPr>
          <p:cxnSp>
            <p:nvCxnSpPr>
              <p:cNvPr id="20" name="Straight Connector 19">
                <a:extLst>
                  <a:ext uri="{FF2B5EF4-FFF2-40B4-BE49-F238E27FC236}">
                    <a16:creationId xmlns:a16="http://schemas.microsoft.com/office/drawing/2014/main" id="{562F6136-91B7-584E-B9C1-A589E5061B84}"/>
                  </a:ext>
                </a:extLst>
              </p:cNvPr>
              <p:cNvCxnSpPr/>
              <p:nvPr>
                <p:custDataLst>
                  <p:tags r:id="rId348"/>
                </p:custDataLst>
              </p:nvPr>
            </p:nvCxnSpPr>
            <p:spPr>
              <a:xfrm>
                <a:off x="3356972" y="3094727"/>
                <a:ext cx="432247" cy="0"/>
              </a:xfrm>
              <a:prstGeom prst="line">
                <a:avLst/>
              </a:prstGeom>
              <a:ln>
                <a:solidFill>
                  <a:srgbClr val="2C5967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grpSp>
            <p:nvGrpSpPr>
              <p:cNvPr id="395" name="Group 394">
                <a:extLst>
                  <a:ext uri="{FF2B5EF4-FFF2-40B4-BE49-F238E27FC236}">
                    <a16:creationId xmlns:a16="http://schemas.microsoft.com/office/drawing/2014/main" id="{C657B7F3-7A05-2E40-9275-9689D3FF2B07}"/>
                  </a:ext>
                </a:extLst>
              </p:cNvPr>
              <p:cNvGrpSpPr/>
              <p:nvPr>
                <p:custDataLst>
                  <p:tags r:id="rId349"/>
                </p:custDataLst>
              </p:nvPr>
            </p:nvGrpSpPr>
            <p:grpSpPr>
              <a:xfrm>
                <a:off x="3217005" y="2972647"/>
                <a:ext cx="244160" cy="244160"/>
                <a:chOff x="-763325" y="1701579"/>
                <a:chExt cx="349858" cy="349858"/>
              </a:xfrm>
            </p:grpSpPr>
            <p:sp>
              <p:nvSpPr>
                <p:cNvPr id="397" name="Oval 396">
                  <a:extLst>
                    <a:ext uri="{FF2B5EF4-FFF2-40B4-BE49-F238E27FC236}">
                      <a16:creationId xmlns:a16="http://schemas.microsoft.com/office/drawing/2014/main" id="{2484CBBA-9F99-D849-8D71-9A6D34FA5FC6}"/>
                    </a:ext>
                  </a:extLst>
                </p:cNvPr>
                <p:cNvSpPr/>
                <p:nvPr>
                  <p:custDataLst>
                    <p:tags r:id="rId350"/>
                  </p:custDataLst>
                </p:nvPr>
              </p:nvSpPr>
              <p:spPr>
                <a:xfrm>
                  <a:off x="-763325" y="1701579"/>
                  <a:ext cx="349858" cy="349858"/>
                </a:xfrm>
                <a:prstGeom prst="ellipse">
                  <a:avLst/>
                </a:prstGeom>
                <a:solidFill>
                  <a:srgbClr val="2C5967">
                    <a:alpha val="42000"/>
                  </a:srgb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799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12D2A"/>
                    </a:solidFill>
                    <a:effectLst/>
                    <a:uLnTx/>
                    <a:uFillTx/>
                    <a:latin typeface="Oracle Sans Tab"/>
                    <a:ea typeface="+mn-ea"/>
                    <a:cs typeface="+mn-cs"/>
                  </a:endParaRPr>
                </a:p>
              </p:txBody>
            </p:sp>
            <p:sp>
              <p:nvSpPr>
                <p:cNvPr id="398" name="Oval 397">
                  <a:extLst>
                    <a:ext uri="{FF2B5EF4-FFF2-40B4-BE49-F238E27FC236}">
                      <a16:creationId xmlns:a16="http://schemas.microsoft.com/office/drawing/2014/main" id="{402D381B-CCB7-BE41-99DF-6F457D940F1C}"/>
                    </a:ext>
                  </a:extLst>
                </p:cNvPr>
                <p:cNvSpPr/>
                <p:nvPr>
                  <p:custDataLst>
                    <p:tags r:id="rId351"/>
                  </p:custDataLst>
                </p:nvPr>
              </p:nvSpPr>
              <p:spPr>
                <a:xfrm>
                  <a:off x="-676936" y="1787968"/>
                  <a:ext cx="177080" cy="177080"/>
                </a:xfrm>
                <a:prstGeom prst="ellipse">
                  <a:avLst/>
                </a:prstGeom>
                <a:solidFill>
                  <a:srgbClr val="2C5967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799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12D2A"/>
                    </a:solidFill>
                    <a:effectLst/>
                    <a:uLnTx/>
                    <a:uFillTx/>
                    <a:latin typeface="Oracle Sans Tab"/>
                    <a:ea typeface="+mn-ea"/>
                    <a:cs typeface="+mn-cs"/>
                  </a:endParaRPr>
                </a:p>
              </p:txBody>
            </p:sp>
          </p:grpSp>
        </p:grpSp>
        <p:grpSp>
          <p:nvGrpSpPr>
            <p:cNvPr id="525" name="Group 524">
              <a:extLst>
                <a:ext uri="{FF2B5EF4-FFF2-40B4-BE49-F238E27FC236}">
                  <a16:creationId xmlns:a16="http://schemas.microsoft.com/office/drawing/2014/main" id="{88E5A0A6-2103-684D-9CBE-9132D565528F}"/>
                </a:ext>
              </a:extLst>
            </p:cNvPr>
            <p:cNvGrpSpPr/>
            <p:nvPr>
              <p:custDataLst>
                <p:tags r:id="rId343"/>
              </p:custDataLst>
            </p:nvPr>
          </p:nvGrpSpPr>
          <p:grpSpPr>
            <a:xfrm>
              <a:off x="3848993" y="3109687"/>
              <a:ext cx="336965" cy="86355"/>
              <a:chOff x="1120306" y="1919230"/>
              <a:chExt cx="336965" cy="86355"/>
            </a:xfrm>
          </p:grpSpPr>
          <p:sp>
            <p:nvSpPr>
              <p:cNvPr id="526" name="Rounded Rectangle 525">
                <a:extLst>
                  <a:ext uri="{FF2B5EF4-FFF2-40B4-BE49-F238E27FC236}">
                    <a16:creationId xmlns:a16="http://schemas.microsoft.com/office/drawing/2014/main" id="{D3B6C601-E462-0F49-98AE-BE094E5D1329}"/>
                  </a:ext>
                </a:extLst>
              </p:cNvPr>
              <p:cNvSpPr>
                <a:spLocks noChangeAspect="1"/>
              </p:cNvSpPr>
              <p:nvPr>
                <p:custDataLst>
                  <p:tags r:id="rId344"/>
                </p:custDataLst>
              </p:nvPr>
            </p:nvSpPr>
            <p:spPr>
              <a:xfrm>
                <a:off x="1206380" y="1929442"/>
                <a:ext cx="65931" cy="65931"/>
              </a:xfrm>
              <a:prstGeom prst="roundRect">
                <a:avLst>
                  <a:gd name="adj" fmla="val 10205"/>
                </a:avLst>
              </a:prstGeom>
              <a:solidFill>
                <a:srgbClr val="41817E"/>
              </a:solidFill>
              <a:ln w="9525" cap="flat">
                <a:noFill/>
                <a:prstDash val="solid"/>
                <a:miter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12D2A"/>
                    </a:solidFill>
                    <a:effectLst/>
                    <a:uLnTx/>
                    <a:uFillTx/>
                    <a:latin typeface="Oracle Sans Tab"/>
                    <a:ea typeface="+mn-ea"/>
                    <a:cs typeface="+mn-cs"/>
                  </a:rPr>
                  <a:t>   </a:t>
                </a:r>
              </a:p>
            </p:txBody>
          </p:sp>
          <p:sp>
            <p:nvSpPr>
              <p:cNvPr id="527" name="Rounded Rectangle 526">
                <a:extLst>
                  <a:ext uri="{FF2B5EF4-FFF2-40B4-BE49-F238E27FC236}">
                    <a16:creationId xmlns:a16="http://schemas.microsoft.com/office/drawing/2014/main" id="{00D4168F-EA18-9D47-8A07-C71CAA57418C}"/>
                  </a:ext>
                </a:extLst>
              </p:cNvPr>
              <p:cNvSpPr>
                <a:spLocks noChangeAspect="1"/>
              </p:cNvSpPr>
              <p:nvPr>
                <p:custDataLst>
                  <p:tags r:id="rId345"/>
                </p:custDataLst>
              </p:nvPr>
            </p:nvSpPr>
            <p:spPr>
              <a:xfrm>
                <a:off x="1120306" y="1929442"/>
                <a:ext cx="65931" cy="65931"/>
              </a:xfrm>
              <a:prstGeom prst="roundRect">
                <a:avLst>
                  <a:gd name="adj" fmla="val 10205"/>
                </a:avLst>
              </a:prstGeom>
              <a:solidFill>
                <a:schemeClr val="accent1"/>
              </a:solidFill>
              <a:ln w="9525" cap="flat">
                <a:noFill/>
                <a:prstDash val="solid"/>
                <a:miter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12D2A"/>
                    </a:solidFill>
                    <a:effectLst/>
                    <a:uLnTx/>
                    <a:uFillTx/>
                    <a:latin typeface="Oracle Sans Tab"/>
                    <a:ea typeface="+mn-ea"/>
                    <a:cs typeface="+mn-cs"/>
                  </a:rPr>
                  <a:t>   </a:t>
                </a:r>
              </a:p>
            </p:txBody>
          </p:sp>
          <p:sp>
            <p:nvSpPr>
              <p:cNvPr id="528" name="Rounded Rectangle 527">
                <a:extLst>
                  <a:ext uri="{FF2B5EF4-FFF2-40B4-BE49-F238E27FC236}">
                    <a16:creationId xmlns:a16="http://schemas.microsoft.com/office/drawing/2014/main" id="{4F11BFB7-4F4E-AD48-A989-BC2CD23864EF}"/>
                  </a:ext>
                </a:extLst>
              </p:cNvPr>
              <p:cNvSpPr>
                <a:spLocks noChangeAspect="1"/>
              </p:cNvSpPr>
              <p:nvPr>
                <p:custDataLst>
                  <p:tags r:id="rId346"/>
                </p:custDataLst>
              </p:nvPr>
            </p:nvSpPr>
            <p:spPr>
              <a:xfrm>
                <a:off x="1292454" y="1929442"/>
                <a:ext cx="65931" cy="65931"/>
              </a:xfrm>
              <a:prstGeom prst="roundRect">
                <a:avLst>
                  <a:gd name="adj" fmla="val 10205"/>
                </a:avLst>
              </a:prstGeom>
              <a:solidFill>
                <a:srgbClr val="41817E"/>
              </a:solidFill>
              <a:ln w="9525" cap="flat">
                <a:noFill/>
                <a:prstDash val="solid"/>
                <a:miter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12D2A"/>
                    </a:solidFill>
                    <a:effectLst/>
                    <a:uLnTx/>
                    <a:uFillTx/>
                    <a:latin typeface="Oracle Sans Tab"/>
                    <a:ea typeface="+mn-ea"/>
                    <a:cs typeface="+mn-cs"/>
                  </a:rPr>
                  <a:t>   </a:t>
                </a:r>
              </a:p>
            </p:txBody>
          </p:sp>
          <p:pic>
            <p:nvPicPr>
              <p:cNvPr id="529" name="Graphic 528">
                <a:extLst>
                  <a:ext uri="{FF2B5EF4-FFF2-40B4-BE49-F238E27FC236}">
                    <a16:creationId xmlns:a16="http://schemas.microsoft.com/office/drawing/2014/main" id="{D8B6A96E-FF5E-3F44-A679-D75BFBCA3FF2}"/>
                  </a:ext>
                </a:extLst>
              </p:cNvPr>
              <p:cNvPicPr>
                <a:picLocks noChangeAspect="1"/>
              </p:cNvPicPr>
              <p:nvPr>
                <p:custDataLst>
                  <p:tags r:id="rId347"/>
                </p:custDataLst>
              </p:nvPr>
            </p:nvPicPr>
            <p:blipFill>
              <a:blip r:embed="rId400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xmlns="" r:embed="rId402"/>
                  </a:ext>
                </a:extLst>
              </a:blip>
              <a:srcRect l="18105" t="74641" r="15135" b="15469"/>
              <a:stretch>
                <a:fillRect/>
              </a:stretch>
            </p:blipFill>
            <p:spPr>
              <a:xfrm>
                <a:off x="1364013" y="1919230"/>
                <a:ext cx="93258" cy="86355"/>
              </a:xfrm>
              <a:prstGeom prst="rect">
                <a:avLst/>
              </a:prstGeom>
            </p:spPr>
          </p:pic>
        </p:grpSp>
      </p:grpSp>
      <p:grpSp>
        <p:nvGrpSpPr>
          <p:cNvPr id="27" name="Group 26">
            <a:extLst>
              <a:ext uri="{FF2B5EF4-FFF2-40B4-BE49-F238E27FC236}">
                <a16:creationId xmlns:a16="http://schemas.microsoft.com/office/drawing/2014/main" id="{12704EB3-8B1F-9447-8299-94D00D495D77}"/>
              </a:ext>
            </a:extLst>
          </p:cNvPr>
          <p:cNvGrpSpPr/>
          <p:nvPr>
            <p:custDataLst>
              <p:tags r:id="rId13"/>
            </p:custDataLst>
          </p:nvPr>
        </p:nvGrpSpPr>
        <p:grpSpPr>
          <a:xfrm>
            <a:off x="4443213" y="3874163"/>
            <a:ext cx="1135148" cy="269424"/>
            <a:chOff x="4442782" y="3874279"/>
            <a:chExt cx="1135444" cy="269494"/>
          </a:xfrm>
        </p:grpSpPr>
        <p:sp>
          <p:nvSpPr>
            <p:cNvPr id="356" name="TextBox 355">
              <a:extLst>
                <a:ext uri="{FF2B5EF4-FFF2-40B4-BE49-F238E27FC236}">
                  <a16:creationId xmlns:a16="http://schemas.microsoft.com/office/drawing/2014/main" id="{A0AD0A87-6493-A84C-B458-ED7B7942B365}"/>
                </a:ext>
              </a:extLst>
            </p:cNvPr>
            <p:cNvSpPr txBox="1"/>
            <p:nvPr>
              <p:custDataLst>
                <p:tags r:id="rId334"/>
              </p:custDataLst>
            </p:nvPr>
          </p:nvSpPr>
          <p:spPr>
            <a:xfrm>
              <a:off x="4942952" y="3952681"/>
              <a:ext cx="635274" cy="11024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00" b="0" i="0" u="none" strike="noStrike" kern="1200" cap="none" spc="0" normalizeH="0" baseline="0" noProof="0" dirty="0">
                  <a:ln>
                    <a:noFill/>
                  </a:ln>
                  <a:solidFill>
                    <a:srgbClr val="312D2A"/>
                  </a:solidFill>
                  <a:effectLst/>
                  <a:uLnTx/>
                  <a:uFillTx/>
                  <a:latin typeface="Oracle Sans Semi Bold" panose="020B0503020204020204" pitchFamily="34" charset="0"/>
                  <a:ea typeface="+mn-ea"/>
                  <a:cs typeface="Oracle Sans Semi Bold" panose="020B0503020204020204" pitchFamily="34" charset="0"/>
                </a:rPr>
                <a:t>São Paulo</a:t>
              </a:r>
            </a:p>
          </p:txBody>
        </p:sp>
        <p:grpSp>
          <p:nvGrpSpPr>
            <p:cNvPr id="26" name="Group 25">
              <a:extLst>
                <a:ext uri="{FF2B5EF4-FFF2-40B4-BE49-F238E27FC236}">
                  <a16:creationId xmlns:a16="http://schemas.microsoft.com/office/drawing/2014/main" id="{4FD93294-5FC6-6C42-A600-F4CD6C3E01A8}"/>
                </a:ext>
              </a:extLst>
            </p:cNvPr>
            <p:cNvGrpSpPr/>
            <p:nvPr>
              <p:custDataLst>
                <p:tags r:id="rId335"/>
              </p:custDataLst>
            </p:nvPr>
          </p:nvGrpSpPr>
          <p:grpSpPr>
            <a:xfrm>
              <a:off x="4442782" y="3874279"/>
              <a:ext cx="562986" cy="244160"/>
              <a:chOff x="4442782" y="3874279"/>
              <a:chExt cx="562986" cy="244160"/>
            </a:xfrm>
          </p:grpSpPr>
          <p:cxnSp>
            <p:nvCxnSpPr>
              <p:cNvPr id="467" name="Straight Connector 466">
                <a:extLst>
                  <a:ext uri="{FF2B5EF4-FFF2-40B4-BE49-F238E27FC236}">
                    <a16:creationId xmlns:a16="http://schemas.microsoft.com/office/drawing/2014/main" id="{C9598A9B-6919-A441-B1CF-EF260E0C1220}"/>
                  </a:ext>
                </a:extLst>
              </p:cNvPr>
              <p:cNvCxnSpPr/>
              <p:nvPr>
                <p:custDataLst>
                  <p:tags r:id="rId337"/>
                </p:custDataLst>
              </p:nvPr>
            </p:nvCxnSpPr>
            <p:spPr>
              <a:xfrm>
                <a:off x="4573521" y="3996359"/>
                <a:ext cx="432247" cy="0"/>
              </a:xfrm>
              <a:prstGeom prst="line">
                <a:avLst/>
              </a:prstGeom>
              <a:ln>
                <a:solidFill>
                  <a:srgbClr val="2C5967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grpSp>
            <p:nvGrpSpPr>
              <p:cNvPr id="414" name="Group 413">
                <a:extLst>
                  <a:ext uri="{FF2B5EF4-FFF2-40B4-BE49-F238E27FC236}">
                    <a16:creationId xmlns:a16="http://schemas.microsoft.com/office/drawing/2014/main" id="{E6221E16-4B81-BF40-9BF6-CC159386B376}"/>
                  </a:ext>
                </a:extLst>
              </p:cNvPr>
              <p:cNvGrpSpPr/>
              <p:nvPr>
                <p:custDataLst>
                  <p:tags r:id="rId338"/>
                </p:custDataLst>
              </p:nvPr>
            </p:nvGrpSpPr>
            <p:grpSpPr>
              <a:xfrm>
                <a:off x="4442782" y="3874279"/>
                <a:ext cx="244160" cy="244160"/>
                <a:chOff x="-763325" y="1701579"/>
                <a:chExt cx="349858" cy="349858"/>
              </a:xfrm>
            </p:grpSpPr>
            <p:sp>
              <p:nvSpPr>
                <p:cNvPr id="415" name="Oval 414">
                  <a:extLst>
                    <a:ext uri="{FF2B5EF4-FFF2-40B4-BE49-F238E27FC236}">
                      <a16:creationId xmlns:a16="http://schemas.microsoft.com/office/drawing/2014/main" id="{010B9330-4590-6C4D-A1E5-3BE169EB33CF}"/>
                    </a:ext>
                  </a:extLst>
                </p:cNvPr>
                <p:cNvSpPr/>
                <p:nvPr>
                  <p:custDataLst>
                    <p:tags r:id="rId339"/>
                  </p:custDataLst>
                </p:nvPr>
              </p:nvSpPr>
              <p:spPr>
                <a:xfrm>
                  <a:off x="-763325" y="1701579"/>
                  <a:ext cx="349858" cy="349858"/>
                </a:xfrm>
                <a:prstGeom prst="ellipse">
                  <a:avLst/>
                </a:prstGeom>
                <a:solidFill>
                  <a:srgbClr val="2C5967">
                    <a:alpha val="42000"/>
                  </a:srgb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799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12D2A"/>
                    </a:solidFill>
                    <a:effectLst/>
                    <a:uLnTx/>
                    <a:uFillTx/>
                    <a:latin typeface="Oracle Sans Tab"/>
                    <a:ea typeface="+mn-ea"/>
                    <a:cs typeface="+mn-cs"/>
                  </a:endParaRPr>
                </a:p>
              </p:txBody>
            </p:sp>
            <p:sp>
              <p:nvSpPr>
                <p:cNvPr id="416" name="Oval 415">
                  <a:extLst>
                    <a:ext uri="{FF2B5EF4-FFF2-40B4-BE49-F238E27FC236}">
                      <a16:creationId xmlns:a16="http://schemas.microsoft.com/office/drawing/2014/main" id="{DF0E2074-405E-B442-B32C-7F4091AB7912}"/>
                    </a:ext>
                  </a:extLst>
                </p:cNvPr>
                <p:cNvSpPr/>
                <p:nvPr>
                  <p:custDataLst>
                    <p:tags r:id="rId340"/>
                  </p:custDataLst>
                </p:nvPr>
              </p:nvSpPr>
              <p:spPr>
                <a:xfrm>
                  <a:off x="-676936" y="1787968"/>
                  <a:ext cx="177080" cy="177080"/>
                </a:xfrm>
                <a:prstGeom prst="ellipse">
                  <a:avLst/>
                </a:prstGeom>
                <a:solidFill>
                  <a:srgbClr val="2C5967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799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12D2A"/>
                    </a:solidFill>
                    <a:effectLst/>
                    <a:uLnTx/>
                    <a:uFillTx/>
                    <a:latin typeface="Oracle Sans Tab"/>
                    <a:ea typeface="+mn-ea"/>
                    <a:cs typeface="+mn-cs"/>
                  </a:endParaRPr>
                </a:p>
              </p:txBody>
            </p:sp>
          </p:grpSp>
        </p:grpSp>
        <p:sp>
          <p:nvSpPr>
            <p:cNvPr id="533" name="Rounded Rectangle 532">
              <a:extLst>
                <a:ext uri="{FF2B5EF4-FFF2-40B4-BE49-F238E27FC236}">
                  <a16:creationId xmlns:a16="http://schemas.microsoft.com/office/drawing/2014/main" id="{72E8D16B-19BD-D54D-B8A2-9769CA132A07}"/>
                </a:ext>
              </a:extLst>
            </p:cNvPr>
            <p:cNvSpPr>
              <a:spLocks noChangeAspect="1"/>
            </p:cNvSpPr>
            <p:nvPr>
              <p:custDataLst>
                <p:tags r:id="rId336"/>
              </p:custDataLst>
            </p:nvPr>
          </p:nvSpPr>
          <p:spPr>
            <a:xfrm>
              <a:off x="5213334" y="4077842"/>
              <a:ext cx="65931" cy="65931"/>
            </a:xfrm>
            <a:prstGeom prst="roundRect">
              <a:avLst>
                <a:gd name="adj" fmla="val 10205"/>
              </a:avLst>
            </a:prstGeom>
            <a:solidFill>
              <a:schemeClr val="accent1"/>
            </a:solidFill>
            <a:ln w="9525" cap="flat">
              <a:noFill/>
              <a:prstDash val="solid"/>
              <a:miter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312D2A"/>
                  </a:solidFill>
                  <a:effectLst/>
                  <a:uLnTx/>
                  <a:uFillTx/>
                  <a:latin typeface="Oracle Sans Tab"/>
                  <a:ea typeface="+mn-ea"/>
                  <a:cs typeface="+mn-cs"/>
                </a:rPr>
                <a:t>   </a:t>
              </a:r>
            </a:p>
          </p:txBody>
        </p:sp>
      </p:grpSp>
      <p:grpSp>
        <p:nvGrpSpPr>
          <p:cNvPr id="33" name="Group 32">
            <a:extLst>
              <a:ext uri="{FF2B5EF4-FFF2-40B4-BE49-F238E27FC236}">
                <a16:creationId xmlns:a16="http://schemas.microsoft.com/office/drawing/2014/main" id="{5B4AE6E4-5884-7740-B7E7-6C673AF9B0DC}"/>
              </a:ext>
            </a:extLst>
          </p:cNvPr>
          <p:cNvGrpSpPr/>
          <p:nvPr>
            <p:custDataLst>
              <p:tags r:id="rId14"/>
            </p:custDataLst>
          </p:nvPr>
        </p:nvGrpSpPr>
        <p:grpSpPr>
          <a:xfrm>
            <a:off x="5389860" y="1687102"/>
            <a:ext cx="534887" cy="618583"/>
            <a:chOff x="5419108" y="1622849"/>
            <a:chExt cx="535026" cy="618744"/>
          </a:xfrm>
        </p:grpSpPr>
        <p:grpSp>
          <p:nvGrpSpPr>
            <p:cNvPr id="31" name="Group 30">
              <a:extLst>
                <a:ext uri="{FF2B5EF4-FFF2-40B4-BE49-F238E27FC236}">
                  <a16:creationId xmlns:a16="http://schemas.microsoft.com/office/drawing/2014/main" id="{38E72285-F84B-6C45-AFEC-FCCA3907B55B}"/>
                </a:ext>
              </a:extLst>
            </p:cNvPr>
            <p:cNvGrpSpPr/>
            <p:nvPr>
              <p:custDataLst>
                <p:tags r:id="rId323"/>
              </p:custDataLst>
            </p:nvPr>
          </p:nvGrpSpPr>
          <p:grpSpPr>
            <a:xfrm>
              <a:off x="5557568" y="1832053"/>
              <a:ext cx="244160" cy="409540"/>
              <a:chOff x="5557568" y="1832053"/>
              <a:chExt cx="244160" cy="409540"/>
            </a:xfrm>
          </p:grpSpPr>
          <p:grpSp>
            <p:nvGrpSpPr>
              <p:cNvPr id="435" name="Group 434">
                <a:extLst>
                  <a:ext uri="{FF2B5EF4-FFF2-40B4-BE49-F238E27FC236}">
                    <a16:creationId xmlns:a16="http://schemas.microsoft.com/office/drawing/2014/main" id="{6E7AECAF-4291-1243-A047-C9497CB2BCBF}"/>
                  </a:ext>
                </a:extLst>
              </p:cNvPr>
              <p:cNvGrpSpPr/>
              <p:nvPr>
                <p:custDataLst>
                  <p:tags r:id="rId330"/>
                </p:custDataLst>
              </p:nvPr>
            </p:nvGrpSpPr>
            <p:grpSpPr>
              <a:xfrm>
                <a:off x="5557568" y="1997433"/>
                <a:ext cx="244160" cy="244160"/>
                <a:chOff x="-763325" y="1701579"/>
                <a:chExt cx="349858" cy="349858"/>
              </a:xfrm>
            </p:grpSpPr>
            <p:sp>
              <p:nvSpPr>
                <p:cNvPr id="436" name="Oval 435">
                  <a:extLst>
                    <a:ext uri="{FF2B5EF4-FFF2-40B4-BE49-F238E27FC236}">
                      <a16:creationId xmlns:a16="http://schemas.microsoft.com/office/drawing/2014/main" id="{73B92158-FF41-6342-AFBD-A8E15D84AFAA}"/>
                    </a:ext>
                  </a:extLst>
                </p:cNvPr>
                <p:cNvSpPr/>
                <p:nvPr>
                  <p:custDataLst>
                    <p:tags r:id="rId332"/>
                  </p:custDataLst>
                </p:nvPr>
              </p:nvSpPr>
              <p:spPr>
                <a:xfrm>
                  <a:off x="-763325" y="1701579"/>
                  <a:ext cx="349858" cy="349858"/>
                </a:xfrm>
                <a:prstGeom prst="ellipse">
                  <a:avLst/>
                </a:prstGeom>
                <a:solidFill>
                  <a:srgbClr val="2C5967">
                    <a:alpha val="42000"/>
                  </a:srgb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799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12D2A"/>
                    </a:solidFill>
                    <a:effectLst/>
                    <a:uLnTx/>
                    <a:uFillTx/>
                    <a:latin typeface="Oracle Sans Tab"/>
                    <a:ea typeface="+mn-ea"/>
                    <a:cs typeface="+mn-cs"/>
                  </a:endParaRPr>
                </a:p>
              </p:txBody>
            </p:sp>
            <p:sp>
              <p:nvSpPr>
                <p:cNvPr id="437" name="Oval 436">
                  <a:extLst>
                    <a:ext uri="{FF2B5EF4-FFF2-40B4-BE49-F238E27FC236}">
                      <a16:creationId xmlns:a16="http://schemas.microsoft.com/office/drawing/2014/main" id="{66640945-024A-9F44-8F51-1EC979166DB8}"/>
                    </a:ext>
                  </a:extLst>
                </p:cNvPr>
                <p:cNvSpPr/>
                <p:nvPr>
                  <p:custDataLst>
                    <p:tags r:id="rId333"/>
                  </p:custDataLst>
                </p:nvPr>
              </p:nvSpPr>
              <p:spPr>
                <a:xfrm>
                  <a:off x="-676936" y="1787968"/>
                  <a:ext cx="177080" cy="177080"/>
                </a:xfrm>
                <a:prstGeom prst="ellipse">
                  <a:avLst/>
                </a:prstGeom>
                <a:solidFill>
                  <a:srgbClr val="2C5967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799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12D2A"/>
                    </a:solidFill>
                    <a:effectLst/>
                    <a:uLnTx/>
                    <a:uFillTx/>
                    <a:latin typeface="Oracle Sans Tab"/>
                    <a:ea typeface="+mn-ea"/>
                    <a:cs typeface="+mn-cs"/>
                  </a:endParaRPr>
                </a:p>
              </p:txBody>
            </p:sp>
          </p:grpSp>
          <p:cxnSp>
            <p:nvCxnSpPr>
              <p:cNvPr id="478" name="Straight Connector 477">
                <a:extLst>
                  <a:ext uri="{FF2B5EF4-FFF2-40B4-BE49-F238E27FC236}">
                    <a16:creationId xmlns:a16="http://schemas.microsoft.com/office/drawing/2014/main" id="{BCDFCE07-90A4-7949-B139-F88DB5AB6D09}"/>
                  </a:ext>
                </a:extLst>
              </p:cNvPr>
              <p:cNvCxnSpPr/>
              <p:nvPr>
                <p:custDataLst>
                  <p:tags r:id="rId331"/>
                </p:custDataLst>
              </p:nvPr>
            </p:nvCxnSpPr>
            <p:spPr>
              <a:xfrm flipH="1">
                <a:off x="5679648" y="1832053"/>
                <a:ext cx="0" cy="289452"/>
              </a:xfrm>
              <a:prstGeom prst="line">
                <a:avLst/>
              </a:prstGeom>
              <a:ln>
                <a:solidFill>
                  <a:srgbClr val="2C5967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2" name="Group 31">
              <a:extLst>
                <a:ext uri="{FF2B5EF4-FFF2-40B4-BE49-F238E27FC236}">
                  <a16:creationId xmlns:a16="http://schemas.microsoft.com/office/drawing/2014/main" id="{E4191E20-32BD-8E43-9E47-AA612F6A7790}"/>
                </a:ext>
              </a:extLst>
            </p:cNvPr>
            <p:cNvGrpSpPr/>
            <p:nvPr>
              <p:custDataLst>
                <p:tags r:id="rId324"/>
              </p:custDataLst>
            </p:nvPr>
          </p:nvGrpSpPr>
          <p:grpSpPr>
            <a:xfrm>
              <a:off x="5419108" y="1622849"/>
              <a:ext cx="535026" cy="197966"/>
              <a:chOff x="5419108" y="1622849"/>
              <a:chExt cx="535026" cy="197966"/>
            </a:xfrm>
          </p:grpSpPr>
          <p:sp>
            <p:nvSpPr>
              <p:cNvPr id="461" name="TextBox 460">
                <a:extLst>
                  <a:ext uri="{FF2B5EF4-FFF2-40B4-BE49-F238E27FC236}">
                    <a16:creationId xmlns:a16="http://schemas.microsoft.com/office/drawing/2014/main" id="{BBE5F455-89AC-5F4C-B331-FC344949409C}"/>
                  </a:ext>
                </a:extLst>
              </p:cNvPr>
              <p:cNvSpPr txBox="1"/>
              <p:nvPr>
                <p:custDataLst>
                  <p:tags r:id="rId325"/>
                </p:custDataLst>
              </p:nvPr>
            </p:nvSpPr>
            <p:spPr>
              <a:xfrm>
                <a:off x="5419108" y="1622849"/>
                <a:ext cx="535026" cy="110245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7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12D2A"/>
                    </a:solidFill>
                    <a:effectLst/>
                    <a:uLnTx/>
                    <a:uFillTx/>
                    <a:latin typeface="Oracle Sans Semi Bold" panose="020B0503020204020204" pitchFamily="34" charset="0"/>
                    <a:ea typeface="+mn-ea"/>
                    <a:cs typeface="Oracle Sans Semi Bold" panose="020B0503020204020204" pitchFamily="34" charset="0"/>
                  </a:rPr>
                  <a:t>London</a:t>
                </a:r>
              </a:p>
            </p:txBody>
          </p:sp>
          <p:grpSp>
            <p:nvGrpSpPr>
              <p:cNvPr id="578" name="Group 577">
                <a:extLst>
                  <a:ext uri="{FF2B5EF4-FFF2-40B4-BE49-F238E27FC236}">
                    <a16:creationId xmlns:a16="http://schemas.microsoft.com/office/drawing/2014/main" id="{7C3A57E8-4BEF-3442-91A3-46110515B518}"/>
                  </a:ext>
                </a:extLst>
              </p:cNvPr>
              <p:cNvGrpSpPr/>
              <p:nvPr>
                <p:custDataLst>
                  <p:tags r:id="rId326"/>
                </p:custDataLst>
              </p:nvPr>
            </p:nvGrpSpPr>
            <p:grpSpPr>
              <a:xfrm>
                <a:off x="5561176" y="1734460"/>
                <a:ext cx="250891" cy="86355"/>
                <a:chOff x="1416837" y="1618060"/>
                <a:chExt cx="250891" cy="86355"/>
              </a:xfrm>
            </p:grpSpPr>
            <p:sp>
              <p:nvSpPr>
                <p:cNvPr id="581" name="Rounded Rectangle 580">
                  <a:extLst>
                    <a:ext uri="{FF2B5EF4-FFF2-40B4-BE49-F238E27FC236}">
                      <a16:creationId xmlns:a16="http://schemas.microsoft.com/office/drawing/2014/main" id="{87B0BC4A-9752-294B-8C61-9F7F8D38013A}"/>
                    </a:ext>
                  </a:extLst>
                </p:cNvPr>
                <p:cNvSpPr>
                  <a:spLocks noChangeAspect="1"/>
                </p:cNvSpPr>
                <p:nvPr>
                  <p:custDataLst>
                    <p:tags r:id="rId327"/>
                  </p:custDataLst>
                </p:nvPr>
              </p:nvSpPr>
              <p:spPr>
                <a:xfrm>
                  <a:off x="1416837" y="1624642"/>
                  <a:ext cx="65931" cy="65931"/>
                </a:xfrm>
                <a:prstGeom prst="roundRect">
                  <a:avLst>
                    <a:gd name="adj" fmla="val 10205"/>
                  </a:avLst>
                </a:prstGeom>
                <a:solidFill>
                  <a:schemeClr val="accent1"/>
                </a:solidFill>
                <a:ln w="9525" cap="flat">
                  <a:noFill/>
                  <a:prstDash val="solid"/>
                  <a:miter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0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312D2A"/>
                      </a:solidFill>
                      <a:effectLst/>
                      <a:uLnTx/>
                      <a:uFillTx/>
                      <a:latin typeface="Oracle Sans Tab"/>
                      <a:ea typeface="+mn-ea"/>
                      <a:cs typeface="+mn-cs"/>
                    </a:rPr>
                    <a:t>   </a:t>
                  </a:r>
                </a:p>
              </p:txBody>
            </p:sp>
            <p:sp>
              <p:nvSpPr>
                <p:cNvPr id="582" name="Rounded Rectangle 581">
                  <a:extLst>
                    <a:ext uri="{FF2B5EF4-FFF2-40B4-BE49-F238E27FC236}">
                      <a16:creationId xmlns:a16="http://schemas.microsoft.com/office/drawing/2014/main" id="{B9C3F4E8-2C52-BC4B-A410-C5B2DFF5461A}"/>
                    </a:ext>
                  </a:extLst>
                </p:cNvPr>
                <p:cNvSpPr>
                  <a:spLocks noChangeAspect="1"/>
                </p:cNvSpPr>
                <p:nvPr>
                  <p:custDataLst>
                    <p:tags r:id="rId328"/>
                  </p:custDataLst>
                </p:nvPr>
              </p:nvSpPr>
              <p:spPr>
                <a:xfrm>
                  <a:off x="1502911" y="1624642"/>
                  <a:ext cx="65931" cy="65931"/>
                </a:xfrm>
                <a:prstGeom prst="roundRect">
                  <a:avLst>
                    <a:gd name="adj" fmla="val 10205"/>
                  </a:avLst>
                </a:prstGeom>
                <a:solidFill>
                  <a:srgbClr val="41817E"/>
                </a:solidFill>
                <a:ln w="9525" cap="flat">
                  <a:noFill/>
                  <a:prstDash val="solid"/>
                  <a:miter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0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312D2A"/>
                      </a:solidFill>
                      <a:effectLst/>
                      <a:uLnTx/>
                      <a:uFillTx/>
                      <a:latin typeface="Oracle Sans Tab"/>
                      <a:ea typeface="+mn-ea"/>
                      <a:cs typeface="+mn-cs"/>
                    </a:rPr>
                    <a:t>   </a:t>
                  </a:r>
                </a:p>
              </p:txBody>
            </p:sp>
            <p:pic>
              <p:nvPicPr>
                <p:cNvPr id="583" name="Graphic 582">
                  <a:extLst>
                    <a:ext uri="{FF2B5EF4-FFF2-40B4-BE49-F238E27FC236}">
                      <a16:creationId xmlns:a16="http://schemas.microsoft.com/office/drawing/2014/main" id="{A45AF687-B907-E94D-AF6B-08758EE8855F}"/>
                    </a:ext>
                  </a:extLst>
                </p:cNvPr>
                <p:cNvPicPr>
                  <a:picLocks noChangeAspect="1"/>
                </p:cNvPicPr>
                <p:nvPr>
                  <p:custDataLst>
                    <p:tags r:id="rId329"/>
                  </p:custDataLst>
                </p:nvPr>
              </p:nvPicPr>
              <p:blipFill>
                <a:blip r:embed="rId400">
                  <a:extLst>
                    <a:ext uri="{28A0092B-C50C-407E-A947-70E740481C1C}">
                      <a14:useLocalDpi xmlns:a14="http://schemas.microsoft.com/office/drawing/2010/main"/>
                    </a:ext>
                    <a:ext uri="{96DAC541-7B7A-43D3-8B79-37D633B846F1}">
                      <asvg:svgBlip xmlns:asvg="http://schemas.microsoft.com/office/drawing/2016/SVG/main" xmlns="" r:embed="rId402"/>
                    </a:ext>
                  </a:extLst>
                </a:blip>
                <a:srcRect l="18105" t="74641" r="15135" b="15469"/>
                <a:stretch>
                  <a:fillRect/>
                </a:stretch>
              </p:blipFill>
              <p:spPr>
                <a:xfrm>
                  <a:off x="1574470" y="1618060"/>
                  <a:ext cx="93258" cy="86355"/>
                </a:xfrm>
                <a:prstGeom prst="rect">
                  <a:avLst/>
                </a:prstGeom>
              </p:spPr>
            </p:pic>
          </p:grpSp>
        </p:grpSp>
      </p:grpSp>
      <p:grpSp>
        <p:nvGrpSpPr>
          <p:cNvPr id="512" name="Group 511">
            <a:extLst>
              <a:ext uri="{FF2B5EF4-FFF2-40B4-BE49-F238E27FC236}">
                <a16:creationId xmlns:a16="http://schemas.microsoft.com/office/drawing/2014/main" id="{5F9DC051-53F4-D04A-81C8-9BF837475073}"/>
              </a:ext>
            </a:extLst>
          </p:cNvPr>
          <p:cNvGrpSpPr/>
          <p:nvPr/>
        </p:nvGrpSpPr>
        <p:grpSpPr>
          <a:xfrm>
            <a:off x="5713818" y="2150866"/>
            <a:ext cx="635109" cy="540173"/>
            <a:chOff x="5743547" y="2089065"/>
            <a:chExt cx="635109" cy="540173"/>
          </a:xfrm>
        </p:grpSpPr>
        <p:sp>
          <p:nvSpPr>
            <p:cNvPr id="563" name="TextBox 562">
              <a:extLst>
                <a:ext uri="{FF2B5EF4-FFF2-40B4-BE49-F238E27FC236}">
                  <a16:creationId xmlns:a16="http://schemas.microsoft.com/office/drawing/2014/main" id="{C81EC80A-C632-3F4C-92C0-70A3D733809C}"/>
                </a:ext>
              </a:extLst>
            </p:cNvPr>
            <p:cNvSpPr txBox="1"/>
            <p:nvPr>
              <p:custDataLst>
                <p:tags r:id="rId317"/>
              </p:custDataLst>
            </p:nvPr>
          </p:nvSpPr>
          <p:spPr>
            <a:xfrm>
              <a:off x="5743547" y="2519021"/>
              <a:ext cx="635109" cy="11021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00" b="0" i="0" u="none" strike="noStrike" kern="1200" cap="none" spc="0" normalizeH="0" baseline="0" noProof="0" dirty="0">
                  <a:ln>
                    <a:noFill/>
                  </a:ln>
                  <a:solidFill>
                    <a:srgbClr val="312D2A"/>
                  </a:solidFill>
                  <a:effectLst/>
                  <a:uLnTx/>
                  <a:uFillTx/>
                  <a:latin typeface="Oracle Sans Semi Bold" panose="020B0503020204020204" pitchFamily="34" charset="0"/>
                  <a:ea typeface="+mn-ea"/>
                  <a:cs typeface="Oracle Sans Semi Bold" panose="020B0503020204020204" pitchFamily="34" charset="0"/>
                </a:rPr>
                <a:t>Milan</a:t>
              </a:r>
            </a:p>
          </p:txBody>
        </p:sp>
        <p:grpSp>
          <p:nvGrpSpPr>
            <p:cNvPr id="44" name="Group 43">
              <a:extLst>
                <a:ext uri="{FF2B5EF4-FFF2-40B4-BE49-F238E27FC236}">
                  <a16:creationId xmlns:a16="http://schemas.microsoft.com/office/drawing/2014/main" id="{2338A04D-2667-B14C-89CD-9EEAA755003C}"/>
                </a:ext>
              </a:extLst>
            </p:cNvPr>
            <p:cNvGrpSpPr/>
            <p:nvPr>
              <p:custDataLst>
                <p:tags r:id="rId318"/>
              </p:custDataLst>
            </p:nvPr>
          </p:nvGrpSpPr>
          <p:grpSpPr>
            <a:xfrm>
              <a:off x="5939053" y="2089065"/>
              <a:ext cx="244097" cy="402796"/>
              <a:chOff x="6056897" y="2220407"/>
              <a:chExt cx="244160" cy="402901"/>
            </a:xfrm>
          </p:grpSpPr>
          <p:grpSp>
            <p:nvGrpSpPr>
              <p:cNvPr id="423" name="Group 422">
                <a:extLst>
                  <a:ext uri="{FF2B5EF4-FFF2-40B4-BE49-F238E27FC236}">
                    <a16:creationId xmlns:a16="http://schemas.microsoft.com/office/drawing/2014/main" id="{D3F124F2-7463-9243-A1DD-4AD5291203C4}"/>
                  </a:ext>
                </a:extLst>
              </p:cNvPr>
              <p:cNvGrpSpPr/>
              <p:nvPr>
                <p:custDataLst>
                  <p:tags r:id="rId319"/>
                </p:custDataLst>
              </p:nvPr>
            </p:nvGrpSpPr>
            <p:grpSpPr>
              <a:xfrm>
                <a:off x="6056897" y="2220407"/>
                <a:ext cx="244160" cy="244160"/>
                <a:chOff x="-763325" y="1701579"/>
                <a:chExt cx="349858" cy="349858"/>
              </a:xfrm>
            </p:grpSpPr>
            <p:sp>
              <p:nvSpPr>
                <p:cNvPr id="424" name="Oval 423">
                  <a:extLst>
                    <a:ext uri="{FF2B5EF4-FFF2-40B4-BE49-F238E27FC236}">
                      <a16:creationId xmlns:a16="http://schemas.microsoft.com/office/drawing/2014/main" id="{DEAA457A-4C65-884C-B750-417E1C8F781C}"/>
                    </a:ext>
                  </a:extLst>
                </p:cNvPr>
                <p:cNvSpPr/>
                <p:nvPr>
                  <p:custDataLst>
                    <p:tags r:id="rId321"/>
                  </p:custDataLst>
                </p:nvPr>
              </p:nvSpPr>
              <p:spPr>
                <a:xfrm>
                  <a:off x="-763325" y="1701579"/>
                  <a:ext cx="349858" cy="349858"/>
                </a:xfrm>
                <a:prstGeom prst="ellipse">
                  <a:avLst/>
                </a:prstGeom>
                <a:solidFill>
                  <a:srgbClr val="2C5967">
                    <a:alpha val="42000"/>
                  </a:srgb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799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12D2A"/>
                    </a:solidFill>
                    <a:effectLst/>
                    <a:uLnTx/>
                    <a:uFillTx/>
                    <a:latin typeface="Oracle Sans Tab"/>
                    <a:ea typeface="+mn-ea"/>
                    <a:cs typeface="+mn-cs"/>
                  </a:endParaRPr>
                </a:p>
              </p:txBody>
            </p:sp>
            <p:sp>
              <p:nvSpPr>
                <p:cNvPr id="425" name="Oval 424">
                  <a:extLst>
                    <a:ext uri="{FF2B5EF4-FFF2-40B4-BE49-F238E27FC236}">
                      <a16:creationId xmlns:a16="http://schemas.microsoft.com/office/drawing/2014/main" id="{9D7F66B5-9015-A549-BC7F-F02CB484DEE0}"/>
                    </a:ext>
                  </a:extLst>
                </p:cNvPr>
                <p:cNvSpPr/>
                <p:nvPr>
                  <p:custDataLst>
                    <p:tags r:id="rId322"/>
                  </p:custDataLst>
                </p:nvPr>
              </p:nvSpPr>
              <p:spPr>
                <a:xfrm>
                  <a:off x="-676936" y="1787968"/>
                  <a:ext cx="177080" cy="177080"/>
                </a:xfrm>
                <a:prstGeom prst="ellipse">
                  <a:avLst/>
                </a:prstGeom>
                <a:solidFill>
                  <a:srgbClr val="2C5967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799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12D2A"/>
                    </a:solidFill>
                    <a:effectLst/>
                    <a:uLnTx/>
                    <a:uFillTx/>
                    <a:latin typeface="Oracle Sans Tab"/>
                    <a:ea typeface="+mn-ea"/>
                    <a:cs typeface="+mn-cs"/>
                  </a:endParaRPr>
                </a:p>
              </p:txBody>
            </p:sp>
          </p:grpSp>
          <p:cxnSp>
            <p:nvCxnSpPr>
              <p:cNvPr id="482" name="Straight Connector 481">
                <a:extLst>
                  <a:ext uri="{FF2B5EF4-FFF2-40B4-BE49-F238E27FC236}">
                    <a16:creationId xmlns:a16="http://schemas.microsoft.com/office/drawing/2014/main" id="{9493CFB9-4484-3741-8CAD-C8A0FE929D2F}"/>
                  </a:ext>
                </a:extLst>
              </p:cNvPr>
              <p:cNvCxnSpPr>
                <a:cxnSpLocks/>
                <a:stCxn id="425" idx="4"/>
              </p:cNvCxnSpPr>
              <p:nvPr>
                <p:custDataLst>
                  <p:tags r:id="rId320"/>
                </p:custDataLst>
              </p:nvPr>
            </p:nvCxnSpPr>
            <p:spPr>
              <a:xfrm flipH="1">
                <a:off x="6178976" y="2404278"/>
                <a:ext cx="1" cy="219030"/>
              </a:xfrm>
              <a:prstGeom prst="line">
                <a:avLst/>
              </a:prstGeom>
              <a:ln>
                <a:solidFill>
                  <a:srgbClr val="2C5967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47" name="Group 46">
            <a:extLst>
              <a:ext uri="{FF2B5EF4-FFF2-40B4-BE49-F238E27FC236}">
                <a16:creationId xmlns:a16="http://schemas.microsoft.com/office/drawing/2014/main" id="{1367D2FA-0C8D-0A4D-A9B4-B5A23B339F2D}"/>
              </a:ext>
            </a:extLst>
          </p:cNvPr>
          <p:cNvGrpSpPr/>
          <p:nvPr>
            <p:custDataLst>
              <p:tags r:id="rId15"/>
            </p:custDataLst>
          </p:nvPr>
        </p:nvGrpSpPr>
        <p:grpSpPr>
          <a:xfrm>
            <a:off x="6853027" y="2180121"/>
            <a:ext cx="690541" cy="615919"/>
            <a:chOff x="6781750" y="2160554"/>
            <a:chExt cx="690721" cy="616077"/>
          </a:xfrm>
        </p:grpSpPr>
        <p:sp>
          <p:nvSpPr>
            <p:cNvPr id="575" name="TextBox 574">
              <a:extLst>
                <a:ext uri="{FF2B5EF4-FFF2-40B4-BE49-F238E27FC236}">
                  <a16:creationId xmlns:a16="http://schemas.microsoft.com/office/drawing/2014/main" id="{3CDD8FAC-9E6A-B34F-BCCE-052C82C7828C}"/>
                </a:ext>
              </a:extLst>
            </p:cNvPr>
            <p:cNvSpPr txBox="1"/>
            <p:nvPr>
              <p:custDataLst>
                <p:tags r:id="rId310"/>
              </p:custDataLst>
            </p:nvPr>
          </p:nvSpPr>
          <p:spPr>
            <a:xfrm>
              <a:off x="6781750" y="2160554"/>
              <a:ext cx="690721" cy="10775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00" b="0" i="0" u="none" strike="noStrike" kern="1200" cap="none" spc="0" normalizeH="0" baseline="0" noProof="0" dirty="0">
                  <a:ln>
                    <a:noFill/>
                  </a:ln>
                  <a:solidFill>
                    <a:srgbClr val="312D2A"/>
                  </a:solidFill>
                  <a:effectLst/>
                  <a:uLnTx/>
                  <a:uFillTx/>
                  <a:latin typeface="Oracle Sans Semi Bold" panose="020B0503020204020204" pitchFamily="34" charset="0"/>
                  <a:ea typeface="+mn-ea"/>
                  <a:cs typeface="Oracle Sans Semi Bold" panose="020B0503020204020204" pitchFamily="34" charset="0"/>
                </a:rPr>
                <a:t>Saudi Arabia 2</a:t>
              </a:r>
            </a:p>
          </p:txBody>
        </p:sp>
        <p:grpSp>
          <p:nvGrpSpPr>
            <p:cNvPr id="46" name="Group 45">
              <a:extLst>
                <a:ext uri="{FF2B5EF4-FFF2-40B4-BE49-F238E27FC236}">
                  <a16:creationId xmlns:a16="http://schemas.microsoft.com/office/drawing/2014/main" id="{AF48F38A-7F75-9A48-BBE9-FA6319DC79BD}"/>
                </a:ext>
              </a:extLst>
            </p:cNvPr>
            <p:cNvGrpSpPr/>
            <p:nvPr>
              <p:custDataLst>
                <p:tags r:id="rId311"/>
              </p:custDataLst>
            </p:nvPr>
          </p:nvGrpSpPr>
          <p:grpSpPr>
            <a:xfrm>
              <a:off x="6966306" y="2357115"/>
              <a:ext cx="244160" cy="419516"/>
              <a:chOff x="6966306" y="2357115"/>
              <a:chExt cx="244160" cy="419516"/>
            </a:xfrm>
          </p:grpSpPr>
          <p:grpSp>
            <p:nvGrpSpPr>
              <p:cNvPr id="454" name="Group 453">
                <a:extLst>
                  <a:ext uri="{FF2B5EF4-FFF2-40B4-BE49-F238E27FC236}">
                    <a16:creationId xmlns:a16="http://schemas.microsoft.com/office/drawing/2014/main" id="{BBC797C7-2414-594A-B449-16B6348AF0FE}"/>
                  </a:ext>
                </a:extLst>
              </p:cNvPr>
              <p:cNvGrpSpPr/>
              <p:nvPr>
                <p:custDataLst>
                  <p:tags r:id="rId313"/>
                </p:custDataLst>
              </p:nvPr>
            </p:nvGrpSpPr>
            <p:grpSpPr>
              <a:xfrm>
                <a:off x="6966306" y="2532471"/>
                <a:ext cx="244160" cy="244160"/>
                <a:chOff x="-763325" y="1701579"/>
                <a:chExt cx="349858" cy="349858"/>
              </a:xfrm>
            </p:grpSpPr>
            <p:sp>
              <p:nvSpPr>
                <p:cNvPr id="455" name="Oval 454">
                  <a:extLst>
                    <a:ext uri="{FF2B5EF4-FFF2-40B4-BE49-F238E27FC236}">
                      <a16:creationId xmlns:a16="http://schemas.microsoft.com/office/drawing/2014/main" id="{B188A9C6-9AAC-F541-A7D1-6D9AC5460463}"/>
                    </a:ext>
                  </a:extLst>
                </p:cNvPr>
                <p:cNvSpPr/>
                <p:nvPr>
                  <p:custDataLst>
                    <p:tags r:id="rId315"/>
                  </p:custDataLst>
                </p:nvPr>
              </p:nvSpPr>
              <p:spPr>
                <a:xfrm>
                  <a:off x="-763325" y="1701579"/>
                  <a:ext cx="349858" cy="349858"/>
                </a:xfrm>
                <a:prstGeom prst="ellipse">
                  <a:avLst/>
                </a:prstGeom>
                <a:solidFill>
                  <a:srgbClr val="2C5967">
                    <a:alpha val="42000"/>
                  </a:srgb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799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12D2A"/>
                    </a:solidFill>
                    <a:effectLst/>
                    <a:uLnTx/>
                    <a:uFillTx/>
                    <a:latin typeface="Oracle Sans Tab"/>
                    <a:ea typeface="+mn-ea"/>
                    <a:cs typeface="+mn-cs"/>
                  </a:endParaRPr>
                </a:p>
              </p:txBody>
            </p:sp>
            <p:sp>
              <p:nvSpPr>
                <p:cNvPr id="460" name="Oval 459">
                  <a:extLst>
                    <a:ext uri="{FF2B5EF4-FFF2-40B4-BE49-F238E27FC236}">
                      <a16:creationId xmlns:a16="http://schemas.microsoft.com/office/drawing/2014/main" id="{C6575DC6-43ED-EA4E-8B0F-517B4E733217}"/>
                    </a:ext>
                  </a:extLst>
                </p:cNvPr>
                <p:cNvSpPr/>
                <p:nvPr>
                  <p:custDataLst>
                    <p:tags r:id="rId316"/>
                  </p:custDataLst>
                </p:nvPr>
              </p:nvSpPr>
              <p:spPr>
                <a:xfrm>
                  <a:off x="-676936" y="1787968"/>
                  <a:ext cx="177080" cy="177080"/>
                </a:xfrm>
                <a:prstGeom prst="ellipse">
                  <a:avLst/>
                </a:prstGeom>
                <a:solidFill>
                  <a:srgbClr val="2C5967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799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12D2A"/>
                    </a:solidFill>
                    <a:effectLst/>
                    <a:uLnTx/>
                    <a:uFillTx/>
                    <a:latin typeface="Oracle Sans Tab"/>
                    <a:ea typeface="+mn-ea"/>
                    <a:cs typeface="+mn-cs"/>
                  </a:endParaRPr>
                </a:p>
              </p:txBody>
            </p:sp>
          </p:grpSp>
          <p:cxnSp>
            <p:nvCxnSpPr>
              <p:cNvPr id="495" name="Straight Connector 494">
                <a:extLst>
                  <a:ext uri="{FF2B5EF4-FFF2-40B4-BE49-F238E27FC236}">
                    <a16:creationId xmlns:a16="http://schemas.microsoft.com/office/drawing/2014/main" id="{FC7993F8-32FC-8947-B9E9-49BA9D1141F9}"/>
                  </a:ext>
                </a:extLst>
              </p:cNvPr>
              <p:cNvCxnSpPr>
                <a:cxnSpLocks/>
                <a:endCxn id="460" idx="0"/>
              </p:cNvCxnSpPr>
              <p:nvPr>
                <p:custDataLst>
                  <p:tags r:id="rId314"/>
                </p:custDataLst>
              </p:nvPr>
            </p:nvCxnSpPr>
            <p:spPr>
              <a:xfrm flipH="1">
                <a:off x="7088387" y="2357115"/>
                <a:ext cx="2784" cy="235645"/>
              </a:xfrm>
              <a:prstGeom prst="line">
                <a:avLst/>
              </a:prstGeom>
              <a:ln>
                <a:solidFill>
                  <a:srgbClr val="2C5967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586" name="Rounded Rectangle 585">
              <a:extLst>
                <a:ext uri="{FF2B5EF4-FFF2-40B4-BE49-F238E27FC236}">
                  <a16:creationId xmlns:a16="http://schemas.microsoft.com/office/drawing/2014/main" id="{641C3363-5460-6F4E-9433-12696CFE25ED}"/>
                </a:ext>
              </a:extLst>
            </p:cNvPr>
            <p:cNvSpPr>
              <a:spLocks noChangeAspect="1"/>
            </p:cNvSpPr>
            <p:nvPr>
              <p:custDataLst>
                <p:tags r:id="rId312"/>
              </p:custDataLst>
            </p:nvPr>
          </p:nvSpPr>
          <p:spPr>
            <a:xfrm>
              <a:off x="7056450" y="2269811"/>
              <a:ext cx="65931" cy="65931"/>
            </a:xfrm>
            <a:prstGeom prst="roundRect">
              <a:avLst>
                <a:gd name="adj" fmla="val 10205"/>
              </a:avLst>
            </a:prstGeom>
            <a:noFill/>
            <a:ln w="1270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312D2A"/>
                  </a:solidFill>
                  <a:effectLst/>
                  <a:uLnTx/>
                  <a:uFillTx/>
                  <a:latin typeface="Oracle Sans Tab"/>
                  <a:ea typeface="+mn-ea"/>
                  <a:cs typeface="+mn-cs"/>
                </a:rPr>
                <a:t>   </a:t>
              </a:r>
            </a:p>
          </p:txBody>
        </p:sp>
      </p:grpSp>
      <p:grpSp>
        <p:nvGrpSpPr>
          <p:cNvPr id="55" name="Group 54">
            <a:extLst>
              <a:ext uri="{FF2B5EF4-FFF2-40B4-BE49-F238E27FC236}">
                <a16:creationId xmlns:a16="http://schemas.microsoft.com/office/drawing/2014/main" id="{D83AFD5D-1579-514F-B329-393BFE2CE69F}"/>
              </a:ext>
            </a:extLst>
          </p:cNvPr>
          <p:cNvGrpSpPr/>
          <p:nvPr>
            <p:custDataLst>
              <p:tags r:id="rId16"/>
            </p:custDataLst>
          </p:nvPr>
        </p:nvGrpSpPr>
        <p:grpSpPr>
          <a:xfrm>
            <a:off x="6749206" y="2600533"/>
            <a:ext cx="635109" cy="926840"/>
            <a:chOff x="6851575" y="2629970"/>
            <a:chExt cx="635274" cy="927081"/>
          </a:xfrm>
        </p:grpSpPr>
        <p:sp>
          <p:nvSpPr>
            <p:cNvPr id="593" name="TextBox 592">
              <a:extLst>
                <a:ext uri="{FF2B5EF4-FFF2-40B4-BE49-F238E27FC236}">
                  <a16:creationId xmlns:a16="http://schemas.microsoft.com/office/drawing/2014/main" id="{6CF0ED54-4A07-A740-902B-457E21B0A3F1}"/>
                </a:ext>
              </a:extLst>
            </p:cNvPr>
            <p:cNvSpPr txBox="1"/>
            <p:nvPr>
              <p:custDataLst>
                <p:tags r:id="rId303"/>
              </p:custDataLst>
            </p:nvPr>
          </p:nvSpPr>
          <p:spPr>
            <a:xfrm>
              <a:off x="6851575" y="3380469"/>
              <a:ext cx="635274" cy="11024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00" b="0" i="0" u="none" strike="noStrike" kern="1200" cap="none" spc="0" normalizeH="0" baseline="0" noProof="0" dirty="0">
                  <a:ln>
                    <a:noFill/>
                  </a:ln>
                  <a:solidFill>
                    <a:srgbClr val="312D2A"/>
                  </a:solidFill>
                  <a:effectLst/>
                  <a:uLnTx/>
                  <a:uFillTx/>
                  <a:latin typeface="Oracle Sans Semi Bold" panose="020B0503020204020204" pitchFamily="34" charset="0"/>
                  <a:ea typeface="+mn-ea"/>
                  <a:cs typeface="Oracle Sans Semi Bold" panose="020B0503020204020204" pitchFamily="34" charset="0"/>
                </a:rPr>
                <a:t>Jeddah</a:t>
              </a:r>
            </a:p>
          </p:txBody>
        </p:sp>
        <p:grpSp>
          <p:nvGrpSpPr>
            <p:cNvPr id="54" name="Group 53">
              <a:extLst>
                <a:ext uri="{FF2B5EF4-FFF2-40B4-BE49-F238E27FC236}">
                  <a16:creationId xmlns:a16="http://schemas.microsoft.com/office/drawing/2014/main" id="{1AC5DF2A-4A35-214B-8DFE-4E2C12B64F97}"/>
                </a:ext>
              </a:extLst>
            </p:cNvPr>
            <p:cNvGrpSpPr/>
            <p:nvPr>
              <p:custDataLst>
                <p:tags r:id="rId304"/>
              </p:custDataLst>
            </p:nvPr>
          </p:nvGrpSpPr>
          <p:grpSpPr>
            <a:xfrm>
              <a:off x="7047208" y="2629970"/>
              <a:ext cx="244160" cy="722775"/>
              <a:chOff x="7047208" y="2629970"/>
              <a:chExt cx="244160" cy="722775"/>
            </a:xfrm>
          </p:grpSpPr>
          <p:grpSp>
            <p:nvGrpSpPr>
              <p:cNvPr id="465" name="Group 464">
                <a:extLst>
                  <a:ext uri="{FF2B5EF4-FFF2-40B4-BE49-F238E27FC236}">
                    <a16:creationId xmlns:a16="http://schemas.microsoft.com/office/drawing/2014/main" id="{7D4D63B6-6E57-514E-902F-554D68758E5E}"/>
                  </a:ext>
                </a:extLst>
              </p:cNvPr>
              <p:cNvGrpSpPr/>
              <p:nvPr>
                <p:custDataLst>
                  <p:tags r:id="rId306"/>
                </p:custDataLst>
              </p:nvPr>
            </p:nvGrpSpPr>
            <p:grpSpPr>
              <a:xfrm>
                <a:off x="7047208" y="2629970"/>
                <a:ext cx="244160" cy="244160"/>
                <a:chOff x="-763325" y="1701579"/>
                <a:chExt cx="349858" cy="349858"/>
              </a:xfrm>
            </p:grpSpPr>
            <p:sp>
              <p:nvSpPr>
                <p:cNvPr id="471" name="Oval 470">
                  <a:extLst>
                    <a:ext uri="{FF2B5EF4-FFF2-40B4-BE49-F238E27FC236}">
                      <a16:creationId xmlns:a16="http://schemas.microsoft.com/office/drawing/2014/main" id="{DC803D86-1DB0-CB46-AA2D-5A9C6E1B4810}"/>
                    </a:ext>
                  </a:extLst>
                </p:cNvPr>
                <p:cNvSpPr/>
                <p:nvPr>
                  <p:custDataLst>
                    <p:tags r:id="rId308"/>
                  </p:custDataLst>
                </p:nvPr>
              </p:nvSpPr>
              <p:spPr>
                <a:xfrm>
                  <a:off x="-763325" y="1701579"/>
                  <a:ext cx="349858" cy="349858"/>
                </a:xfrm>
                <a:prstGeom prst="ellipse">
                  <a:avLst/>
                </a:prstGeom>
                <a:solidFill>
                  <a:srgbClr val="2C5967">
                    <a:alpha val="42000"/>
                  </a:srgb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799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12D2A"/>
                    </a:solidFill>
                    <a:effectLst/>
                    <a:uLnTx/>
                    <a:uFillTx/>
                    <a:latin typeface="Oracle Sans Tab"/>
                    <a:ea typeface="+mn-ea"/>
                    <a:cs typeface="+mn-cs"/>
                  </a:endParaRPr>
                </a:p>
              </p:txBody>
            </p:sp>
            <p:sp>
              <p:nvSpPr>
                <p:cNvPr id="473" name="Oval 472">
                  <a:extLst>
                    <a:ext uri="{FF2B5EF4-FFF2-40B4-BE49-F238E27FC236}">
                      <a16:creationId xmlns:a16="http://schemas.microsoft.com/office/drawing/2014/main" id="{0EB19623-C85D-7D41-B699-4B4AB570D7BD}"/>
                    </a:ext>
                  </a:extLst>
                </p:cNvPr>
                <p:cNvSpPr/>
                <p:nvPr>
                  <p:custDataLst>
                    <p:tags r:id="rId309"/>
                  </p:custDataLst>
                </p:nvPr>
              </p:nvSpPr>
              <p:spPr>
                <a:xfrm>
                  <a:off x="-676936" y="1787968"/>
                  <a:ext cx="177080" cy="177080"/>
                </a:xfrm>
                <a:prstGeom prst="ellipse">
                  <a:avLst/>
                </a:prstGeom>
                <a:solidFill>
                  <a:srgbClr val="2C5967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799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12D2A"/>
                    </a:solidFill>
                    <a:effectLst/>
                    <a:uLnTx/>
                    <a:uFillTx/>
                    <a:latin typeface="Oracle Sans Tab"/>
                    <a:ea typeface="+mn-ea"/>
                    <a:cs typeface="+mn-cs"/>
                  </a:endParaRPr>
                </a:p>
              </p:txBody>
            </p:sp>
          </p:grpSp>
          <p:cxnSp>
            <p:nvCxnSpPr>
              <p:cNvPr id="500" name="Straight Connector 499">
                <a:extLst>
                  <a:ext uri="{FF2B5EF4-FFF2-40B4-BE49-F238E27FC236}">
                    <a16:creationId xmlns:a16="http://schemas.microsoft.com/office/drawing/2014/main" id="{06377999-93AB-3241-B193-7CD8AFF74952}"/>
                  </a:ext>
                </a:extLst>
              </p:cNvPr>
              <p:cNvCxnSpPr/>
              <p:nvPr>
                <p:custDataLst>
                  <p:tags r:id="rId307"/>
                </p:custDataLst>
              </p:nvPr>
            </p:nvCxnSpPr>
            <p:spPr>
              <a:xfrm flipH="1">
                <a:off x="7169288" y="2719072"/>
                <a:ext cx="0" cy="633673"/>
              </a:xfrm>
              <a:prstGeom prst="line">
                <a:avLst/>
              </a:prstGeom>
              <a:ln>
                <a:solidFill>
                  <a:srgbClr val="2C5967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588" name="Rounded Rectangle 587">
              <a:extLst>
                <a:ext uri="{FF2B5EF4-FFF2-40B4-BE49-F238E27FC236}">
                  <a16:creationId xmlns:a16="http://schemas.microsoft.com/office/drawing/2014/main" id="{2BA34604-BE64-0641-B055-9975FB5604B2}"/>
                </a:ext>
              </a:extLst>
            </p:cNvPr>
            <p:cNvSpPr>
              <a:spLocks noChangeAspect="1"/>
            </p:cNvSpPr>
            <p:nvPr>
              <p:custDataLst>
                <p:tags r:id="rId305"/>
              </p:custDataLst>
            </p:nvPr>
          </p:nvSpPr>
          <p:spPr>
            <a:xfrm>
              <a:off x="7136323" y="3491120"/>
              <a:ext cx="65931" cy="65931"/>
            </a:xfrm>
            <a:prstGeom prst="roundRect">
              <a:avLst>
                <a:gd name="adj" fmla="val 10205"/>
              </a:avLst>
            </a:prstGeom>
            <a:solidFill>
              <a:schemeClr val="accent1"/>
            </a:solidFill>
            <a:ln w="9525" cap="flat">
              <a:noFill/>
              <a:prstDash val="solid"/>
              <a:miter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312D2A"/>
                  </a:solidFill>
                  <a:effectLst/>
                  <a:uLnTx/>
                  <a:uFillTx/>
                  <a:latin typeface="Oracle Sans Tab"/>
                  <a:ea typeface="+mn-ea"/>
                  <a:cs typeface="+mn-cs"/>
                </a:rPr>
                <a:t>   </a:t>
              </a:r>
            </a:p>
          </p:txBody>
        </p:sp>
      </p:grpSp>
      <p:grpSp>
        <p:nvGrpSpPr>
          <p:cNvPr id="35" name="Group 34">
            <a:extLst>
              <a:ext uri="{FF2B5EF4-FFF2-40B4-BE49-F238E27FC236}">
                <a16:creationId xmlns:a16="http://schemas.microsoft.com/office/drawing/2014/main" id="{5E343D08-E8DC-E049-8D20-5224D50D44AB}"/>
              </a:ext>
            </a:extLst>
          </p:cNvPr>
          <p:cNvGrpSpPr/>
          <p:nvPr>
            <p:custDataLst>
              <p:tags r:id="rId17"/>
            </p:custDataLst>
          </p:nvPr>
        </p:nvGrpSpPr>
        <p:grpSpPr>
          <a:xfrm>
            <a:off x="5558856" y="1311390"/>
            <a:ext cx="534887" cy="991674"/>
            <a:chOff x="5578203" y="1265564"/>
            <a:chExt cx="535026" cy="991932"/>
          </a:xfrm>
        </p:grpSpPr>
        <p:sp>
          <p:nvSpPr>
            <p:cNvPr id="537" name="TextBox 536">
              <a:extLst>
                <a:ext uri="{FF2B5EF4-FFF2-40B4-BE49-F238E27FC236}">
                  <a16:creationId xmlns:a16="http://schemas.microsoft.com/office/drawing/2014/main" id="{23BB9555-9513-9F48-B043-6B7EF3DBD3BA}"/>
                </a:ext>
              </a:extLst>
            </p:cNvPr>
            <p:cNvSpPr txBox="1"/>
            <p:nvPr>
              <p:custDataLst>
                <p:tags r:id="rId294"/>
              </p:custDataLst>
            </p:nvPr>
          </p:nvSpPr>
          <p:spPr>
            <a:xfrm>
              <a:off x="5578203" y="1265564"/>
              <a:ext cx="535026" cy="11024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00" b="0" i="0" u="none" strike="noStrike" kern="1200" cap="none" spc="0" normalizeH="0" baseline="0" noProof="0" dirty="0">
                  <a:ln>
                    <a:noFill/>
                  </a:ln>
                  <a:solidFill>
                    <a:srgbClr val="312D2A"/>
                  </a:solidFill>
                  <a:effectLst/>
                  <a:uLnTx/>
                  <a:uFillTx/>
                  <a:latin typeface="Oracle Sans Semi Bold" panose="020B0503020204020204" pitchFamily="34" charset="0"/>
                  <a:ea typeface="+mn-ea"/>
                  <a:cs typeface="Oracle Sans Semi Bold" panose="020B0503020204020204" pitchFamily="34" charset="0"/>
                </a:rPr>
                <a:t>Amsterdam</a:t>
              </a:r>
            </a:p>
          </p:txBody>
        </p:sp>
        <p:grpSp>
          <p:nvGrpSpPr>
            <p:cNvPr id="34" name="Group 33">
              <a:extLst>
                <a:ext uri="{FF2B5EF4-FFF2-40B4-BE49-F238E27FC236}">
                  <a16:creationId xmlns:a16="http://schemas.microsoft.com/office/drawing/2014/main" id="{A29E0FEA-30AC-5B48-9A4B-5C2FCDDEDF9E}"/>
                </a:ext>
              </a:extLst>
            </p:cNvPr>
            <p:cNvGrpSpPr/>
            <p:nvPr>
              <p:custDataLst>
                <p:tags r:id="rId295"/>
              </p:custDataLst>
            </p:nvPr>
          </p:nvGrpSpPr>
          <p:grpSpPr>
            <a:xfrm>
              <a:off x="5730414" y="1490114"/>
              <a:ext cx="244160" cy="767382"/>
              <a:chOff x="5730414" y="1490114"/>
              <a:chExt cx="244160" cy="767382"/>
            </a:xfrm>
          </p:grpSpPr>
          <p:grpSp>
            <p:nvGrpSpPr>
              <p:cNvPr id="438" name="Group 437">
                <a:extLst>
                  <a:ext uri="{FF2B5EF4-FFF2-40B4-BE49-F238E27FC236}">
                    <a16:creationId xmlns:a16="http://schemas.microsoft.com/office/drawing/2014/main" id="{F2D3EDCF-4904-0C43-9B36-6664EA27407C}"/>
                  </a:ext>
                </a:extLst>
              </p:cNvPr>
              <p:cNvGrpSpPr/>
              <p:nvPr>
                <p:custDataLst>
                  <p:tags r:id="rId299"/>
                </p:custDataLst>
              </p:nvPr>
            </p:nvGrpSpPr>
            <p:grpSpPr>
              <a:xfrm>
                <a:off x="5730414" y="2013336"/>
                <a:ext cx="244160" cy="244160"/>
                <a:chOff x="-763325" y="1701579"/>
                <a:chExt cx="349858" cy="349858"/>
              </a:xfrm>
            </p:grpSpPr>
            <p:sp>
              <p:nvSpPr>
                <p:cNvPr id="439" name="Oval 438">
                  <a:extLst>
                    <a:ext uri="{FF2B5EF4-FFF2-40B4-BE49-F238E27FC236}">
                      <a16:creationId xmlns:a16="http://schemas.microsoft.com/office/drawing/2014/main" id="{72814ADD-92D5-944E-959A-7D355289AB76}"/>
                    </a:ext>
                  </a:extLst>
                </p:cNvPr>
                <p:cNvSpPr/>
                <p:nvPr>
                  <p:custDataLst>
                    <p:tags r:id="rId301"/>
                  </p:custDataLst>
                </p:nvPr>
              </p:nvSpPr>
              <p:spPr>
                <a:xfrm>
                  <a:off x="-763325" y="1701579"/>
                  <a:ext cx="349858" cy="349858"/>
                </a:xfrm>
                <a:prstGeom prst="ellipse">
                  <a:avLst/>
                </a:prstGeom>
                <a:solidFill>
                  <a:srgbClr val="2C5967">
                    <a:alpha val="42000"/>
                  </a:srgb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799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12D2A"/>
                    </a:solidFill>
                    <a:effectLst/>
                    <a:uLnTx/>
                    <a:uFillTx/>
                    <a:latin typeface="Oracle Sans Tab"/>
                    <a:ea typeface="+mn-ea"/>
                    <a:cs typeface="+mn-cs"/>
                  </a:endParaRPr>
                </a:p>
              </p:txBody>
            </p:sp>
            <p:sp>
              <p:nvSpPr>
                <p:cNvPr id="440" name="Oval 439">
                  <a:extLst>
                    <a:ext uri="{FF2B5EF4-FFF2-40B4-BE49-F238E27FC236}">
                      <a16:creationId xmlns:a16="http://schemas.microsoft.com/office/drawing/2014/main" id="{B0C523D9-ADAE-E64C-AE61-E0ECFA2D5921}"/>
                    </a:ext>
                  </a:extLst>
                </p:cNvPr>
                <p:cNvSpPr/>
                <p:nvPr>
                  <p:custDataLst>
                    <p:tags r:id="rId302"/>
                  </p:custDataLst>
                </p:nvPr>
              </p:nvSpPr>
              <p:spPr>
                <a:xfrm>
                  <a:off x="-676936" y="1787968"/>
                  <a:ext cx="177080" cy="177080"/>
                </a:xfrm>
                <a:prstGeom prst="ellipse">
                  <a:avLst/>
                </a:prstGeom>
                <a:solidFill>
                  <a:srgbClr val="2C5967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799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12D2A"/>
                    </a:solidFill>
                    <a:effectLst/>
                    <a:uLnTx/>
                    <a:uFillTx/>
                    <a:latin typeface="Oracle Sans Tab"/>
                    <a:ea typeface="+mn-ea"/>
                    <a:cs typeface="+mn-cs"/>
                  </a:endParaRPr>
                </a:p>
              </p:txBody>
            </p:sp>
          </p:grpSp>
          <p:cxnSp>
            <p:nvCxnSpPr>
              <p:cNvPr id="479" name="Straight Connector 478">
                <a:extLst>
                  <a:ext uri="{FF2B5EF4-FFF2-40B4-BE49-F238E27FC236}">
                    <a16:creationId xmlns:a16="http://schemas.microsoft.com/office/drawing/2014/main" id="{42685BCD-6CA8-3B4A-9BCD-1337D597631E}"/>
                  </a:ext>
                </a:extLst>
              </p:cNvPr>
              <p:cNvCxnSpPr/>
              <p:nvPr>
                <p:custDataLst>
                  <p:tags r:id="rId300"/>
                </p:custDataLst>
              </p:nvPr>
            </p:nvCxnSpPr>
            <p:spPr>
              <a:xfrm flipH="1">
                <a:off x="5847124" y="1490114"/>
                <a:ext cx="0" cy="604458"/>
              </a:xfrm>
              <a:prstGeom prst="line">
                <a:avLst/>
              </a:prstGeom>
              <a:ln>
                <a:solidFill>
                  <a:srgbClr val="2C5967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92" name="Group 591">
              <a:extLst>
                <a:ext uri="{FF2B5EF4-FFF2-40B4-BE49-F238E27FC236}">
                  <a16:creationId xmlns:a16="http://schemas.microsoft.com/office/drawing/2014/main" id="{1F989465-3594-B248-B9BE-6CF98F1B2185}"/>
                </a:ext>
              </a:extLst>
            </p:cNvPr>
            <p:cNvGrpSpPr/>
            <p:nvPr>
              <p:custDataLst>
                <p:tags r:id="rId296"/>
              </p:custDataLst>
            </p:nvPr>
          </p:nvGrpSpPr>
          <p:grpSpPr>
            <a:xfrm>
              <a:off x="5767494" y="1378860"/>
              <a:ext cx="164472" cy="86355"/>
              <a:chOff x="1493037" y="1618060"/>
              <a:chExt cx="164472" cy="86355"/>
            </a:xfrm>
          </p:grpSpPr>
          <p:sp>
            <p:nvSpPr>
              <p:cNvPr id="596" name="Rounded Rectangle 595">
                <a:extLst>
                  <a:ext uri="{FF2B5EF4-FFF2-40B4-BE49-F238E27FC236}">
                    <a16:creationId xmlns:a16="http://schemas.microsoft.com/office/drawing/2014/main" id="{93302F75-E802-944C-98E9-BD6DFF0ECC55}"/>
                  </a:ext>
                </a:extLst>
              </p:cNvPr>
              <p:cNvSpPr>
                <a:spLocks noChangeAspect="1"/>
              </p:cNvSpPr>
              <p:nvPr>
                <p:custDataLst>
                  <p:tags r:id="rId297"/>
                </p:custDataLst>
              </p:nvPr>
            </p:nvSpPr>
            <p:spPr>
              <a:xfrm>
                <a:off x="1493037" y="1624642"/>
                <a:ext cx="65931" cy="65931"/>
              </a:xfrm>
              <a:prstGeom prst="roundRect">
                <a:avLst>
                  <a:gd name="adj" fmla="val 10205"/>
                </a:avLst>
              </a:prstGeom>
              <a:solidFill>
                <a:schemeClr val="accent1"/>
              </a:solidFill>
              <a:ln w="9525" cap="flat">
                <a:noFill/>
                <a:prstDash val="solid"/>
                <a:miter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12D2A"/>
                    </a:solidFill>
                    <a:effectLst/>
                    <a:uLnTx/>
                    <a:uFillTx/>
                    <a:latin typeface="Oracle Sans Tab"/>
                    <a:ea typeface="+mn-ea"/>
                    <a:cs typeface="+mn-cs"/>
                  </a:rPr>
                  <a:t>   </a:t>
                </a:r>
              </a:p>
            </p:txBody>
          </p:sp>
          <p:pic>
            <p:nvPicPr>
              <p:cNvPr id="600" name="Graphic 599">
                <a:extLst>
                  <a:ext uri="{FF2B5EF4-FFF2-40B4-BE49-F238E27FC236}">
                    <a16:creationId xmlns:a16="http://schemas.microsoft.com/office/drawing/2014/main" id="{D0FA82CB-454B-3949-B021-A6CFE2D34162}"/>
                  </a:ext>
                </a:extLst>
              </p:cNvPr>
              <p:cNvPicPr>
                <a:picLocks noChangeAspect="1"/>
              </p:cNvPicPr>
              <p:nvPr>
                <p:custDataLst>
                  <p:tags r:id="rId298"/>
                </p:custDataLst>
              </p:nvPr>
            </p:nvPicPr>
            <p:blipFill>
              <a:blip r:embed="rId400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xmlns="" r:embed="rId402"/>
                  </a:ext>
                </a:extLst>
              </a:blip>
              <a:srcRect l="18105" t="74641" r="15135" b="15469"/>
              <a:stretch>
                <a:fillRect/>
              </a:stretch>
            </p:blipFill>
            <p:spPr>
              <a:xfrm>
                <a:off x="1564251" y="1618060"/>
                <a:ext cx="93258" cy="86355"/>
              </a:xfrm>
              <a:prstGeom prst="rect">
                <a:avLst/>
              </a:prstGeom>
            </p:spPr>
          </p:pic>
        </p:grpSp>
      </p:grpSp>
      <p:grpSp>
        <p:nvGrpSpPr>
          <p:cNvPr id="37" name="Group 36">
            <a:extLst>
              <a:ext uri="{FF2B5EF4-FFF2-40B4-BE49-F238E27FC236}">
                <a16:creationId xmlns:a16="http://schemas.microsoft.com/office/drawing/2014/main" id="{1AF86BF3-83B5-1941-80E9-52C004726665}"/>
              </a:ext>
            </a:extLst>
          </p:cNvPr>
          <p:cNvGrpSpPr/>
          <p:nvPr>
            <p:custDataLst>
              <p:tags r:id="rId18"/>
            </p:custDataLst>
          </p:nvPr>
        </p:nvGrpSpPr>
        <p:grpSpPr>
          <a:xfrm>
            <a:off x="5957288" y="1205003"/>
            <a:ext cx="534887" cy="877149"/>
            <a:chOff x="5957946" y="1107101"/>
            <a:chExt cx="535026" cy="877377"/>
          </a:xfrm>
        </p:grpSpPr>
        <p:sp>
          <p:nvSpPr>
            <p:cNvPr id="551" name="TextBox 550">
              <a:extLst>
                <a:ext uri="{FF2B5EF4-FFF2-40B4-BE49-F238E27FC236}">
                  <a16:creationId xmlns:a16="http://schemas.microsoft.com/office/drawing/2014/main" id="{46E24C5F-CCE8-FD4C-ABEA-8D5A380A5065}"/>
                </a:ext>
              </a:extLst>
            </p:cNvPr>
            <p:cNvSpPr txBox="1"/>
            <p:nvPr>
              <p:custDataLst>
                <p:tags r:id="rId288"/>
              </p:custDataLst>
            </p:nvPr>
          </p:nvSpPr>
          <p:spPr>
            <a:xfrm>
              <a:off x="5957946" y="1107101"/>
              <a:ext cx="535026" cy="11024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00" b="0" i="0" u="none" strike="noStrike" kern="1200" cap="none" spc="0" normalizeH="0" baseline="0" noProof="0" dirty="0">
                  <a:ln>
                    <a:noFill/>
                  </a:ln>
                  <a:solidFill>
                    <a:srgbClr val="312D2A"/>
                  </a:solidFill>
                  <a:effectLst/>
                  <a:uLnTx/>
                  <a:uFillTx/>
                  <a:latin typeface="Oracle Sans Semi Bold" panose="020B0503020204020204" pitchFamily="34" charset="0"/>
                  <a:ea typeface="+mn-ea"/>
                  <a:cs typeface="Oracle Sans Semi Bold" panose="020B0503020204020204" pitchFamily="34" charset="0"/>
                </a:rPr>
                <a:t>Stockholm</a:t>
              </a:r>
            </a:p>
          </p:txBody>
        </p:sp>
        <p:grpSp>
          <p:nvGrpSpPr>
            <p:cNvPr id="36" name="Group 35">
              <a:extLst>
                <a:ext uri="{FF2B5EF4-FFF2-40B4-BE49-F238E27FC236}">
                  <a16:creationId xmlns:a16="http://schemas.microsoft.com/office/drawing/2014/main" id="{A6315EA0-7A67-F54E-8690-FC948C98E8A5}"/>
                </a:ext>
              </a:extLst>
            </p:cNvPr>
            <p:cNvGrpSpPr/>
            <p:nvPr>
              <p:custDataLst>
                <p:tags r:id="rId289"/>
              </p:custDataLst>
            </p:nvPr>
          </p:nvGrpSpPr>
          <p:grpSpPr>
            <a:xfrm>
              <a:off x="6103379" y="1328105"/>
              <a:ext cx="244160" cy="656373"/>
              <a:chOff x="6103379" y="1328105"/>
              <a:chExt cx="244160" cy="656373"/>
            </a:xfrm>
          </p:grpSpPr>
          <p:grpSp>
            <p:nvGrpSpPr>
              <p:cNvPr id="426" name="Group 425">
                <a:extLst>
                  <a:ext uri="{FF2B5EF4-FFF2-40B4-BE49-F238E27FC236}">
                    <a16:creationId xmlns:a16="http://schemas.microsoft.com/office/drawing/2014/main" id="{B550FE8D-59FE-FF4D-8141-922F88574582}"/>
                  </a:ext>
                </a:extLst>
              </p:cNvPr>
              <p:cNvGrpSpPr/>
              <p:nvPr>
                <p:custDataLst>
                  <p:tags r:id="rId290"/>
                </p:custDataLst>
              </p:nvPr>
            </p:nvGrpSpPr>
            <p:grpSpPr>
              <a:xfrm>
                <a:off x="6103379" y="1740318"/>
                <a:ext cx="244160" cy="244160"/>
                <a:chOff x="-763325" y="1701579"/>
                <a:chExt cx="349858" cy="349858"/>
              </a:xfrm>
            </p:grpSpPr>
            <p:sp>
              <p:nvSpPr>
                <p:cNvPr id="427" name="Oval 426">
                  <a:extLst>
                    <a:ext uri="{FF2B5EF4-FFF2-40B4-BE49-F238E27FC236}">
                      <a16:creationId xmlns:a16="http://schemas.microsoft.com/office/drawing/2014/main" id="{17EE94FF-3563-C847-84DE-1062EFD4880D}"/>
                    </a:ext>
                  </a:extLst>
                </p:cNvPr>
                <p:cNvSpPr/>
                <p:nvPr>
                  <p:custDataLst>
                    <p:tags r:id="rId292"/>
                  </p:custDataLst>
                </p:nvPr>
              </p:nvSpPr>
              <p:spPr>
                <a:xfrm>
                  <a:off x="-763325" y="1701579"/>
                  <a:ext cx="349858" cy="349858"/>
                </a:xfrm>
                <a:prstGeom prst="ellipse">
                  <a:avLst/>
                </a:prstGeom>
                <a:solidFill>
                  <a:srgbClr val="2C5967">
                    <a:alpha val="42000"/>
                  </a:srgb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799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12D2A"/>
                    </a:solidFill>
                    <a:effectLst/>
                    <a:uLnTx/>
                    <a:uFillTx/>
                    <a:latin typeface="Oracle Sans Tab"/>
                    <a:ea typeface="+mn-ea"/>
                    <a:cs typeface="+mn-cs"/>
                  </a:endParaRPr>
                </a:p>
              </p:txBody>
            </p:sp>
            <p:sp>
              <p:nvSpPr>
                <p:cNvPr id="428" name="Oval 427">
                  <a:extLst>
                    <a:ext uri="{FF2B5EF4-FFF2-40B4-BE49-F238E27FC236}">
                      <a16:creationId xmlns:a16="http://schemas.microsoft.com/office/drawing/2014/main" id="{97E1C905-E460-BF49-BBCF-EAEFE3367188}"/>
                    </a:ext>
                  </a:extLst>
                </p:cNvPr>
                <p:cNvSpPr/>
                <p:nvPr>
                  <p:custDataLst>
                    <p:tags r:id="rId293"/>
                  </p:custDataLst>
                </p:nvPr>
              </p:nvSpPr>
              <p:spPr>
                <a:xfrm>
                  <a:off x="-676936" y="1787968"/>
                  <a:ext cx="177080" cy="177080"/>
                </a:xfrm>
                <a:prstGeom prst="ellipse">
                  <a:avLst/>
                </a:prstGeom>
                <a:solidFill>
                  <a:srgbClr val="2C5967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799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12D2A"/>
                    </a:solidFill>
                    <a:effectLst/>
                    <a:uLnTx/>
                    <a:uFillTx/>
                    <a:latin typeface="Oracle Sans Tab"/>
                    <a:ea typeface="+mn-ea"/>
                    <a:cs typeface="+mn-cs"/>
                  </a:endParaRPr>
                </a:p>
              </p:txBody>
            </p:sp>
          </p:grpSp>
          <p:cxnSp>
            <p:nvCxnSpPr>
              <p:cNvPr id="481" name="Straight Connector 480">
                <a:extLst>
                  <a:ext uri="{FF2B5EF4-FFF2-40B4-BE49-F238E27FC236}">
                    <a16:creationId xmlns:a16="http://schemas.microsoft.com/office/drawing/2014/main" id="{EF8164AD-2C4E-AF4B-91E5-B8247FA05B96}"/>
                  </a:ext>
                </a:extLst>
              </p:cNvPr>
              <p:cNvCxnSpPr/>
              <p:nvPr>
                <p:custDataLst>
                  <p:tags r:id="rId291"/>
                </p:custDataLst>
              </p:nvPr>
            </p:nvCxnSpPr>
            <p:spPr>
              <a:xfrm flipH="1">
                <a:off x="6225459" y="1328105"/>
                <a:ext cx="0" cy="525122"/>
              </a:xfrm>
              <a:prstGeom prst="line">
                <a:avLst/>
              </a:prstGeom>
              <a:ln>
                <a:solidFill>
                  <a:srgbClr val="2C5967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43" name="Group 42">
            <a:extLst>
              <a:ext uri="{FF2B5EF4-FFF2-40B4-BE49-F238E27FC236}">
                <a16:creationId xmlns:a16="http://schemas.microsoft.com/office/drawing/2014/main" id="{D3A4E793-6F24-554F-927D-5E3E376968DF}"/>
              </a:ext>
            </a:extLst>
          </p:cNvPr>
          <p:cNvGrpSpPr/>
          <p:nvPr>
            <p:custDataLst>
              <p:tags r:id="rId19"/>
            </p:custDataLst>
          </p:nvPr>
        </p:nvGrpSpPr>
        <p:grpSpPr>
          <a:xfrm>
            <a:off x="5885966" y="2047184"/>
            <a:ext cx="946613" cy="244096"/>
            <a:chOff x="5946488" y="2053093"/>
            <a:chExt cx="946860" cy="244160"/>
          </a:xfrm>
        </p:grpSpPr>
        <p:sp>
          <p:nvSpPr>
            <p:cNvPr id="559" name="TextBox 558">
              <a:extLst>
                <a:ext uri="{FF2B5EF4-FFF2-40B4-BE49-F238E27FC236}">
                  <a16:creationId xmlns:a16="http://schemas.microsoft.com/office/drawing/2014/main" id="{5230CDB8-41EE-1241-AC70-B9C3BA934523}"/>
                </a:ext>
              </a:extLst>
            </p:cNvPr>
            <p:cNvSpPr txBox="1"/>
            <p:nvPr>
              <p:custDataLst>
                <p:tags r:id="rId281"/>
              </p:custDataLst>
            </p:nvPr>
          </p:nvSpPr>
          <p:spPr>
            <a:xfrm>
              <a:off x="6532636" y="2119245"/>
              <a:ext cx="360712" cy="11024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00" b="0" i="0" u="none" strike="noStrike" kern="1200" cap="none" spc="0" normalizeH="0" baseline="0" noProof="0" dirty="0">
                  <a:ln>
                    <a:noFill/>
                  </a:ln>
                  <a:solidFill>
                    <a:srgbClr val="312D2A"/>
                  </a:solidFill>
                  <a:effectLst/>
                  <a:uLnTx/>
                  <a:uFillTx/>
                  <a:latin typeface="Oracle Sans Semi Bold" panose="020B0503020204020204" pitchFamily="34" charset="0"/>
                  <a:ea typeface="+mn-ea"/>
                  <a:cs typeface="Oracle Sans Semi Bold" panose="020B0503020204020204" pitchFamily="34" charset="0"/>
                </a:rPr>
                <a:t>Zurich</a:t>
              </a:r>
            </a:p>
          </p:txBody>
        </p:sp>
        <p:grpSp>
          <p:nvGrpSpPr>
            <p:cNvPr id="42" name="Group 41">
              <a:extLst>
                <a:ext uri="{FF2B5EF4-FFF2-40B4-BE49-F238E27FC236}">
                  <a16:creationId xmlns:a16="http://schemas.microsoft.com/office/drawing/2014/main" id="{F701D941-5AE3-EF40-9067-1AC623DF941B}"/>
                </a:ext>
              </a:extLst>
            </p:cNvPr>
            <p:cNvGrpSpPr/>
            <p:nvPr>
              <p:custDataLst>
                <p:tags r:id="rId282"/>
              </p:custDataLst>
            </p:nvPr>
          </p:nvGrpSpPr>
          <p:grpSpPr>
            <a:xfrm>
              <a:off x="5946488" y="2053093"/>
              <a:ext cx="586148" cy="244160"/>
              <a:chOff x="5946488" y="2053093"/>
              <a:chExt cx="586148" cy="244160"/>
            </a:xfrm>
          </p:grpSpPr>
          <p:grpSp>
            <p:nvGrpSpPr>
              <p:cNvPr id="441" name="Group 440">
                <a:extLst>
                  <a:ext uri="{FF2B5EF4-FFF2-40B4-BE49-F238E27FC236}">
                    <a16:creationId xmlns:a16="http://schemas.microsoft.com/office/drawing/2014/main" id="{C41CF6A3-25A3-3B46-B27F-DF8B7AB9AF76}"/>
                  </a:ext>
                </a:extLst>
              </p:cNvPr>
              <p:cNvGrpSpPr/>
              <p:nvPr>
                <p:custDataLst>
                  <p:tags r:id="rId284"/>
                </p:custDataLst>
              </p:nvPr>
            </p:nvGrpSpPr>
            <p:grpSpPr>
              <a:xfrm>
                <a:off x="5946488" y="2053093"/>
                <a:ext cx="244160" cy="244160"/>
                <a:chOff x="-763325" y="1701579"/>
                <a:chExt cx="349858" cy="349858"/>
              </a:xfrm>
            </p:grpSpPr>
            <p:sp>
              <p:nvSpPr>
                <p:cNvPr id="442" name="Oval 441">
                  <a:extLst>
                    <a:ext uri="{FF2B5EF4-FFF2-40B4-BE49-F238E27FC236}">
                      <a16:creationId xmlns:a16="http://schemas.microsoft.com/office/drawing/2014/main" id="{441F496E-0D12-5D47-87B2-CB8164E77E87}"/>
                    </a:ext>
                  </a:extLst>
                </p:cNvPr>
                <p:cNvSpPr/>
                <p:nvPr>
                  <p:custDataLst>
                    <p:tags r:id="rId286"/>
                  </p:custDataLst>
                </p:nvPr>
              </p:nvSpPr>
              <p:spPr>
                <a:xfrm>
                  <a:off x="-763325" y="1701579"/>
                  <a:ext cx="349858" cy="349858"/>
                </a:xfrm>
                <a:prstGeom prst="ellipse">
                  <a:avLst/>
                </a:prstGeom>
                <a:solidFill>
                  <a:srgbClr val="2C5967">
                    <a:alpha val="42000"/>
                  </a:srgb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799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12D2A"/>
                    </a:solidFill>
                    <a:effectLst/>
                    <a:uLnTx/>
                    <a:uFillTx/>
                    <a:latin typeface="Oracle Sans Tab"/>
                    <a:ea typeface="+mn-ea"/>
                    <a:cs typeface="+mn-cs"/>
                  </a:endParaRPr>
                </a:p>
              </p:txBody>
            </p:sp>
            <p:sp>
              <p:nvSpPr>
                <p:cNvPr id="443" name="Oval 442">
                  <a:extLst>
                    <a:ext uri="{FF2B5EF4-FFF2-40B4-BE49-F238E27FC236}">
                      <a16:creationId xmlns:a16="http://schemas.microsoft.com/office/drawing/2014/main" id="{4E004C26-054F-764C-9F55-47AB35FD34F5}"/>
                    </a:ext>
                  </a:extLst>
                </p:cNvPr>
                <p:cNvSpPr/>
                <p:nvPr>
                  <p:custDataLst>
                    <p:tags r:id="rId287"/>
                  </p:custDataLst>
                </p:nvPr>
              </p:nvSpPr>
              <p:spPr>
                <a:xfrm>
                  <a:off x="-676936" y="1787968"/>
                  <a:ext cx="177080" cy="177080"/>
                </a:xfrm>
                <a:prstGeom prst="ellipse">
                  <a:avLst/>
                </a:prstGeom>
                <a:solidFill>
                  <a:srgbClr val="2C5967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799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12D2A"/>
                    </a:solidFill>
                    <a:effectLst/>
                    <a:uLnTx/>
                    <a:uFillTx/>
                    <a:latin typeface="Oracle Sans Tab"/>
                    <a:ea typeface="+mn-ea"/>
                    <a:cs typeface="+mn-cs"/>
                  </a:endParaRPr>
                </a:p>
              </p:txBody>
            </p:sp>
          </p:grpSp>
          <p:cxnSp>
            <p:nvCxnSpPr>
              <p:cNvPr id="483" name="Straight Connector 482">
                <a:extLst>
                  <a:ext uri="{FF2B5EF4-FFF2-40B4-BE49-F238E27FC236}">
                    <a16:creationId xmlns:a16="http://schemas.microsoft.com/office/drawing/2014/main" id="{67B2A3ED-A7F4-2249-8B18-9301E2A20D14}"/>
                  </a:ext>
                </a:extLst>
              </p:cNvPr>
              <p:cNvCxnSpPr>
                <a:cxnSpLocks/>
                <a:stCxn id="443" idx="6"/>
                <a:endCxn id="559" idx="1"/>
              </p:cNvCxnSpPr>
              <p:nvPr>
                <p:custDataLst>
                  <p:tags r:id="rId285"/>
                </p:custDataLst>
              </p:nvPr>
            </p:nvCxnSpPr>
            <p:spPr>
              <a:xfrm flipV="1">
                <a:off x="6130359" y="2174369"/>
                <a:ext cx="402277" cy="805"/>
              </a:xfrm>
              <a:prstGeom prst="line">
                <a:avLst/>
              </a:prstGeom>
              <a:ln>
                <a:solidFill>
                  <a:srgbClr val="2C5967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612" name="Rounded Rectangle 611">
              <a:extLst>
                <a:ext uri="{FF2B5EF4-FFF2-40B4-BE49-F238E27FC236}">
                  <a16:creationId xmlns:a16="http://schemas.microsoft.com/office/drawing/2014/main" id="{85930286-AD58-A04E-B07A-70A7D44A7CAF}"/>
                </a:ext>
              </a:extLst>
            </p:cNvPr>
            <p:cNvSpPr>
              <a:spLocks noChangeAspect="1"/>
            </p:cNvSpPr>
            <p:nvPr>
              <p:custDataLst>
                <p:tags r:id="rId283"/>
              </p:custDataLst>
            </p:nvPr>
          </p:nvSpPr>
          <p:spPr>
            <a:xfrm>
              <a:off x="6676619" y="2218919"/>
              <a:ext cx="65931" cy="65931"/>
            </a:xfrm>
            <a:prstGeom prst="roundRect">
              <a:avLst>
                <a:gd name="adj" fmla="val 10205"/>
              </a:avLst>
            </a:prstGeom>
            <a:solidFill>
              <a:schemeClr val="accent1"/>
            </a:solidFill>
            <a:ln w="9525" cap="flat">
              <a:noFill/>
              <a:prstDash val="solid"/>
              <a:miter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312D2A"/>
                  </a:solidFill>
                  <a:effectLst/>
                  <a:uLnTx/>
                  <a:uFillTx/>
                  <a:latin typeface="Oracle Sans Tab"/>
                  <a:ea typeface="+mn-ea"/>
                  <a:cs typeface="+mn-cs"/>
                </a:rPr>
                <a:t>   </a:t>
              </a:r>
            </a:p>
          </p:txBody>
        </p:sp>
      </p:grpSp>
      <p:grpSp>
        <p:nvGrpSpPr>
          <p:cNvPr id="57" name="Group 56">
            <a:extLst>
              <a:ext uri="{FF2B5EF4-FFF2-40B4-BE49-F238E27FC236}">
                <a16:creationId xmlns:a16="http://schemas.microsoft.com/office/drawing/2014/main" id="{5819A0E0-8BFF-1B42-9D84-D9C611B86741}"/>
              </a:ext>
            </a:extLst>
          </p:cNvPr>
          <p:cNvGrpSpPr/>
          <p:nvPr>
            <p:custDataLst>
              <p:tags r:id="rId20"/>
            </p:custDataLst>
          </p:nvPr>
        </p:nvGrpSpPr>
        <p:grpSpPr>
          <a:xfrm>
            <a:off x="6330125" y="3500398"/>
            <a:ext cx="635109" cy="746069"/>
            <a:chOff x="6384723" y="3467979"/>
            <a:chExt cx="635274" cy="746264"/>
          </a:xfrm>
        </p:grpSpPr>
        <p:sp>
          <p:nvSpPr>
            <p:cNvPr id="451" name="TextBox 450">
              <a:extLst>
                <a:ext uri="{FF2B5EF4-FFF2-40B4-BE49-F238E27FC236}">
                  <a16:creationId xmlns:a16="http://schemas.microsoft.com/office/drawing/2014/main" id="{E9B84098-34F7-F54C-9CE1-6FA9DCA8CD1B}"/>
                </a:ext>
              </a:extLst>
            </p:cNvPr>
            <p:cNvSpPr txBox="1"/>
            <p:nvPr>
              <p:custDataLst>
                <p:tags r:id="rId275"/>
              </p:custDataLst>
            </p:nvPr>
          </p:nvSpPr>
          <p:spPr>
            <a:xfrm>
              <a:off x="6384723" y="4103996"/>
              <a:ext cx="635274" cy="11024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00" b="0" i="0" u="none" strike="noStrike" kern="1200" cap="none" spc="0" normalizeH="0" baseline="0" noProof="0" dirty="0">
                  <a:ln>
                    <a:noFill/>
                  </a:ln>
                  <a:solidFill>
                    <a:srgbClr val="312D2A"/>
                  </a:solidFill>
                  <a:effectLst/>
                  <a:uLnTx/>
                  <a:uFillTx/>
                  <a:latin typeface="Oracle Sans Semi Bold" panose="020B0503020204020204" pitchFamily="34" charset="0"/>
                  <a:ea typeface="+mn-ea"/>
                  <a:cs typeface="Oracle Sans Semi Bold" panose="020B0503020204020204" pitchFamily="34" charset="0"/>
                </a:rPr>
                <a:t>Johannesburg</a:t>
              </a:r>
            </a:p>
          </p:txBody>
        </p:sp>
        <p:grpSp>
          <p:nvGrpSpPr>
            <p:cNvPr id="56" name="Group 55">
              <a:extLst>
                <a:ext uri="{FF2B5EF4-FFF2-40B4-BE49-F238E27FC236}">
                  <a16:creationId xmlns:a16="http://schemas.microsoft.com/office/drawing/2014/main" id="{48660A0B-821F-664A-A019-3A96EECD3C8E}"/>
                </a:ext>
              </a:extLst>
            </p:cNvPr>
            <p:cNvGrpSpPr/>
            <p:nvPr>
              <p:custDataLst>
                <p:tags r:id="rId276"/>
              </p:custDataLst>
            </p:nvPr>
          </p:nvGrpSpPr>
          <p:grpSpPr>
            <a:xfrm>
              <a:off x="6544764" y="3467979"/>
              <a:ext cx="244160" cy="592313"/>
              <a:chOff x="6544764" y="3467979"/>
              <a:chExt cx="244160" cy="592313"/>
            </a:xfrm>
          </p:grpSpPr>
          <p:grpSp>
            <p:nvGrpSpPr>
              <p:cNvPr id="646" name="Group 645">
                <a:extLst>
                  <a:ext uri="{FF2B5EF4-FFF2-40B4-BE49-F238E27FC236}">
                    <a16:creationId xmlns:a16="http://schemas.microsoft.com/office/drawing/2014/main" id="{EFA536CC-E7F2-544C-AC5C-B4072A4C4814}"/>
                  </a:ext>
                </a:extLst>
              </p:cNvPr>
              <p:cNvGrpSpPr/>
              <p:nvPr>
                <p:custDataLst>
                  <p:tags r:id="rId277"/>
                </p:custDataLst>
              </p:nvPr>
            </p:nvGrpSpPr>
            <p:grpSpPr>
              <a:xfrm>
                <a:off x="6544764" y="3467979"/>
                <a:ext cx="244160" cy="244160"/>
                <a:chOff x="-763325" y="1701579"/>
                <a:chExt cx="349858" cy="349858"/>
              </a:xfrm>
            </p:grpSpPr>
            <p:sp>
              <p:nvSpPr>
                <p:cNvPr id="647" name="Oval 646">
                  <a:extLst>
                    <a:ext uri="{FF2B5EF4-FFF2-40B4-BE49-F238E27FC236}">
                      <a16:creationId xmlns:a16="http://schemas.microsoft.com/office/drawing/2014/main" id="{73A00F65-F36C-A740-8EA5-7DBC1C9EE743}"/>
                    </a:ext>
                  </a:extLst>
                </p:cNvPr>
                <p:cNvSpPr/>
                <p:nvPr>
                  <p:custDataLst>
                    <p:tags r:id="rId279"/>
                  </p:custDataLst>
                </p:nvPr>
              </p:nvSpPr>
              <p:spPr>
                <a:xfrm>
                  <a:off x="-763325" y="1701579"/>
                  <a:ext cx="349858" cy="349858"/>
                </a:xfrm>
                <a:prstGeom prst="ellipse">
                  <a:avLst/>
                </a:prstGeom>
                <a:solidFill>
                  <a:srgbClr val="2C5967">
                    <a:alpha val="42000"/>
                  </a:srgb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799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12D2A"/>
                    </a:solidFill>
                    <a:effectLst/>
                    <a:uLnTx/>
                    <a:uFillTx/>
                    <a:latin typeface="Oracle Sans Tab"/>
                    <a:ea typeface="+mn-ea"/>
                    <a:cs typeface="+mn-cs"/>
                  </a:endParaRPr>
                </a:p>
              </p:txBody>
            </p:sp>
            <p:sp>
              <p:nvSpPr>
                <p:cNvPr id="648" name="Oval 647">
                  <a:extLst>
                    <a:ext uri="{FF2B5EF4-FFF2-40B4-BE49-F238E27FC236}">
                      <a16:creationId xmlns:a16="http://schemas.microsoft.com/office/drawing/2014/main" id="{A14CBE1E-62AF-FC4C-BBBD-C1FF80776F66}"/>
                    </a:ext>
                  </a:extLst>
                </p:cNvPr>
                <p:cNvSpPr/>
                <p:nvPr>
                  <p:custDataLst>
                    <p:tags r:id="rId280"/>
                  </p:custDataLst>
                </p:nvPr>
              </p:nvSpPr>
              <p:spPr>
                <a:xfrm>
                  <a:off x="-676936" y="1787968"/>
                  <a:ext cx="177080" cy="177080"/>
                </a:xfrm>
                <a:prstGeom prst="ellipse">
                  <a:avLst/>
                </a:prstGeom>
                <a:solidFill>
                  <a:srgbClr val="2C5967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799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12D2A"/>
                    </a:solidFill>
                    <a:effectLst/>
                    <a:uLnTx/>
                    <a:uFillTx/>
                    <a:latin typeface="Oracle Sans Tab"/>
                    <a:ea typeface="+mn-ea"/>
                    <a:cs typeface="+mn-cs"/>
                  </a:endParaRPr>
                </a:p>
              </p:txBody>
            </p:sp>
          </p:grpSp>
          <p:cxnSp>
            <p:nvCxnSpPr>
              <p:cNvPr id="469" name="Straight Connector 468">
                <a:extLst>
                  <a:ext uri="{FF2B5EF4-FFF2-40B4-BE49-F238E27FC236}">
                    <a16:creationId xmlns:a16="http://schemas.microsoft.com/office/drawing/2014/main" id="{D8D5CA8C-BFED-6545-8BA2-2A0071FD659B}"/>
                  </a:ext>
                </a:extLst>
              </p:cNvPr>
              <p:cNvCxnSpPr/>
              <p:nvPr>
                <p:custDataLst>
                  <p:tags r:id="rId278"/>
                </p:custDataLst>
              </p:nvPr>
            </p:nvCxnSpPr>
            <p:spPr>
              <a:xfrm flipH="1">
                <a:off x="6666844" y="3552091"/>
                <a:ext cx="0" cy="508201"/>
              </a:xfrm>
              <a:prstGeom prst="line">
                <a:avLst/>
              </a:prstGeom>
              <a:ln>
                <a:solidFill>
                  <a:srgbClr val="2C5967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49" name="Group 48">
            <a:extLst>
              <a:ext uri="{FF2B5EF4-FFF2-40B4-BE49-F238E27FC236}">
                <a16:creationId xmlns:a16="http://schemas.microsoft.com/office/drawing/2014/main" id="{3523EAA3-BBE1-0E42-B212-2436B878085E}"/>
              </a:ext>
            </a:extLst>
          </p:cNvPr>
          <p:cNvGrpSpPr/>
          <p:nvPr>
            <p:custDataLst>
              <p:tags r:id="rId21"/>
            </p:custDataLst>
          </p:nvPr>
        </p:nvGrpSpPr>
        <p:grpSpPr>
          <a:xfrm>
            <a:off x="6564053" y="1871697"/>
            <a:ext cx="635109" cy="721622"/>
            <a:chOff x="6590692" y="1874024"/>
            <a:chExt cx="635274" cy="721810"/>
          </a:xfrm>
        </p:grpSpPr>
        <p:sp>
          <p:nvSpPr>
            <p:cNvPr id="571" name="TextBox 570">
              <a:extLst>
                <a:ext uri="{FF2B5EF4-FFF2-40B4-BE49-F238E27FC236}">
                  <a16:creationId xmlns:a16="http://schemas.microsoft.com/office/drawing/2014/main" id="{AF5FB1F0-EF72-5B4F-B37C-773AAFD0EB37}"/>
                </a:ext>
              </a:extLst>
            </p:cNvPr>
            <p:cNvSpPr txBox="1"/>
            <p:nvPr>
              <p:custDataLst>
                <p:tags r:id="rId268"/>
              </p:custDataLst>
            </p:nvPr>
          </p:nvSpPr>
          <p:spPr>
            <a:xfrm>
              <a:off x="6590692" y="1874024"/>
              <a:ext cx="635274" cy="11024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00" b="0" i="0" u="none" strike="noStrike" kern="1200" cap="none" spc="0" normalizeH="0" baseline="0" noProof="0" dirty="0">
                  <a:ln>
                    <a:noFill/>
                  </a:ln>
                  <a:solidFill>
                    <a:srgbClr val="312D2A"/>
                  </a:solidFill>
                  <a:effectLst/>
                  <a:uLnTx/>
                  <a:uFillTx/>
                  <a:latin typeface="Oracle Sans Semi Bold" panose="020B0503020204020204" pitchFamily="34" charset="0"/>
                  <a:ea typeface="+mn-ea"/>
                  <a:cs typeface="Oracle Sans Semi Bold" panose="020B0503020204020204" pitchFamily="34" charset="0"/>
                </a:rPr>
                <a:t>Israel 2</a:t>
              </a:r>
            </a:p>
          </p:txBody>
        </p:sp>
        <p:sp>
          <p:nvSpPr>
            <p:cNvPr id="622" name="Rounded Rectangle 621">
              <a:extLst>
                <a:ext uri="{FF2B5EF4-FFF2-40B4-BE49-F238E27FC236}">
                  <a16:creationId xmlns:a16="http://schemas.microsoft.com/office/drawing/2014/main" id="{7811AF46-5C2F-A242-9314-5F2F5E4D9FA3}"/>
                </a:ext>
              </a:extLst>
            </p:cNvPr>
            <p:cNvSpPr>
              <a:spLocks noChangeAspect="1"/>
            </p:cNvSpPr>
            <p:nvPr>
              <p:custDataLst>
                <p:tags r:id="rId269"/>
              </p:custDataLst>
            </p:nvPr>
          </p:nvSpPr>
          <p:spPr>
            <a:xfrm>
              <a:off x="6881881" y="1994302"/>
              <a:ext cx="65931" cy="65931"/>
            </a:xfrm>
            <a:prstGeom prst="roundRect">
              <a:avLst>
                <a:gd name="adj" fmla="val 10205"/>
              </a:avLst>
            </a:prstGeom>
            <a:noFill/>
            <a:ln w="1270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312D2A"/>
                  </a:solidFill>
                  <a:effectLst/>
                  <a:uLnTx/>
                  <a:uFillTx/>
                  <a:latin typeface="Oracle Sans Tab"/>
                  <a:ea typeface="+mn-ea"/>
                  <a:cs typeface="+mn-cs"/>
                </a:rPr>
                <a:t>   </a:t>
              </a:r>
            </a:p>
          </p:txBody>
        </p:sp>
        <p:grpSp>
          <p:nvGrpSpPr>
            <p:cNvPr id="48" name="Group 47">
              <a:extLst>
                <a:ext uri="{FF2B5EF4-FFF2-40B4-BE49-F238E27FC236}">
                  <a16:creationId xmlns:a16="http://schemas.microsoft.com/office/drawing/2014/main" id="{F87CE503-3D3E-C14A-8F0D-8CB0A5D38487}"/>
                </a:ext>
              </a:extLst>
            </p:cNvPr>
            <p:cNvGrpSpPr/>
            <p:nvPr>
              <p:custDataLst>
                <p:tags r:id="rId270"/>
              </p:custDataLst>
            </p:nvPr>
          </p:nvGrpSpPr>
          <p:grpSpPr>
            <a:xfrm>
              <a:off x="6792766" y="2105623"/>
              <a:ext cx="244160" cy="490211"/>
              <a:chOff x="6792766" y="2105623"/>
              <a:chExt cx="244160" cy="490211"/>
            </a:xfrm>
          </p:grpSpPr>
          <p:grpSp>
            <p:nvGrpSpPr>
              <p:cNvPr id="447" name="Group 446">
                <a:extLst>
                  <a:ext uri="{FF2B5EF4-FFF2-40B4-BE49-F238E27FC236}">
                    <a16:creationId xmlns:a16="http://schemas.microsoft.com/office/drawing/2014/main" id="{B6815FA9-AFD5-D547-AB89-6A7DD0951A8A}"/>
                  </a:ext>
                </a:extLst>
              </p:cNvPr>
              <p:cNvGrpSpPr/>
              <p:nvPr>
                <p:custDataLst>
                  <p:tags r:id="rId271"/>
                </p:custDataLst>
              </p:nvPr>
            </p:nvGrpSpPr>
            <p:grpSpPr>
              <a:xfrm>
                <a:off x="6792766" y="2351674"/>
                <a:ext cx="244160" cy="244160"/>
                <a:chOff x="-763325" y="1701579"/>
                <a:chExt cx="349858" cy="349858"/>
              </a:xfrm>
            </p:grpSpPr>
            <p:sp>
              <p:nvSpPr>
                <p:cNvPr id="448" name="Oval 447">
                  <a:extLst>
                    <a:ext uri="{FF2B5EF4-FFF2-40B4-BE49-F238E27FC236}">
                      <a16:creationId xmlns:a16="http://schemas.microsoft.com/office/drawing/2014/main" id="{846A3C1F-AD3B-2F40-95E5-B22339DF21B0}"/>
                    </a:ext>
                  </a:extLst>
                </p:cNvPr>
                <p:cNvSpPr/>
                <p:nvPr>
                  <p:custDataLst>
                    <p:tags r:id="rId273"/>
                  </p:custDataLst>
                </p:nvPr>
              </p:nvSpPr>
              <p:spPr>
                <a:xfrm>
                  <a:off x="-763325" y="1701579"/>
                  <a:ext cx="349858" cy="349858"/>
                </a:xfrm>
                <a:prstGeom prst="ellipse">
                  <a:avLst/>
                </a:prstGeom>
                <a:solidFill>
                  <a:srgbClr val="2C5967">
                    <a:alpha val="42000"/>
                  </a:srgb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799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12D2A"/>
                    </a:solidFill>
                    <a:effectLst/>
                    <a:uLnTx/>
                    <a:uFillTx/>
                    <a:latin typeface="Oracle Sans Tab"/>
                    <a:ea typeface="+mn-ea"/>
                    <a:cs typeface="+mn-cs"/>
                  </a:endParaRPr>
                </a:p>
              </p:txBody>
            </p:sp>
            <p:sp>
              <p:nvSpPr>
                <p:cNvPr id="453" name="Oval 452">
                  <a:extLst>
                    <a:ext uri="{FF2B5EF4-FFF2-40B4-BE49-F238E27FC236}">
                      <a16:creationId xmlns:a16="http://schemas.microsoft.com/office/drawing/2014/main" id="{78A50407-A650-014B-BAB4-FB7E54499DDC}"/>
                    </a:ext>
                  </a:extLst>
                </p:cNvPr>
                <p:cNvSpPr/>
                <p:nvPr>
                  <p:custDataLst>
                    <p:tags r:id="rId274"/>
                  </p:custDataLst>
                </p:nvPr>
              </p:nvSpPr>
              <p:spPr>
                <a:xfrm>
                  <a:off x="-676936" y="1787968"/>
                  <a:ext cx="177080" cy="177080"/>
                </a:xfrm>
                <a:prstGeom prst="ellipse">
                  <a:avLst/>
                </a:prstGeom>
                <a:solidFill>
                  <a:srgbClr val="2C5967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799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12D2A"/>
                    </a:solidFill>
                    <a:effectLst/>
                    <a:uLnTx/>
                    <a:uFillTx/>
                    <a:latin typeface="Oracle Sans Tab"/>
                    <a:ea typeface="+mn-ea"/>
                    <a:cs typeface="+mn-cs"/>
                  </a:endParaRPr>
                </a:p>
              </p:txBody>
            </p:sp>
          </p:grpSp>
          <p:cxnSp>
            <p:nvCxnSpPr>
              <p:cNvPr id="630" name="Straight Connector 629">
                <a:extLst>
                  <a:ext uri="{FF2B5EF4-FFF2-40B4-BE49-F238E27FC236}">
                    <a16:creationId xmlns:a16="http://schemas.microsoft.com/office/drawing/2014/main" id="{B4366D06-11BE-2A4F-9196-91A2C4B9ECAF}"/>
                  </a:ext>
                </a:extLst>
              </p:cNvPr>
              <p:cNvCxnSpPr/>
              <p:nvPr>
                <p:custDataLst>
                  <p:tags r:id="rId272"/>
                </p:custDataLst>
              </p:nvPr>
            </p:nvCxnSpPr>
            <p:spPr>
              <a:xfrm flipH="1">
                <a:off x="6914846" y="2105623"/>
                <a:ext cx="0" cy="382380"/>
              </a:xfrm>
              <a:prstGeom prst="line">
                <a:avLst/>
              </a:prstGeom>
              <a:ln>
                <a:solidFill>
                  <a:srgbClr val="2C5967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53" name="Group 52">
            <a:extLst>
              <a:ext uri="{FF2B5EF4-FFF2-40B4-BE49-F238E27FC236}">
                <a16:creationId xmlns:a16="http://schemas.microsoft.com/office/drawing/2014/main" id="{EE8323B0-978E-0745-9C98-6F5D06262ECC}"/>
              </a:ext>
            </a:extLst>
          </p:cNvPr>
          <p:cNvGrpSpPr/>
          <p:nvPr>
            <p:custDataLst>
              <p:tags r:id="rId22"/>
            </p:custDataLst>
          </p:nvPr>
        </p:nvGrpSpPr>
        <p:grpSpPr>
          <a:xfrm>
            <a:off x="7155531" y="2625457"/>
            <a:ext cx="635109" cy="580038"/>
            <a:chOff x="7162585" y="2693581"/>
            <a:chExt cx="635274" cy="580189"/>
          </a:xfrm>
        </p:grpSpPr>
        <p:sp>
          <p:nvSpPr>
            <p:cNvPr id="579" name="TextBox 578">
              <a:extLst>
                <a:ext uri="{FF2B5EF4-FFF2-40B4-BE49-F238E27FC236}">
                  <a16:creationId xmlns:a16="http://schemas.microsoft.com/office/drawing/2014/main" id="{D19A9153-9638-824E-8E89-CD47F88F31E1}"/>
                </a:ext>
              </a:extLst>
            </p:cNvPr>
            <p:cNvSpPr txBox="1"/>
            <p:nvPr>
              <p:custDataLst>
                <p:tags r:id="rId262"/>
              </p:custDataLst>
            </p:nvPr>
          </p:nvSpPr>
          <p:spPr>
            <a:xfrm>
              <a:off x="7162585" y="3163523"/>
              <a:ext cx="635274" cy="11024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00" b="0" i="0" u="none" strike="noStrike" kern="1200" cap="none" spc="0" normalizeH="0" baseline="0" noProof="0" dirty="0">
                  <a:ln>
                    <a:noFill/>
                  </a:ln>
                  <a:solidFill>
                    <a:srgbClr val="312D2A"/>
                  </a:solidFill>
                  <a:effectLst/>
                  <a:uLnTx/>
                  <a:uFillTx/>
                  <a:latin typeface="Oracle Sans Semi Bold" panose="020B0503020204020204" pitchFamily="34" charset="0"/>
                  <a:ea typeface="+mn-ea"/>
                  <a:cs typeface="Oracle Sans Semi Bold" panose="020B0503020204020204" pitchFamily="34" charset="0"/>
                </a:rPr>
                <a:t>Abu Dhabi</a:t>
              </a:r>
            </a:p>
          </p:txBody>
        </p:sp>
        <p:grpSp>
          <p:nvGrpSpPr>
            <p:cNvPr id="52" name="Group 51">
              <a:extLst>
                <a:ext uri="{FF2B5EF4-FFF2-40B4-BE49-F238E27FC236}">
                  <a16:creationId xmlns:a16="http://schemas.microsoft.com/office/drawing/2014/main" id="{4D56A84F-1419-7E48-81CC-77059264F26A}"/>
                </a:ext>
              </a:extLst>
            </p:cNvPr>
            <p:cNvGrpSpPr/>
            <p:nvPr>
              <p:custDataLst>
                <p:tags r:id="rId263"/>
              </p:custDataLst>
            </p:nvPr>
          </p:nvGrpSpPr>
          <p:grpSpPr>
            <a:xfrm>
              <a:off x="7358142" y="2693581"/>
              <a:ext cx="244160" cy="444701"/>
              <a:chOff x="7358142" y="2693581"/>
              <a:chExt cx="244160" cy="444701"/>
            </a:xfrm>
          </p:grpSpPr>
          <p:grpSp>
            <p:nvGrpSpPr>
              <p:cNvPr id="474" name="Group 473">
                <a:extLst>
                  <a:ext uri="{FF2B5EF4-FFF2-40B4-BE49-F238E27FC236}">
                    <a16:creationId xmlns:a16="http://schemas.microsoft.com/office/drawing/2014/main" id="{3EEF9271-9F7B-4745-AD91-766C03483CD5}"/>
                  </a:ext>
                </a:extLst>
              </p:cNvPr>
              <p:cNvGrpSpPr/>
              <p:nvPr>
                <p:custDataLst>
                  <p:tags r:id="rId264"/>
                </p:custDataLst>
              </p:nvPr>
            </p:nvGrpSpPr>
            <p:grpSpPr>
              <a:xfrm>
                <a:off x="7358142" y="2693581"/>
                <a:ext cx="244160" cy="244160"/>
                <a:chOff x="-763325" y="1701579"/>
                <a:chExt cx="349858" cy="349858"/>
              </a:xfrm>
            </p:grpSpPr>
            <p:sp>
              <p:nvSpPr>
                <p:cNvPr id="476" name="Oval 475">
                  <a:extLst>
                    <a:ext uri="{FF2B5EF4-FFF2-40B4-BE49-F238E27FC236}">
                      <a16:creationId xmlns:a16="http://schemas.microsoft.com/office/drawing/2014/main" id="{8EF77A31-9C62-704D-B699-79DAF7409A54}"/>
                    </a:ext>
                  </a:extLst>
                </p:cNvPr>
                <p:cNvSpPr/>
                <p:nvPr>
                  <p:custDataLst>
                    <p:tags r:id="rId266"/>
                  </p:custDataLst>
                </p:nvPr>
              </p:nvSpPr>
              <p:spPr>
                <a:xfrm>
                  <a:off x="-763325" y="1701579"/>
                  <a:ext cx="349858" cy="349858"/>
                </a:xfrm>
                <a:prstGeom prst="ellipse">
                  <a:avLst/>
                </a:prstGeom>
                <a:solidFill>
                  <a:srgbClr val="2C5967">
                    <a:alpha val="42000"/>
                  </a:srgb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799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12D2A"/>
                    </a:solidFill>
                    <a:effectLst/>
                    <a:uLnTx/>
                    <a:uFillTx/>
                    <a:latin typeface="Oracle Sans Tab"/>
                    <a:ea typeface="+mn-ea"/>
                    <a:cs typeface="+mn-cs"/>
                  </a:endParaRPr>
                </a:p>
              </p:txBody>
            </p:sp>
            <p:sp>
              <p:nvSpPr>
                <p:cNvPr id="536" name="Oval 535">
                  <a:extLst>
                    <a:ext uri="{FF2B5EF4-FFF2-40B4-BE49-F238E27FC236}">
                      <a16:creationId xmlns:a16="http://schemas.microsoft.com/office/drawing/2014/main" id="{A4D83741-0E17-D848-9209-B05DED148798}"/>
                    </a:ext>
                  </a:extLst>
                </p:cNvPr>
                <p:cNvSpPr/>
                <p:nvPr>
                  <p:custDataLst>
                    <p:tags r:id="rId267"/>
                  </p:custDataLst>
                </p:nvPr>
              </p:nvSpPr>
              <p:spPr>
                <a:xfrm>
                  <a:off x="-676936" y="1787968"/>
                  <a:ext cx="177080" cy="177080"/>
                </a:xfrm>
                <a:prstGeom prst="ellipse">
                  <a:avLst/>
                </a:prstGeom>
                <a:solidFill>
                  <a:srgbClr val="2C5967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799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12D2A"/>
                    </a:solidFill>
                    <a:effectLst/>
                    <a:uLnTx/>
                    <a:uFillTx/>
                    <a:latin typeface="Oracle Sans Tab"/>
                    <a:ea typeface="+mn-ea"/>
                    <a:cs typeface="+mn-cs"/>
                  </a:endParaRPr>
                </a:p>
              </p:txBody>
            </p:sp>
          </p:grpSp>
          <p:cxnSp>
            <p:nvCxnSpPr>
              <p:cNvPr id="493" name="Straight Connector 492">
                <a:extLst>
                  <a:ext uri="{FF2B5EF4-FFF2-40B4-BE49-F238E27FC236}">
                    <a16:creationId xmlns:a16="http://schemas.microsoft.com/office/drawing/2014/main" id="{BDC19C5C-DE34-0C40-9AB6-5BD8ABCF9A4B}"/>
                  </a:ext>
                </a:extLst>
              </p:cNvPr>
              <p:cNvCxnSpPr/>
              <p:nvPr>
                <p:custDataLst>
                  <p:tags r:id="rId265"/>
                </p:custDataLst>
              </p:nvPr>
            </p:nvCxnSpPr>
            <p:spPr>
              <a:xfrm flipH="1">
                <a:off x="7480222" y="2832070"/>
                <a:ext cx="0" cy="306212"/>
              </a:xfrm>
              <a:prstGeom prst="line">
                <a:avLst/>
              </a:prstGeom>
              <a:ln>
                <a:solidFill>
                  <a:srgbClr val="2C5967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51" name="Group 50">
            <a:extLst>
              <a:ext uri="{FF2B5EF4-FFF2-40B4-BE49-F238E27FC236}">
                <a16:creationId xmlns:a16="http://schemas.microsoft.com/office/drawing/2014/main" id="{6E4E1532-D87E-8347-809B-ED7F8D41B664}"/>
              </a:ext>
            </a:extLst>
          </p:cNvPr>
          <p:cNvGrpSpPr/>
          <p:nvPr>
            <p:custDataLst>
              <p:tags r:id="rId23"/>
            </p:custDataLst>
          </p:nvPr>
        </p:nvGrpSpPr>
        <p:grpSpPr>
          <a:xfrm>
            <a:off x="7244982" y="2099999"/>
            <a:ext cx="635109" cy="755985"/>
            <a:chOff x="7203292" y="2046387"/>
            <a:chExt cx="635274" cy="756182"/>
          </a:xfrm>
        </p:grpSpPr>
        <p:sp>
          <p:nvSpPr>
            <p:cNvPr id="589" name="TextBox 588">
              <a:extLst>
                <a:ext uri="{FF2B5EF4-FFF2-40B4-BE49-F238E27FC236}">
                  <a16:creationId xmlns:a16="http://schemas.microsoft.com/office/drawing/2014/main" id="{73E20A87-6F0B-2E4D-839C-EE485131E980}"/>
                </a:ext>
              </a:extLst>
            </p:cNvPr>
            <p:cNvSpPr txBox="1"/>
            <p:nvPr>
              <p:custDataLst>
                <p:tags r:id="rId255"/>
              </p:custDataLst>
            </p:nvPr>
          </p:nvSpPr>
          <p:spPr>
            <a:xfrm>
              <a:off x="7203292" y="2046387"/>
              <a:ext cx="635274" cy="11024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00" b="0" i="0" u="none" strike="noStrike" kern="1200" cap="none" spc="0" normalizeH="0" baseline="0" noProof="0" dirty="0">
                  <a:ln>
                    <a:noFill/>
                  </a:ln>
                  <a:solidFill>
                    <a:srgbClr val="312D2A"/>
                  </a:solidFill>
                  <a:effectLst/>
                  <a:uLnTx/>
                  <a:uFillTx/>
                  <a:latin typeface="Oracle Sans Semi Bold" panose="020B0503020204020204" pitchFamily="34" charset="0"/>
                  <a:ea typeface="+mn-ea"/>
                  <a:cs typeface="Oracle Sans Semi Bold" panose="020B0503020204020204" pitchFamily="34" charset="0"/>
                </a:rPr>
                <a:t>Dubai</a:t>
              </a:r>
            </a:p>
          </p:txBody>
        </p:sp>
        <p:grpSp>
          <p:nvGrpSpPr>
            <p:cNvPr id="50" name="Group 49">
              <a:extLst>
                <a:ext uri="{FF2B5EF4-FFF2-40B4-BE49-F238E27FC236}">
                  <a16:creationId xmlns:a16="http://schemas.microsoft.com/office/drawing/2014/main" id="{AF14283E-B923-3D4C-95D2-BF2A5759FC26}"/>
                </a:ext>
              </a:extLst>
            </p:cNvPr>
            <p:cNvGrpSpPr/>
            <p:nvPr>
              <p:custDataLst>
                <p:tags r:id="rId256"/>
              </p:custDataLst>
            </p:nvPr>
          </p:nvGrpSpPr>
          <p:grpSpPr>
            <a:xfrm>
              <a:off x="7405017" y="2265009"/>
              <a:ext cx="244160" cy="537560"/>
              <a:chOff x="7405017" y="2265009"/>
              <a:chExt cx="244160" cy="537560"/>
            </a:xfrm>
          </p:grpSpPr>
          <p:grpSp>
            <p:nvGrpSpPr>
              <p:cNvPr id="541" name="Group 540">
                <a:extLst>
                  <a:ext uri="{FF2B5EF4-FFF2-40B4-BE49-F238E27FC236}">
                    <a16:creationId xmlns:a16="http://schemas.microsoft.com/office/drawing/2014/main" id="{4D8EA74D-65AC-1A40-AA22-257DDD1F02E6}"/>
                  </a:ext>
                </a:extLst>
              </p:cNvPr>
              <p:cNvGrpSpPr/>
              <p:nvPr>
                <p:custDataLst>
                  <p:tags r:id="rId258"/>
                </p:custDataLst>
              </p:nvPr>
            </p:nvGrpSpPr>
            <p:grpSpPr>
              <a:xfrm>
                <a:off x="7405017" y="2558409"/>
                <a:ext cx="244160" cy="244160"/>
                <a:chOff x="-763325" y="1701579"/>
                <a:chExt cx="349858" cy="349858"/>
              </a:xfrm>
            </p:grpSpPr>
            <p:sp>
              <p:nvSpPr>
                <p:cNvPr id="542" name="Oval 541">
                  <a:extLst>
                    <a:ext uri="{FF2B5EF4-FFF2-40B4-BE49-F238E27FC236}">
                      <a16:creationId xmlns:a16="http://schemas.microsoft.com/office/drawing/2014/main" id="{1911FDB8-6F0B-5B47-B0CF-677686809BF9}"/>
                    </a:ext>
                  </a:extLst>
                </p:cNvPr>
                <p:cNvSpPr/>
                <p:nvPr>
                  <p:custDataLst>
                    <p:tags r:id="rId260"/>
                  </p:custDataLst>
                </p:nvPr>
              </p:nvSpPr>
              <p:spPr>
                <a:xfrm>
                  <a:off x="-763325" y="1701579"/>
                  <a:ext cx="349858" cy="349858"/>
                </a:xfrm>
                <a:prstGeom prst="ellipse">
                  <a:avLst/>
                </a:prstGeom>
                <a:solidFill>
                  <a:srgbClr val="2C5967">
                    <a:alpha val="42000"/>
                  </a:srgb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799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12D2A"/>
                    </a:solidFill>
                    <a:effectLst/>
                    <a:uLnTx/>
                    <a:uFillTx/>
                    <a:latin typeface="Oracle Sans Tab"/>
                    <a:ea typeface="+mn-ea"/>
                    <a:cs typeface="+mn-cs"/>
                  </a:endParaRPr>
                </a:p>
              </p:txBody>
            </p:sp>
            <p:sp>
              <p:nvSpPr>
                <p:cNvPr id="543" name="Oval 542">
                  <a:extLst>
                    <a:ext uri="{FF2B5EF4-FFF2-40B4-BE49-F238E27FC236}">
                      <a16:creationId xmlns:a16="http://schemas.microsoft.com/office/drawing/2014/main" id="{E7660E65-5973-AB4F-8E84-CC0F40297C54}"/>
                    </a:ext>
                  </a:extLst>
                </p:cNvPr>
                <p:cNvSpPr/>
                <p:nvPr>
                  <p:custDataLst>
                    <p:tags r:id="rId261"/>
                  </p:custDataLst>
                </p:nvPr>
              </p:nvSpPr>
              <p:spPr>
                <a:xfrm>
                  <a:off x="-676936" y="1787968"/>
                  <a:ext cx="177080" cy="177080"/>
                </a:xfrm>
                <a:prstGeom prst="ellipse">
                  <a:avLst/>
                </a:prstGeom>
                <a:solidFill>
                  <a:srgbClr val="2C5967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799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12D2A"/>
                    </a:solidFill>
                    <a:effectLst/>
                    <a:uLnTx/>
                    <a:uFillTx/>
                    <a:latin typeface="Oracle Sans Tab"/>
                    <a:ea typeface="+mn-ea"/>
                    <a:cs typeface="+mn-cs"/>
                  </a:endParaRPr>
                </a:p>
              </p:txBody>
            </p:sp>
          </p:grpSp>
          <p:cxnSp>
            <p:nvCxnSpPr>
              <p:cNvPr id="494" name="Straight Connector 493">
                <a:extLst>
                  <a:ext uri="{FF2B5EF4-FFF2-40B4-BE49-F238E27FC236}">
                    <a16:creationId xmlns:a16="http://schemas.microsoft.com/office/drawing/2014/main" id="{5AD08FE8-992C-EA4F-855A-63556E0ED83C}"/>
                  </a:ext>
                </a:extLst>
              </p:cNvPr>
              <p:cNvCxnSpPr/>
              <p:nvPr>
                <p:custDataLst>
                  <p:tags r:id="rId259"/>
                </p:custDataLst>
              </p:nvPr>
            </p:nvCxnSpPr>
            <p:spPr>
              <a:xfrm flipH="1">
                <a:off x="7527097" y="2265009"/>
                <a:ext cx="0" cy="396723"/>
              </a:xfrm>
              <a:prstGeom prst="line">
                <a:avLst/>
              </a:prstGeom>
              <a:ln>
                <a:solidFill>
                  <a:srgbClr val="2C5967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659" name="Rounded Rectangle 658">
              <a:extLst>
                <a:ext uri="{FF2B5EF4-FFF2-40B4-BE49-F238E27FC236}">
                  <a16:creationId xmlns:a16="http://schemas.microsoft.com/office/drawing/2014/main" id="{6D9CB09A-85C4-8D4C-B341-3DAC5F5D3363}"/>
                </a:ext>
              </a:extLst>
            </p:cNvPr>
            <p:cNvSpPr>
              <a:spLocks noChangeAspect="1"/>
            </p:cNvSpPr>
            <p:nvPr>
              <p:custDataLst>
                <p:tags r:id="rId257"/>
              </p:custDataLst>
            </p:nvPr>
          </p:nvSpPr>
          <p:spPr>
            <a:xfrm>
              <a:off x="7494132" y="2163063"/>
              <a:ext cx="65931" cy="65931"/>
            </a:xfrm>
            <a:prstGeom prst="roundRect">
              <a:avLst>
                <a:gd name="adj" fmla="val 10205"/>
              </a:avLst>
            </a:prstGeom>
            <a:solidFill>
              <a:schemeClr val="accent1"/>
            </a:solidFill>
            <a:ln w="9525" cap="flat">
              <a:noFill/>
              <a:prstDash val="solid"/>
              <a:miter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312D2A"/>
                  </a:solidFill>
                  <a:effectLst/>
                  <a:uLnTx/>
                  <a:uFillTx/>
                  <a:latin typeface="Oracle Sans Tab"/>
                  <a:ea typeface="+mn-ea"/>
                  <a:cs typeface="+mn-cs"/>
                </a:rPr>
                <a:t>   </a:t>
              </a:r>
            </a:p>
          </p:txBody>
        </p:sp>
      </p:grpSp>
      <p:grpSp>
        <p:nvGrpSpPr>
          <p:cNvPr id="59" name="Group 58">
            <a:extLst>
              <a:ext uri="{FF2B5EF4-FFF2-40B4-BE49-F238E27FC236}">
                <a16:creationId xmlns:a16="http://schemas.microsoft.com/office/drawing/2014/main" id="{C86FADFD-5D48-3546-829B-58868AB8E57B}"/>
              </a:ext>
            </a:extLst>
          </p:cNvPr>
          <p:cNvGrpSpPr/>
          <p:nvPr>
            <p:custDataLst>
              <p:tags r:id="rId24"/>
            </p:custDataLst>
          </p:nvPr>
        </p:nvGrpSpPr>
        <p:grpSpPr>
          <a:xfrm>
            <a:off x="7825975" y="2002874"/>
            <a:ext cx="635109" cy="1069957"/>
            <a:chOff x="7865772" y="1923220"/>
            <a:chExt cx="635274" cy="1070236"/>
          </a:xfrm>
        </p:grpSpPr>
        <p:sp>
          <p:nvSpPr>
            <p:cNvPr id="597" name="TextBox 596">
              <a:extLst>
                <a:ext uri="{FF2B5EF4-FFF2-40B4-BE49-F238E27FC236}">
                  <a16:creationId xmlns:a16="http://schemas.microsoft.com/office/drawing/2014/main" id="{23D315EB-CB0D-424E-9995-64E8E4492AB4}"/>
                </a:ext>
              </a:extLst>
            </p:cNvPr>
            <p:cNvSpPr txBox="1"/>
            <p:nvPr>
              <p:custDataLst>
                <p:tags r:id="rId248"/>
              </p:custDataLst>
            </p:nvPr>
          </p:nvSpPr>
          <p:spPr>
            <a:xfrm>
              <a:off x="7865772" y="1923220"/>
              <a:ext cx="635274" cy="11024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00" b="0" i="0" u="none" strike="noStrike" kern="1200" cap="none" spc="0" normalizeH="0" baseline="0" noProof="0" dirty="0">
                  <a:ln>
                    <a:noFill/>
                  </a:ln>
                  <a:solidFill>
                    <a:srgbClr val="312D2A"/>
                  </a:solidFill>
                  <a:effectLst/>
                  <a:uLnTx/>
                  <a:uFillTx/>
                  <a:latin typeface="Oracle Sans Semi Bold" panose="020B0503020204020204" pitchFamily="34" charset="0"/>
                  <a:ea typeface="+mn-ea"/>
                  <a:cs typeface="Oracle Sans Semi Bold" panose="020B0503020204020204" pitchFamily="34" charset="0"/>
                </a:rPr>
                <a:t>Mumbai</a:t>
              </a:r>
            </a:p>
          </p:txBody>
        </p:sp>
        <p:grpSp>
          <p:nvGrpSpPr>
            <p:cNvPr id="58" name="Group 57">
              <a:extLst>
                <a:ext uri="{FF2B5EF4-FFF2-40B4-BE49-F238E27FC236}">
                  <a16:creationId xmlns:a16="http://schemas.microsoft.com/office/drawing/2014/main" id="{F16A25D1-C8C9-6C45-ADAE-0AB8D46DC68D}"/>
                </a:ext>
              </a:extLst>
            </p:cNvPr>
            <p:cNvGrpSpPr/>
            <p:nvPr>
              <p:custDataLst>
                <p:tags r:id="rId249"/>
              </p:custDataLst>
            </p:nvPr>
          </p:nvGrpSpPr>
          <p:grpSpPr>
            <a:xfrm>
              <a:off x="8060430" y="2135481"/>
              <a:ext cx="244160" cy="857975"/>
              <a:chOff x="8060430" y="2135481"/>
              <a:chExt cx="244160" cy="857975"/>
            </a:xfrm>
          </p:grpSpPr>
          <p:grpSp>
            <p:nvGrpSpPr>
              <p:cNvPr id="544" name="Group 543">
                <a:extLst>
                  <a:ext uri="{FF2B5EF4-FFF2-40B4-BE49-F238E27FC236}">
                    <a16:creationId xmlns:a16="http://schemas.microsoft.com/office/drawing/2014/main" id="{411F3046-EE75-FD48-8BE6-5EB3B9DB8D36}"/>
                  </a:ext>
                </a:extLst>
              </p:cNvPr>
              <p:cNvGrpSpPr/>
              <p:nvPr>
                <p:custDataLst>
                  <p:tags r:id="rId251"/>
                </p:custDataLst>
              </p:nvPr>
            </p:nvGrpSpPr>
            <p:grpSpPr>
              <a:xfrm>
                <a:off x="8060430" y="2749296"/>
                <a:ext cx="244160" cy="244160"/>
                <a:chOff x="-763325" y="1701579"/>
                <a:chExt cx="349858" cy="349858"/>
              </a:xfrm>
            </p:grpSpPr>
            <p:sp>
              <p:nvSpPr>
                <p:cNvPr id="545" name="Oval 544">
                  <a:extLst>
                    <a:ext uri="{FF2B5EF4-FFF2-40B4-BE49-F238E27FC236}">
                      <a16:creationId xmlns:a16="http://schemas.microsoft.com/office/drawing/2014/main" id="{13DEAC3A-B4A9-7E4A-A02F-5FBDB470D1C5}"/>
                    </a:ext>
                  </a:extLst>
                </p:cNvPr>
                <p:cNvSpPr/>
                <p:nvPr>
                  <p:custDataLst>
                    <p:tags r:id="rId253"/>
                  </p:custDataLst>
                </p:nvPr>
              </p:nvSpPr>
              <p:spPr>
                <a:xfrm>
                  <a:off x="-763325" y="1701579"/>
                  <a:ext cx="349858" cy="349858"/>
                </a:xfrm>
                <a:prstGeom prst="ellipse">
                  <a:avLst/>
                </a:prstGeom>
                <a:solidFill>
                  <a:srgbClr val="2C5967">
                    <a:alpha val="42000"/>
                  </a:srgb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799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12D2A"/>
                    </a:solidFill>
                    <a:effectLst/>
                    <a:uLnTx/>
                    <a:uFillTx/>
                    <a:latin typeface="Oracle Sans Tab"/>
                    <a:ea typeface="+mn-ea"/>
                    <a:cs typeface="+mn-cs"/>
                  </a:endParaRPr>
                </a:p>
              </p:txBody>
            </p:sp>
            <p:sp>
              <p:nvSpPr>
                <p:cNvPr id="546" name="Oval 545">
                  <a:extLst>
                    <a:ext uri="{FF2B5EF4-FFF2-40B4-BE49-F238E27FC236}">
                      <a16:creationId xmlns:a16="http://schemas.microsoft.com/office/drawing/2014/main" id="{E821C03D-0D28-A04F-A4C3-63D388C5093A}"/>
                    </a:ext>
                  </a:extLst>
                </p:cNvPr>
                <p:cNvSpPr/>
                <p:nvPr>
                  <p:custDataLst>
                    <p:tags r:id="rId254"/>
                  </p:custDataLst>
                </p:nvPr>
              </p:nvSpPr>
              <p:spPr>
                <a:xfrm>
                  <a:off x="-676936" y="1787968"/>
                  <a:ext cx="177080" cy="177080"/>
                </a:xfrm>
                <a:prstGeom prst="ellipse">
                  <a:avLst/>
                </a:prstGeom>
                <a:solidFill>
                  <a:srgbClr val="2C5967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799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12D2A"/>
                    </a:solidFill>
                    <a:effectLst/>
                    <a:uLnTx/>
                    <a:uFillTx/>
                    <a:latin typeface="Oracle Sans Tab"/>
                    <a:ea typeface="+mn-ea"/>
                    <a:cs typeface="+mn-cs"/>
                  </a:endParaRPr>
                </a:p>
              </p:txBody>
            </p:sp>
          </p:grpSp>
          <p:cxnSp>
            <p:nvCxnSpPr>
              <p:cNvPr id="492" name="Straight Connector 491">
                <a:extLst>
                  <a:ext uri="{FF2B5EF4-FFF2-40B4-BE49-F238E27FC236}">
                    <a16:creationId xmlns:a16="http://schemas.microsoft.com/office/drawing/2014/main" id="{A2AA3F9A-CB7F-ED40-8716-C8F4322C67E1}"/>
                  </a:ext>
                </a:extLst>
              </p:cNvPr>
              <p:cNvCxnSpPr/>
              <p:nvPr>
                <p:custDataLst>
                  <p:tags r:id="rId252"/>
                </p:custDataLst>
              </p:nvPr>
            </p:nvCxnSpPr>
            <p:spPr>
              <a:xfrm flipH="1">
                <a:off x="8182510" y="2135481"/>
                <a:ext cx="0" cy="780693"/>
              </a:xfrm>
              <a:prstGeom prst="line">
                <a:avLst/>
              </a:prstGeom>
              <a:ln>
                <a:solidFill>
                  <a:srgbClr val="2C5967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660" name="Rounded Rectangle 659">
              <a:extLst>
                <a:ext uri="{FF2B5EF4-FFF2-40B4-BE49-F238E27FC236}">
                  <a16:creationId xmlns:a16="http://schemas.microsoft.com/office/drawing/2014/main" id="{0E52419E-A90E-434E-B3AE-AEDAAFAD65E2}"/>
                </a:ext>
              </a:extLst>
            </p:cNvPr>
            <p:cNvSpPr>
              <a:spLocks noChangeAspect="1"/>
            </p:cNvSpPr>
            <p:nvPr>
              <p:custDataLst>
                <p:tags r:id="rId250"/>
              </p:custDataLst>
            </p:nvPr>
          </p:nvSpPr>
          <p:spPr>
            <a:xfrm>
              <a:off x="8149751" y="2039692"/>
              <a:ext cx="65931" cy="65931"/>
            </a:xfrm>
            <a:prstGeom prst="roundRect">
              <a:avLst>
                <a:gd name="adj" fmla="val 10205"/>
              </a:avLst>
            </a:prstGeom>
            <a:solidFill>
              <a:schemeClr val="accent1"/>
            </a:solidFill>
            <a:ln w="9525" cap="flat">
              <a:noFill/>
              <a:prstDash val="solid"/>
              <a:miter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312D2A"/>
                  </a:solidFill>
                  <a:effectLst/>
                  <a:uLnTx/>
                  <a:uFillTx/>
                  <a:latin typeface="Oracle Sans Tab"/>
                  <a:ea typeface="+mn-ea"/>
                  <a:cs typeface="+mn-cs"/>
                </a:rPr>
                <a:t>   </a:t>
              </a:r>
            </a:p>
          </p:txBody>
        </p:sp>
      </p:grpSp>
      <p:grpSp>
        <p:nvGrpSpPr>
          <p:cNvPr id="61" name="Group 60">
            <a:extLst>
              <a:ext uri="{FF2B5EF4-FFF2-40B4-BE49-F238E27FC236}">
                <a16:creationId xmlns:a16="http://schemas.microsoft.com/office/drawing/2014/main" id="{0792D7FE-514F-3046-88CE-B00583754837}"/>
              </a:ext>
            </a:extLst>
          </p:cNvPr>
          <p:cNvGrpSpPr/>
          <p:nvPr>
            <p:custDataLst>
              <p:tags r:id="rId25"/>
            </p:custDataLst>
          </p:nvPr>
        </p:nvGrpSpPr>
        <p:grpSpPr>
          <a:xfrm>
            <a:off x="8074541" y="2245101"/>
            <a:ext cx="635109" cy="882705"/>
            <a:chOff x="8129975" y="2213887"/>
            <a:chExt cx="635274" cy="882936"/>
          </a:xfrm>
        </p:grpSpPr>
        <p:sp>
          <p:nvSpPr>
            <p:cNvPr id="601" name="TextBox 600">
              <a:extLst>
                <a:ext uri="{FF2B5EF4-FFF2-40B4-BE49-F238E27FC236}">
                  <a16:creationId xmlns:a16="http://schemas.microsoft.com/office/drawing/2014/main" id="{D038C887-4B5C-3C46-8F90-70B2E8D02467}"/>
                </a:ext>
              </a:extLst>
            </p:cNvPr>
            <p:cNvSpPr txBox="1"/>
            <p:nvPr>
              <p:custDataLst>
                <p:tags r:id="rId241"/>
              </p:custDataLst>
            </p:nvPr>
          </p:nvSpPr>
          <p:spPr>
            <a:xfrm>
              <a:off x="8129975" y="2213887"/>
              <a:ext cx="635274" cy="11024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00" b="0" i="0" u="none" strike="noStrike" kern="1200" cap="none" spc="0" normalizeH="0" baseline="0" noProof="0" dirty="0">
                  <a:ln>
                    <a:noFill/>
                  </a:ln>
                  <a:solidFill>
                    <a:srgbClr val="312D2A"/>
                  </a:solidFill>
                  <a:effectLst/>
                  <a:uLnTx/>
                  <a:uFillTx/>
                  <a:latin typeface="Oracle Sans Semi Bold" panose="020B0503020204020204" pitchFamily="34" charset="0"/>
                  <a:ea typeface="+mn-ea"/>
                  <a:cs typeface="Oracle Sans Semi Bold" panose="020B0503020204020204" pitchFamily="34" charset="0"/>
                </a:rPr>
                <a:t>Hyderabad</a:t>
              </a:r>
            </a:p>
          </p:txBody>
        </p:sp>
        <p:grpSp>
          <p:nvGrpSpPr>
            <p:cNvPr id="60" name="Group 59">
              <a:extLst>
                <a:ext uri="{FF2B5EF4-FFF2-40B4-BE49-F238E27FC236}">
                  <a16:creationId xmlns:a16="http://schemas.microsoft.com/office/drawing/2014/main" id="{C01E6094-C6FF-0643-A822-9BC918ECA999}"/>
                </a:ext>
              </a:extLst>
            </p:cNvPr>
            <p:cNvGrpSpPr/>
            <p:nvPr>
              <p:custDataLst>
                <p:tags r:id="rId242"/>
              </p:custDataLst>
            </p:nvPr>
          </p:nvGrpSpPr>
          <p:grpSpPr>
            <a:xfrm>
              <a:off x="8306921" y="2443982"/>
              <a:ext cx="244160" cy="652841"/>
              <a:chOff x="8306921" y="2443982"/>
              <a:chExt cx="244160" cy="652841"/>
            </a:xfrm>
          </p:grpSpPr>
          <p:grpSp>
            <p:nvGrpSpPr>
              <p:cNvPr id="547" name="Group 546">
                <a:extLst>
                  <a:ext uri="{FF2B5EF4-FFF2-40B4-BE49-F238E27FC236}">
                    <a16:creationId xmlns:a16="http://schemas.microsoft.com/office/drawing/2014/main" id="{46B60EB5-D0F1-9145-89B7-A39C78FD8BCA}"/>
                  </a:ext>
                </a:extLst>
              </p:cNvPr>
              <p:cNvGrpSpPr/>
              <p:nvPr>
                <p:custDataLst>
                  <p:tags r:id="rId244"/>
                </p:custDataLst>
              </p:nvPr>
            </p:nvGrpSpPr>
            <p:grpSpPr>
              <a:xfrm>
                <a:off x="8306921" y="2852663"/>
                <a:ext cx="244160" cy="244160"/>
                <a:chOff x="-763325" y="1701579"/>
                <a:chExt cx="349858" cy="349858"/>
              </a:xfrm>
            </p:grpSpPr>
            <p:sp>
              <p:nvSpPr>
                <p:cNvPr id="548" name="Oval 547">
                  <a:extLst>
                    <a:ext uri="{FF2B5EF4-FFF2-40B4-BE49-F238E27FC236}">
                      <a16:creationId xmlns:a16="http://schemas.microsoft.com/office/drawing/2014/main" id="{3F4B7083-350E-AA46-98F3-FC3537F372E5}"/>
                    </a:ext>
                  </a:extLst>
                </p:cNvPr>
                <p:cNvSpPr/>
                <p:nvPr>
                  <p:custDataLst>
                    <p:tags r:id="rId246"/>
                  </p:custDataLst>
                </p:nvPr>
              </p:nvSpPr>
              <p:spPr>
                <a:xfrm>
                  <a:off x="-763325" y="1701579"/>
                  <a:ext cx="349858" cy="349858"/>
                </a:xfrm>
                <a:prstGeom prst="ellipse">
                  <a:avLst/>
                </a:prstGeom>
                <a:solidFill>
                  <a:srgbClr val="2C5967">
                    <a:alpha val="42000"/>
                  </a:srgb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799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12D2A"/>
                    </a:solidFill>
                    <a:effectLst/>
                    <a:uLnTx/>
                    <a:uFillTx/>
                    <a:latin typeface="Oracle Sans Tab"/>
                    <a:ea typeface="+mn-ea"/>
                    <a:cs typeface="+mn-cs"/>
                  </a:endParaRPr>
                </a:p>
              </p:txBody>
            </p:sp>
            <p:sp>
              <p:nvSpPr>
                <p:cNvPr id="550" name="Oval 549">
                  <a:extLst>
                    <a:ext uri="{FF2B5EF4-FFF2-40B4-BE49-F238E27FC236}">
                      <a16:creationId xmlns:a16="http://schemas.microsoft.com/office/drawing/2014/main" id="{282E684E-8366-7540-9AE5-4D9D18373ADA}"/>
                    </a:ext>
                  </a:extLst>
                </p:cNvPr>
                <p:cNvSpPr/>
                <p:nvPr>
                  <p:custDataLst>
                    <p:tags r:id="rId247"/>
                  </p:custDataLst>
                </p:nvPr>
              </p:nvSpPr>
              <p:spPr>
                <a:xfrm>
                  <a:off x="-676936" y="1787968"/>
                  <a:ext cx="177080" cy="177080"/>
                </a:xfrm>
                <a:prstGeom prst="ellipse">
                  <a:avLst/>
                </a:prstGeom>
                <a:solidFill>
                  <a:srgbClr val="2C5967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799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12D2A"/>
                    </a:solidFill>
                    <a:effectLst/>
                    <a:uLnTx/>
                    <a:uFillTx/>
                    <a:latin typeface="Oracle Sans Tab"/>
                    <a:ea typeface="+mn-ea"/>
                    <a:cs typeface="+mn-cs"/>
                  </a:endParaRPr>
                </a:p>
              </p:txBody>
            </p:sp>
          </p:grpSp>
          <p:cxnSp>
            <p:nvCxnSpPr>
              <p:cNvPr id="491" name="Straight Connector 490">
                <a:extLst>
                  <a:ext uri="{FF2B5EF4-FFF2-40B4-BE49-F238E27FC236}">
                    <a16:creationId xmlns:a16="http://schemas.microsoft.com/office/drawing/2014/main" id="{EEC74999-BDB3-264C-9C9D-CECEFF999AD1}"/>
                  </a:ext>
                </a:extLst>
              </p:cNvPr>
              <p:cNvCxnSpPr/>
              <p:nvPr>
                <p:custDataLst>
                  <p:tags r:id="rId245"/>
                </p:custDataLst>
              </p:nvPr>
            </p:nvCxnSpPr>
            <p:spPr>
              <a:xfrm flipH="1">
                <a:off x="8429001" y="2443982"/>
                <a:ext cx="0" cy="511948"/>
              </a:xfrm>
              <a:prstGeom prst="line">
                <a:avLst/>
              </a:prstGeom>
              <a:ln>
                <a:solidFill>
                  <a:srgbClr val="2C5967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661" name="Rounded Rectangle 660">
              <a:extLst>
                <a:ext uri="{FF2B5EF4-FFF2-40B4-BE49-F238E27FC236}">
                  <a16:creationId xmlns:a16="http://schemas.microsoft.com/office/drawing/2014/main" id="{E2595E3B-CEBD-A047-9C55-9B3C0EE16CF6}"/>
                </a:ext>
              </a:extLst>
            </p:cNvPr>
            <p:cNvSpPr>
              <a:spLocks noChangeAspect="1"/>
            </p:cNvSpPr>
            <p:nvPr>
              <p:custDataLst>
                <p:tags r:id="rId243"/>
              </p:custDataLst>
            </p:nvPr>
          </p:nvSpPr>
          <p:spPr>
            <a:xfrm>
              <a:off x="8396036" y="2343384"/>
              <a:ext cx="65931" cy="65931"/>
            </a:xfrm>
            <a:prstGeom prst="roundRect">
              <a:avLst>
                <a:gd name="adj" fmla="val 10205"/>
              </a:avLst>
            </a:prstGeom>
            <a:solidFill>
              <a:schemeClr val="accent1"/>
            </a:solidFill>
            <a:ln w="9525" cap="flat">
              <a:noFill/>
              <a:prstDash val="solid"/>
              <a:miter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312D2A"/>
                  </a:solidFill>
                  <a:effectLst/>
                  <a:uLnTx/>
                  <a:uFillTx/>
                  <a:latin typeface="Oracle Sans Tab"/>
                  <a:ea typeface="+mn-ea"/>
                  <a:cs typeface="+mn-cs"/>
                </a:rPr>
                <a:t>   </a:t>
              </a:r>
            </a:p>
          </p:txBody>
        </p:sp>
      </p:grpSp>
      <p:grpSp>
        <p:nvGrpSpPr>
          <p:cNvPr id="449" name="Group 448">
            <a:extLst>
              <a:ext uri="{FF2B5EF4-FFF2-40B4-BE49-F238E27FC236}">
                <a16:creationId xmlns:a16="http://schemas.microsoft.com/office/drawing/2014/main" id="{3DB748DC-26A6-8E4F-9C7F-37CC96775364}"/>
              </a:ext>
            </a:extLst>
          </p:cNvPr>
          <p:cNvGrpSpPr/>
          <p:nvPr>
            <p:custDataLst>
              <p:tags r:id="rId26"/>
            </p:custDataLst>
          </p:nvPr>
        </p:nvGrpSpPr>
        <p:grpSpPr>
          <a:xfrm>
            <a:off x="8072288" y="3567070"/>
            <a:ext cx="1019390" cy="244096"/>
            <a:chOff x="8119822" y="3409254"/>
            <a:chExt cx="1019656" cy="244160"/>
          </a:xfrm>
        </p:grpSpPr>
        <p:sp>
          <p:nvSpPr>
            <p:cNvPr id="605" name="TextBox 604">
              <a:extLst>
                <a:ext uri="{FF2B5EF4-FFF2-40B4-BE49-F238E27FC236}">
                  <a16:creationId xmlns:a16="http://schemas.microsoft.com/office/drawing/2014/main" id="{FB79EE98-B3BF-3146-90A9-6F95F3E4D74B}"/>
                </a:ext>
              </a:extLst>
            </p:cNvPr>
            <p:cNvSpPr txBox="1"/>
            <p:nvPr>
              <p:custDataLst>
                <p:tags r:id="rId235"/>
              </p:custDataLst>
            </p:nvPr>
          </p:nvSpPr>
          <p:spPr>
            <a:xfrm>
              <a:off x="8119822" y="3492206"/>
              <a:ext cx="635274" cy="11024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00" i="0" u="none" strike="noStrike" kern="1200" cap="none" spc="0" normalizeH="0" baseline="0" noProof="0" dirty="0">
                  <a:ln>
                    <a:noFill/>
                  </a:ln>
                  <a:solidFill>
                    <a:srgbClr val="312D2A"/>
                  </a:solidFill>
                  <a:effectLst/>
                  <a:uLnTx/>
                  <a:uFillTx/>
                  <a:latin typeface="Oracle Sans Semi Bold" panose="020B0503020204020204" pitchFamily="34" charset="0"/>
                  <a:ea typeface="+mn-ea"/>
                  <a:cs typeface="Oracle Sans Semi Bold" panose="020B0503020204020204" pitchFamily="34" charset="0"/>
                </a:rPr>
                <a:t>Singapore</a:t>
              </a:r>
            </a:p>
          </p:txBody>
        </p:sp>
        <p:grpSp>
          <p:nvGrpSpPr>
            <p:cNvPr id="63" name="Group 62">
              <a:extLst>
                <a:ext uri="{FF2B5EF4-FFF2-40B4-BE49-F238E27FC236}">
                  <a16:creationId xmlns:a16="http://schemas.microsoft.com/office/drawing/2014/main" id="{464E9E92-9BC8-9644-8B16-828E3F39F6B6}"/>
                </a:ext>
              </a:extLst>
            </p:cNvPr>
            <p:cNvGrpSpPr/>
            <p:nvPr>
              <p:custDataLst>
                <p:tags r:id="rId236"/>
              </p:custDataLst>
            </p:nvPr>
          </p:nvGrpSpPr>
          <p:grpSpPr>
            <a:xfrm>
              <a:off x="8690008" y="3409254"/>
              <a:ext cx="449470" cy="244160"/>
              <a:chOff x="8690008" y="3409254"/>
              <a:chExt cx="449470" cy="244160"/>
            </a:xfrm>
          </p:grpSpPr>
          <p:cxnSp>
            <p:nvCxnSpPr>
              <p:cNvPr id="501" name="Straight Connector 500">
                <a:extLst>
                  <a:ext uri="{FF2B5EF4-FFF2-40B4-BE49-F238E27FC236}">
                    <a16:creationId xmlns:a16="http://schemas.microsoft.com/office/drawing/2014/main" id="{166F40AB-08DB-7E47-8DF8-4DB4270B9ACD}"/>
                  </a:ext>
                </a:extLst>
              </p:cNvPr>
              <p:cNvCxnSpPr/>
              <p:nvPr>
                <p:custDataLst>
                  <p:tags r:id="rId237"/>
                </p:custDataLst>
              </p:nvPr>
            </p:nvCxnSpPr>
            <p:spPr>
              <a:xfrm>
                <a:off x="8690008" y="3531334"/>
                <a:ext cx="315267" cy="0"/>
              </a:xfrm>
              <a:prstGeom prst="line">
                <a:avLst/>
              </a:prstGeom>
              <a:ln>
                <a:solidFill>
                  <a:srgbClr val="2C5967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grpSp>
            <p:nvGrpSpPr>
              <p:cNvPr id="562" name="Group 561">
                <a:extLst>
                  <a:ext uri="{FF2B5EF4-FFF2-40B4-BE49-F238E27FC236}">
                    <a16:creationId xmlns:a16="http://schemas.microsoft.com/office/drawing/2014/main" id="{AB3F1334-552A-3140-9768-112AFAF7F7CE}"/>
                  </a:ext>
                </a:extLst>
              </p:cNvPr>
              <p:cNvGrpSpPr/>
              <p:nvPr>
                <p:custDataLst>
                  <p:tags r:id="rId238"/>
                </p:custDataLst>
              </p:nvPr>
            </p:nvGrpSpPr>
            <p:grpSpPr>
              <a:xfrm>
                <a:off x="8895318" y="3409254"/>
                <a:ext cx="244160" cy="244160"/>
                <a:chOff x="-763325" y="1701579"/>
                <a:chExt cx="349858" cy="349858"/>
              </a:xfrm>
            </p:grpSpPr>
            <p:sp>
              <p:nvSpPr>
                <p:cNvPr id="566" name="Oval 565">
                  <a:extLst>
                    <a:ext uri="{FF2B5EF4-FFF2-40B4-BE49-F238E27FC236}">
                      <a16:creationId xmlns:a16="http://schemas.microsoft.com/office/drawing/2014/main" id="{5FFBDD91-C821-564C-BD36-CB03CF1E67AB}"/>
                    </a:ext>
                  </a:extLst>
                </p:cNvPr>
                <p:cNvSpPr/>
                <p:nvPr>
                  <p:custDataLst>
                    <p:tags r:id="rId239"/>
                  </p:custDataLst>
                </p:nvPr>
              </p:nvSpPr>
              <p:spPr>
                <a:xfrm>
                  <a:off x="-763325" y="1701579"/>
                  <a:ext cx="349858" cy="349858"/>
                </a:xfrm>
                <a:prstGeom prst="ellipse">
                  <a:avLst/>
                </a:prstGeom>
                <a:solidFill>
                  <a:srgbClr val="2C5967">
                    <a:alpha val="42000"/>
                  </a:srgb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799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12D2A"/>
                    </a:solidFill>
                    <a:effectLst/>
                    <a:uLnTx/>
                    <a:uFillTx/>
                    <a:latin typeface="Oracle Sans Tab"/>
                    <a:ea typeface="+mn-ea"/>
                    <a:cs typeface="+mn-cs"/>
                  </a:endParaRPr>
                </a:p>
              </p:txBody>
            </p:sp>
            <p:sp>
              <p:nvSpPr>
                <p:cNvPr id="632" name="Oval 631">
                  <a:extLst>
                    <a:ext uri="{FF2B5EF4-FFF2-40B4-BE49-F238E27FC236}">
                      <a16:creationId xmlns:a16="http://schemas.microsoft.com/office/drawing/2014/main" id="{F229E958-D576-8848-B36A-0D4BE5BEF0C8}"/>
                    </a:ext>
                  </a:extLst>
                </p:cNvPr>
                <p:cNvSpPr/>
                <p:nvPr>
                  <p:custDataLst>
                    <p:tags r:id="rId240"/>
                  </p:custDataLst>
                </p:nvPr>
              </p:nvSpPr>
              <p:spPr>
                <a:xfrm>
                  <a:off x="-676936" y="1787968"/>
                  <a:ext cx="177080" cy="177080"/>
                </a:xfrm>
                <a:prstGeom prst="ellipse">
                  <a:avLst/>
                </a:prstGeom>
                <a:solidFill>
                  <a:srgbClr val="2C5967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799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12D2A"/>
                    </a:solidFill>
                    <a:effectLst/>
                    <a:uLnTx/>
                    <a:uFillTx/>
                    <a:latin typeface="Oracle Sans Tab"/>
                    <a:ea typeface="+mn-ea"/>
                    <a:cs typeface="+mn-cs"/>
                  </a:endParaRPr>
                </a:p>
              </p:txBody>
            </p:sp>
          </p:grpSp>
        </p:grpSp>
      </p:grpSp>
      <p:grpSp>
        <p:nvGrpSpPr>
          <p:cNvPr id="463" name="Group 462">
            <a:extLst>
              <a:ext uri="{FF2B5EF4-FFF2-40B4-BE49-F238E27FC236}">
                <a16:creationId xmlns:a16="http://schemas.microsoft.com/office/drawing/2014/main" id="{853541C0-21AF-464C-BC0A-E2105A142FF6}"/>
              </a:ext>
            </a:extLst>
          </p:cNvPr>
          <p:cNvGrpSpPr/>
          <p:nvPr>
            <p:custDataLst>
              <p:tags r:id="rId27"/>
            </p:custDataLst>
          </p:nvPr>
        </p:nvGrpSpPr>
        <p:grpSpPr>
          <a:xfrm>
            <a:off x="9076936" y="3172289"/>
            <a:ext cx="836159" cy="253524"/>
            <a:chOff x="9106183" y="3099154"/>
            <a:chExt cx="836377" cy="253590"/>
          </a:xfrm>
        </p:grpSpPr>
        <p:sp>
          <p:nvSpPr>
            <p:cNvPr id="609" name="TextBox 608">
              <a:extLst>
                <a:ext uri="{FF2B5EF4-FFF2-40B4-BE49-F238E27FC236}">
                  <a16:creationId xmlns:a16="http://schemas.microsoft.com/office/drawing/2014/main" id="{27D1A119-4927-FC45-B793-0B29C85EE746}"/>
                </a:ext>
              </a:extLst>
            </p:cNvPr>
            <p:cNvSpPr txBox="1"/>
            <p:nvPr>
              <p:custDataLst>
                <p:tags r:id="rId228"/>
              </p:custDataLst>
            </p:nvPr>
          </p:nvSpPr>
          <p:spPr>
            <a:xfrm>
              <a:off x="9106183" y="3165588"/>
              <a:ext cx="635274" cy="11024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00" b="1" i="0" u="none" strike="noStrike" kern="1200" cap="none" spc="0" normalizeH="0" baseline="0" noProof="0" dirty="0">
                  <a:ln>
                    <a:noFill/>
                  </a:ln>
                  <a:solidFill>
                    <a:srgbClr val="312D2A"/>
                  </a:solidFill>
                  <a:effectLst/>
                  <a:uLnTx/>
                  <a:uFillTx/>
                  <a:latin typeface="Oracle Sans Semi Bold" panose="020B0503020204020204" pitchFamily="34" charset="0"/>
                  <a:ea typeface="+mn-ea"/>
                  <a:cs typeface="Oracle Sans Semi Bold" panose="020B0503020204020204" pitchFamily="34" charset="0"/>
                </a:rPr>
                <a:t>Seoul</a:t>
              </a:r>
            </a:p>
          </p:txBody>
        </p:sp>
        <p:grpSp>
          <p:nvGrpSpPr>
            <p:cNvPr id="462" name="Group 461">
              <a:extLst>
                <a:ext uri="{FF2B5EF4-FFF2-40B4-BE49-F238E27FC236}">
                  <a16:creationId xmlns:a16="http://schemas.microsoft.com/office/drawing/2014/main" id="{90D506B4-F56F-BA48-B7BB-D9C7B70EAEAD}"/>
                </a:ext>
              </a:extLst>
            </p:cNvPr>
            <p:cNvGrpSpPr/>
            <p:nvPr>
              <p:custDataLst>
                <p:tags r:id="rId229"/>
              </p:custDataLst>
            </p:nvPr>
          </p:nvGrpSpPr>
          <p:grpSpPr>
            <a:xfrm>
              <a:off x="9565419" y="3099154"/>
              <a:ext cx="377141" cy="244160"/>
              <a:chOff x="9565419" y="3099154"/>
              <a:chExt cx="377141" cy="244160"/>
            </a:xfrm>
          </p:grpSpPr>
          <p:cxnSp>
            <p:nvCxnSpPr>
              <p:cNvPr id="488" name="Straight Connector 487">
                <a:extLst>
                  <a:ext uri="{FF2B5EF4-FFF2-40B4-BE49-F238E27FC236}">
                    <a16:creationId xmlns:a16="http://schemas.microsoft.com/office/drawing/2014/main" id="{A57C6D90-1FE4-1B45-9735-8A885F0DB065}"/>
                  </a:ext>
                </a:extLst>
              </p:cNvPr>
              <p:cNvCxnSpPr/>
              <p:nvPr>
                <p:custDataLst>
                  <p:tags r:id="rId231"/>
                </p:custDataLst>
              </p:nvPr>
            </p:nvCxnSpPr>
            <p:spPr>
              <a:xfrm>
                <a:off x="9565419" y="3221234"/>
                <a:ext cx="219083" cy="0"/>
              </a:xfrm>
              <a:prstGeom prst="line">
                <a:avLst/>
              </a:prstGeom>
              <a:ln>
                <a:solidFill>
                  <a:srgbClr val="2C5967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grpSp>
            <p:nvGrpSpPr>
              <p:cNvPr id="633" name="Group 632">
                <a:extLst>
                  <a:ext uri="{FF2B5EF4-FFF2-40B4-BE49-F238E27FC236}">
                    <a16:creationId xmlns:a16="http://schemas.microsoft.com/office/drawing/2014/main" id="{30BED14A-9DA5-594C-975B-9CFAECFC0080}"/>
                  </a:ext>
                </a:extLst>
              </p:cNvPr>
              <p:cNvGrpSpPr/>
              <p:nvPr>
                <p:custDataLst>
                  <p:tags r:id="rId232"/>
                </p:custDataLst>
              </p:nvPr>
            </p:nvGrpSpPr>
            <p:grpSpPr>
              <a:xfrm>
                <a:off x="9698400" y="3099154"/>
                <a:ext cx="244160" cy="244160"/>
                <a:chOff x="-763325" y="1701579"/>
                <a:chExt cx="349858" cy="349858"/>
              </a:xfrm>
            </p:grpSpPr>
            <p:sp>
              <p:nvSpPr>
                <p:cNvPr id="635" name="Oval 634">
                  <a:extLst>
                    <a:ext uri="{FF2B5EF4-FFF2-40B4-BE49-F238E27FC236}">
                      <a16:creationId xmlns:a16="http://schemas.microsoft.com/office/drawing/2014/main" id="{4B0F36C5-F3C7-0C46-AC4F-84C256EF1E8A}"/>
                    </a:ext>
                  </a:extLst>
                </p:cNvPr>
                <p:cNvSpPr/>
                <p:nvPr>
                  <p:custDataLst>
                    <p:tags r:id="rId233"/>
                  </p:custDataLst>
                </p:nvPr>
              </p:nvSpPr>
              <p:spPr>
                <a:xfrm>
                  <a:off x="-763325" y="1701579"/>
                  <a:ext cx="349858" cy="349858"/>
                </a:xfrm>
                <a:prstGeom prst="ellipse">
                  <a:avLst/>
                </a:prstGeom>
                <a:solidFill>
                  <a:srgbClr val="2C5967">
                    <a:alpha val="42000"/>
                  </a:srgb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799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12D2A"/>
                    </a:solidFill>
                    <a:effectLst/>
                    <a:uLnTx/>
                    <a:uFillTx/>
                    <a:latin typeface="Oracle Sans Tab"/>
                    <a:ea typeface="+mn-ea"/>
                    <a:cs typeface="+mn-cs"/>
                  </a:endParaRPr>
                </a:p>
              </p:txBody>
            </p:sp>
            <p:sp>
              <p:nvSpPr>
                <p:cNvPr id="636" name="Oval 635">
                  <a:extLst>
                    <a:ext uri="{FF2B5EF4-FFF2-40B4-BE49-F238E27FC236}">
                      <a16:creationId xmlns:a16="http://schemas.microsoft.com/office/drawing/2014/main" id="{B0FD9137-B81C-2041-B965-0A7EFC12E3E6}"/>
                    </a:ext>
                  </a:extLst>
                </p:cNvPr>
                <p:cNvSpPr/>
                <p:nvPr>
                  <p:custDataLst>
                    <p:tags r:id="rId234"/>
                  </p:custDataLst>
                </p:nvPr>
              </p:nvSpPr>
              <p:spPr>
                <a:xfrm>
                  <a:off x="-676936" y="1787968"/>
                  <a:ext cx="177080" cy="177080"/>
                </a:xfrm>
                <a:prstGeom prst="ellipse">
                  <a:avLst/>
                </a:prstGeom>
                <a:solidFill>
                  <a:srgbClr val="2C5967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799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12D2A"/>
                    </a:solidFill>
                    <a:effectLst/>
                    <a:uLnTx/>
                    <a:uFillTx/>
                    <a:latin typeface="Oracle Sans Tab"/>
                    <a:ea typeface="+mn-ea"/>
                    <a:cs typeface="+mn-cs"/>
                  </a:endParaRPr>
                </a:p>
              </p:txBody>
            </p:sp>
          </p:grpSp>
        </p:grpSp>
        <p:sp>
          <p:nvSpPr>
            <p:cNvPr id="663" name="Rounded Rectangle 662">
              <a:extLst>
                <a:ext uri="{FF2B5EF4-FFF2-40B4-BE49-F238E27FC236}">
                  <a16:creationId xmlns:a16="http://schemas.microsoft.com/office/drawing/2014/main" id="{AFFC37C4-2483-9746-8E12-D24F04E4065D}"/>
                </a:ext>
              </a:extLst>
            </p:cNvPr>
            <p:cNvSpPr>
              <a:spLocks noChangeAspect="1"/>
            </p:cNvSpPr>
            <p:nvPr>
              <p:custDataLst>
                <p:tags r:id="rId230"/>
              </p:custDataLst>
            </p:nvPr>
          </p:nvSpPr>
          <p:spPr>
            <a:xfrm>
              <a:off x="9403355" y="3286813"/>
              <a:ext cx="65931" cy="65931"/>
            </a:xfrm>
            <a:prstGeom prst="roundRect">
              <a:avLst>
                <a:gd name="adj" fmla="val 10205"/>
              </a:avLst>
            </a:prstGeom>
            <a:solidFill>
              <a:schemeClr val="accent1"/>
            </a:solidFill>
            <a:ln w="9525" cap="flat">
              <a:noFill/>
              <a:prstDash val="solid"/>
              <a:miter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312D2A"/>
                  </a:solidFill>
                  <a:effectLst/>
                  <a:uLnTx/>
                  <a:uFillTx/>
                  <a:latin typeface="Oracle Sans Tab"/>
                  <a:ea typeface="+mn-ea"/>
                  <a:cs typeface="+mn-cs"/>
                </a:rPr>
                <a:t>   </a:t>
              </a:r>
            </a:p>
          </p:txBody>
        </p:sp>
      </p:grpSp>
      <p:grpSp>
        <p:nvGrpSpPr>
          <p:cNvPr id="466" name="Group 465">
            <a:extLst>
              <a:ext uri="{FF2B5EF4-FFF2-40B4-BE49-F238E27FC236}">
                <a16:creationId xmlns:a16="http://schemas.microsoft.com/office/drawing/2014/main" id="{1B567F29-3081-A94C-A6DC-31732E40E6E9}"/>
              </a:ext>
            </a:extLst>
          </p:cNvPr>
          <p:cNvGrpSpPr/>
          <p:nvPr>
            <p:custDataLst>
              <p:tags r:id="rId28"/>
            </p:custDataLst>
          </p:nvPr>
        </p:nvGrpSpPr>
        <p:grpSpPr>
          <a:xfrm>
            <a:off x="9550783" y="2166384"/>
            <a:ext cx="635109" cy="1221395"/>
            <a:chOff x="9637261" y="2018235"/>
            <a:chExt cx="635274" cy="1221712"/>
          </a:xfrm>
        </p:grpSpPr>
        <p:sp>
          <p:nvSpPr>
            <p:cNvPr id="613" name="TextBox 612">
              <a:extLst>
                <a:ext uri="{FF2B5EF4-FFF2-40B4-BE49-F238E27FC236}">
                  <a16:creationId xmlns:a16="http://schemas.microsoft.com/office/drawing/2014/main" id="{EB14A170-C0A2-E241-84E4-6FF4100352C1}"/>
                </a:ext>
              </a:extLst>
            </p:cNvPr>
            <p:cNvSpPr txBox="1"/>
            <p:nvPr>
              <p:custDataLst>
                <p:tags r:id="rId221"/>
              </p:custDataLst>
            </p:nvPr>
          </p:nvSpPr>
          <p:spPr>
            <a:xfrm>
              <a:off x="9637261" y="2018235"/>
              <a:ext cx="635274" cy="11024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00" b="1" i="0" u="none" strike="noStrike" kern="1200" cap="none" spc="0" normalizeH="0" baseline="0" noProof="0" dirty="0">
                  <a:ln>
                    <a:noFill/>
                  </a:ln>
                  <a:solidFill>
                    <a:srgbClr val="312D2A"/>
                  </a:solidFill>
                  <a:effectLst/>
                  <a:uLnTx/>
                  <a:uFillTx/>
                  <a:latin typeface="Oracle Sans Semi Bold" panose="020B0503020204020204" pitchFamily="34" charset="0"/>
                  <a:ea typeface="+mn-ea"/>
                  <a:cs typeface="Oracle Sans Semi Bold" panose="020B0503020204020204" pitchFamily="34" charset="0"/>
                </a:rPr>
                <a:t>Chuncheon</a:t>
              </a:r>
            </a:p>
          </p:txBody>
        </p:sp>
        <p:grpSp>
          <p:nvGrpSpPr>
            <p:cNvPr id="464" name="Group 463">
              <a:extLst>
                <a:ext uri="{FF2B5EF4-FFF2-40B4-BE49-F238E27FC236}">
                  <a16:creationId xmlns:a16="http://schemas.microsoft.com/office/drawing/2014/main" id="{747D8EEF-26DE-944A-AD31-D6443F7CE890}"/>
                </a:ext>
              </a:extLst>
            </p:cNvPr>
            <p:cNvGrpSpPr/>
            <p:nvPr>
              <p:custDataLst>
                <p:tags r:id="rId222"/>
              </p:custDataLst>
            </p:nvPr>
          </p:nvGrpSpPr>
          <p:grpSpPr>
            <a:xfrm>
              <a:off x="9825621" y="2267474"/>
              <a:ext cx="244160" cy="972473"/>
              <a:chOff x="9825621" y="2267474"/>
              <a:chExt cx="244160" cy="972473"/>
            </a:xfrm>
          </p:grpSpPr>
          <p:cxnSp>
            <p:nvCxnSpPr>
              <p:cNvPr id="485" name="Straight Connector 484">
                <a:extLst>
                  <a:ext uri="{FF2B5EF4-FFF2-40B4-BE49-F238E27FC236}">
                    <a16:creationId xmlns:a16="http://schemas.microsoft.com/office/drawing/2014/main" id="{0826C36B-BF54-ED41-BB20-F8A4F550EA9D}"/>
                  </a:ext>
                </a:extLst>
              </p:cNvPr>
              <p:cNvCxnSpPr/>
              <p:nvPr>
                <p:custDataLst>
                  <p:tags r:id="rId224"/>
                </p:custDataLst>
              </p:nvPr>
            </p:nvCxnSpPr>
            <p:spPr>
              <a:xfrm flipH="1">
                <a:off x="9947701" y="2267474"/>
                <a:ext cx="0" cy="831579"/>
              </a:xfrm>
              <a:prstGeom prst="line">
                <a:avLst/>
              </a:prstGeom>
              <a:ln>
                <a:solidFill>
                  <a:srgbClr val="2C5967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grpSp>
            <p:nvGrpSpPr>
              <p:cNvPr id="637" name="Group 636">
                <a:extLst>
                  <a:ext uri="{FF2B5EF4-FFF2-40B4-BE49-F238E27FC236}">
                    <a16:creationId xmlns:a16="http://schemas.microsoft.com/office/drawing/2014/main" id="{A9E15EDD-B88C-D84A-BCE5-0757D81245FC}"/>
                  </a:ext>
                </a:extLst>
              </p:cNvPr>
              <p:cNvGrpSpPr/>
              <p:nvPr>
                <p:custDataLst>
                  <p:tags r:id="rId225"/>
                </p:custDataLst>
              </p:nvPr>
            </p:nvGrpSpPr>
            <p:grpSpPr>
              <a:xfrm>
                <a:off x="9825621" y="2995787"/>
                <a:ext cx="244160" cy="244160"/>
                <a:chOff x="-763325" y="1701579"/>
                <a:chExt cx="349858" cy="349858"/>
              </a:xfrm>
            </p:grpSpPr>
            <p:sp>
              <p:nvSpPr>
                <p:cNvPr id="638" name="Oval 637">
                  <a:extLst>
                    <a:ext uri="{FF2B5EF4-FFF2-40B4-BE49-F238E27FC236}">
                      <a16:creationId xmlns:a16="http://schemas.microsoft.com/office/drawing/2014/main" id="{E5FF7F62-F9A1-3D46-A79A-9154013E2B3B}"/>
                    </a:ext>
                  </a:extLst>
                </p:cNvPr>
                <p:cNvSpPr/>
                <p:nvPr>
                  <p:custDataLst>
                    <p:tags r:id="rId226"/>
                  </p:custDataLst>
                </p:nvPr>
              </p:nvSpPr>
              <p:spPr>
                <a:xfrm>
                  <a:off x="-763325" y="1701579"/>
                  <a:ext cx="349858" cy="349858"/>
                </a:xfrm>
                <a:prstGeom prst="ellipse">
                  <a:avLst/>
                </a:prstGeom>
                <a:solidFill>
                  <a:srgbClr val="2C5967">
                    <a:alpha val="42000"/>
                  </a:srgb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799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12D2A"/>
                    </a:solidFill>
                    <a:effectLst/>
                    <a:uLnTx/>
                    <a:uFillTx/>
                    <a:latin typeface="Oracle Sans Tab"/>
                    <a:ea typeface="+mn-ea"/>
                    <a:cs typeface="+mn-cs"/>
                  </a:endParaRPr>
                </a:p>
              </p:txBody>
            </p:sp>
            <p:sp>
              <p:nvSpPr>
                <p:cNvPr id="639" name="Oval 638">
                  <a:extLst>
                    <a:ext uri="{FF2B5EF4-FFF2-40B4-BE49-F238E27FC236}">
                      <a16:creationId xmlns:a16="http://schemas.microsoft.com/office/drawing/2014/main" id="{4DC0B5F6-CEF9-4D48-BB36-719CD535A66C}"/>
                    </a:ext>
                  </a:extLst>
                </p:cNvPr>
                <p:cNvSpPr/>
                <p:nvPr>
                  <p:custDataLst>
                    <p:tags r:id="rId227"/>
                  </p:custDataLst>
                </p:nvPr>
              </p:nvSpPr>
              <p:spPr>
                <a:xfrm>
                  <a:off x="-676936" y="1787968"/>
                  <a:ext cx="177080" cy="177080"/>
                </a:xfrm>
                <a:prstGeom prst="ellipse">
                  <a:avLst/>
                </a:prstGeom>
                <a:solidFill>
                  <a:srgbClr val="2C5967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799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12D2A"/>
                    </a:solidFill>
                    <a:effectLst/>
                    <a:uLnTx/>
                    <a:uFillTx/>
                    <a:latin typeface="Oracle Sans Tab"/>
                    <a:ea typeface="+mn-ea"/>
                    <a:cs typeface="+mn-cs"/>
                  </a:endParaRPr>
                </a:p>
              </p:txBody>
            </p:sp>
          </p:grpSp>
        </p:grpSp>
        <p:sp>
          <p:nvSpPr>
            <p:cNvPr id="664" name="Rounded Rectangle 663">
              <a:extLst>
                <a:ext uri="{FF2B5EF4-FFF2-40B4-BE49-F238E27FC236}">
                  <a16:creationId xmlns:a16="http://schemas.microsoft.com/office/drawing/2014/main" id="{998717C4-D442-8349-A359-C2BA9F447F11}"/>
                </a:ext>
              </a:extLst>
            </p:cNvPr>
            <p:cNvSpPr>
              <a:spLocks noChangeAspect="1"/>
            </p:cNvSpPr>
            <p:nvPr>
              <p:custDataLst>
                <p:tags r:id="rId223"/>
              </p:custDataLst>
            </p:nvPr>
          </p:nvSpPr>
          <p:spPr>
            <a:xfrm>
              <a:off x="9914736" y="2161956"/>
              <a:ext cx="65931" cy="65931"/>
            </a:xfrm>
            <a:prstGeom prst="roundRect">
              <a:avLst>
                <a:gd name="adj" fmla="val 10205"/>
              </a:avLst>
            </a:prstGeom>
            <a:solidFill>
              <a:schemeClr val="accent1"/>
            </a:solidFill>
            <a:ln w="9525" cap="flat">
              <a:noFill/>
              <a:prstDash val="solid"/>
              <a:miter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312D2A"/>
                  </a:solidFill>
                  <a:effectLst/>
                  <a:uLnTx/>
                  <a:uFillTx/>
                  <a:latin typeface="Oracle Sans Tab"/>
                  <a:ea typeface="+mn-ea"/>
                  <a:cs typeface="+mn-cs"/>
                </a:rPr>
                <a:t>   </a:t>
              </a:r>
            </a:p>
          </p:txBody>
        </p:sp>
      </p:grpSp>
      <p:grpSp>
        <p:nvGrpSpPr>
          <p:cNvPr id="499" name="Group 498">
            <a:extLst>
              <a:ext uri="{FF2B5EF4-FFF2-40B4-BE49-F238E27FC236}">
                <a16:creationId xmlns:a16="http://schemas.microsoft.com/office/drawing/2014/main" id="{B236070C-CD7D-D34B-8F06-782B5DE01A64}"/>
              </a:ext>
            </a:extLst>
          </p:cNvPr>
          <p:cNvGrpSpPr/>
          <p:nvPr>
            <p:custDataLst>
              <p:tags r:id="rId29"/>
            </p:custDataLst>
          </p:nvPr>
        </p:nvGrpSpPr>
        <p:grpSpPr>
          <a:xfrm>
            <a:off x="9729537" y="3429001"/>
            <a:ext cx="635109" cy="642785"/>
            <a:chOff x="9782736" y="3377449"/>
            <a:chExt cx="635274" cy="642952"/>
          </a:xfrm>
        </p:grpSpPr>
        <p:grpSp>
          <p:nvGrpSpPr>
            <p:cNvPr id="496" name="Group 495">
              <a:extLst>
                <a:ext uri="{FF2B5EF4-FFF2-40B4-BE49-F238E27FC236}">
                  <a16:creationId xmlns:a16="http://schemas.microsoft.com/office/drawing/2014/main" id="{62AF0074-FF51-084F-A2F8-39F0AD9476F4}"/>
                </a:ext>
              </a:extLst>
            </p:cNvPr>
            <p:cNvGrpSpPr/>
            <p:nvPr>
              <p:custDataLst>
                <p:tags r:id="rId213"/>
              </p:custDataLst>
            </p:nvPr>
          </p:nvGrpSpPr>
          <p:grpSpPr>
            <a:xfrm>
              <a:off x="9968744" y="3377449"/>
              <a:ext cx="244160" cy="428742"/>
              <a:chOff x="9968744" y="3377449"/>
              <a:chExt cx="244160" cy="428742"/>
            </a:xfrm>
          </p:grpSpPr>
          <p:grpSp>
            <p:nvGrpSpPr>
              <p:cNvPr id="640" name="Group 639">
                <a:extLst>
                  <a:ext uri="{FF2B5EF4-FFF2-40B4-BE49-F238E27FC236}">
                    <a16:creationId xmlns:a16="http://schemas.microsoft.com/office/drawing/2014/main" id="{1539155F-17C1-BD48-9D65-A2D1B9520B65}"/>
                  </a:ext>
                </a:extLst>
              </p:cNvPr>
              <p:cNvGrpSpPr/>
              <p:nvPr>
                <p:custDataLst>
                  <p:tags r:id="rId217"/>
                </p:custDataLst>
              </p:nvPr>
            </p:nvGrpSpPr>
            <p:grpSpPr>
              <a:xfrm>
                <a:off x="9968744" y="3377449"/>
                <a:ext cx="244160" cy="244160"/>
                <a:chOff x="-763325" y="1701579"/>
                <a:chExt cx="349858" cy="349858"/>
              </a:xfrm>
            </p:grpSpPr>
            <p:sp>
              <p:nvSpPr>
                <p:cNvPr id="641" name="Oval 640">
                  <a:extLst>
                    <a:ext uri="{FF2B5EF4-FFF2-40B4-BE49-F238E27FC236}">
                      <a16:creationId xmlns:a16="http://schemas.microsoft.com/office/drawing/2014/main" id="{7A475DA9-E15B-B740-9928-7428259A4F9E}"/>
                    </a:ext>
                  </a:extLst>
                </p:cNvPr>
                <p:cNvSpPr/>
                <p:nvPr>
                  <p:custDataLst>
                    <p:tags r:id="rId219"/>
                  </p:custDataLst>
                </p:nvPr>
              </p:nvSpPr>
              <p:spPr>
                <a:xfrm>
                  <a:off x="-763325" y="1701579"/>
                  <a:ext cx="349858" cy="349858"/>
                </a:xfrm>
                <a:prstGeom prst="ellipse">
                  <a:avLst/>
                </a:prstGeom>
                <a:solidFill>
                  <a:srgbClr val="2C5967">
                    <a:alpha val="42000"/>
                  </a:srgb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799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12D2A"/>
                    </a:solidFill>
                    <a:effectLst/>
                    <a:uLnTx/>
                    <a:uFillTx/>
                    <a:latin typeface="Oracle Sans Tab"/>
                    <a:ea typeface="+mn-ea"/>
                    <a:cs typeface="+mn-cs"/>
                  </a:endParaRPr>
                </a:p>
              </p:txBody>
            </p:sp>
            <p:sp>
              <p:nvSpPr>
                <p:cNvPr id="642" name="Oval 641">
                  <a:extLst>
                    <a:ext uri="{FF2B5EF4-FFF2-40B4-BE49-F238E27FC236}">
                      <a16:creationId xmlns:a16="http://schemas.microsoft.com/office/drawing/2014/main" id="{E03EC766-9181-5A44-B906-07F9706515B3}"/>
                    </a:ext>
                  </a:extLst>
                </p:cNvPr>
                <p:cNvSpPr/>
                <p:nvPr>
                  <p:custDataLst>
                    <p:tags r:id="rId220"/>
                  </p:custDataLst>
                </p:nvPr>
              </p:nvSpPr>
              <p:spPr>
                <a:xfrm>
                  <a:off x="-676936" y="1787968"/>
                  <a:ext cx="177080" cy="177080"/>
                </a:xfrm>
                <a:prstGeom prst="ellipse">
                  <a:avLst/>
                </a:prstGeom>
                <a:solidFill>
                  <a:srgbClr val="2C5967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799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12D2A"/>
                    </a:solidFill>
                    <a:effectLst/>
                    <a:uLnTx/>
                    <a:uFillTx/>
                    <a:latin typeface="Oracle Sans Tab"/>
                    <a:ea typeface="+mn-ea"/>
                    <a:cs typeface="+mn-cs"/>
                  </a:endParaRPr>
                </a:p>
              </p:txBody>
            </p:sp>
          </p:grpSp>
          <p:cxnSp>
            <p:nvCxnSpPr>
              <p:cNvPr id="490" name="Straight Connector 489">
                <a:extLst>
                  <a:ext uri="{FF2B5EF4-FFF2-40B4-BE49-F238E27FC236}">
                    <a16:creationId xmlns:a16="http://schemas.microsoft.com/office/drawing/2014/main" id="{76DE154D-135D-1B4C-B16E-711AF3FEB008}"/>
                  </a:ext>
                </a:extLst>
              </p:cNvPr>
              <p:cNvCxnSpPr/>
              <p:nvPr>
                <p:custDataLst>
                  <p:tags r:id="rId218"/>
                </p:custDataLst>
              </p:nvPr>
            </p:nvCxnSpPr>
            <p:spPr>
              <a:xfrm flipH="1">
                <a:off x="10090824" y="3499979"/>
                <a:ext cx="0" cy="306212"/>
              </a:xfrm>
              <a:prstGeom prst="line">
                <a:avLst/>
              </a:prstGeom>
              <a:ln>
                <a:solidFill>
                  <a:srgbClr val="2C5967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98" name="Group 497">
              <a:extLst>
                <a:ext uri="{FF2B5EF4-FFF2-40B4-BE49-F238E27FC236}">
                  <a16:creationId xmlns:a16="http://schemas.microsoft.com/office/drawing/2014/main" id="{2EF8E507-EF3C-6142-A62E-4118E806A49B}"/>
                </a:ext>
              </a:extLst>
            </p:cNvPr>
            <p:cNvGrpSpPr/>
            <p:nvPr>
              <p:custDataLst>
                <p:tags r:id="rId214"/>
              </p:custDataLst>
            </p:nvPr>
          </p:nvGrpSpPr>
          <p:grpSpPr>
            <a:xfrm>
              <a:off x="9782736" y="3830405"/>
              <a:ext cx="635274" cy="189996"/>
              <a:chOff x="9782736" y="3830405"/>
              <a:chExt cx="635274" cy="189996"/>
            </a:xfrm>
          </p:grpSpPr>
          <p:sp>
            <p:nvSpPr>
              <p:cNvPr id="623" name="TextBox 622">
                <a:extLst>
                  <a:ext uri="{FF2B5EF4-FFF2-40B4-BE49-F238E27FC236}">
                    <a16:creationId xmlns:a16="http://schemas.microsoft.com/office/drawing/2014/main" id="{0734882B-20BE-B048-A8CD-1D4D30859D16}"/>
                  </a:ext>
                </a:extLst>
              </p:cNvPr>
              <p:cNvSpPr txBox="1"/>
              <p:nvPr>
                <p:custDataLst>
                  <p:tags r:id="rId215"/>
                </p:custDataLst>
              </p:nvPr>
            </p:nvSpPr>
            <p:spPr>
              <a:xfrm>
                <a:off x="9782736" y="3830405"/>
                <a:ext cx="635274" cy="110246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7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312D2A"/>
                    </a:solidFill>
                    <a:effectLst/>
                    <a:uLnTx/>
                    <a:uFillTx/>
                    <a:latin typeface="Oracle Sans Semi Bold" panose="020B0503020204020204" pitchFamily="34" charset="0"/>
                    <a:ea typeface="+mn-ea"/>
                    <a:cs typeface="Oracle Sans Semi Bold" panose="020B0503020204020204" pitchFamily="34" charset="0"/>
                  </a:rPr>
                  <a:t>Osaka</a:t>
                </a:r>
              </a:p>
            </p:txBody>
          </p:sp>
          <p:sp>
            <p:nvSpPr>
              <p:cNvPr id="665" name="Rounded Rectangle 664">
                <a:extLst>
                  <a:ext uri="{FF2B5EF4-FFF2-40B4-BE49-F238E27FC236}">
                    <a16:creationId xmlns:a16="http://schemas.microsoft.com/office/drawing/2014/main" id="{B2973B29-74F9-0C42-9679-B34F038E9594}"/>
                  </a:ext>
                </a:extLst>
              </p:cNvPr>
              <p:cNvSpPr>
                <a:spLocks noChangeAspect="1"/>
              </p:cNvSpPr>
              <p:nvPr>
                <p:custDataLst>
                  <p:tags r:id="rId216"/>
                </p:custDataLst>
              </p:nvPr>
            </p:nvSpPr>
            <p:spPr>
              <a:xfrm>
                <a:off x="10063756" y="3954470"/>
                <a:ext cx="65931" cy="65931"/>
              </a:xfrm>
              <a:prstGeom prst="roundRect">
                <a:avLst>
                  <a:gd name="adj" fmla="val 10205"/>
                </a:avLst>
              </a:prstGeom>
              <a:solidFill>
                <a:schemeClr val="accent1"/>
              </a:solidFill>
              <a:ln w="9525" cap="flat">
                <a:noFill/>
                <a:prstDash val="solid"/>
                <a:miter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12D2A"/>
                    </a:solidFill>
                    <a:effectLst/>
                    <a:uLnTx/>
                    <a:uFillTx/>
                    <a:latin typeface="Oracle Sans Tab"/>
                    <a:ea typeface="+mn-ea"/>
                    <a:cs typeface="+mn-cs"/>
                  </a:rPr>
                  <a:t>   </a:t>
                </a:r>
              </a:p>
            </p:txBody>
          </p:sp>
        </p:grpSp>
      </p:grpSp>
      <p:grpSp>
        <p:nvGrpSpPr>
          <p:cNvPr id="480" name="Group 479">
            <a:extLst>
              <a:ext uri="{FF2B5EF4-FFF2-40B4-BE49-F238E27FC236}">
                <a16:creationId xmlns:a16="http://schemas.microsoft.com/office/drawing/2014/main" id="{1DE052FE-A16A-444F-A830-069E8A696A11}"/>
              </a:ext>
            </a:extLst>
          </p:cNvPr>
          <p:cNvGrpSpPr/>
          <p:nvPr>
            <p:custDataLst>
              <p:tags r:id="rId30"/>
            </p:custDataLst>
          </p:nvPr>
        </p:nvGrpSpPr>
        <p:grpSpPr>
          <a:xfrm>
            <a:off x="10085140" y="3461054"/>
            <a:ext cx="1147815" cy="278126"/>
            <a:chOff x="10127770" y="3266131"/>
            <a:chExt cx="1148114" cy="278199"/>
          </a:xfrm>
        </p:grpSpPr>
        <p:grpSp>
          <p:nvGrpSpPr>
            <p:cNvPr id="470" name="Group 469">
              <a:extLst>
                <a:ext uri="{FF2B5EF4-FFF2-40B4-BE49-F238E27FC236}">
                  <a16:creationId xmlns:a16="http://schemas.microsoft.com/office/drawing/2014/main" id="{80FFEB52-59A6-D147-902B-53DA526F1673}"/>
                </a:ext>
              </a:extLst>
            </p:cNvPr>
            <p:cNvGrpSpPr/>
            <p:nvPr>
              <p:custDataLst>
                <p:tags r:id="rId203"/>
              </p:custDataLst>
            </p:nvPr>
          </p:nvGrpSpPr>
          <p:grpSpPr>
            <a:xfrm>
              <a:off x="10127770" y="3266131"/>
              <a:ext cx="718735" cy="244160"/>
              <a:chOff x="10127770" y="3266131"/>
              <a:chExt cx="718735" cy="244160"/>
            </a:xfrm>
          </p:grpSpPr>
          <p:cxnSp>
            <p:nvCxnSpPr>
              <p:cNvPr id="489" name="Straight Connector 488">
                <a:extLst>
                  <a:ext uri="{FF2B5EF4-FFF2-40B4-BE49-F238E27FC236}">
                    <a16:creationId xmlns:a16="http://schemas.microsoft.com/office/drawing/2014/main" id="{293900EC-8CC6-364B-BDF0-84396B4ED73F}"/>
                  </a:ext>
                </a:extLst>
              </p:cNvPr>
              <p:cNvCxnSpPr/>
              <p:nvPr>
                <p:custDataLst>
                  <p:tags r:id="rId209"/>
                </p:custDataLst>
              </p:nvPr>
            </p:nvCxnSpPr>
            <p:spPr>
              <a:xfrm>
                <a:off x="10234850" y="3388211"/>
                <a:ext cx="611655" cy="0"/>
              </a:xfrm>
              <a:prstGeom prst="line">
                <a:avLst/>
              </a:prstGeom>
              <a:ln>
                <a:solidFill>
                  <a:srgbClr val="2C5967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grpSp>
            <p:nvGrpSpPr>
              <p:cNvPr id="643" name="Group 642">
                <a:extLst>
                  <a:ext uri="{FF2B5EF4-FFF2-40B4-BE49-F238E27FC236}">
                    <a16:creationId xmlns:a16="http://schemas.microsoft.com/office/drawing/2014/main" id="{766BC03C-761A-DD49-AA91-896E109552E3}"/>
                  </a:ext>
                </a:extLst>
              </p:cNvPr>
              <p:cNvGrpSpPr/>
              <p:nvPr>
                <p:custDataLst>
                  <p:tags r:id="rId210"/>
                </p:custDataLst>
              </p:nvPr>
            </p:nvGrpSpPr>
            <p:grpSpPr>
              <a:xfrm>
                <a:off x="10127770" y="3266131"/>
                <a:ext cx="244160" cy="244160"/>
                <a:chOff x="-763325" y="1701579"/>
                <a:chExt cx="349858" cy="349858"/>
              </a:xfrm>
            </p:grpSpPr>
            <p:sp>
              <p:nvSpPr>
                <p:cNvPr id="644" name="Oval 643">
                  <a:extLst>
                    <a:ext uri="{FF2B5EF4-FFF2-40B4-BE49-F238E27FC236}">
                      <a16:creationId xmlns:a16="http://schemas.microsoft.com/office/drawing/2014/main" id="{FD95EE32-6023-3347-BD40-5FF5CA71C863}"/>
                    </a:ext>
                  </a:extLst>
                </p:cNvPr>
                <p:cNvSpPr/>
                <p:nvPr>
                  <p:custDataLst>
                    <p:tags r:id="rId211"/>
                  </p:custDataLst>
                </p:nvPr>
              </p:nvSpPr>
              <p:spPr>
                <a:xfrm>
                  <a:off x="-763325" y="1701579"/>
                  <a:ext cx="349858" cy="349858"/>
                </a:xfrm>
                <a:prstGeom prst="ellipse">
                  <a:avLst/>
                </a:prstGeom>
                <a:solidFill>
                  <a:srgbClr val="2C5967">
                    <a:alpha val="42000"/>
                  </a:srgb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799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12D2A"/>
                    </a:solidFill>
                    <a:effectLst/>
                    <a:uLnTx/>
                    <a:uFillTx/>
                    <a:latin typeface="Oracle Sans Tab"/>
                    <a:ea typeface="+mn-ea"/>
                    <a:cs typeface="+mn-cs"/>
                  </a:endParaRPr>
                </a:p>
              </p:txBody>
            </p:sp>
            <p:sp>
              <p:nvSpPr>
                <p:cNvPr id="645" name="Oval 644">
                  <a:extLst>
                    <a:ext uri="{FF2B5EF4-FFF2-40B4-BE49-F238E27FC236}">
                      <a16:creationId xmlns:a16="http://schemas.microsoft.com/office/drawing/2014/main" id="{B4A820AB-B0D3-AE4B-B9D1-F747BBE15306}"/>
                    </a:ext>
                  </a:extLst>
                </p:cNvPr>
                <p:cNvSpPr/>
                <p:nvPr>
                  <p:custDataLst>
                    <p:tags r:id="rId212"/>
                  </p:custDataLst>
                </p:nvPr>
              </p:nvSpPr>
              <p:spPr>
                <a:xfrm>
                  <a:off x="-676936" y="1787968"/>
                  <a:ext cx="177080" cy="177080"/>
                </a:xfrm>
                <a:prstGeom prst="ellipse">
                  <a:avLst/>
                </a:prstGeom>
                <a:solidFill>
                  <a:srgbClr val="2C5967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799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12D2A"/>
                    </a:solidFill>
                    <a:effectLst/>
                    <a:uLnTx/>
                    <a:uFillTx/>
                    <a:latin typeface="Oracle Sans Tab"/>
                    <a:ea typeface="+mn-ea"/>
                    <a:cs typeface="+mn-cs"/>
                  </a:endParaRPr>
                </a:p>
              </p:txBody>
            </p:sp>
          </p:grpSp>
        </p:grpSp>
        <p:grpSp>
          <p:nvGrpSpPr>
            <p:cNvPr id="475" name="Group 474">
              <a:extLst>
                <a:ext uri="{FF2B5EF4-FFF2-40B4-BE49-F238E27FC236}">
                  <a16:creationId xmlns:a16="http://schemas.microsoft.com/office/drawing/2014/main" id="{F856CAFE-8845-D846-95FE-E0A10070A22A}"/>
                </a:ext>
              </a:extLst>
            </p:cNvPr>
            <p:cNvGrpSpPr/>
            <p:nvPr>
              <p:custDataLst>
                <p:tags r:id="rId204"/>
              </p:custDataLst>
            </p:nvPr>
          </p:nvGrpSpPr>
          <p:grpSpPr>
            <a:xfrm>
              <a:off x="10740858" y="3323585"/>
              <a:ext cx="535026" cy="220745"/>
              <a:chOff x="10740858" y="3323585"/>
              <a:chExt cx="535026" cy="220745"/>
            </a:xfrm>
          </p:grpSpPr>
          <p:sp>
            <p:nvSpPr>
              <p:cNvPr id="617" name="TextBox 616">
                <a:extLst>
                  <a:ext uri="{FF2B5EF4-FFF2-40B4-BE49-F238E27FC236}">
                    <a16:creationId xmlns:a16="http://schemas.microsoft.com/office/drawing/2014/main" id="{3EC9B71C-6CAF-A048-9D3C-A7F619C093E3}"/>
                  </a:ext>
                </a:extLst>
              </p:cNvPr>
              <p:cNvSpPr txBox="1"/>
              <p:nvPr>
                <p:custDataLst>
                  <p:tags r:id="rId205"/>
                </p:custDataLst>
              </p:nvPr>
            </p:nvSpPr>
            <p:spPr>
              <a:xfrm>
                <a:off x="10740858" y="3323585"/>
                <a:ext cx="535026" cy="110247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7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12D2A"/>
                    </a:solidFill>
                    <a:effectLst/>
                    <a:uLnTx/>
                    <a:uFillTx/>
                    <a:latin typeface="Oracle Sans Semi Bold" panose="020B0503020204020204" pitchFamily="34" charset="0"/>
                    <a:ea typeface="+mn-ea"/>
                    <a:cs typeface="Oracle Sans Semi Bold" panose="020B0503020204020204" pitchFamily="34" charset="0"/>
                  </a:rPr>
                  <a:t>Tokyo</a:t>
                </a:r>
              </a:p>
            </p:txBody>
          </p:sp>
          <p:grpSp>
            <p:nvGrpSpPr>
              <p:cNvPr id="666" name="Group 665">
                <a:extLst>
                  <a:ext uri="{FF2B5EF4-FFF2-40B4-BE49-F238E27FC236}">
                    <a16:creationId xmlns:a16="http://schemas.microsoft.com/office/drawing/2014/main" id="{9F06D9E0-15BB-AB47-80D3-2FAF2E6C601D}"/>
                  </a:ext>
                </a:extLst>
              </p:cNvPr>
              <p:cNvGrpSpPr/>
              <p:nvPr>
                <p:custDataLst>
                  <p:tags r:id="rId206"/>
                </p:custDataLst>
              </p:nvPr>
            </p:nvGrpSpPr>
            <p:grpSpPr>
              <a:xfrm>
                <a:off x="10930950" y="3457975"/>
                <a:ext cx="163917" cy="86355"/>
                <a:chOff x="1489407" y="1621632"/>
                <a:chExt cx="163917" cy="86355"/>
              </a:xfrm>
            </p:grpSpPr>
            <p:sp>
              <p:nvSpPr>
                <p:cNvPr id="667" name="Rounded Rectangle 666">
                  <a:extLst>
                    <a:ext uri="{FF2B5EF4-FFF2-40B4-BE49-F238E27FC236}">
                      <a16:creationId xmlns:a16="http://schemas.microsoft.com/office/drawing/2014/main" id="{5F34555F-236B-2240-9FAF-26D80460A169}"/>
                    </a:ext>
                  </a:extLst>
                </p:cNvPr>
                <p:cNvSpPr>
                  <a:spLocks noChangeAspect="1"/>
                </p:cNvSpPr>
                <p:nvPr>
                  <p:custDataLst>
                    <p:tags r:id="rId207"/>
                  </p:custDataLst>
                </p:nvPr>
              </p:nvSpPr>
              <p:spPr>
                <a:xfrm>
                  <a:off x="1489407" y="1624642"/>
                  <a:ext cx="65931" cy="65931"/>
                </a:xfrm>
                <a:prstGeom prst="roundRect">
                  <a:avLst>
                    <a:gd name="adj" fmla="val 10205"/>
                  </a:avLst>
                </a:prstGeom>
                <a:solidFill>
                  <a:schemeClr val="accent1"/>
                </a:solidFill>
                <a:ln w="9525" cap="flat">
                  <a:noFill/>
                  <a:prstDash val="solid"/>
                  <a:miter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0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312D2A"/>
                      </a:solidFill>
                      <a:effectLst/>
                      <a:uLnTx/>
                      <a:uFillTx/>
                      <a:latin typeface="Oracle Sans Tab"/>
                      <a:ea typeface="+mn-ea"/>
                      <a:cs typeface="+mn-cs"/>
                    </a:rPr>
                    <a:t>   </a:t>
                  </a:r>
                </a:p>
              </p:txBody>
            </p:sp>
            <p:pic>
              <p:nvPicPr>
                <p:cNvPr id="668" name="Graphic 667">
                  <a:extLst>
                    <a:ext uri="{FF2B5EF4-FFF2-40B4-BE49-F238E27FC236}">
                      <a16:creationId xmlns:a16="http://schemas.microsoft.com/office/drawing/2014/main" id="{5F1A663A-4755-E14D-8A1D-4CE964B3D800}"/>
                    </a:ext>
                  </a:extLst>
                </p:cNvPr>
                <p:cNvPicPr>
                  <a:picLocks noChangeAspect="1"/>
                </p:cNvPicPr>
                <p:nvPr>
                  <p:custDataLst>
                    <p:tags r:id="rId208"/>
                  </p:custDataLst>
                </p:nvPr>
              </p:nvPicPr>
              <p:blipFill>
                <a:blip r:embed="rId400">
                  <a:extLst>
                    <a:ext uri="{28A0092B-C50C-407E-A947-70E740481C1C}">
                      <a14:useLocalDpi xmlns:a14="http://schemas.microsoft.com/office/drawing/2010/main"/>
                    </a:ext>
                    <a:ext uri="{96DAC541-7B7A-43D3-8B79-37D633B846F1}">
                      <asvg:svgBlip xmlns:asvg="http://schemas.microsoft.com/office/drawing/2016/SVG/main" xmlns="" r:embed="rId402"/>
                    </a:ext>
                  </a:extLst>
                </a:blip>
                <a:srcRect l="18105" t="74641" r="15135" b="15469"/>
                <a:stretch>
                  <a:fillRect/>
                </a:stretch>
              </p:blipFill>
              <p:spPr>
                <a:xfrm>
                  <a:off x="1560066" y="1621632"/>
                  <a:ext cx="93258" cy="86355"/>
                </a:xfrm>
                <a:prstGeom prst="rect">
                  <a:avLst/>
                </a:prstGeom>
              </p:spPr>
            </p:pic>
          </p:grpSp>
        </p:grpSp>
      </p:grpSp>
      <p:grpSp>
        <p:nvGrpSpPr>
          <p:cNvPr id="456" name="Group 455">
            <a:extLst>
              <a:ext uri="{FF2B5EF4-FFF2-40B4-BE49-F238E27FC236}">
                <a16:creationId xmlns:a16="http://schemas.microsoft.com/office/drawing/2014/main" id="{4502744C-00EF-A14F-B247-DE1EE53C627B}"/>
              </a:ext>
            </a:extLst>
          </p:cNvPr>
          <p:cNvGrpSpPr/>
          <p:nvPr>
            <p:custDataLst>
              <p:tags r:id="rId31"/>
            </p:custDataLst>
          </p:nvPr>
        </p:nvGrpSpPr>
        <p:grpSpPr>
          <a:xfrm>
            <a:off x="8451639" y="4745722"/>
            <a:ext cx="1134396" cy="274438"/>
            <a:chOff x="8690008" y="4724160"/>
            <a:chExt cx="1134691" cy="274509"/>
          </a:xfrm>
        </p:grpSpPr>
        <p:sp>
          <p:nvSpPr>
            <p:cNvPr id="631" name="TextBox 630">
              <a:extLst>
                <a:ext uri="{FF2B5EF4-FFF2-40B4-BE49-F238E27FC236}">
                  <a16:creationId xmlns:a16="http://schemas.microsoft.com/office/drawing/2014/main" id="{53A9AFE2-0831-1D4B-98B8-ECAB4C328DA7}"/>
                </a:ext>
              </a:extLst>
            </p:cNvPr>
            <p:cNvSpPr txBox="1"/>
            <p:nvPr>
              <p:custDataLst>
                <p:tags r:id="rId196"/>
              </p:custDataLst>
            </p:nvPr>
          </p:nvSpPr>
          <p:spPr>
            <a:xfrm>
              <a:off x="8690008" y="4808328"/>
              <a:ext cx="535026" cy="11024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00" b="0" i="0" u="none" strike="noStrike" kern="1200" cap="none" spc="0" normalizeH="0" baseline="0" noProof="0" dirty="0">
                  <a:ln>
                    <a:noFill/>
                  </a:ln>
                  <a:solidFill>
                    <a:srgbClr val="312D2A"/>
                  </a:solidFill>
                  <a:effectLst/>
                  <a:uLnTx/>
                  <a:uFillTx/>
                  <a:latin typeface="Oracle Sans Semi Bold" panose="020B0503020204020204" pitchFamily="34" charset="0"/>
                  <a:ea typeface="+mn-ea"/>
                  <a:cs typeface="Oracle Sans Semi Bold" panose="020B0503020204020204" pitchFamily="34" charset="0"/>
                </a:rPr>
                <a:t>Melbourne</a:t>
              </a:r>
            </a:p>
          </p:txBody>
        </p:sp>
        <p:grpSp>
          <p:nvGrpSpPr>
            <p:cNvPr id="452" name="Group 451">
              <a:extLst>
                <a:ext uri="{FF2B5EF4-FFF2-40B4-BE49-F238E27FC236}">
                  <a16:creationId xmlns:a16="http://schemas.microsoft.com/office/drawing/2014/main" id="{BCFA47AE-4E7A-7B4E-90D7-7DA87154F0D9}"/>
                </a:ext>
              </a:extLst>
            </p:cNvPr>
            <p:cNvGrpSpPr/>
            <p:nvPr>
              <p:custDataLst>
                <p:tags r:id="rId197"/>
              </p:custDataLst>
            </p:nvPr>
          </p:nvGrpSpPr>
          <p:grpSpPr>
            <a:xfrm>
              <a:off x="9225034" y="4724160"/>
              <a:ext cx="599665" cy="244160"/>
              <a:chOff x="9225034" y="4724160"/>
              <a:chExt cx="599665" cy="244160"/>
            </a:xfrm>
          </p:grpSpPr>
          <p:cxnSp>
            <p:nvCxnSpPr>
              <p:cNvPr id="486" name="Straight Connector 485">
                <a:extLst>
                  <a:ext uri="{FF2B5EF4-FFF2-40B4-BE49-F238E27FC236}">
                    <a16:creationId xmlns:a16="http://schemas.microsoft.com/office/drawing/2014/main" id="{F5A7F7DC-4623-AA4C-8C81-8C74F9F8CA61}"/>
                  </a:ext>
                </a:extLst>
              </p:cNvPr>
              <p:cNvCxnSpPr/>
              <p:nvPr>
                <p:custDataLst>
                  <p:tags r:id="rId199"/>
                </p:custDataLst>
              </p:nvPr>
            </p:nvCxnSpPr>
            <p:spPr>
              <a:xfrm>
                <a:off x="9225034" y="4846240"/>
                <a:ext cx="432247" cy="0"/>
              </a:xfrm>
              <a:prstGeom prst="line">
                <a:avLst/>
              </a:prstGeom>
              <a:ln>
                <a:solidFill>
                  <a:srgbClr val="2C5967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grpSp>
            <p:nvGrpSpPr>
              <p:cNvPr id="649" name="Group 648">
                <a:extLst>
                  <a:ext uri="{FF2B5EF4-FFF2-40B4-BE49-F238E27FC236}">
                    <a16:creationId xmlns:a16="http://schemas.microsoft.com/office/drawing/2014/main" id="{7DF92008-E23E-764D-89E3-02D66C221B6D}"/>
                  </a:ext>
                </a:extLst>
              </p:cNvPr>
              <p:cNvGrpSpPr/>
              <p:nvPr>
                <p:custDataLst>
                  <p:tags r:id="rId200"/>
                </p:custDataLst>
              </p:nvPr>
            </p:nvGrpSpPr>
            <p:grpSpPr>
              <a:xfrm>
                <a:off x="9580539" y="4724160"/>
                <a:ext cx="244160" cy="244160"/>
                <a:chOff x="-763325" y="1701579"/>
                <a:chExt cx="349858" cy="349858"/>
              </a:xfrm>
            </p:grpSpPr>
            <p:sp>
              <p:nvSpPr>
                <p:cNvPr id="650" name="Oval 649">
                  <a:extLst>
                    <a:ext uri="{FF2B5EF4-FFF2-40B4-BE49-F238E27FC236}">
                      <a16:creationId xmlns:a16="http://schemas.microsoft.com/office/drawing/2014/main" id="{1C987ADF-46A9-534B-8B49-3BA22EDF5ABF}"/>
                    </a:ext>
                  </a:extLst>
                </p:cNvPr>
                <p:cNvSpPr/>
                <p:nvPr>
                  <p:custDataLst>
                    <p:tags r:id="rId201"/>
                  </p:custDataLst>
                </p:nvPr>
              </p:nvSpPr>
              <p:spPr>
                <a:xfrm>
                  <a:off x="-763325" y="1701579"/>
                  <a:ext cx="349858" cy="349858"/>
                </a:xfrm>
                <a:prstGeom prst="ellipse">
                  <a:avLst/>
                </a:prstGeom>
                <a:solidFill>
                  <a:srgbClr val="2C5967">
                    <a:alpha val="42000"/>
                  </a:srgb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799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12D2A"/>
                    </a:solidFill>
                    <a:effectLst/>
                    <a:uLnTx/>
                    <a:uFillTx/>
                    <a:latin typeface="Oracle Sans Tab"/>
                    <a:ea typeface="+mn-ea"/>
                    <a:cs typeface="+mn-cs"/>
                  </a:endParaRPr>
                </a:p>
              </p:txBody>
            </p:sp>
            <p:sp>
              <p:nvSpPr>
                <p:cNvPr id="651" name="Oval 650">
                  <a:extLst>
                    <a:ext uri="{FF2B5EF4-FFF2-40B4-BE49-F238E27FC236}">
                      <a16:creationId xmlns:a16="http://schemas.microsoft.com/office/drawing/2014/main" id="{26DAB4F8-6AED-7E48-99F8-049D03F3F885}"/>
                    </a:ext>
                  </a:extLst>
                </p:cNvPr>
                <p:cNvSpPr/>
                <p:nvPr>
                  <p:custDataLst>
                    <p:tags r:id="rId202"/>
                  </p:custDataLst>
                </p:nvPr>
              </p:nvSpPr>
              <p:spPr>
                <a:xfrm>
                  <a:off x="-676936" y="1787968"/>
                  <a:ext cx="177080" cy="177080"/>
                </a:xfrm>
                <a:prstGeom prst="ellipse">
                  <a:avLst/>
                </a:prstGeom>
                <a:solidFill>
                  <a:srgbClr val="2C5967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799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12D2A"/>
                    </a:solidFill>
                    <a:effectLst/>
                    <a:uLnTx/>
                    <a:uFillTx/>
                    <a:latin typeface="Oracle Sans Tab"/>
                    <a:ea typeface="+mn-ea"/>
                    <a:cs typeface="+mn-cs"/>
                  </a:endParaRPr>
                </a:p>
              </p:txBody>
            </p:sp>
          </p:grpSp>
        </p:grpSp>
        <p:sp>
          <p:nvSpPr>
            <p:cNvPr id="670" name="Rounded Rectangle 669">
              <a:extLst>
                <a:ext uri="{FF2B5EF4-FFF2-40B4-BE49-F238E27FC236}">
                  <a16:creationId xmlns:a16="http://schemas.microsoft.com/office/drawing/2014/main" id="{AF734EBA-DE36-014C-9C0C-9CE01B43F68E}"/>
                </a:ext>
              </a:extLst>
            </p:cNvPr>
            <p:cNvSpPr>
              <a:spLocks noChangeAspect="1"/>
            </p:cNvSpPr>
            <p:nvPr>
              <p:custDataLst>
                <p:tags r:id="rId198"/>
              </p:custDataLst>
            </p:nvPr>
          </p:nvSpPr>
          <p:spPr>
            <a:xfrm>
              <a:off x="8928807" y="4932738"/>
              <a:ext cx="65931" cy="65931"/>
            </a:xfrm>
            <a:prstGeom prst="roundRect">
              <a:avLst>
                <a:gd name="adj" fmla="val 10205"/>
              </a:avLst>
            </a:prstGeom>
            <a:solidFill>
              <a:schemeClr val="accent1"/>
            </a:solidFill>
            <a:ln w="9525" cap="flat">
              <a:noFill/>
              <a:prstDash val="solid"/>
              <a:miter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312D2A"/>
                  </a:solidFill>
                  <a:effectLst/>
                  <a:uLnTx/>
                  <a:uFillTx/>
                  <a:latin typeface="Oracle Sans Tab"/>
                  <a:ea typeface="+mn-ea"/>
                  <a:cs typeface="+mn-cs"/>
                </a:rPr>
                <a:t>   </a:t>
              </a:r>
            </a:p>
          </p:txBody>
        </p:sp>
      </p:grpSp>
      <p:grpSp>
        <p:nvGrpSpPr>
          <p:cNvPr id="459" name="Group 458">
            <a:extLst>
              <a:ext uri="{FF2B5EF4-FFF2-40B4-BE49-F238E27FC236}">
                <a16:creationId xmlns:a16="http://schemas.microsoft.com/office/drawing/2014/main" id="{09DA5A08-6249-4542-9C2D-BA7A33FA5DD2}"/>
              </a:ext>
            </a:extLst>
          </p:cNvPr>
          <p:cNvGrpSpPr/>
          <p:nvPr>
            <p:custDataLst>
              <p:tags r:id="rId32"/>
            </p:custDataLst>
          </p:nvPr>
        </p:nvGrpSpPr>
        <p:grpSpPr>
          <a:xfrm>
            <a:off x="9647663" y="4839711"/>
            <a:ext cx="1076456" cy="273891"/>
            <a:chOff x="9763419" y="4612842"/>
            <a:chExt cx="1076736" cy="273962"/>
          </a:xfrm>
        </p:grpSpPr>
        <p:sp>
          <p:nvSpPr>
            <p:cNvPr id="627" name="TextBox 626">
              <a:extLst>
                <a:ext uri="{FF2B5EF4-FFF2-40B4-BE49-F238E27FC236}">
                  <a16:creationId xmlns:a16="http://schemas.microsoft.com/office/drawing/2014/main" id="{3E86DC72-E100-904E-BD81-02EFE147399C}"/>
                </a:ext>
              </a:extLst>
            </p:cNvPr>
            <p:cNvSpPr txBox="1"/>
            <p:nvPr>
              <p:custDataLst>
                <p:tags r:id="rId189"/>
              </p:custDataLst>
            </p:nvPr>
          </p:nvSpPr>
          <p:spPr>
            <a:xfrm>
              <a:off x="10204881" y="4683664"/>
              <a:ext cx="635274" cy="11024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00" b="1" i="0" u="none" strike="noStrike" kern="1200" cap="none" spc="0" normalizeH="0" baseline="0" noProof="0" dirty="0">
                  <a:ln>
                    <a:noFill/>
                  </a:ln>
                  <a:solidFill>
                    <a:srgbClr val="312D2A"/>
                  </a:solidFill>
                  <a:effectLst/>
                  <a:uLnTx/>
                  <a:uFillTx/>
                  <a:latin typeface="Oracle Sans Semi Bold" panose="020B0503020204020204" pitchFamily="34" charset="0"/>
                  <a:ea typeface="+mn-ea"/>
                  <a:cs typeface="Oracle Sans Semi Bold" panose="020B0503020204020204" pitchFamily="34" charset="0"/>
                </a:rPr>
                <a:t>Sydney</a:t>
              </a:r>
            </a:p>
          </p:txBody>
        </p:sp>
        <p:grpSp>
          <p:nvGrpSpPr>
            <p:cNvPr id="458" name="Group 457">
              <a:extLst>
                <a:ext uri="{FF2B5EF4-FFF2-40B4-BE49-F238E27FC236}">
                  <a16:creationId xmlns:a16="http://schemas.microsoft.com/office/drawing/2014/main" id="{239F24E2-A441-D041-B193-76C7EFB57245}"/>
                </a:ext>
              </a:extLst>
            </p:cNvPr>
            <p:cNvGrpSpPr/>
            <p:nvPr>
              <p:custDataLst>
                <p:tags r:id="rId190"/>
              </p:custDataLst>
            </p:nvPr>
          </p:nvGrpSpPr>
          <p:grpSpPr>
            <a:xfrm>
              <a:off x="9763419" y="4612842"/>
              <a:ext cx="569723" cy="244160"/>
              <a:chOff x="9763419" y="4612842"/>
              <a:chExt cx="569723" cy="244160"/>
            </a:xfrm>
          </p:grpSpPr>
          <p:cxnSp>
            <p:nvCxnSpPr>
              <p:cNvPr id="487" name="Straight Connector 486">
                <a:extLst>
                  <a:ext uri="{FF2B5EF4-FFF2-40B4-BE49-F238E27FC236}">
                    <a16:creationId xmlns:a16="http://schemas.microsoft.com/office/drawing/2014/main" id="{90455629-37A5-5E44-8011-0EFE8C2525CC}"/>
                  </a:ext>
                </a:extLst>
              </p:cNvPr>
              <p:cNvCxnSpPr/>
              <p:nvPr>
                <p:custDataLst>
                  <p:tags r:id="rId192"/>
                </p:custDataLst>
              </p:nvPr>
            </p:nvCxnSpPr>
            <p:spPr>
              <a:xfrm>
                <a:off x="9900895" y="4734922"/>
                <a:ext cx="432247" cy="0"/>
              </a:xfrm>
              <a:prstGeom prst="line">
                <a:avLst/>
              </a:prstGeom>
              <a:ln>
                <a:solidFill>
                  <a:srgbClr val="2C5967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grpSp>
            <p:nvGrpSpPr>
              <p:cNvPr id="652" name="Group 651">
                <a:extLst>
                  <a:ext uri="{FF2B5EF4-FFF2-40B4-BE49-F238E27FC236}">
                    <a16:creationId xmlns:a16="http://schemas.microsoft.com/office/drawing/2014/main" id="{9087D071-857B-2E49-84B4-1683A1133F7C}"/>
                  </a:ext>
                </a:extLst>
              </p:cNvPr>
              <p:cNvGrpSpPr/>
              <p:nvPr>
                <p:custDataLst>
                  <p:tags r:id="rId193"/>
                </p:custDataLst>
              </p:nvPr>
            </p:nvGrpSpPr>
            <p:grpSpPr>
              <a:xfrm>
                <a:off x="9763419" y="4612842"/>
                <a:ext cx="244160" cy="244160"/>
                <a:chOff x="-763325" y="1701579"/>
                <a:chExt cx="349858" cy="349858"/>
              </a:xfrm>
            </p:grpSpPr>
            <p:sp>
              <p:nvSpPr>
                <p:cNvPr id="653" name="Oval 652">
                  <a:extLst>
                    <a:ext uri="{FF2B5EF4-FFF2-40B4-BE49-F238E27FC236}">
                      <a16:creationId xmlns:a16="http://schemas.microsoft.com/office/drawing/2014/main" id="{12009A5F-4255-DD49-A5A4-70D24413CA72}"/>
                    </a:ext>
                  </a:extLst>
                </p:cNvPr>
                <p:cNvSpPr/>
                <p:nvPr>
                  <p:custDataLst>
                    <p:tags r:id="rId194"/>
                  </p:custDataLst>
                </p:nvPr>
              </p:nvSpPr>
              <p:spPr>
                <a:xfrm>
                  <a:off x="-763325" y="1701579"/>
                  <a:ext cx="349858" cy="349858"/>
                </a:xfrm>
                <a:prstGeom prst="ellipse">
                  <a:avLst/>
                </a:prstGeom>
                <a:solidFill>
                  <a:srgbClr val="2C5967">
                    <a:alpha val="42000"/>
                  </a:srgb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799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12D2A"/>
                    </a:solidFill>
                    <a:effectLst/>
                    <a:uLnTx/>
                    <a:uFillTx/>
                    <a:latin typeface="Oracle Sans Tab"/>
                    <a:ea typeface="+mn-ea"/>
                    <a:cs typeface="+mn-cs"/>
                  </a:endParaRPr>
                </a:p>
              </p:txBody>
            </p:sp>
            <p:sp>
              <p:nvSpPr>
                <p:cNvPr id="654" name="Oval 653">
                  <a:extLst>
                    <a:ext uri="{FF2B5EF4-FFF2-40B4-BE49-F238E27FC236}">
                      <a16:creationId xmlns:a16="http://schemas.microsoft.com/office/drawing/2014/main" id="{2C0B2736-A646-F14D-B662-224792CAA527}"/>
                    </a:ext>
                  </a:extLst>
                </p:cNvPr>
                <p:cNvSpPr/>
                <p:nvPr>
                  <p:custDataLst>
                    <p:tags r:id="rId195"/>
                  </p:custDataLst>
                </p:nvPr>
              </p:nvSpPr>
              <p:spPr>
                <a:xfrm>
                  <a:off x="-676936" y="1787968"/>
                  <a:ext cx="177080" cy="177080"/>
                </a:xfrm>
                <a:prstGeom prst="ellipse">
                  <a:avLst/>
                </a:prstGeom>
                <a:solidFill>
                  <a:srgbClr val="2C5967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799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12D2A"/>
                    </a:solidFill>
                    <a:effectLst/>
                    <a:uLnTx/>
                    <a:uFillTx/>
                    <a:latin typeface="Oracle Sans Tab"/>
                    <a:ea typeface="+mn-ea"/>
                    <a:cs typeface="+mn-cs"/>
                  </a:endParaRPr>
                </a:p>
              </p:txBody>
            </p:sp>
          </p:grpSp>
        </p:grpSp>
        <p:sp>
          <p:nvSpPr>
            <p:cNvPr id="671" name="Rounded Rectangle 670">
              <a:extLst>
                <a:ext uri="{FF2B5EF4-FFF2-40B4-BE49-F238E27FC236}">
                  <a16:creationId xmlns:a16="http://schemas.microsoft.com/office/drawing/2014/main" id="{B17CF2B1-3FD0-9846-9880-0D7F602D89B4}"/>
                </a:ext>
              </a:extLst>
            </p:cNvPr>
            <p:cNvSpPr>
              <a:spLocks noChangeAspect="1"/>
            </p:cNvSpPr>
            <p:nvPr>
              <p:custDataLst>
                <p:tags r:id="rId191"/>
              </p:custDataLst>
            </p:nvPr>
          </p:nvSpPr>
          <p:spPr>
            <a:xfrm>
              <a:off x="10496614" y="4820873"/>
              <a:ext cx="65931" cy="65931"/>
            </a:xfrm>
            <a:prstGeom prst="roundRect">
              <a:avLst>
                <a:gd name="adj" fmla="val 10205"/>
              </a:avLst>
            </a:prstGeom>
            <a:solidFill>
              <a:schemeClr val="accent1"/>
            </a:solidFill>
            <a:ln w="9525" cap="flat">
              <a:noFill/>
              <a:prstDash val="solid"/>
              <a:miter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312D2A"/>
                  </a:solidFill>
                  <a:effectLst/>
                  <a:uLnTx/>
                  <a:uFillTx/>
                  <a:latin typeface="Oracle Sans Tab"/>
                  <a:ea typeface="+mn-ea"/>
                  <a:cs typeface="+mn-cs"/>
                </a:rPr>
                <a:t>   </a:t>
              </a:r>
            </a:p>
          </p:txBody>
        </p:sp>
      </p:grpSp>
      <p:sp>
        <p:nvSpPr>
          <p:cNvPr id="258" name="Rounded Rectangle 257">
            <a:extLst>
              <a:ext uri="{FF2B5EF4-FFF2-40B4-BE49-F238E27FC236}">
                <a16:creationId xmlns:a16="http://schemas.microsoft.com/office/drawing/2014/main" id="{7460CF59-2B38-CF47-B658-BD0E1B937367}"/>
              </a:ext>
            </a:extLst>
          </p:cNvPr>
          <p:cNvSpPr>
            <a:spLocks noChangeAspect="1"/>
          </p:cNvSpPr>
          <p:nvPr>
            <p:custDataLst>
              <p:tags r:id="rId33"/>
            </p:custDataLst>
          </p:nvPr>
        </p:nvSpPr>
        <p:spPr>
          <a:xfrm>
            <a:off x="3324727" y="4486849"/>
            <a:ext cx="65914" cy="65914"/>
          </a:xfrm>
          <a:prstGeom prst="roundRect">
            <a:avLst>
              <a:gd name="adj" fmla="val 10205"/>
            </a:avLst>
          </a:prstGeom>
          <a:solidFill>
            <a:schemeClr val="accent1"/>
          </a:solidFill>
          <a:ln w="9525" cap="flat">
            <a:noFill/>
            <a:prstDash val="solid"/>
            <a:miter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312D2A"/>
                </a:solidFill>
                <a:effectLst/>
                <a:uLnTx/>
                <a:uFillTx/>
                <a:latin typeface="Oracle Sans Tab"/>
                <a:ea typeface="+mn-ea"/>
                <a:cs typeface="+mn-cs"/>
              </a:rPr>
              <a:t>   </a:t>
            </a: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F991E2B3-DE26-854C-9F2B-4A62F7698AA5}"/>
              </a:ext>
            </a:extLst>
          </p:cNvPr>
          <p:cNvGrpSpPr/>
          <p:nvPr>
            <p:custDataLst>
              <p:tags r:id="rId34"/>
            </p:custDataLst>
          </p:nvPr>
        </p:nvGrpSpPr>
        <p:grpSpPr>
          <a:xfrm>
            <a:off x="4234999" y="3258368"/>
            <a:ext cx="534887" cy="796783"/>
            <a:chOff x="4272707" y="3138568"/>
            <a:chExt cx="535026" cy="796991"/>
          </a:xfrm>
        </p:grpSpPr>
        <p:grpSp>
          <p:nvGrpSpPr>
            <p:cNvPr id="23" name="Group 22">
              <a:extLst>
                <a:ext uri="{FF2B5EF4-FFF2-40B4-BE49-F238E27FC236}">
                  <a16:creationId xmlns:a16="http://schemas.microsoft.com/office/drawing/2014/main" id="{0820AD43-7406-D949-BBD7-F2835E5AEB73}"/>
                </a:ext>
              </a:extLst>
            </p:cNvPr>
            <p:cNvGrpSpPr/>
            <p:nvPr>
              <p:custDataLst>
                <p:tags r:id="rId179"/>
              </p:custDataLst>
            </p:nvPr>
          </p:nvGrpSpPr>
          <p:grpSpPr>
            <a:xfrm>
              <a:off x="4410976" y="3396612"/>
              <a:ext cx="244160" cy="538947"/>
              <a:chOff x="4410976" y="3396612"/>
              <a:chExt cx="244160" cy="538947"/>
            </a:xfrm>
          </p:grpSpPr>
          <p:cxnSp>
            <p:nvCxnSpPr>
              <p:cNvPr id="468" name="Straight Connector 467">
                <a:extLst>
                  <a:ext uri="{FF2B5EF4-FFF2-40B4-BE49-F238E27FC236}">
                    <a16:creationId xmlns:a16="http://schemas.microsoft.com/office/drawing/2014/main" id="{C0899A7A-9AE2-B64D-9ECD-97360AFBAF73}"/>
                  </a:ext>
                </a:extLst>
              </p:cNvPr>
              <p:cNvCxnSpPr/>
              <p:nvPr>
                <p:custDataLst>
                  <p:tags r:id="rId185"/>
                </p:custDataLst>
              </p:nvPr>
            </p:nvCxnSpPr>
            <p:spPr>
              <a:xfrm flipH="1">
                <a:off x="4533056" y="3396612"/>
                <a:ext cx="0" cy="458277"/>
              </a:xfrm>
              <a:prstGeom prst="line">
                <a:avLst/>
              </a:prstGeom>
              <a:ln>
                <a:solidFill>
                  <a:srgbClr val="2C5967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grpSp>
            <p:nvGrpSpPr>
              <p:cNvPr id="417" name="Group 416">
                <a:extLst>
                  <a:ext uri="{FF2B5EF4-FFF2-40B4-BE49-F238E27FC236}">
                    <a16:creationId xmlns:a16="http://schemas.microsoft.com/office/drawing/2014/main" id="{EB4494B3-31A9-7640-9A64-D2561D00892E}"/>
                  </a:ext>
                </a:extLst>
              </p:cNvPr>
              <p:cNvGrpSpPr/>
              <p:nvPr>
                <p:custDataLst>
                  <p:tags r:id="rId186"/>
                </p:custDataLst>
              </p:nvPr>
            </p:nvGrpSpPr>
            <p:grpSpPr>
              <a:xfrm>
                <a:off x="4410976" y="3691399"/>
                <a:ext cx="244160" cy="244160"/>
                <a:chOff x="-763325" y="1701579"/>
                <a:chExt cx="349858" cy="349858"/>
              </a:xfrm>
            </p:grpSpPr>
            <p:sp>
              <p:nvSpPr>
                <p:cNvPr id="418" name="Oval 417">
                  <a:extLst>
                    <a:ext uri="{FF2B5EF4-FFF2-40B4-BE49-F238E27FC236}">
                      <a16:creationId xmlns:a16="http://schemas.microsoft.com/office/drawing/2014/main" id="{830C8802-9D8C-714E-98AE-F3C64CB628F2}"/>
                    </a:ext>
                  </a:extLst>
                </p:cNvPr>
                <p:cNvSpPr/>
                <p:nvPr>
                  <p:custDataLst>
                    <p:tags r:id="rId187"/>
                  </p:custDataLst>
                </p:nvPr>
              </p:nvSpPr>
              <p:spPr>
                <a:xfrm>
                  <a:off x="-763325" y="1701579"/>
                  <a:ext cx="349858" cy="349858"/>
                </a:xfrm>
                <a:prstGeom prst="ellipse">
                  <a:avLst/>
                </a:prstGeom>
                <a:solidFill>
                  <a:srgbClr val="2C5967">
                    <a:alpha val="42000"/>
                  </a:srgb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799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12D2A"/>
                    </a:solidFill>
                    <a:effectLst/>
                    <a:uLnTx/>
                    <a:uFillTx/>
                    <a:latin typeface="Oracle Sans Tab"/>
                    <a:ea typeface="+mn-ea"/>
                    <a:cs typeface="+mn-cs"/>
                  </a:endParaRPr>
                </a:p>
              </p:txBody>
            </p:sp>
            <p:sp>
              <p:nvSpPr>
                <p:cNvPr id="419" name="Oval 418">
                  <a:extLst>
                    <a:ext uri="{FF2B5EF4-FFF2-40B4-BE49-F238E27FC236}">
                      <a16:creationId xmlns:a16="http://schemas.microsoft.com/office/drawing/2014/main" id="{18AB922F-3335-5E42-AA4C-C13F8416218D}"/>
                    </a:ext>
                  </a:extLst>
                </p:cNvPr>
                <p:cNvSpPr/>
                <p:nvPr>
                  <p:custDataLst>
                    <p:tags r:id="rId188"/>
                  </p:custDataLst>
                </p:nvPr>
              </p:nvSpPr>
              <p:spPr>
                <a:xfrm>
                  <a:off x="-676936" y="1787968"/>
                  <a:ext cx="177080" cy="177080"/>
                </a:xfrm>
                <a:prstGeom prst="ellipse">
                  <a:avLst/>
                </a:prstGeom>
                <a:solidFill>
                  <a:srgbClr val="2C5967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799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12D2A"/>
                    </a:solidFill>
                    <a:effectLst/>
                    <a:uLnTx/>
                    <a:uFillTx/>
                    <a:latin typeface="Oracle Sans Tab"/>
                    <a:ea typeface="+mn-ea"/>
                    <a:cs typeface="+mn-cs"/>
                  </a:endParaRPr>
                </a:p>
              </p:txBody>
            </p:sp>
          </p:grpSp>
        </p:grpSp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0843F4F1-F037-604B-A37D-A24DF6E4628D}"/>
                </a:ext>
              </a:extLst>
            </p:cNvPr>
            <p:cNvGrpSpPr/>
            <p:nvPr>
              <p:custDataLst>
                <p:tags r:id="rId180"/>
              </p:custDataLst>
            </p:nvPr>
          </p:nvGrpSpPr>
          <p:grpSpPr>
            <a:xfrm>
              <a:off x="4272707" y="3138568"/>
              <a:ext cx="535026" cy="216599"/>
              <a:chOff x="4272707" y="3138568"/>
              <a:chExt cx="535026" cy="216599"/>
            </a:xfrm>
          </p:grpSpPr>
          <p:sp>
            <p:nvSpPr>
              <p:cNvPr id="329" name="TextBox 328">
                <a:extLst>
                  <a:ext uri="{FF2B5EF4-FFF2-40B4-BE49-F238E27FC236}">
                    <a16:creationId xmlns:a16="http://schemas.microsoft.com/office/drawing/2014/main" id="{EEE15771-282E-1B47-BFB4-227B21AEDCCB}"/>
                  </a:ext>
                </a:extLst>
              </p:cNvPr>
              <p:cNvSpPr txBox="1"/>
              <p:nvPr>
                <p:custDataLst>
                  <p:tags r:id="rId181"/>
                </p:custDataLst>
              </p:nvPr>
            </p:nvSpPr>
            <p:spPr>
              <a:xfrm>
                <a:off x="4272707" y="3138568"/>
                <a:ext cx="535026" cy="110247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7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12D2A"/>
                    </a:solidFill>
                    <a:effectLst/>
                    <a:uLnTx/>
                    <a:uFillTx/>
                    <a:latin typeface="Oracle Sans Semi Bold" panose="020B0503020204020204" pitchFamily="34" charset="0"/>
                    <a:ea typeface="+mn-ea"/>
                    <a:cs typeface="Oracle Sans Semi Bold" panose="020B0503020204020204" pitchFamily="34" charset="0"/>
                  </a:rPr>
                  <a:t>Vinhedo</a:t>
                </a:r>
              </a:p>
            </p:txBody>
          </p:sp>
          <p:grpSp>
            <p:nvGrpSpPr>
              <p:cNvPr id="259" name="Group 258">
                <a:extLst>
                  <a:ext uri="{FF2B5EF4-FFF2-40B4-BE49-F238E27FC236}">
                    <a16:creationId xmlns:a16="http://schemas.microsoft.com/office/drawing/2014/main" id="{28589FEA-D84F-E14B-A038-BB8728785E47}"/>
                  </a:ext>
                </a:extLst>
              </p:cNvPr>
              <p:cNvGrpSpPr/>
              <p:nvPr>
                <p:custDataLst>
                  <p:tags r:id="rId182"/>
                </p:custDataLst>
              </p:nvPr>
            </p:nvGrpSpPr>
            <p:grpSpPr>
              <a:xfrm>
                <a:off x="4456585" y="3270495"/>
                <a:ext cx="167270" cy="84672"/>
                <a:chOff x="1905037" y="2995831"/>
                <a:chExt cx="167270" cy="84672"/>
              </a:xfrm>
            </p:grpSpPr>
            <p:pic>
              <p:nvPicPr>
                <p:cNvPr id="260" name="Graphic 259">
                  <a:extLst>
                    <a:ext uri="{FF2B5EF4-FFF2-40B4-BE49-F238E27FC236}">
                      <a16:creationId xmlns:a16="http://schemas.microsoft.com/office/drawing/2014/main" id="{C2DA997A-18C9-4643-A692-CEF1C8354E04}"/>
                    </a:ext>
                  </a:extLst>
                </p:cNvPr>
                <p:cNvPicPr>
                  <a:picLocks noChangeAspect="1"/>
                </p:cNvPicPr>
                <p:nvPr>
                  <p:custDataLst>
                    <p:tags r:id="rId183"/>
                  </p:custDataLst>
                </p:nvPr>
              </p:nvPicPr>
              <p:blipFill>
                <a:blip r:embed="rId400">
                  <a:extLst>
                    <a:ext uri="{28A0092B-C50C-407E-A947-70E740481C1C}">
                      <a14:useLocalDpi xmlns:a14="http://schemas.microsoft.com/office/drawing/2010/main"/>
                    </a:ext>
                    <a:ext uri="{96DAC541-7B7A-43D3-8B79-37D633B846F1}">
                      <asvg:svgBlip xmlns:asvg="http://schemas.microsoft.com/office/drawing/2016/SVG/main" xmlns="" r:embed="rId401"/>
                    </a:ext>
                  </a:extLst>
                </a:blip>
                <a:srcRect l="18105" t="74641" r="15135" b="15469"/>
                <a:stretch>
                  <a:fillRect/>
                </a:stretch>
              </p:blipFill>
              <p:spPr>
                <a:xfrm>
                  <a:off x="1980867" y="2995831"/>
                  <a:ext cx="91440" cy="84672"/>
                </a:xfrm>
                <a:prstGeom prst="rect">
                  <a:avLst/>
                </a:prstGeom>
              </p:spPr>
            </p:pic>
            <p:sp>
              <p:nvSpPr>
                <p:cNvPr id="261" name="Rounded Rectangle 260">
                  <a:extLst>
                    <a:ext uri="{FF2B5EF4-FFF2-40B4-BE49-F238E27FC236}">
                      <a16:creationId xmlns:a16="http://schemas.microsoft.com/office/drawing/2014/main" id="{3268E7F9-7A52-3943-9B42-D051EB419A76}"/>
                    </a:ext>
                  </a:extLst>
                </p:cNvPr>
                <p:cNvSpPr>
                  <a:spLocks noChangeAspect="1"/>
                </p:cNvSpPr>
                <p:nvPr>
                  <p:custDataLst>
                    <p:tags r:id="rId184"/>
                  </p:custDataLst>
                </p:nvPr>
              </p:nvSpPr>
              <p:spPr>
                <a:xfrm>
                  <a:off x="1905037" y="3004363"/>
                  <a:ext cx="65931" cy="65931"/>
                </a:xfrm>
                <a:prstGeom prst="roundRect">
                  <a:avLst>
                    <a:gd name="adj" fmla="val 10205"/>
                  </a:avLst>
                </a:prstGeom>
                <a:solidFill>
                  <a:schemeClr val="accent1"/>
                </a:solidFill>
                <a:ln w="9525" cap="flat">
                  <a:noFill/>
                  <a:prstDash val="solid"/>
                  <a:miter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0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312D2A"/>
                      </a:solidFill>
                      <a:effectLst/>
                      <a:uLnTx/>
                      <a:uFillTx/>
                      <a:latin typeface="Oracle Sans Tab"/>
                      <a:ea typeface="+mn-ea"/>
                      <a:cs typeface="+mn-cs"/>
                    </a:rPr>
                    <a:t>   </a:t>
                  </a:r>
                </a:p>
              </p:txBody>
            </p:sp>
          </p:grpSp>
        </p:grpSp>
      </p:grpSp>
      <p:grpSp>
        <p:nvGrpSpPr>
          <p:cNvPr id="41" name="Group 40">
            <a:extLst>
              <a:ext uri="{FF2B5EF4-FFF2-40B4-BE49-F238E27FC236}">
                <a16:creationId xmlns:a16="http://schemas.microsoft.com/office/drawing/2014/main" id="{BFEABC79-F7CE-224A-BB73-6D618ACD114C}"/>
              </a:ext>
            </a:extLst>
          </p:cNvPr>
          <p:cNvGrpSpPr/>
          <p:nvPr>
            <p:custDataLst>
              <p:tags r:id="rId35"/>
            </p:custDataLst>
          </p:nvPr>
        </p:nvGrpSpPr>
        <p:grpSpPr>
          <a:xfrm>
            <a:off x="5918462" y="1521370"/>
            <a:ext cx="839394" cy="730505"/>
            <a:chOff x="5978293" y="1423435"/>
            <a:chExt cx="839613" cy="730695"/>
          </a:xfrm>
        </p:grpSpPr>
        <p:grpSp>
          <p:nvGrpSpPr>
            <p:cNvPr id="39" name="Group 38">
              <a:extLst>
                <a:ext uri="{FF2B5EF4-FFF2-40B4-BE49-F238E27FC236}">
                  <a16:creationId xmlns:a16="http://schemas.microsoft.com/office/drawing/2014/main" id="{517E3520-F3ED-6E4C-9710-394D3C3BEBF6}"/>
                </a:ext>
              </a:extLst>
            </p:cNvPr>
            <p:cNvGrpSpPr/>
            <p:nvPr>
              <p:custDataLst>
                <p:tags r:id="rId167"/>
              </p:custDataLst>
            </p:nvPr>
          </p:nvGrpSpPr>
          <p:grpSpPr>
            <a:xfrm>
              <a:off x="5978293" y="1638964"/>
              <a:ext cx="514634" cy="515166"/>
              <a:chOff x="5978293" y="1638964"/>
              <a:chExt cx="514634" cy="515166"/>
            </a:xfrm>
          </p:grpSpPr>
          <p:grpSp>
            <p:nvGrpSpPr>
              <p:cNvPr id="444" name="Group 443">
                <a:extLst>
                  <a:ext uri="{FF2B5EF4-FFF2-40B4-BE49-F238E27FC236}">
                    <a16:creationId xmlns:a16="http://schemas.microsoft.com/office/drawing/2014/main" id="{2B570ACC-AF25-904C-9312-1C33E7E049CD}"/>
                  </a:ext>
                </a:extLst>
              </p:cNvPr>
              <p:cNvGrpSpPr/>
              <p:nvPr>
                <p:custDataLst>
                  <p:tags r:id="rId173"/>
                </p:custDataLst>
              </p:nvPr>
            </p:nvGrpSpPr>
            <p:grpSpPr>
              <a:xfrm>
                <a:off x="5978293" y="1909970"/>
                <a:ext cx="244160" cy="244160"/>
                <a:chOff x="-763325" y="1701579"/>
                <a:chExt cx="349858" cy="349858"/>
              </a:xfrm>
            </p:grpSpPr>
            <p:sp>
              <p:nvSpPr>
                <p:cNvPr id="445" name="Oval 444">
                  <a:extLst>
                    <a:ext uri="{FF2B5EF4-FFF2-40B4-BE49-F238E27FC236}">
                      <a16:creationId xmlns:a16="http://schemas.microsoft.com/office/drawing/2014/main" id="{70ED364C-9A23-864D-B8FA-CFCDA79E91A8}"/>
                    </a:ext>
                  </a:extLst>
                </p:cNvPr>
                <p:cNvSpPr/>
                <p:nvPr>
                  <p:custDataLst>
                    <p:tags r:id="rId177"/>
                  </p:custDataLst>
                </p:nvPr>
              </p:nvSpPr>
              <p:spPr>
                <a:xfrm>
                  <a:off x="-763325" y="1701579"/>
                  <a:ext cx="349858" cy="349858"/>
                </a:xfrm>
                <a:prstGeom prst="ellipse">
                  <a:avLst/>
                </a:prstGeom>
                <a:solidFill>
                  <a:srgbClr val="2C5967">
                    <a:alpha val="42000"/>
                  </a:srgb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799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12D2A"/>
                    </a:solidFill>
                    <a:effectLst/>
                    <a:uLnTx/>
                    <a:uFillTx/>
                    <a:latin typeface="Oracle Sans Tab"/>
                    <a:ea typeface="+mn-ea"/>
                    <a:cs typeface="+mn-cs"/>
                  </a:endParaRPr>
                </a:p>
              </p:txBody>
            </p:sp>
            <p:sp>
              <p:nvSpPr>
                <p:cNvPr id="446" name="Oval 445">
                  <a:extLst>
                    <a:ext uri="{FF2B5EF4-FFF2-40B4-BE49-F238E27FC236}">
                      <a16:creationId xmlns:a16="http://schemas.microsoft.com/office/drawing/2014/main" id="{59D1F5FB-5CDE-5C4B-8406-57831715C66C}"/>
                    </a:ext>
                  </a:extLst>
                </p:cNvPr>
                <p:cNvSpPr/>
                <p:nvPr>
                  <p:custDataLst>
                    <p:tags r:id="rId178"/>
                  </p:custDataLst>
                </p:nvPr>
              </p:nvSpPr>
              <p:spPr>
                <a:xfrm>
                  <a:off x="-676936" y="1787968"/>
                  <a:ext cx="177080" cy="177080"/>
                </a:xfrm>
                <a:prstGeom prst="ellipse">
                  <a:avLst/>
                </a:prstGeom>
                <a:solidFill>
                  <a:srgbClr val="2C5967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799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12D2A"/>
                    </a:solidFill>
                    <a:effectLst/>
                    <a:uLnTx/>
                    <a:uFillTx/>
                    <a:latin typeface="Oracle Sans Tab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38" name="Group 37">
                <a:extLst>
                  <a:ext uri="{FF2B5EF4-FFF2-40B4-BE49-F238E27FC236}">
                    <a16:creationId xmlns:a16="http://schemas.microsoft.com/office/drawing/2014/main" id="{679430B4-E051-E847-BF42-E7904A3F341A}"/>
                  </a:ext>
                </a:extLst>
              </p:cNvPr>
              <p:cNvGrpSpPr/>
              <p:nvPr>
                <p:custDataLst>
                  <p:tags r:id="rId174"/>
                </p:custDataLst>
              </p:nvPr>
            </p:nvGrpSpPr>
            <p:grpSpPr>
              <a:xfrm>
                <a:off x="6086948" y="1638964"/>
                <a:ext cx="405979" cy="396723"/>
                <a:chOff x="6086948" y="1638964"/>
                <a:chExt cx="405979" cy="396723"/>
              </a:xfrm>
            </p:grpSpPr>
            <p:cxnSp>
              <p:nvCxnSpPr>
                <p:cNvPr id="484" name="Straight Connector 483">
                  <a:extLst>
                    <a:ext uri="{FF2B5EF4-FFF2-40B4-BE49-F238E27FC236}">
                      <a16:creationId xmlns:a16="http://schemas.microsoft.com/office/drawing/2014/main" id="{E3F0D8BD-7902-B04D-9012-E4A35A3E31A4}"/>
                    </a:ext>
                  </a:extLst>
                </p:cNvPr>
                <p:cNvCxnSpPr/>
                <p:nvPr>
                  <p:custDataLst>
                    <p:tags r:id="rId175"/>
                  </p:custDataLst>
                </p:nvPr>
              </p:nvCxnSpPr>
              <p:spPr>
                <a:xfrm>
                  <a:off x="6086948" y="2035687"/>
                  <a:ext cx="405979" cy="0"/>
                </a:xfrm>
                <a:prstGeom prst="line">
                  <a:avLst/>
                </a:prstGeom>
                <a:ln>
                  <a:solidFill>
                    <a:srgbClr val="2C5967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57" name="Straight Connector 656">
                  <a:extLst>
                    <a:ext uri="{FF2B5EF4-FFF2-40B4-BE49-F238E27FC236}">
                      <a16:creationId xmlns:a16="http://schemas.microsoft.com/office/drawing/2014/main" id="{E3EEE449-5571-C646-AF2C-1F01E9FAE0C0}"/>
                    </a:ext>
                  </a:extLst>
                </p:cNvPr>
                <p:cNvCxnSpPr/>
                <p:nvPr>
                  <p:custDataLst>
                    <p:tags r:id="rId176"/>
                  </p:custDataLst>
                </p:nvPr>
              </p:nvCxnSpPr>
              <p:spPr>
                <a:xfrm flipH="1">
                  <a:off x="6492927" y="1638964"/>
                  <a:ext cx="0" cy="396723"/>
                </a:xfrm>
                <a:prstGeom prst="line">
                  <a:avLst/>
                </a:prstGeom>
                <a:ln>
                  <a:solidFill>
                    <a:srgbClr val="2C5967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grpSp>
          <p:nvGrpSpPr>
            <p:cNvPr id="40" name="Group 39">
              <a:extLst>
                <a:ext uri="{FF2B5EF4-FFF2-40B4-BE49-F238E27FC236}">
                  <a16:creationId xmlns:a16="http://schemas.microsoft.com/office/drawing/2014/main" id="{B19458D2-0D8C-4E4D-BA24-57B3D36F4770}"/>
                </a:ext>
              </a:extLst>
            </p:cNvPr>
            <p:cNvGrpSpPr/>
            <p:nvPr>
              <p:custDataLst>
                <p:tags r:id="rId168"/>
              </p:custDataLst>
            </p:nvPr>
          </p:nvGrpSpPr>
          <p:grpSpPr>
            <a:xfrm>
              <a:off x="6182632" y="1423435"/>
              <a:ext cx="635274" cy="190790"/>
              <a:chOff x="6182632" y="1423435"/>
              <a:chExt cx="635274" cy="190790"/>
            </a:xfrm>
          </p:grpSpPr>
          <p:sp>
            <p:nvSpPr>
              <p:cNvPr id="555" name="TextBox 554">
                <a:extLst>
                  <a:ext uri="{FF2B5EF4-FFF2-40B4-BE49-F238E27FC236}">
                    <a16:creationId xmlns:a16="http://schemas.microsoft.com/office/drawing/2014/main" id="{C768D00B-8BAF-ED40-9AB6-A18B3EEBB6F5}"/>
                  </a:ext>
                </a:extLst>
              </p:cNvPr>
              <p:cNvSpPr txBox="1"/>
              <p:nvPr>
                <p:custDataLst>
                  <p:tags r:id="rId169"/>
                </p:custDataLst>
              </p:nvPr>
            </p:nvSpPr>
            <p:spPr>
              <a:xfrm>
                <a:off x="6182632" y="1423435"/>
                <a:ext cx="635274" cy="110247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7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12D2A"/>
                    </a:solidFill>
                    <a:effectLst/>
                    <a:uLnTx/>
                    <a:uFillTx/>
                    <a:latin typeface="Oracle Sans Semi Bold" panose="020B0503020204020204" pitchFamily="34" charset="0"/>
                    <a:ea typeface="+mn-ea"/>
                    <a:cs typeface="Oracle Sans Semi Bold" panose="020B0503020204020204" pitchFamily="34" charset="0"/>
                  </a:rPr>
                  <a:t>Frankfurt</a:t>
                </a:r>
              </a:p>
            </p:txBody>
          </p:sp>
          <p:grpSp>
            <p:nvGrpSpPr>
              <p:cNvPr id="267" name="Group 266">
                <a:extLst>
                  <a:ext uri="{FF2B5EF4-FFF2-40B4-BE49-F238E27FC236}">
                    <a16:creationId xmlns:a16="http://schemas.microsoft.com/office/drawing/2014/main" id="{91311751-EE8C-5948-9E19-4DD8DCE3DC89}"/>
                  </a:ext>
                </a:extLst>
              </p:cNvPr>
              <p:cNvGrpSpPr/>
              <p:nvPr>
                <p:custDataLst>
                  <p:tags r:id="rId170"/>
                </p:custDataLst>
              </p:nvPr>
            </p:nvGrpSpPr>
            <p:grpSpPr>
              <a:xfrm>
                <a:off x="6383218" y="1527870"/>
                <a:ext cx="251787" cy="86355"/>
                <a:chOff x="1458023" y="1609995"/>
                <a:chExt cx="251787" cy="86355"/>
              </a:xfrm>
            </p:grpSpPr>
            <p:sp>
              <p:nvSpPr>
                <p:cNvPr id="268" name="Rounded Rectangle 267">
                  <a:extLst>
                    <a:ext uri="{FF2B5EF4-FFF2-40B4-BE49-F238E27FC236}">
                      <a16:creationId xmlns:a16="http://schemas.microsoft.com/office/drawing/2014/main" id="{F4CDFEF3-D7D4-6B4D-BBFE-1E3DFC004FBC}"/>
                    </a:ext>
                  </a:extLst>
                </p:cNvPr>
                <p:cNvSpPr>
                  <a:spLocks noChangeAspect="1"/>
                </p:cNvSpPr>
                <p:nvPr>
                  <p:custDataLst>
                    <p:tags r:id="rId171"/>
                  </p:custDataLst>
                </p:nvPr>
              </p:nvSpPr>
              <p:spPr>
                <a:xfrm>
                  <a:off x="1458023" y="1619724"/>
                  <a:ext cx="65931" cy="65931"/>
                </a:xfrm>
                <a:prstGeom prst="roundRect">
                  <a:avLst>
                    <a:gd name="adj" fmla="val 10205"/>
                  </a:avLst>
                </a:prstGeom>
                <a:solidFill>
                  <a:schemeClr val="accent1"/>
                </a:solidFill>
                <a:ln w="9525" cap="flat">
                  <a:noFill/>
                  <a:prstDash val="solid"/>
                  <a:miter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0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312D2A"/>
                      </a:solidFill>
                      <a:effectLst/>
                      <a:uLnTx/>
                      <a:uFillTx/>
                      <a:latin typeface="Oracle Sans Tab"/>
                      <a:ea typeface="+mn-ea"/>
                      <a:cs typeface="+mn-cs"/>
                    </a:rPr>
                    <a:t>   </a:t>
                  </a:r>
                </a:p>
              </p:txBody>
            </p:sp>
            <p:pic>
              <p:nvPicPr>
                <p:cNvPr id="269" name="Graphic 268">
                  <a:extLst>
                    <a:ext uri="{FF2B5EF4-FFF2-40B4-BE49-F238E27FC236}">
                      <a16:creationId xmlns:a16="http://schemas.microsoft.com/office/drawing/2014/main" id="{2313AFDE-077F-CF45-A68E-DF0882DC137D}"/>
                    </a:ext>
                  </a:extLst>
                </p:cNvPr>
                <p:cNvPicPr>
                  <a:picLocks noChangeAspect="1"/>
                </p:cNvPicPr>
                <p:nvPr>
                  <p:custDataLst>
                    <p:tags r:id="rId172"/>
                  </p:custDataLst>
                </p:nvPr>
              </p:nvPicPr>
              <p:blipFill>
                <a:blip r:embed="rId400">
                  <a:extLst>
                    <a:ext uri="{28A0092B-C50C-407E-A947-70E740481C1C}">
                      <a14:useLocalDpi xmlns:a14="http://schemas.microsoft.com/office/drawing/2010/main"/>
                    </a:ext>
                    <a:ext uri="{96DAC541-7B7A-43D3-8B79-37D633B846F1}">
                      <asvg:svgBlip xmlns:asvg="http://schemas.microsoft.com/office/drawing/2016/SVG/main" xmlns="" r:embed="rId402"/>
                    </a:ext>
                  </a:extLst>
                </a:blip>
                <a:srcRect l="18105" t="74641" r="15135" b="15469"/>
                <a:stretch>
                  <a:fillRect/>
                </a:stretch>
              </p:blipFill>
              <p:spPr>
                <a:xfrm>
                  <a:off x="1616552" y="1609995"/>
                  <a:ext cx="93258" cy="86355"/>
                </a:xfrm>
                <a:prstGeom prst="rect">
                  <a:avLst/>
                </a:prstGeom>
              </p:spPr>
            </p:pic>
          </p:grpSp>
        </p:grpSp>
      </p:grpSp>
      <p:grpSp>
        <p:nvGrpSpPr>
          <p:cNvPr id="30" name="Group 29">
            <a:extLst>
              <a:ext uri="{FF2B5EF4-FFF2-40B4-BE49-F238E27FC236}">
                <a16:creationId xmlns:a16="http://schemas.microsoft.com/office/drawing/2014/main" id="{91C0EF12-0F70-3F46-BA78-F63420AB2CBA}"/>
              </a:ext>
            </a:extLst>
          </p:cNvPr>
          <p:cNvGrpSpPr/>
          <p:nvPr>
            <p:custDataLst>
              <p:tags r:id="rId36"/>
            </p:custDataLst>
          </p:nvPr>
        </p:nvGrpSpPr>
        <p:grpSpPr>
          <a:xfrm>
            <a:off x="4667176" y="2092656"/>
            <a:ext cx="1021377" cy="257560"/>
            <a:chOff x="4644218" y="2029238"/>
            <a:chExt cx="1021643" cy="257627"/>
          </a:xfrm>
        </p:grpSpPr>
        <p:grpSp>
          <p:nvGrpSpPr>
            <p:cNvPr id="29" name="Group 28">
              <a:extLst>
                <a:ext uri="{FF2B5EF4-FFF2-40B4-BE49-F238E27FC236}">
                  <a16:creationId xmlns:a16="http://schemas.microsoft.com/office/drawing/2014/main" id="{DC850FFB-28B5-6643-85AF-94FDC8068A67}"/>
                </a:ext>
              </a:extLst>
            </p:cNvPr>
            <p:cNvGrpSpPr/>
            <p:nvPr>
              <p:custDataLst>
                <p:tags r:id="rId157"/>
              </p:custDataLst>
            </p:nvPr>
          </p:nvGrpSpPr>
          <p:grpSpPr>
            <a:xfrm>
              <a:off x="5110649" y="2029238"/>
              <a:ext cx="555212" cy="244160"/>
              <a:chOff x="5110649" y="2029238"/>
              <a:chExt cx="555212" cy="244160"/>
            </a:xfrm>
          </p:grpSpPr>
          <p:cxnSp>
            <p:nvCxnSpPr>
              <p:cNvPr id="477" name="Straight Connector 476">
                <a:extLst>
                  <a:ext uri="{FF2B5EF4-FFF2-40B4-BE49-F238E27FC236}">
                    <a16:creationId xmlns:a16="http://schemas.microsoft.com/office/drawing/2014/main" id="{1A905B37-90BA-B340-BDA0-19B7E97E0F4C}"/>
                  </a:ext>
                </a:extLst>
              </p:cNvPr>
              <p:cNvCxnSpPr/>
              <p:nvPr>
                <p:custDataLst>
                  <p:tags r:id="rId163"/>
                </p:custDataLst>
              </p:nvPr>
            </p:nvCxnSpPr>
            <p:spPr>
              <a:xfrm rot="16200000" flipH="1">
                <a:off x="5298840" y="1963128"/>
                <a:ext cx="0" cy="376381"/>
              </a:xfrm>
              <a:prstGeom prst="line">
                <a:avLst/>
              </a:prstGeom>
              <a:ln>
                <a:solidFill>
                  <a:srgbClr val="2C5967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grpSp>
            <p:nvGrpSpPr>
              <p:cNvPr id="432" name="Group 431">
                <a:extLst>
                  <a:ext uri="{FF2B5EF4-FFF2-40B4-BE49-F238E27FC236}">
                    <a16:creationId xmlns:a16="http://schemas.microsoft.com/office/drawing/2014/main" id="{0B3A7846-295C-9847-ABD1-3E63CEA44358}"/>
                  </a:ext>
                </a:extLst>
              </p:cNvPr>
              <p:cNvGrpSpPr/>
              <p:nvPr>
                <p:custDataLst>
                  <p:tags r:id="rId164"/>
                </p:custDataLst>
              </p:nvPr>
            </p:nvGrpSpPr>
            <p:grpSpPr>
              <a:xfrm>
                <a:off x="5421701" y="2029238"/>
                <a:ext cx="244160" cy="244160"/>
                <a:chOff x="-763325" y="1701579"/>
                <a:chExt cx="349858" cy="349858"/>
              </a:xfrm>
            </p:grpSpPr>
            <p:sp>
              <p:nvSpPr>
                <p:cNvPr id="433" name="Oval 432">
                  <a:extLst>
                    <a:ext uri="{FF2B5EF4-FFF2-40B4-BE49-F238E27FC236}">
                      <a16:creationId xmlns:a16="http://schemas.microsoft.com/office/drawing/2014/main" id="{82053164-D111-644F-BAC7-978D4BB40F75}"/>
                    </a:ext>
                  </a:extLst>
                </p:cNvPr>
                <p:cNvSpPr/>
                <p:nvPr>
                  <p:custDataLst>
                    <p:tags r:id="rId165"/>
                  </p:custDataLst>
                </p:nvPr>
              </p:nvSpPr>
              <p:spPr>
                <a:xfrm>
                  <a:off x="-763325" y="1701579"/>
                  <a:ext cx="349858" cy="349858"/>
                </a:xfrm>
                <a:prstGeom prst="ellipse">
                  <a:avLst/>
                </a:prstGeom>
                <a:solidFill>
                  <a:srgbClr val="2C5967">
                    <a:alpha val="42000"/>
                  </a:srgb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799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12D2A"/>
                    </a:solidFill>
                    <a:effectLst/>
                    <a:uLnTx/>
                    <a:uFillTx/>
                    <a:latin typeface="Oracle Sans Tab"/>
                    <a:ea typeface="+mn-ea"/>
                    <a:cs typeface="+mn-cs"/>
                  </a:endParaRPr>
                </a:p>
              </p:txBody>
            </p:sp>
            <p:sp>
              <p:nvSpPr>
                <p:cNvPr id="434" name="Oval 433">
                  <a:extLst>
                    <a:ext uri="{FF2B5EF4-FFF2-40B4-BE49-F238E27FC236}">
                      <a16:creationId xmlns:a16="http://schemas.microsoft.com/office/drawing/2014/main" id="{E36AA548-3466-0A48-BA89-D9BEA835646F}"/>
                    </a:ext>
                  </a:extLst>
                </p:cNvPr>
                <p:cNvSpPr/>
                <p:nvPr>
                  <p:custDataLst>
                    <p:tags r:id="rId166"/>
                  </p:custDataLst>
                </p:nvPr>
              </p:nvSpPr>
              <p:spPr>
                <a:xfrm>
                  <a:off x="-676936" y="1787968"/>
                  <a:ext cx="177080" cy="177080"/>
                </a:xfrm>
                <a:prstGeom prst="ellipse">
                  <a:avLst/>
                </a:prstGeom>
                <a:solidFill>
                  <a:srgbClr val="2C5967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799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12D2A"/>
                    </a:solidFill>
                    <a:effectLst/>
                    <a:uLnTx/>
                    <a:uFillTx/>
                    <a:latin typeface="Oracle Sans Tab"/>
                    <a:ea typeface="+mn-ea"/>
                    <a:cs typeface="+mn-cs"/>
                  </a:endParaRPr>
                </a:p>
              </p:txBody>
            </p:sp>
          </p:grpSp>
        </p:grpSp>
        <p:grpSp>
          <p:nvGrpSpPr>
            <p:cNvPr id="28" name="Group 27">
              <a:extLst>
                <a:ext uri="{FF2B5EF4-FFF2-40B4-BE49-F238E27FC236}">
                  <a16:creationId xmlns:a16="http://schemas.microsoft.com/office/drawing/2014/main" id="{D3E4D43E-975E-AD41-AE52-5C9705505681}"/>
                </a:ext>
              </a:extLst>
            </p:cNvPr>
            <p:cNvGrpSpPr/>
            <p:nvPr>
              <p:custDataLst>
                <p:tags r:id="rId158"/>
              </p:custDataLst>
            </p:nvPr>
          </p:nvGrpSpPr>
          <p:grpSpPr>
            <a:xfrm>
              <a:off x="4644218" y="2099040"/>
              <a:ext cx="535026" cy="187825"/>
              <a:chOff x="4644218" y="2099040"/>
              <a:chExt cx="535026" cy="187825"/>
            </a:xfrm>
          </p:grpSpPr>
          <p:sp>
            <p:nvSpPr>
              <p:cNvPr id="472" name="TextBox 471">
                <a:extLst>
                  <a:ext uri="{FF2B5EF4-FFF2-40B4-BE49-F238E27FC236}">
                    <a16:creationId xmlns:a16="http://schemas.microsoft.com/office/drawing/2014/main" id="{994EEAC6-1C1C-1742-9895-033A540B7D9C}"/>
                  </a:ext>
                </a:extLst>
              </p:cNvPr>
              <p:cNvSpPr txBox="1"/>
              <p:nvPr>
                <p:custDataLst>
                  <p:tags r:id="rId159"/>
                </p:custDataLst>
              </p:nvPr>
            </p:nvSpPr>
            <p:spPr>
              <a:xfrm>
                <a:off x="4644218" y="2099040"/>
                <a:ext cx="535026" cy="110247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7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12D2A"/>
                    </a:solidFill>
                    <a:effectLst/>
                    <a:uLnTx/>
                    <a:uFillTx/>
                    <a:latin typeface="Oracle Sans Semi Bold" panose="020B0503020204020204" pitchFamily="34" charset="0"/>
                    <a:ea typeface="+mn-ea"/>
                    <a:cs typeface="Oracle Sans Semi Bold" panose="020B0503020204020204" pitchFamily="34" charset="0"/>
                  </a:rPr>
                  <a:t>Newport</a:t>
                </a:r>
              </a:p>
            </p:txBody>
          </p:sp>
          <p:grpSp>
            <p:nvGrpSpPr>
              <p:cNvPr id="263" name="Group 262">
                <a:extLst>
                  <a:ext uri="{FF2B5EF4-FFF2-40B4-BE49-F238E27FC236}">
                    <a16:creationId xmlns:a16="http://schemas.microsoft.com/office/drawing/2014/main" id="{D26FA051-EA19-5041-9F07-7BFF71909F56}"/>
                  </a:ext>
                </a:extLst>
              </p:cNvPr>
              <p:cNvGrpSpPr/>
              <p:nvPr>
                <p:custDataLst>
                  <p:tags r:id="rId160"/>
                </p:custDataLst>
              </p:nvPr>
            </p:nvGrpSpPr>
            <p:grpSpPr>
              <a:xfrm>
                <a:off x="4835208" y="2220934"/>
                <a:ext cx="152005" cy="65931"/>
                <a:chOff x="1416837" y="1604855"/>
                <a:chExt cx="152005" cy="65931"/>
              </a:xfrm>
            </p:grpSpPr>
            <p:sp>
              <p:nvSpPr>
                <p:cNvPr id="264" name="Rounded Rectangle 263">
                  <a:extLst>
                    <a:ext uri="{FF2B5EF4-FFF2-40B4-BE49-F238E27FC236}">
                      <a16:creationId xmlns:a16="http://schemas.microsoft.com/office/drawing/2014/main" id="{F3362D88-A4CF-C34F-9810-3DDCB4F47381}"/>
                    </a:ext>
                  </a:extLst>
                </p:cNvPr>
                <p:cNvSpPr>
                  <a:spLocks noChangeAspect="1"/>
                </p:cNvSpPr>
                <p:nvPr>
                  <p:custDataLst>
                    <p:tags r:id="rId161"/>
                  </p:custDataLst>
                </p:nvPr>
              </p:nvSpPr>
              <p:spPr>
                <a:xfrm>
                  <a:off x="1416837" y="1604855"/>
                  <a:ext cx="65931" cy="65931"/>
                </a:xfrm>
                <a:prstGeom prst="roundRect">
                  <a:avLst>
                    <a:gd name="adj" fmla="val 10205"/>
                  </a:avLst>
                </a:prstGeom>
                <a:solidFill>
                  <a:schemeClr val="accent1"/>
                </a:solidFill>
                <a:ln w="9525" cap="flat">
                  <a:noFill/>
                  <a:prstDash val="solid"/>
                  <a:miter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0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312D2A"/>
                      </a:solidFill>
                      <a:effectLst/>
                      <a:uLnTx/>
                      <a:uFillTx/>
                      <a:latin typeface="Oracle Sans Tab"/>
                      <a:ea typeface="+mn-ea"/>
                      <a:cs typeface="+mn-cs"/>
                    </a:rPr>
                    <a:t>   </a:t>
                  </a:r>
                </a:p>
              </p:txBody>
            </p:sp>
            <p:sp>
              <p:nvSpPr>
                <p:cNvPr id="265" name="Rounded Rectangle 264">
                  <a:extLst>
                    <a:ext uri="{FF2B5EF4-FFF2-40B4-BE49-F238E27FC236}">
                      <a16:creationId xmlns:a16="http://schemas.microsoft.com/office/drawing/2014/main" id="{FFE7AA4D-8F61-5246-ADB2-949860669F5A}"/>
                    </a:ext>
                  </a:extLst>
                </p:cNvPr>
                <p:cNvSpPr>
                  <a:spLocks noChangeAspect="1"/>
                </p:cNvSpPr>
                <p:nvPr>
                  <p:custDataLst>
                    <p:tags r:id="rId162"/>
                  </p:custDataLst>
                </p:nvPr>
              </p:nvSpPr>
              <p:spPr>
                <a:xfrm>
                  <a:off x="1502911" y="1604855"/>
                  <a:ext cx="65931" cy="65931"/>
                </a:xfrm>
                <a:prstGeom prst="roundRect">
                  <a:avLst>
                    <a:gd name="adj" fmla="val 10205"/>
                  </a:avLst>
                </a:prstGeom>
                <a:solidFill>
                  <a:srgbClr val="41817E"/>
                </a:solidFill>
                <a:ln w="9525" cap="flat">
                  <a:noFill/>
                  <a:prstDash val="solid"/>
                  <a:miter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0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312D2A"/>
                      </a:solidFill>
                      <a:effectLst/>
                      <a:uLnTx/>
                      <a:uFillTx/>
                      <a:latin typeface="Oracle Sans Tab"/>
                      <a:ea typeface="+mn-ea"/>
                      <a:cs typeface="+mn-cs"/>
                    </a:rPr>
                    <a:t>   </a:t>
                  </a:r>
                </a:p>
              </p:txBody>
            </p:sp>
          </p:grpSp>
        </p:grpSp>
      </p:grpSp>
      <p:sp>
        <p:nvSpPr>
          <p:cNvPr id="305" name="Text Placeholder 3">
            <a:extLst>
              <a:ext uri="{FF2B5EF4-FFF2-40B4-BE49-F238E27FC236}">
                <a16:creationId xmlns:a16="http://schemas.microsoft.com/office/drawing/2014/main" id="{9D7A8A3E-E375-AF49-A1E1-C5953BB4AD16}"/>
              </a:ext>
            </a:extLst>
          </p:cNvPr>
          <p:cNvSpPr txBox="1"/>
          <p:nvPr>
            <p:custDataLst>
              <p:tags r:id="rId37"/>
            </p:custDataLst>
          </p:nvPr>
        </p:nvSpPr>
        <p:spPr>
          <a:xfrm>
            <a:off x="904367" y="5143790"/>
            <a:ext cx="8134071" cy="1123126"/>
          </a:xfrm>
          <a:prstGeom prst="rect">
            <a:avLst/>
          </a:prstGeom>
        </p:spPr>
        <p:txBody>
          <a:bodyPr lIns="0" rIns="0"/>
          <a:lstStyle>
            <a:lvl1pPr marL="0" marR="0" indent="0" algn="l" defTabSz="914400" rtl="0" eaLnBrk="1" fontAlgn="auto" latinLnBrk="0" hangingPunct="1">
              <a:lnSpc>
                <a:spcPct val="95000"/>
              </a:lnSpc>
              <a:spcBef>
                <a:spcPts val="600"/>
              </a:spcBef>
              <a:spcAft>
                <a:spcPct val="0"/>
              </a:spcAft>
              <a:buClrTx/>
              <a:buSzTx/>
              <a:buFont typeface="System Font Regular"/>
              <a:buNone/>
              <a:defRPr sz="1800" b="0" i="0" kern="1200">
                <a:solidFill>
                  <a:schemeClr val="tx1"/>
                </a:solidFill>
                <a:latin typeface="Oracle Sans" panose="020B0503020204020204" pitchFamily="34" charset="0"/>
                <a:ea typeface="+mn-ea"/>
                <a:cs typeface="Oracle Sans" panose="020B0503020204020204" pitchFamily="34" charset="0"/>
              </a:defRPr>
            </a:lvl1pPr>
            <a:lvl2pPr marL="365760" marR="0" indent="-182880" algn="l" defTabSz="914400" rtl="0" eaLnBrk="1" fontAlgn="auto" latinLnBrk="0" hangingPunct="1">
              <a:lnSpc>
                <a:spcPct val="95000"/>
              </a:lnSpc>
              <a:spcBef>
                <a:spcPts val="6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Oracle Sans" panose="020B0503020204020204" pitchFamily="34" charset="0"/>
                <a:ea typeface="+mn-ea"/>
                <a:cs typeface="Oracle Sans" panose="020B0503020204020204" pitchFamily="34" charset="0"/>
              </a:defRPr>
            </a:lvl2pPr>
            <a:lvl3pPr marL="731520" marR="0" indent="-182880" algn="l" defTabSz="914400" rtl="0" eaLnBrk="1" fontAlgn="auto" latinLnBrk="0" hangingPunct="1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ClrTx/>
              <a:buSzPct val="120000"/>
              <a:buFont typeface="System Font Regular"/>
              <a:buChar char="-"/>
              <a:defRPr sz="1600" kern="1200">
                <a:solidFill>
                  <a:schemeClr val="tx1"/>
                </a:solidFill>
                <a:latin typeface="Oracle Sans Light" panose="020B0403020204020204" pitchFamily="34" charset="0"/>
                <a:ea typeface="+mn-ea"/>
                <a:cs typeface="Oracle Sans Light" panose="020B0403020204020204" pitchFamily="34" charset="0"/>
              </a:defRPr>
            </a:lvl3pPr>
            <a:lvl4pPr marL="1097280" marR="0" indent="-182880" algn="l" defTabSz="914400" rtl="0" eaLnBrk="1" fontAlgn="auto" latinLnBrk="0" hangingPunct="1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ClrTx/>
              <a:buSzTx/>
              <a:buFont typeface="System Font Regular"/>
              <a:buChar char="◦"/>
              <a:defRPr sz="1400" kern="1200">
                <a:solidFill>
                  <a:schemeClr val="tx1"/>
                </a:solidFill>
                <a:latin typeface="Oracle Sans Light" panose="020B0403020204020204" pitchFamily="34" charset="0"/>
                <a:ea typeface="+mn-ea"/>
                <a:cs typeface="Oracle Sans Light" panose="020B0403020204020204" pitchFamily="34" charset="0"/>
              </a:defRPr>
            </a:lvl4pPr>
            <a:lvl5pPr marL="1463040" marR="0" indent="-182880" algn="l" defTabSz="914400" rtl="0" eaLnBrk="1" fontAlgn="auto" latinLnBrk="0" hangingPunct="1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ClrTx/>
              <a:buSzTx/>
              <a:buFont typeface="System Font Regular"/>
              <a:buChar char="•"/>
              <a:defRPr sz="1200" kern="1200">
                <a:solidFill>
                  <a:schemeClr val="tx1"/>
                </a:solidFill>
                <a:latin typeface="Oracle Sans Light" panose="020B0403020204020204" pitchFamily="34" charset="0"/>
                <a:ea typeface="+mn-ea"/>
                <a:cs typeface="Oracle Sans Light" panose="020B0403020204020204" pitchFamily="34" charset="0"/>
              </a:defRPr>
            </a:lvl5pPr>
            <a:lvl6pPr marL="1828800" indent="-182880" algn="l" defTabSz="914400" rtl="0" eaLnBrk="1" latinLnBrk="0" hangingPunct="1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SzPct val="120000"/>
              <a:buFont typeface="System Font Regular"/>
              <a:buChar char="-"/>
              <a:defRPr sz="1200" b="0" i="0" kern="1200">
                <a:solidFill>
                  <a:schemeClr val="tx1"/>
                </a:solidFill>
                <a:latin typeface="Oracle Sans Light" panose="020B0403020204020204" pitchFamily="34" charset="0"/>
                <a:ea typeface="+mn-ea"/>
                <a:cs typeface="Oracle Sans Light" panose="020B0403020204020204" pitchFamily="34" charset="0"/>
              </a:defRPr>
            </a:lvl6pPr>
            <a:lvl7pPr marL="2194560" indent="-182880" algn="l" defTabSz="914400" rtl="0" eaLnBrk="1" latinLnBrk="0" hangingPunct="1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ystem Font Regular"/>
              <a:buChar char="◦"/>
              <a:defRPr sz="1200" b="0" i="0" kern="1200">
                <a:solidFill>
                  <a:schemeClr val="tx1"/>
                </a:solidFill>
                <a:latin typeface="Oracle Sans Light" panose="020B0403020204020204" pitchFamily="34" charset="0"/>
                <a:ea typeface="+mn-ea"/>
                <a:cs typeface="Oracle Sans Light" panose="020B0403020204020204" pitchFamily="34" charset="0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126" rtl="0" eaLnBrk="1" fontAlgn="auto" latinLnBrk="0" hangingPunct="1">
              <a:lnSpc>
                <a:spcPct val="95000"/>
              </a:lnSpc>
              <a:spcBef>
                <a:spcPts val="600"/>
              </a:spcBef>
              <a:spcAft>
                <a:spcPct val="0"/>
              </a:spcAft>
              <a:buClrTx/>
              <a:buSzTx/>
              <a:buFont typeface="System Font Regular"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312D2A"/>
                </a:solidFill>
                <a:effectLst/>
                <a:uLnTx/>
                <a:uFillTx/>
                <a:latin typeface="Oracle Sans" panose="020B0503020204020204" pitchFamily="34" charset="0"/>
                <a:ea typeface="Gadugi" panose="020B0502040204020203" pitchFamily="34" charset="0"/>
                <a:cs typeface="Oracle Sans" panose="020B0503020204020204" pitchFamily="34" charset="0"/>
              </a:rPr>
              <a:t>February 2024</a:t>
            </a:r>
          </a:p>
          <a:p>
            <a:pPr marL="0" marR="0" lvl="0" indent="0" algn="l" defTabSz="914126" rtl="0" eaLnBrk="1" fontAlgn="auto" latinLnBrk="0" hangingPunct="1">
              <a:lnSpc>
                <a:spcPct val="95000"/>
              </a:lnSpc>
              <a:spcBef>
                <a:spcPts val="600"/>
              </a:spcBef>
              <a:spcAft>
                <a:spcPct val="0"/>
              </a:spcAft>
              <a:buClrTx/>
              <a:buSzTx/>
              <a:buFont typeface="System Font Regular"/>
              <a:buNone/>
              <a:tabLst/>
              <a:defRPr/>
            </a:pPr>
            <a:r>
              <a:rPr kumimoji="0" lang="en-US" sz="1999" b="1" i="0" u="none" strike="noStrike" kern="1200" cap="none" spc="0" normalizeH="0" baseline="0" noProof="0" dirty="0">
                <a:ln>
                  <a:noFill/>
                </a:ln>
                <a:solidFill>
                  <a:srgbClr val="312D2A"/>
                </a:solidFill>
                <a:effectLst/>
                <a:uLnTx/>
                <a:uFillTx/>
                <a:latin typeface="Oracle Sans" panose="020B0503020204020204" pitchFamily="34" charset="0"/>
                <a:ea typeface="Gadugi" panose="020B0502040204020203" pitchFamily="34" charset="0"/>
                <a:cs typeface="Oracle Sans" panose="020B0503020204020204" pitchFamily="34" charset="0"/>
              </a:rPr>
              <a:t>48 regions</a:t>
            </a:r>
            <a:r>
              <a:rPr kumimoji="0" lang="en-US" sz="1999" b="0" i="0" u="none" strike="noStrike" kern="1200" cap="none" spc="0" normalizeH="0" baseline="0" noProof="0" dirty="0">
                <a:ln>
                  <a:noFill/>
                </a:ln>
                <a:solidFill>
                  <a:srgbClr val="312D2A"/>
                </a:solidFill>
                <a:effectLst/>
                <a:uLnTx/>
                <a:uFillTx/>
                <a:latin typeface="Oracle Sans" panose="020B0503020204020204" pitchFamily="34" charset="0"/>
                <a:ea typeface="Gadugi" panose="020B0502040204020203" pitchFamily="34" charset="0"/>
                <a:cs typeface="Oracle Sans" panose="020B0503020204020204" pitchFamily="34" charset="0"/>
              </a:rPr>
              <a:t>; 5 more planned</a:t>
            </a:r>
          </a:p>
          <a:p>
            <a:pPr marL="0" marR="0" lvl="0" indent="0" algn="l" defTabSz="914126" rtl="0" eaLnBrk="1" fontAlgn="auto" latinLnBrk="0" hangingPunct="1">
              <a:lnSpc>
                <a:spcPct val="95000"/>
              </a:lnSpc>
              <a:spcBef>
                <a:spcPts val="600"/>
              </a:spcBef>
              <a:spcAft>
                <a:spcPct val="0"/>
              </a:spcAft>
              <a:buClrTx/>
              <a:buSzTx/>
              <a:buFont typeface="System Font Regular"/>
              <a:buNone/>
              <a:tabLst/>
              <a:defRPr/>
            </a:pPr>
            <a:r>
              <a:rPr kumimoji="0" lang="en-US" sz="1999" b="1" i="0" u="none" strike="noStrike" kern="1200" cap="none" spc="0" normalizeH="0" baseline="0" noProof="0" dirty="0">
                <a:ln>
                  <a:noFill/>
                </a:ln>
                <a:solidFill>
                  <a:srgbClr val="312D2A"/>
                </a:solidFill>
                <a:effectLst/>
                <a:uLnTx/>
                <a:uFillTx/>
                <a:latin typeface="Oracle Sans" panose="020B0503020204020204" pitchFamily="34" charset="0"/>
                <a:ea typeface="Gadugi" panose="020B0502040204020203" pitchFamily="34" charset="0"/>
                <a:cs typeface="Oracle Sans" panose="020B0503020204020204" pitchFamily="34" charset="0"/>
              </a:rPr>
              <a:t>12</a:t>
            </a:r>
            <a:r>
              <a:rPr kumimoji="0" lang="en-US" sz="1999" b="0" i="0" u="none" strike="noStrike" kern="1200" cap="none" spc="0" normalizeH="0" baseline="0" noProof="0" dirty="0">
                <a:ln>
                  <a:noFill/>
                </a:ln>
                <a:solidFill>
                  <a:srgbClr val="312D2A"/>
                </a:solidFill>
                <a:effectLst/>
                <a:uLnTx/>
                <a:uFillTx/>
                <a:latin typeface="Oracle Sans" panose="020B0503020204020204" pitchFamily="34" charset="0"/>
                <a:ea typeface="Gadugi" panose="020B0502040204020203" pitchFamily="34" charset="0"/>
                <a:cs typeface="Oracle Sans" panose="020B0503020204020204" pitchFamily="34" charset="0"/>
              </a:rPr>
              <a:t> Azure Interconnect Regions</a:t>
            </a:r>
          </a:p>
        </p:txBody>
      </p:sp>
      <p:sp>
        <p:nvSpPr>
          <p:cNvPr id="307" name="TextBox 306">
            <a:extLst>
              <a:ext uri="{FF2B5EF4-FFF2-40B4-BE49-F238E27FC236}">
                <a16:creationId xmlns:a16="http://schemas.microsoft.com/office/drawing/2014/main" id="{E52E082E-F400-C14D-ACE5-290696DF9D45}"/>
              </a:ext>
            </a:extLst>
          </p:cNvPr>
          <p:cNvSpPr txBox="1"/>
          <p:nvPr>
            <p:custDataLst>
              <p:tags r:id="rId38"/>
            </p:custDataLst>
          </p:nvPr>
        </p:nvSpPr>
        <p:spPr>
          <a:xfrm>
            <a:off x="9319255" y="6500501"/>
            <a:ext cx="1598024" cy="13846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126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312D2A"/>
                </a:solidFill>
                <a:effectLst/>
                <a:uLnTx/>
                <a:uFillTx/>
                <a:latin typeface="Oracle Sans Semi Bold" panose="020B0503020204020204" pitchFamily="34" charset="0"/>
                <a:ea typeface="+mn-ea"/>
                <a:cs typeface="Oracle Sans Semi Bold" panose="020B0503020204020204" pitchFamily="34" charset="0"/>
              </a:rPr>
              <a:t>Microsoft Interconnect Azure</a:t>
            </a:r>
          </a:p>
        </p:txBody>
      </p:sp>
      <p:sp>
        <p:nvSpPr>
          <p:cNvPr id="315" name="Rectangle 314">
            <a:extLst>
              <a:ext uri="{FF2B5EF4-FFF2-40B4-BE49-F238E27FC236}">
                <a16:creationId xmlns:a16="http://schemas.microsoft.com/office/drawing/2014/main" id="{A0A90F13-D76A-E041-905A-ADE69C76CFE4}"/>
              </a:ext>
            </a:extLst>
          </p:cNvPr>
          <p:cNvSpPr/>
          <p:nvPr>
            <p:custDataLst>
              <p:tags r:id="rId39"/>
            </p:custDataLst>
          </p:nvPr>
        </p:nvSpPr>
        <p:spPr>
          <a:xfrm>
            <a:off x="583295" y="5106686"/>
            <a:ext cx="63483" cy="112312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1200" cap="none" spc="0" normalizeH="0" baseline="0" noProof="0" dirty="0">
              <a:ln>
                <a:noFill/>
              </a:ln>
              <a:solidFill>
                <a:srgbClr val="FCFBFA"/>
              </a:solidFill>
              <a:effectLst/>
              <a:uLnTx/>
              <a:uFillTx/>
              <a:latin typeface="Oracle Sans Tab"/>
              <a:ea typeface="+mn-ea"/>
              <a:cs typeface="+mn-cs"/>
            </a:endParaRPr>
          </a:p>
        </p:txBody>
      </p:sp>
      <p:grpSp>
        <p:nvGrpSpPr>
          <p:cNvPr id="304" name="Group 303">
            <a:extLst>
              <a:ext uri="{FF2B5EF4-FFF2-40B4-BE49-F238E27FC236}">
                <a16:creationId xmlns:a16="http://schemas.microsoft.com/office/drawing/2014/main" id="{5C6D6C05-5210-7B4D-9414-A1A17E31CA23}"/>
              </a:ext>
            </a:extLst>
          </p:cNvPr>
          <p:cNvGrpSpPr/>
          <p:nvPr>
            <p:custDataLst>
              <p:tags r:id="rId40"/>
            </p:custDataLst>
          </p:nvPr>
        </p:nvGrpSpPr>
        <p:grpSpPr>
          <a:xfrm>
            <a:off x="4054638" y="4389306"/>
            <a:ext cx="244096" cy="244096"/>
            <a:chOff x="-763325" y="1701579"/>
            <a:chExt cx="349858" cy="349858"/>
          </a:xfrm>
        </p:grpSpPr>
        <p:sp>
          <p:nvSpPr>
            <p:cNvPr id="316" name="Oval 315">
              <a:extLst>
                <a:ext uri="{FF2B5EF4-FFF2-40B4-BE49-F238E27FC236}">
                  <a16:creationId xmlns:a16="http://schemas.microsoft.com/office/drawing/2014/main" id="{AC78002D-6366-D64D-9335-26B02AB81DAB}"/>
                </a:ext>
              </a:extLst>
            </p:cNvPr>
            <p:cNvSpPr/>
            <p:nvPr>
              <p:custDataLst>
                <p:tags r:id="rId155"/>
              </p:custDataLst>
            </p:nvPr>
          </p:nvSpPr>
          <p:spPr>
            <a:xfrm>
              <a:off x="-763325" y="1701579"/>
              <a:ext cx="349858" cy="349858"/>
            </a:xfrm>
            <a:prstGeom prst="ellipse">
              <a:avLst/>
            </a:prstGeom>
            <a:solidFill>
              <a:srgbClr val="2C5967">
                <a:alpha val="42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1200" cap="none" spc="0" normalizeH="0" baseline="0" noProof="0" dirty="0">
                <a:ln>
                  <a:noFill/>
                </a:ln>
                <a:solidFill>
                  <a:srgbClr val="312D2A"/>
                </a:solidFill>
                <a:effectLst/>
                <a:uLnTx/>
                <a:uFillTx/>
                <a:latin typeface="Oracle Sans Tab"/>
                <a:ea typeface="+mn-ea"/>
                <a:cs typeface="+mn-cs"/>
              </a:endParaRPr>
            </a:p>
          </p:txBody>
        </p:sp>
        <p:sp>
          <p:nvSpPr>
            <p:cNvPr id="317" name="Oval 316">
              <a:extLst>
                <a:ext uri="{FF2B5EF4-FFF2-40B4-BE49-F238E27FC236}">
                  <a16:creationId xmlns:a16="http://schemas.microsoft.com/office/drawing/2014/main" id="{A1C3563A-9981-F447-BBE6-BE82B5208676}"/>
                </a:ext>
              </a:extLst>
            </p:cNvPr>
            <p:cNvSpPr/>
            <p:nvPr>
              <p:custDataLst>
                <p:tags r:id="rId156"/>
              </p:custDataLst>
            </p:nvPr>
          </p:nvSpPr>
          <p:spPr>
            <a:xfrm>
              <a:off x="-676936" y="1787968"/>
              <a:ext cx="177080" cy="177080"/>
            </a:xfrm>
            <a:prstGeom prst="ellipse">
              <a:avLst/>
            </a:prstGeom>
            <a:solidFill>
              <a:srgbClr val="2C596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1200" cap="none" spc="0" normalizeH="0" baseline="0" noProof="0" dirty="0">
                <a:ln>
                  <a:noFill/>
                </a:ln>
                <a:solidFill>
                  <a:srgbClr val="312D2A"/>
                </a:solidFill>
                <a:effectLst/>
                <a:uLnTx/>
                <a:uFillTx/>
                <a:latin typeface="Oracle Sans Tab"/>
                <a:ea typeface="+mn-ea"/>
                <a:cs typeface="+mn-cs"/>
              </a:endParaRPr>
            </a:p>
          </p:txBody>
        </p:sp>
      </p:grpSp>
      <p:grpSp>
        <p:nvGrpSpPr>
          <p:cNvPr id="3" name="Group 2">
            <a:extLst>
              <a:ext uri="{FF2B5EF4-FFF2-40B4-BE49-F238E27FC236}">
                <a16:creationId xmlns:a16="http://schemas.microsoft.com/office/drawing/2014/main" id="{F83D1C5C-8EBC-0444-838E-E5977A06C167}"/>
              </a:ext>
            </a:extLst>
          </p:cNvPr>
          <p:cNvGrpSpPr/>
          <p:nvPr/>
        </p:nvGrpSpPr>
        <p:grpSpPr>
          <a:xfrm>
            <a:off x="5723006" y="2189193"/>
            <a:ext cx="803786" cy="797570"/>
            <a:chOff x="5763469" y="2151651"/>
            <a:chExt cx="803786" cy="797570"/>
          </a:xfrm>
        </p:grpSpPr>
        <p:sp>
          <p:nvSpPr>
            <p:cNvPr id="567" name="TextBox 566">
              <a:extLst>
                <a:ext uri="{FF2B5EF4-FFF2-40B4-BE49-F238E27FC236}">
                  <a16:creationId xmlns:a16="http://schemas.microsoft.com/office/drawing/2014/main" id="{7EC50ECB-1C6E-2A47-B4D7-645FE67AD5AE}"/>
                </a:ext>
              </a:extLst>
            </p:cNvPr>
            <p:cNvSpPr txBox="1"/>
            <p:nvPr>
              <p:custDataLst>
                <p:tags r:id="rId150"/>
              </p:custDataLst>
            </p:nvPr>
          </p:nvSpPr>
          <p:spPr>
            <a:xfrm>
              <a:off x="5932146" y="2839003"/>
              <a:ext cx="635109" cy="11021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00" b="0" i="0" u="none" strike="noStrike" kern="1200" cap="none" spc="0" normalizeH="0" baseline="0" noProof="0" dirty="0">
                  <a:ln>
                    <a:noFill/>
                  </a:ln>
                  <a:solidFill>
                    <a:srgbClr val="312D2A"/>
                  </a:solidFill>
                  <a:effectLst/>
                  <a:uLnTx/>
                  <a:uFillTx/>
                  <a:latin typeface="Oracle Sans Semi Bold" panose="020B0503020204020204" pitchFamily="34" charset="0"/>
                  <a:ea typeface="+mn-ea"/>
                  <a:cs typeface="Oracle Sans Semi Bold" panose="020B0503020204020204" pitchFamily="34" charset="0"/>
                </a:rPr>
                <a:t>Marseille</a:t>
              </a:r>
            </a:p>
          </p:txBody>
        </p:sp>
        <p:cxnSp>
          <p:nvCxnSpPr>
            <p:cNvPr id="584" name="Straight Connector 583">
              <a:extLst>
                <a:ext uri="{FF2B5EF4-FFF2-40B4-BE49-F238E27FC236}">
                  <a16:creationId xmlns:a16="http://schemas.microsoft.com/office/drawing/2014/main" id="{96B24F96-9CC9-2042-ACC6-E5743078E529}"/>
                </a:ext>
              </a:extLst>
            </p:cNvPr>
            <p:cNvCxnSpPr>
              <a:cxnSpLocks/>
              <a:stCxn id="320" idx="4"/>
            </p:cNvCxnSpPr>
            <p:nvPr>
              <p:custDataLst>
                <p:tags r:id="rId151"/>
              </p:custDataLst>
            </p:nvPr>
          </p:nvCxnSpPr>
          <p:spPr>
            <a:xfrm>
              <a:off x="5885518" y="2335474"/>
              <a:ext cx="0" cy="542124"/>
            </a:xfrm>
            <a:prstGeom prst="line">
              <a:avLst/>
            </a:prstGeom>
            <a:ln>
              <a:solidFill>
                <a:srgbClr val="2C5967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318" name="Group 317">
              <a:extLst>
                <a:ext uri="{FF2B5EF4-FFF2-40B4-BE49-F238E27FC236}">
                  <a16:creationId xmlns:a16="http://schemas.microsoft.com/office/drawing/2014/main" id="{C1602E61-826A-3C43-B0B0-21E2E2EC1150}"/>
                </a:ext>
              </a:extLst>
            </p:cNvPr>
            <p:cNvGrpSpPr/>
            <p:nvPr>
              <p:custDataLst>
                <p:tags r:id="rId152"/>
              </p:custDataLst>
            </p:nvPr>
          </p:nvGrpSpPr>
          <p:grpSpPr>
            <a:xfrm>
              <a:off x="5763469" y="2151651"/>
              <a:ext cx="244096" cy="244096"/>
              <a:chOff x="-763325" y="1701579"/>
              <a:chExt cx="349858" cy="349858"/>
            </a:xfrm>
          </p:grpSpPr>
          <p:sp>
            <p:nvSpPr>
              <p:cNvPr id="319" name="Oval 318">
                <a:extLst>
                  <a:ext uri="{FF2B5EF4-FFF2-40B4-BE49-F238E27FC236}">
                    <a16:creationId xmlns:a16="http://schemas.microsoft.com/office/drawing/2014/main" id="{3013AE07-38ED-C54A-BBF3-BF74722FB7D6}"/>
                  </a:ext>
                </a:extLst>
              </p:cNvPr>
              <p:cNvSpPr/>
              <p:nvPr>
                <p:custDataLst>
                  <p:tags r:id="rId153"/>
                </p:custDataLst>
              </p:nvPr>
            </p:nvSpPr>
            <p:spPr>
              <a:xfrm>
                <a:off x="-763325" y="1701579"/>
                <a:ext cx="349858" cy="349858"/>
              </a:xfrm>
              <a:prstGeom prst="ellipse">
                <a:avLst/>
              </a:prstGeom>
              <a:solidFill>
                <a:srgbClr val="2C5967">
                  <a:alpha val="42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99" b="0" i="0" u="none" strike="noStrike" kern="1200" cap="none" spc="0" normalizeH="0" baseline="0" noProof="0" dirty="0">
                  <a:ln>
                    <a:noFill/>
                  </a:ln>
                  <a:solidFill>
                    <a:srgbClr val="312D2A"/>
                  </a:solidFill>
                  <a:effectLst/>
                  <a:uLnTx/>
                  <a:uFillTx/>
                  <a:latin typeface="Oracle Sans Tab"/>
                  <a:ea typeface="+mn-ea"/>
                  <a:cs typeface="+mn-cs"/>
                </a:endParaRPr>
              </a:p>
            </p:txBody>
          </p:sp>
          <p:sp>
            <p:nvSpPr>
              <p:cNvPr id="320" name="Oval 319">
                <a:extLst>
                  <a:ext uri="{FF2B5EF4-FFF2-40B4-BE49-F238E27FC236}">
                    <a16:creationId xmlns:a16="http://schemas.microsoft.com/office/drawing/2014/main" id="{6EBED553-CBE1-244C-BC14-2CE2F141C398}"/>
                  </a:ext>
                </a:extLst>
              </p:cNvPr>
              <p:cNvSpPr/>
              <p:nvPr>
                <p:custDataLst>
                  <p:tags r:id="rId154"/>
                </p:custDataLst>
              </p:nvPr>
            </p:nvSpPr>
            <p:spPr>
              <a:xfrm>
                <a:off x="-676936" y="1787968"/>
                <a:ext cx="177080" cy="177080"/>
              </a:xfrm>
              <a:prstGeom prst="ellipse">
                <a:avLst/>
              </a:prstGeom>
              <a:solidFill>
                <a:srgbClr val="2C5967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99" b="0" i="0" u="none" strike="noStrike" kern="1200" cap="none" spc="0" normalizeH="0" baseline="0" noProof="0" dirty="0">
                  <a:ln>
                    <a:noFill/>
                  </a:ln>
                  <a:solidFill>
                    <a:srgbClr val="312D2A"/>
                  </a:solidFill>
                  <a:effectLst/>
                  <a:uLnTx/>
                  <a:uFillTx/>
                  <a:latin typeface="Oracle Sans Tab"/>
                  <a:ea typeface="+mn-ea"/>
                  <a:cs typeface="+mn-cs"/>
                </a:endParaRPr>
              </a:p>
            </p:txBody>
          </p:sp>
        </p:grpSp>
      </p:grpSp>
      <p:grpSp>
        <p:nvGrpSpPr>
          <p:cNvPr id="324" name="Group 323">
            <a:extLst>
              <a:ext uri="{FF2B5EF4-FFF2-40B4-BE49-F238E27FC236}">
                <a16:creationId xmlns:a16="http://schemas.microsoft.com/office/drawing/2014/main" id="{9076CA4F-DA7C-E649-8796-8E8C65DBDFFF}"/>
              </a:ext>
            </a:extLst>
          </p:cNvPr>
          <p:cNvGrpSpPr/>
          <p:nvPr>
            <p:custDataLst>
              <p:tags r:id="rId41"/>
            </p:custDataLst>
          </p:nvPr>
        </p:nvGrpSpPr>
        <p:grpSpPr>
          <a:xfrm>
            <a:off x="6173576" y="2401041"/>
            <a:ext cx="839586" cy="244097"/>
            <a:chOff x="6370661" y="2532471"/>
            <a:chExt cx="839805" cy="244160"/>
          </a:xfrm>
        </p:grpSpPr>
        <p:sp>
          <p:nvSpPr>
            <p:cNvPr id="325" name="TextBox 324">
              <a:extLst>
                <a:ext uri="{FF2B5EF4-FFF2-40B4-BE49-F238E27FC236}">
                  <a16:creationId xmlns:a16="http://schemas.microsoft.com/office/drawing/2014/main" id="{34238375-9421-2941-88EB-F2F1F1CD35FF}"/>
                </a:ext>
              </a:extLst>
            </p:cNvPr>
            <p:cNvSpPr txBox="1"/>
            <p:nvPr>
              <p:custDataLst>
                <p:tags r:id="rId144"/>
              </p:custDataLst>
            </p:nvPr>
          </p:nvSpPr>
          <p:spPr>
            <a:xfrm>
              <a:off x="6370661" y="2602127"/>
              <a:ext cx="494914" cy="10775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00" b="0" i="0" u="none" strike="noStrike" kern="1200" cap="none" spc="0" normalizeH="0" baseline="0" noProof="0" dirty="0">
                  <a:ln>
                    <a:noFill/>
                  </a:ln>
                  <a:solidFill>
                    <a:srgbClr val="312D2A"/>
                  </a:solidFill>
                  <a:effectLst/>
                  <a:uLnTx/>
                  <a:uFillTx/>
                  <a:latin typeface="Oracle Sans Semi Bold" panose="020B0503020204020204" pitchFamily="34" charset="0"/>
                  <a:ea typeface="+mn-ea"/>
                  <a:cs typeface="Oracle Sans Semi Bold" panose="020B0503020204020204" pitchFamily="34" charset="0"/>
                </a:rPr>
                <a:t>Jerusalem</a:t>
              </a:r>
            </a:p>
          </p:txBody>
        </p:sp>
        <p:grpSp>
          <p:nvGrpSpPr>
            <p:cNvPr id="326" name="Group 325">
              <a:extLst>
                <a:ext uri="{FF2B5EF4-FFF2-40B4-BE49-F238E27FC236}">
                  <a16:creationId xmlns:a16="http://schemas.microsoft.com/office/drawing/2014/main" id="{966504E8-0985-E04B-8A78-1D0E06CA49A7}"/>
                </a:ext>
              </a:extLst>
            </p:cNvPr>
            <p:cNvGrpSpPr/>
            <p:nvPr>
              <p:custDataLst>
                <p:tags r:id="rId145"/>
              </p:custDataLst>
            </p:nvPr>
          </p:nvGrpSpPr>
          <p:grpSpPr>
            <a:xfrm>
              <a:off x="6720826" y="2532471"/>
              <a:ext cx="489640" cy="244160"/>
              <a:chOff x="6720826" y="2532471"/>
              <a:chExt cx="489640" cy="244160"/>
            </a:xfrm>
          </p:grpSpPr>
          <p:grpSp>
            <p:nvGrpSpPr>
              <p:cNvPr id="328" name="Group 327">
                <a:extLst>
                  <a:ext uri="{FF2B5EF4-FFF2-40B4-BE49-F238E27FC236}">
                    <a16:creationId xmlns:a16="http://schemas.microsoft.com/office/drawing/2014/main" id="{86BA83F5-5542-0C48-BB27-449617C14B34}"/>
                  </a:ext>
                </a:extLst>
              </p:cNvPr>
              <p:cNvGrpSpPr/>
              <p:nvPr>
                <p:custDataLst>
                  <p:tags r:id="rId146"/>
                </p:custDataLst>
              </p:nvPr>
            </p:nvGrpSpPr>
            <p:grpSpPr>
              <a:xfrm>
                <a:off x="6966306" y="2532471"/>
                <a:ext cx="244160" cy="244160"/>
                <a:chOff x="-763325" y="1701579"/>
                <a:chExt cx="349858" cy="349858"/>
              </a:xfrm>
            </p:grpSpPr>
            <p:sp>
              <p:nvSpPr>
                <p:cNvPr id="331" name="Oval 330">
                  <a:extLst>
                    <a:ext uri="{FF2B5EF4-FFF2-40B4-BE49-F238E27FC236}">
                      <a16:creationId xmlns:a16="http://schemas.microsoft.com/office/drawing/2014/main" id="{8670E6AF-04B6-E843-9A63-2155E911C900}"/>
                    </a:ext>
                  </a:extLst>
                </p:cNvPr>
                <p:cNvSpPr/>
                <p:nvPr>
                  <p:custDataLst>
                    <p:tags r:id="rId148"/>
                  </p:custDataLst>
                </p:nvPr>
              </p:nvSpPr>
              <p:spPr>
                <a:xfrm>
                  <a:off x="-763325" y="1701579"/>
                  <a:ext cx="349858" cy="349858"/>
                </a:xfrm>
                <a:prstGeom prst="ellipse">
                  <a:avLst/>
                </a:prstGeom>
                <a:solidFill>
                  <a:srgbClr val="2C5967">
                    <a:alpha val="42000"/>
                  </a:srgb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799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12D2A"/>
                    </a:solidFill>
                    <a:effectLst/>
                    <a:uLnTx/>
                    <a:uFillTx/>
                    <a:latin typeface="Oracle Sans Tab"/>
                    <a:ea typeface="+mn-ea"/>
                    <a:cs typeface="+mn-cs"/>
                  </a:endParaRPr>
                </a:p>
              </p:txBody>
            </p:sp>
            <p:sp>
              <p:nvSpPr>
                <p:cNvPr id="332" name="Oval 331">
                  <a:extLst>
                    <a:ext uri="{FF2B5EF4-FFF2-40B4-BE49-F238E27FC236}">
                      <a16:creationId xmlns:a16="http://schemas.microsoft.com/office/drawing/2014/main" id="{51BA7080-1A3A-1F48-B078-639BE5646BE8}"/>
                    </a:ext>
                  </a:extLst>
                </p:cNvPr>
                <p:cNvSpPr/>
                <p:nvPr>
                  <p:custDataLst>
                    <p:tags r:id="rId149"/>
                  </p:custDataLst>
                </p:nvPr>
              </p:nvSpPr>
              <p:spPr>
                <a:xfrm>
                  <a:off x="-676936" y="1787968"/>
                  <a:ext cx="177080" cy="177080"/>
                </a:xfrm>
                <a:prstGeom prst="ellipse">
                  <a:avLst/>
                </a:prstGeom>
                <a:solidFill>
                  <a:srgbClr val="2C5967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799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12D2A"/>
                    </a:solidFill>
                    <a:effectLst/>
                    <a:uLnTx/>
                    <a:uFillTx/>
                    <a:latin typeface="Oracle Sans Tab"/>
                    <a:ea typeface="+mn-ea"/>
                    <a:cs typeface="+mn-cs"/>
                  </a:endParaRPr>
                </a:p>
              </p:txBody>
            </p:sp>
          </p:grpSp>
          <p:cxnSp>
            <p:nvCxnSpPr>
              <p:cNvPr id="330" name="Straight Connector 329">
                <a:extLst>
                  <a:ext uri="{FF2B5EF4-FFF2-40B4-BE49-F238E27FC236}">
                    <a16:creationId xmlns:a16="http://schemas.microsoft.com/office/drawing/2014/main" id="{A958A7C1-75C1-4546-916F-8071FA58F902}"/>
                  </a:ext>
                </a:extLst>
              </p:cNvPr>
              <p:cNvCxnSpPr/>
              <p:nvPr>
                <p:custDataLst>
                  <p:tags r:id="rId147"/>
                </p:custDataLst>
              </p:nvPr>
            </p:nvCxnSpPr>
            <p:spPr>
              <a:xfrm>
                <a:off x="6720826" y="2654551"/>
                <a:ext cx="329770" cy="0"/>
              </a:xfrm>
              <a:prstGeom prst="line">
                <a:avLst/>
              </a:prstGeom>
              <a:ln>
                <a:solidFill>
                  <a:srgbClr val="2C5967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333" name="Rounded Rectangle 332">
            <a:extLst>
              <a:ext uri="{FF2B5EF4-FFF2-40B4-BE49-F238E27FC236}">
                <a16:creationId xmlns:a16="http://schemas.microsoft.com/office/drawing/2014/main" id="{680D9E1B-DAF8-5943-BC7F-370DEDDE6A6D}"/>
              </a:ext>
            </a:extLst>
          </p:cNvPr>
          <p:cNvSpPr>
            <a:spLocks noChangeAspect="1"/>
          </p:cNvSpPr>
          <p:nvPr>
            <p:custDataLst>
              <p:tags r:id="rId42"/>
            </p:custDataLst>
          </p:nvPr>
        </p:nvSpPr>
        <p:spPr>
          <a:xfrm>
            <a:off x="6392466" y="2580061"/>
            <a:ext cx="65914" cy="65914"/>
          </a:xfrm>
          <a:prstGeom prst="roundRect">
            <a:avLst>
              <a:gd name="adj" fmla="val 10205"/>
            </a:avLst>
          </a:prstGeom>
          <a:solidFill>
            <a:schemeClr val="accent1"/>
          </a:solidFill>
          <a:ln w="9525" cap="flat">
            <a:noFill/>
            <a:prstDash val="solid"/>
            <a:miter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312D2A"/>
                </a:solidFill>
                <a:effectLst/>
                <a:uLnTx/>
                <a:uFillTx/>
                <a:latin typeface="Oracle Sans Tab"/>
                <a:ea typeface="+mn-ea"/>
                <a:cs typeface="+mn-cs"/>
              </a:rPr>
              <a:t>   </a:t>
            </a:r>
          </a:p>
        </p:txBody>
      </p:sp>
      <p:grpSp>
        <p:nvGrpSpPr>
          <p:cNvPr id="334" name="Group 333">
            <a:extLst>
              <a:ext uri="{FF2B5EF4-FFF2-40B4-BE49-F238E27FC236}">
                <a16:creationId xmlns:a16="http://schemas.microsoft.com/office/drawing/2014/main" id="{64AA2B13-A0E6-D34B-B9A5-5D2377F60686}"/>
              </a:ext>
            </a:extLst>
          </p:cNvPr>
          <p:cNvGrpSpPr/>
          <p:nvPr/>
        </p:nvGrpSpPr>
        <p:grpSpPr>
          <a:xfrm>
            <a:off x="5355269" y="2195152"/>
            <a:ext cx="635109" cy="813931"/>
            <a:chOff x="5567421" y="2151651"/>
            <a:chExt cx="635109" cy="813931"/>
          </a:xfrm>
        </p:grpSpPr>
        <p:sp>
          <p:nvSpPr>
            <p:cNvPr id="335" name="TextBox 334">
              <a:extLst>
                <a:ext uri="{FF2B5EF4-FFF2-40B4-BE49-F238E27FC236}">
                  <a16:creationId xmlns:a16="http://schemas.microsoft.com/office/drawing/2014/main" id="{4DB40E06-B4E4-7444-B730-2EC36898DE7F}"/>
                </a:ext>
              </a:extLst>
            </p:cNvPr>
            <p:cNvSpPr txBox="1"/>
            <p:nvPr>
              <p:custDataLst>
                <p:tags r:id="rId139"/>
              </p:custDataLst>
            </p:nvPr>
          </p:nvSpPr>
          <p:spPr>
            <a:xfrm>
              <a:off x="5567421" y="2855364"/>
              <a:ext cx="635109" cy="11021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00" b="0" i="0" u="none" strike="noStrike" kern="1200" cap="none" spc="0" normalizeH="0" baseline="0" noProof="0" dirty="0">
                  <a:ln>
                    <a:noFill/>
                  </a:ln>
                  <a:solidFill>
                    <a:srgbClr val="312D2A"/>
                  </a:solidFill>
                  <a:effectLst/>
                  <a:uLnTx/>
                  <a:uFillTx/>
                  <a:latin typeface="Oracle Sans Semi Bold" panose="020B0503020204020204" pitchFamily="34" charset="0"/>
                  <a:ea typeface="+mn-ea"/>
                  <a:cs typeface="Oracle Sans Semi Bold" panose="020B0503020204020204" pitchFamily="34" charset="0"/>
                </a:rPr>
                <a:t>Paris</a:t>
              </a:r>
            </a:p>
          </p:txBody>
        </p:sp>
        <p:cxnSp>
          <p:nvCxnSpPr>
            <p:cNvPr id="337" name="Straight Connector 336">
              <a:extLst>
                <a:ext uri="{FF2B5EF4-FFF2-40B4-BE49-F238E27FC236}">
                  <a16:creationId xmlns:a16="http://schemas.microsoft.com/office/drawing/2014/main" id="{F8EC33FD-9C33-BA45-9D47-C34A1C969177}"/>
                </a:ext>
              </a:extLst>
            </p:cNvPr>
            <p:cNvCxnSpPr>
              <a:cxnSpLocks/>
              <a:stCxn id="340" idx="4"/>
              <a:endCxn id="335" idx="0"/>
            </p:cNvCxnSpPr>
            <p:nvPr>
              <p:custDataLst>
                <p:tags r:id="rId140"/>
              </p:custDataLst>
            </p:nvPr>
          </p:nvCxnSpPr>
          <p:spPr>
            <a:xfrm flipH="1">
              <a:off x="5884976" y="2335474"/>
              <a:ext cx="542" cy="519890"/>
            </a:xfrm>
            <a:prstGeom prst="line">
              <a:avLst/>
            </a:prstGeom>
            <a:ln>
              <a:solidFill>
                <a:srgbClr val="2C5967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338" name="Group 337">
              <a:extLst>
                <a:ext uri="{FF2B5EF4-FFF2-40B4-BE49-F238E27FC236}">
                  <a16:creationId xmlns:a16="http://schemas.microsoft.com/office/drawing/2014/main" id="{E6ECAAC7-98A5-6743-9720-D8DE5C120522}"/>
                </a:ext>
              </a:extLst>
            </p:cNvPr>
            <p:cNvGrpSpPr/>
            <p:nvPr>
              <p:custDataLst>
                <p:tags r:id="rId141"/>
              </p:custDataLst>
            </p:nvPr>
          </p:nvGrpSpPr>
          <p:grpSpPr>
            <a:xfrm>
              <a:off x="5763469" y="2151651"/>
              <a:ext cx="244096" cy="244096"/>
              <a:chOff x="-763325" y="1701579"/>
              <a:chExt cx="349858" cy="349858"/>
            </a:xfrm>
          </p:grpSpPr>
          <p:sp>
            <p:nvSpPr>
              <p:cNvPr id="339" name="Oval 338">
                <a:extLst>
                  <a:ext uri="{FF2B5EF4-FFF2-40B4-BE49-F238E27FC236}">
                    <a16:creationId xmlns:a16="http://schemas.microsoft.com/office/drawing/2014/main" id="{225F6FFD-8491-C943-A3E4-91899B1BBDB9}"/>
                  </a:ext>
                </a:extLst>
              </p:cNvPr>
              <p:cNvSpPr/>
              <p:nvPr>
                <p:custDataLst>
                  <p:tags r:id="rId142"/>
                </p:custDataLst>
              </p:nvPr>
            </p:nvSpPr>
            <p:spPr>
              <a:xfrm>
                <a:off x="-763325" y="1701579"/>
                <a:ext cx="349858" cy="349858"/>
              </a:xfrm>
              <a:prstGeom prst="ellipse">
                <a:avLst/>
              </a:prstGeom>
              <a:solidFill>
                <a:srgbClr val="2C5967">
                  <a:alpha val="42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99" b="0" i="0" u="none" strike="noStrike" kern="1200" cap="none" spc="0" normalizeH="0" baseline="0" noProof="0" dirty="0">
                  <a:ln>
                    <a:noFill/>
                  </a:ln>
                  <a:solidFill>
                    <a:srgbClr val="312D2A"/>
                  </a:solidFill>
                  <a:effectLst/>
                  <a:uLnTx/>
                  <a:uFillTx/>
                  <a:latin typeface="Oracle Sans Tab"/>
                  <a:ea typeface="+mn-ea"/>
                  <a:cs typeface="+mn-cs"/>
                </a:endParaRPr>
              </a:p>
            </p:txBody>
          </p:sp>
          <p:sp>
            <p:nvSpPr>
              <p:cNvPr id="340" name="Oval 339">
                <a:extLst>
                  <a:ext uri="{FF2B5EF4-FFF2-40B4-BE49-F238E27FC236}">
                    <a16:creationId xmlns:a16="http://schemas.microsoft.com/office/drawing/2014/main" id="{317729DF-B647-0344-BF01-8BD864011C70}"/>
                  </a:ext>
                </a:extLst>
              </p:cNvPr>
              <p:cNvSpPr/>
              <p:nvPr>
                <p:custDataLst>
                  <p:tags r:id="rId143"/>
                </p:custDataLst>
              </p:nvPr>
            </p:nvSpPr>
            <p:spPr>
              <a:xfrm>
                <a:off x="-676936" y="1787968"/>
                <a:ext cx="177080" cy="177080"/>
              </a:xfrm>
              <a:prstGeom prst="ellipse">
                <a:avLst/>
              </a:prstGeom>
              <a:solidFill>
                <a:srgbClr val="2C5967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99" b="0" i="0" u="none" strike="noStrike" kern="1200" cap="none" spc="0" normalizeH="0" baseline="0" noProof="0" dirty="0">
                  <a:ln>
                    <a:noFill/>
                  </a:ln>
                  <a:solidFill>
                    <a:srgbClr val="312D2A"/>
                  </a:solidFill>
                  <a:effectLst/>
                  <a:uLnTx/>
                  <a:uFillTx/>
                  <a:latin typeface="Oracle Sans Tab"/>
                  <a:ea typeface="+mn-ea"/>
                  <a:cs typeface="+mn-cs"/>
                </a:endParaRPr>
              </a:p>
            </p:txBody>
          </p:sp>
        </p:grpSp>
      </p:grpSp>
      <p:grpSp>
        <p:nvGrpSpPr>
          <p:cNvPr id="45" name="Group 44">
            <a:extLst>
              <a:ext uri="{FF2B5EF4-FFF2-40B4-BE49-F238E27FC236}">
                <a16:creationId xmlns:a16="http://schemas.microsoft.com/office/drawing/2014/main" id="{C9303146-1BEB-244E-B48A-A4FE3E483887}"/>
              </a:ext>
            </a:extLst>
          </p:cNvPr>
          <p:cNvGrpSpPr/>
          <p:nvPr/>
        </p:nvGrpSpPr>
        <p:grpSpPr>
          <a:xfrm>
            <a:off x="4858116" y="2303157"/>
            <a:ext cx="777280" cy="244096"/>
            <a:chOff x="4805186" y="2296370"/>
            <a:chExt cx="777280" cy="244096"/>
          </a:xfrm>
        </p:grpSpPr>
        <p:grpSp>
          <p:nvGrpSpPr>
            <p:cNvPr id="420" name="Group 419">
              <a:extLst>
                <a:ext uri="{FF2B5EF4-FFF2-40B4-BE49-F238E27FC236}">
                  <a16:creationId xmlns:a16="http://schemas.microsoft.com/office/drawing/2014/main" id="{044BD095-73F4-2143-8DC0-C8887F197A55}"/>
                </a:ext>
              </a:extLst>
            </p:cNvPr>
            <p:cNvGrpSpPr/>
            <p:nvPr>
              <p:custDataLst>
                <p:tags r:id="rId134"/>
              </p:custDataLst>
            </p:nvPr>
          </p:nvGrpSpPr>
          <p:grpSpPr>
            <a:xfrm>
              <a:off x="5338370" y="2296370"/>
              <a:ext cx="244096" cy="244096"/>
              <a:chOff x="-763325" y="1701579"/>
              <a:chExt cx="349858" cy="349858"/>
            </a:xfrm>
          </p:grpSpPr>
          <p:sp>
            <p:nvSpPr>
              <p:cNvPr id="421" name="Oval 420">
                <a:extLst>
                  <a:ext uri="{FF2B5EF4-FFF2-40B4-BE49-F238E27FC236}">
                    <a16:creationId xmlns:a16="http://schemas.microsoft.com/office/drawing/2014/main" id="{DF5BA842-904C-DD4C-9FCB-DCA9A03E0646}"/>
                  </a:ext>
                </a:extLst>
              </p:cNvPr>
              <p:cNvSpPr/>
              <p:nvPr>
                <p:custDataLst>
                  <p:tags r:id="rId137"/>
                </p:custDataLst>
              </p:nvPr>
            </p:nvSpPr>
            <p:spPr>
              <a:xfrm>
                <a:off x="-763325" y="1701579"/>
                <a:ext cx="349858" cy="349858"/>
              </a:xfrm>
              <a:prstGeom prst="ellipse">
                <a:avLst/>
              </a:prstGeom>
              <a:solidFill>
                <a:srgbClr val="2C5967">
                  <a:alpha val="42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99" b="0" i="0" u="none" strike="noStrike" kern="1200" cap="none" spc="0" normalizeH="0" baseline="0" noProof="0" dirty="0">
                  <a:ln>
                    <a:noFill/>
                  </a:ln>
                  <a:solidFill>
                    <a:srgbClr val="312D2A"/>
                  </a:solidFill>
                  <a:effectLst/>
                  <a:uLnTx/>
                  <a:uFillTx/>
                  <a:latin typeface="Oracle Sans Tab"/>
                  <a:ea typeface="+mn-ea"/>
                  <a:cs typeface="+mn-cs"/>
                </a:endParaRPr>
              </a:p>
            </p:txBody>
          </p:sp>
          <p:sp>
            <p:nvSpPr>
              <p:cNvPr id="422" name="Oval 421">
                <a:extLst>
                  <a:ext uri="{FF2B5EF4-FFF2-40B4-BE49-F238E27FC236}">
                    <a16:creationId xmlns:a16="http://schemas.microsoft.com/office/drawing/2014/main" id="{D5061F54-6BEB-2E41-AD42-92DC5BBD2317}"/>
                  </a:ext>
                </a:extLst>
              </p:cNvPr>
              <p:cNvSpPr/>
              <p:nvPr>
                <p:custDataLst>
                  <p:tags r:id="rId138"/>
                </p:custDataLst>
              </p:nvPr>
            </p:nvSpPr>
            <p:spPr>
              <a:xfrm>
                <a:off x="-676936" y="1787968"/>
                <a:ext cx="177080" cy="177080"/>
              </a:xfrm>
              <a:prstGeom prst="ellipse">
                <a:avLst/>
              </a:prstGeom>
              <a:solidFill>
                <a:srgbClr val="2C5967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99" b="0" i="0" u="none" strike="noStrike" kern="1200" cap="none" spc="0" normalizeH="0" baseline="0" noProof="0" dirty="0">
                  <a:ln>
                    <a:noFill/>
                  </a:ln>
                  <a:solidFill>
                    <a:srgbClr val="312D2A"/>
                  </a:solidFill>
                  <a:effectLst/>
                  <a:uLnTx/>
                  <a:uFillTx/>
                  <a:latin typeface="Oracle Sans Tab"/>
                  <a:ea typeface="+mn-ea"/>
                  <a:cs typeface="+mn-cs"/>
                </a:endParaRPr>
              </a:p>
            </p:txBody>
          </p:sp>
        </p:grpSp>
        <p:sp>
          <p:nvSpPr>
            <p:cNvPr id="347" name="TextBox 346">
              <a:extLst>
                <a:ext uri="{FF2B5EF4-FFF2-40B4-BE49-F238E27FC236}">
                  <a16:creationId xmlns:a16="http://schemas.microsoft.com/office/drawing/2014/main" id="{F616A05E-E08C-F440-952F-7A2AD8D870D8}"/>
                </a:ext>
              </a:extLst>
            </p:cNvPr>
            <p:cNvSpPr txBox="1"/>
            <p:nvPr>
              <p:custDataLst>
                <p:tags r:id="rId135"/>
              </p:custDataLst>
            </p:nvPr>
          </p:nvSpPr>
          <p:spPr>
            <a:xfrm>
              <a:off x="4805186" y="2368525"/>
              <a:ext cx="410515" cy="11020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00" b="0" i="0" u="none" strike="noStrike" kern="1200" cap="none" spc="0" normalizeH="0" baseline="0" noProof="0" dirty="0">
                  <a:ln>
                    <a:noFill/>
                  </a:ln>
                  <a:solidFill>
                    <a:srgbClr val="312D2A"/>
                  </a:solidFill>
                  <a:effectLst/>
                  <a:uLnTx/>
                  <a:uFillTx/>
                  <a:latin typeface="Oracle Sans Semi Bold" panose="020B0503020204020204" pitchFamily="34" charset="0"/>
                  <a:ea typeface="+mn-ea"/>
                  <a:cs typeface="Oracle Sans Semi Bold" panose="020B0503020204020204" pitchFamily="34" charset="0"/>
                </a:rPr>
                <a:t>Madrid</a:t>
              </a:r>
            </a:p>
          </p:txBody>
        </p:sp>
        <p:cxnSp>
          <p:nvCxnSpPr>
            <p:cNvPr id="349" name="Straight Connector 348">
              <a:extLst>
                <a:ext uri="{FF2B5EF4-FFF2-40B4-BE49-F238E27FC236}">
                  <a16:creationId xmlns:a16="http://schemas.microsoft.com/office/drawing/2014/main" id="{F2E11BC3-3CA1-D54E-BBEB-656509FB5E53}"/>
                </a:ext>
              </a:extLst>
            </p:cNvPr>
            <p:cNvCxnSpPr>
              <a:cxnSpLocks/>
              <a:stCxn id="422" idx="2"/>
              <a:endCxn id="347" idx="3"/>
            </p:cNvCxnSpPr>
            <p:nvPr>
              <p:custDataLst>
                <p:tags r:id="rId136"/>
              </p:custDataLst>
            </p:nvPr>
          </p:nvCxnSpPr>
          <p:spPr>
            <a:xfrm flipH="1">
              <a:off x="5215701" y="2418419"/>
              <a:ext cx="182943" cy="5208"/>
            </a:xfrm>
            <a:prstGeom prst="line">
              <a:avLst/>
            </a:prstGeom>
            <a:ln>
              <a:solidFill>
                <a:srgbClr val="2C5967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341" name="Straight Connector 340">
            <a:extLst>
              <a:ext uri="{FF2B5EF4-FFF2-40B4-BE49-F238E27FC236}">
                <a16:creationId xmlns:a16="http://schemas.microsoft.com/office/drawing/2014/main" id="{34D72A84-EFA7-CD43-8E6D-48577633B29C}"/>
              </a:ext>
            </a:extLst>
          </p:cNvPr>
          <p:cNvCxnSpPr>
            <a:cxnSpLocks/>
            <a:stCxn id="342" idx="1"/>
            <a:endCxn id="317" idx="6"/>
          </p:cNvCxnSpPr>
          <p:nvPr>
            <p:custDataLst>
              <p:tags r:id="rId43"/>
            </p:custDataLst>
          </p:nvPr>
        </p:nvCxnSpPr>
        <p:spPr>
          <a:xfrm flipH="1">
            <a:off x="4238461" y="4510108"/>
            <a:ext cx="578064" cy="1247"/>
          </a:xfrm>
          <a:prstGeom prst="line">
            <a:avLst/>
          </a:prstGeom>
          <a:ln>
            <a:solidFill>
              <a:srgbClr val="2C596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2" name="TextBox 341">
            <a:extLst>
              <a:ext uri="{FF2B5EF4-FFF2-40B4-BE49-F238E27FC236}">
                <a16:creationId xmlns:a16="http://schemas.microsoft.com/office/drawing/2014/main" id="{0EA68345-9473-F941-8003-28605CA13353}"/>
              </a:ext>
            </a:extLst>
          </p:cNvPr>
          <p:cNvSpPr txBox="1"/>
          <p:nvPr>
            <p:custDataLst>
              <p:tags r:id="rId44"/>
            </p:custDataLst>
          </p:nvPr>
        </p:nvSpPr>
        <p:spPr>
          <a:xfrm>
            <a:off x="4816525" y="4456247"/>
            <a:ext cx="458931" cy="10772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srgbClr val="312D2A"/>
                </a:solidFill>
                <a:effectLst/>
                <a:uLnTx/>
                <a:uFillTx/>
                <a:latin typeface="Oracle Sans Semi Bold" panose="020B0503020204020204" pitchFamily="34" charset="0"/>
                <a:ea typeface="+mn-ea"/>
                <a:cs typeface="Oracle Sans Semi Bold" panose="020B0503020204020204" pitchFamily="34" charset="0"/>
              </a:rPr>
              <a:t>Valparaíso</a:t>
            </a:r>
          </a:p>
        </p:txBody>
      </p:sp>
      <p:cxnSp>
        <p:nvCxnSpPr>
          <p:cNvPr id="345" name="Straight Connector 344">
            <a:extLst>
              <a:ext uri="{FF2B5EF4-FFF2-40B4-BE49-F238E27FC236}">
                <a16:creationId xmlns:a16="http://schemas.microsoft.com/office/drawing/2014/main" id="{2CD645AD-C664-154C-87B3-7F44D8DFEFF6}"/>
              </a:ext>
            </a:extLst>
          </p:cNvPr>
          <p:cNvCxnSpPr>
            <a:cxnSpLocks/>
          </p:cNvCxnSpPr>
          <p:nvPr>
            <p:custDataLst>
              <p:tags r:id="rId45"/>
            </p:custDataLst>
          </p:nvPr>
        </p:nvCxnSpPr>
        <p:spPr>
          <a:xfrm>
            <a:off x="5845055" y="2915140"/>
            <a:ext cx="145988" cy="0"/>
          </a:xfrm>
          <a:prstGeom prst="line">
            <a:avLst/>
          </a:prstGeom>
          <a:ln>
            <a:solidFill>
              <a:srgbClr val="2C596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46" name="Group 345">
            <a:extLst>
              <a:ext uri="{FF2B5EF4-FFF2-40B4-BE49-F238E27FC236}">
                <a16:creationId xmlns:a16="http://schemas.microsoft.com/office/drawing/2014/main" id="{3C4CD1B5-8DDE-004D-8CD0-5F43277BB0BE}"/>
              </a:ext>
            </a:extLst>
          </p:cNvPr>
          <p:cNvGrpSpPr/>
          <p:nvPr>
            <p:custDataLst>
              <p:tags r:id="rId46"/>
            </p:custDataLst>
          </p:nvPr>
        </p:nvGrpSpPr>
        <p:grpSpPr>
          <a:xfrm>
            <a:off x="3413889" y="3748271"/>
            <a:ext cx="244096" cy="244096"/>
            <a:chOff x="-763325" y="1701579"/>
            <a:chExt cx="349858" cy="349858"/>
          </a:xfrm>
        </p:grpSpPr>
        <p:sp>
          <p:nvSpPr>
            <p:cNvPr id="350" name="Oval 349">
              <a:extLst>
                <a:ext uri="{FF2B5EF4-FFF2-40B4-BE49-F238E27FC236}">
                  <a16:creationId xmlns:a16="http://schemas.microsoft.com/office/drawing/2014/main" id="{6320408C-1795-E344-A231-B7EA4FBBB3BA}"/>
                </a:ext>
              </a:extLst>
            </p:cNvPr>
            <p:cNvSpPr/>
            <p:nvPr>
              <p:custDataLst>
                <p:tags r:id="rId132"/>
              </p:custDataLst>
            </p:nvPr>
          </p:nvSpPr>
          <p:spPr>
            <a:xfrm>
              <a:off x="-763325" y="1701579"/>
              <a:ext cx="349858" cy="349858"/>
            </a:xfrm>
            <a:prstGeom prst="ellipse">
              <a:avLst/>
            </a:prstGeom>
            <a:solidFill>
              <a:srgbClr val="2C5967">
                <a:alpha val="42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1200" cap="none" spc="0" normalizeH="0" baseline="0" noProof="0" dirty="0">
                <a:ln>
                  <a:noFill/>
                </a:ln>
                <a:solidFill>
                  <a:srgbClr val="312D2A"/>
                </a:solidFill>
                <a:effectLst/>
                <a:uLnTx/>
                <a:uFillTx/>
                <a:latin typeface="Oracle Sans Tab"/>
                <a:ea typeface="+mn-ea"/>
                <a:cs typeface="+mn-cs"/>
              </a:endParaRPr>
            </a:p>
          </p:txBody>
        </p:sp>
        <p:sp>
          <p:nvSpPr>
            <p:cNvPr id="351" name="Oval 350">
              <a:extLst>
                <a:ext uri="{FF2B5EF4-FFF2-40B4-BE49-F238E27FC236}">
                  <a16:creationId xmlns:a16="http://schemas.microsoft.com/office/drawing/2014/main" id="{56A34182-0AE5-384C-8B95-BA5E2E4E4505}"/>
                </a:ext>
              </a:extLst>
            </p:cNvPr>
            <p:cNvSpPr/>
            <p:nvPr>
              <p:custDataLst>
                <p:tags r:id="rId133"/>
              </p:custDataLst>
            </p:nvPr>
          </p:nvSpPr>
          <p:spPr>
            <a:xfrm>
              <a:off x="-676936" y="1787968"/>
              <a:ext cx="177080" cy="177080"/>
            </a:xfrm>
            <a:prstGeom prst="ellipse">
              <a:avLst/>
            </a:prstGeom>
            <a:solidFill>
              <a:srgbClr val="2C596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1200" cap="none" spc="0" normalizeH="0" baseline="0" noProof="0" dirty="0">
                <a:ln>
                  <a:noFill/>
                </a:ln>
                <a:solidFill>
                  <a:srgbClr val="312D2A"/>
                </a:solidFill>
                <a:effectLst/>
                <a:uLnTx/>
                <a:uFillTx/>
                <a:latin typeface="Oracle Sans Tab"/>
                <a:ea typeface="+mn-ea"/>
                <a:cs typeface="+mn-cs"/>
              </a:endParaRPr>
            </a:p>
          </p:txBody>
        </p:sp>
      </p:grpSp>
      <p:grpSp>
        <p:nvGrpSpPr>
          <p:cNvPr id="352" name="Group 351">
            <a:extLst>
              <a:ext uri="{FF2B5EF4-FFF2-40B4-BE49-F238E27FC236}">
                <a16:creationId xmlns:a16="http://schemas.microsoft.com/office/drawing/2014/main" id="{61A675EA-D542-1446-B803-EF8FB771CDFC}"/>
              </a:ext>
            </a:extLst>
          </p:cNvPr>
          <p:cNvGrpSpPr/>
          <p:nvPr>
            <p:custDataLst>
              <p:tags r:id="rId47"/>
            </p:custDataLst>
          </p:nvPr>
        </p:nvGrpSpPr>
        <p:grpSpPr>
          <a:xfrm>
            <a:off x="2398348" y="3964127"/>
            <a:ext cx="244096" cy="244096"/>
            <a:chOff x="-763325" y="1701579"/>
            <a:chExt cx="349858" cy="349858"/>
          </a:xfrm>
        </p:grpSpPr>
        <p:sp>
          <p:nvSpPr>
            <p:cNvPr id="353" name="Oval 352">
              <a:extLst>
                <a:ext uri="{FF2B5EF4-FFF2-40B4-BE49-F238E27FC236}">
                  <a16:creationId xmlns:a16="http://schemas.microsoft.com/office/drawing/2014/main" id="{1F7E8FB1-E864-1447-AF6E-037726DC6159}"/>
                </a:ext>
              </a:extLst>
            </p:cNvPr>
            <p:cNvSpPr/>
            <p:nvPr>
              <p:custDataLst>
                <p:tags r:id="rId130"/>
              </p:custDataLst>
            </p:nvPr>
          </p:nvSpPr>
          <p:spPr>
            <a:xfrm>
              <a:off x="-763325" y="1701579"/>
              <a:ext cx="349858" cy="349858"/>
            </a:xfrm>
            <a:prstGeom prst="ellipse">
              <a:avLst/>
            </a:prstGeom>
            <a:solidFill>
              <a:srgbClr val="2C5967">
                <a:alpha val="42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1200" cap="none" spc="0" normalizeH="0" baseline="0" noProof="0" dirty="0">
                <a:ln>
                  <a:noFill/>
                </a:ln>
                <a:solidFill>
                  <a:srgbClr val="312D2A"/>
                </a:solidFill>
                <a:effectLst/>
                <a:uLnTx/>
                <a:uFillTx/>
                <a:latin typeface="Oracle Sans Tab"/>
                <a:ea typeface="+mn-ea"/>
                <a:cs typeface="+mn-cs"/>
              </a:endParaRPr>
            </a:p>
          </p:txBody>
        </p:sp>
        <p:sp>
          <p:nvSpPr>
            <p:cNvPr id="354" name="Oval 353">
              <a:extLst>
                <a:ext uri="{FF2B5EF4-FFF2-40B4-BE49-F238E27FC236}">
                  <a16:creationId xmlns:a16="http://schemas.microsoft.com/office/drawing/2014/main" id="{845B2D16-1784-4D41-9FAD-A66BCB0C8E6A}"/>
                </a:ext>
              </a:extLst>
            </p:cNvPr>
            <p:cNvSpPr/>
            <p:nvPr>
              <p:custDataLst>
                <p:tags r:id="rId131"/>
              </p:custDataLst>
            </p:nvPr>
          </p:nvSpPr>
          <p:spPr>
            <a:xfrm>
              <a:off x="-676936" y="1787968"/>
              <a:ext cx="177080" cy="177080"/>
            </a:xfrm>
            <a:prstGeom prst="ellipse">
              <a:avLst/>
            </a:prstGeom>
            <a:solidFill>
              <a:srgbClr val="2C596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1200" cap="none" spc="0" normalizeH="0" baseline="0" noProof="0" dirty="0">
                <a:ln>
                  <a:noFill/>
                </a:ln>
                <a:solidFill>
                  <a:srgbClr val="312D2A"/>
                </a:solidFill>
                <a:effectLst/>
                <a:uLnTx/>
                <a:uFillTx/>
                <a:latin typeface="Oracle Sans Tab"/>
                <a:ea typeface="+mn-ea"/>
                <a:cs typeface="+mn-cs"/>
              </a:endParaRPr>
            </a:p>
          </p:txBody>
        </p:sp>
      </p:grpSp>
      <p:sp>
        <p:nvSpPr>
          <p:cNvPr id="357" name="TextBox 356">
            <a:extLst>
              <a:ext uri="{FF2B5EF4-FFF2-40B4-BE49-F238E27FC236}">
                <a16:creationId xmlns:a16="http://schemas.microsoft.com/office/drawing/2014/main" id="{02878EB6-287C-FD4C-A336-F95ABBA5A1BB}"/>
              </a:ext>
            </a:extLst>
          </p:cNvPr>
          <p:cNvSpPr txBox="1"/>
          <p:nvPr>
            <p:custDataLst>
              <p:tags r:id="rId48"/>
            </p:custDataLst>
          </p:nvPr>
        </p:nvSpPr>
        <p:spPr>
          <a:xfrm>
            <a:off x="3709362" y="3817842"/>
            <a:ext cx="432134" cy="11021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srgbClr val="312D2A"/>
                </a:solidFill>
                <a:effectLst/>
                <a:uLnTx/>
                <a:uFillTx/>
                <a:latin typeface="Oracle Sans Semi Bold" panose="020B0503020204020204" pitchFamily="34" charset="0"/>
                <a:ea typeface="+mn-ea"/>
                <a:cs typeface="Oracle Sans Semi Bold" panose="020B0503020204020204" pitchFamily="34" charset="0"/>
              </a:rPr>
              <a:t>Bogotá</a:t>
            </a:r>
          </a:p>
        </p:txBody>
      </p:sp>
      <p:sp>
        <p:nvSpPr>
          <p:cNvPr id="359" name="TextBox 358">
            <a:extLst>
              <a:ext uri="{FF2B5EF4-FFF2-40B4-BE49-F238E27FC236}">
                <a16:creationId xmlns:a16="http://schemas.microsoft.com/office/drawing/2014/main" id="{BDDFDE36-ECEC-374B-9CCA-7117B49C5997}"/>
              </a:ext>
            </a:extLst>
          </p:cNvPr>
          <p:cNvSpPr txBox="1"/>
          <p:nvPr>
            <p:custDataLst>
              <p:tags r:id="rId49"/>
            </p:custDataLst>
          </p:nvPr>
        </p:nvSpPr>
        <p:spPr>
          <a:xfrm>
            <a:off x="2209575" y="4551511"/>
            <a:ext cx="630909" cy="10772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srgbClr val="172B4D"/>
                </a:solidFill>
                <a:effectLst/>
                <a:uLnTx/>
                <a:uFillTx/>
                <a:latin typeface="Oracle Sans Semi Bold" panose="020B0603020204020204" pitchFamily="34" charset="0"/>
                <a:ea typeface="+mn-ea"/>
                <a:cs typeface="Oracle Sans Semi Bold" panose="020B0603020204020204" pitchFamily="34" charset="0"/>
              </a:rPr>
              <a:t>Monterrey</a:t>
            </a:r>
          </a:p>
        </p:txBody>
      </p:sp>
      <p:cxnSp>
        <p:nvCxnSpPr>
          <p:cNvPr id="363" name="Straight Connector 362">
            <a:extLst>
              <a:ext uri="{FF2B5EF4-FFF2-40B4-BE49-F238E27FC236}">
                <a16:creationId xmlns:a16="http://schemas.microsoft.com/office/drawing/2014/main" id="{F4B36B69-A467-0546-9F78-3016B3E02810}"/>
              </a:ext>
            </a:extLst>
          </p:cNvPr>
          <p:cNvCxnSpPr>
            <a:cxnSpLocks/>
            <a:stCxn id="354" idx="4"/>
            <a:endCxn id="359" idx="0"/>
          </p:cNvCxnSpPr>
          <p:nvPr>
            <p:custDataLst>
              <p:tags r:id="rId50"/>
            </p:custDataLst>
          </p:nvPr>
        </p:nvCxnSpPr>
        <p:spPr>
          <a:xfrm>
            <a:off x="2520397" y="4147950"/>
            <a:ext cx="4633" cy="403561"/>
          </a:xfrm>
          <a:prstGeom prst="line">
            <a:avLst/>
          </a:prstGeom>
          <a:ln>
            <a:solidFill>
              <a:srgbClr val="2C596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5" name="Straight Connector 364">
            <a:extLst>
              <a:ext uri="{FF2B5EF4-FFF2-40B4-BE49-F238E27FC236}">
                <a16:creationId xmlns:a16="http://schemas.microsoft.com/office/drawing/2014/main" id="{E9CFFAB8-3285-7041-BEFF-5C7541AA3305}"/>
              </a:ext>
            </a:extLst>
          </p:cNvPr>
          <p:cNvCxnSpPr>
            <a:cxnSpLocks/>
            <a:stCxn id="351" idx="6"/>
            <a:endCxn id="357" idx="1"/>
          </p:cNvCxnSpPr>
          <p:nvPr>
            <p:custDataLst>
              <p:tags r:id="rId51"/>
            </p:custDataLst>
          </p:nvPr>
        </p:nvCxnSpPr>
        <p:spPr>
          <a:xfrm>
            <a:off x="3597712" y="3870320"/>
            <a:ext cx="111650" cy="2630"/>
          </a:xfrm>
          <a:prstGeom prst="line">
            <a:avLst/>
          </a:prstGeom>
          <a:ln>
            <a:solidFill>
              <a:srgbClr val="2C596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7" name="Rounded Rectangle 366">
            <a:extLst>
              <a:ext uri="{FF2B5EF4-FFF2-40B4-BE49-F238E27FC236}">
                <a16:creationId xmlns:a16="http://schemas.microsoft.com/office/drawing/2014/main" id="{F6A69A0B-968B-154A-9248-977542B59856}"/>
              </a:ext>
            </a:extLst>
          </p:cNvPr>
          <p:cNvSpPr>
            <a:spLocks noChangeAspect="1"/>
          </p:cNvSpPr>
          <p:nvPr>
            <p:custDataLst>
              <p:tags r:id="rId52"/>
            </p:custDataLst>
          </p:nvPr>
        </p:nvSpPr>
        <p:spPr>
          <a:xfrm>
            <a:off x="8356885" y="3769386"/>
            <a:ext cx="65914" cy="65914"/>
          </a:xfrm>
          <a:prstGeom prst="roundRect">
            <a:avLst>
              <a:gd name="adj" fmla="val 10205"/>
            </a:avLst>
          </a:prstGeom>
          <a:solidFill>
            <a:schemeClr val="accent1"/>
          </a:solidFill>
          <a:ln w="9525" cap="flat">
            <a:noFill/>
            <a:prstDash val="solid"/>
            <a:miter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312D2A"/>
                </a:solidFill>
                <a:effectLst/>
                <a:uLnTx/>
                <a:uFillTx/>
                <a:latin typeface="Oracle Sans Tab"/>
                <a:ea typeface="+mn-ea"/>
                <a:cs typeface="+mn-cs"/>
              </a:rPr>
              <a:t>   </a:t>
            </a:r>
          </a:p>
        </p:txBody>
      </p:sp>
      <p:sp>
        <p:nvSpPr>
          <p:cNvPr id="368" name="Rounded Rectangle 367">
            <a:extLst>
              <a:ext uri="{FF2B5EF4-FFF2-40B4-BE49-F238E27FC236}">
                <a16:creationId xmlns:a16="http://schemas.microsoft.com/office/drawing/2014/main" id="{F1272541-7286-1140-B242-9787044FCECC}"/>
              </a:ext>
            </a:extLst>
          </p:cNvPr>
          <p:cNvSpPr>
            <a:spLocks noChangeAspect="1"/>
          </p:cNvSpPr>
          <p:nvPr>
            <p:custDataLst>
              <p:tags r:id="rId53"/>
            </p:custDataLst>
          </p:nvPr>
        </p:nvSpPr>
        <p:spPr>
          <a:xfrm>
            <a:off x="6173576" y="2989671"/>
            <a:ext cx="65914" cy="65914"/>
          </a:xfrm>
          <a:prstGeom prst="roundRect">
            <a:avLst>
              <a:gd name="adj" fmla="val 10205"/>
            </a:avLst>
          </a:prstGeom>
          <a:solidFill>
            <a:schemeClr val="accent1"/>
          </a:solidFill>
          <a:ln w="9525" cap="flat">
            <a:noFill/>
            <a:prstDash val="solid"/>
            <a:miter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312D2A"/>
                </a:solidFill>
                <a:effectLst/>
                <a:uLnTx/>
                <a:uFillTx/>
                <a:latin typeface="Oracle Sans Tab"/>
                <a:ea typeface="+mn-ea"/>
                <a:cs typeface="+mn-cs"/>
              </a:rPr>
              <a:t>   </a:t>
            </a:r>
          </a:p>
        </p:txBody>
      </p:sp>
      <p:sp>
        <p:nvSpPr>
          <p:cNvPr id="370" name="Rounded Rectangle 369">
            <a:extLst>
              <a:ext uri="{FF2B5EF4-FFF2-40B4-BE49-F238E27FC236}">
                <a16:creationId xmlns:a16="http://schemas.microsoft.com/office/drawing/2014/main" id="{B434EB30-88DD-0144-BE25-9F61EEAE7880}"/>
              </a:ext>
            </a:extLst>
          </p:cNvPr>
          <p:cNvSpPr>
            <a:spLocks noChangeAspect="1"/>
          </p:cNvSpPr>
          <p:nvPr>
            <p:custDataLst>
              <p:tags r:id="rId54"/>
            </p:custDataLst>
          </p:nvPr>
        </p:nvSpPr>
        <p:spPr>
          <a:xfrm>
            <a:off x="7452973" y="3212252"/>
            <a:ext cx="65914" cy="65914"/>
          </a:xfrm>
          <a:prstGeom prst="roundRect">
            <a:avLst>
              <a:gd name="adj" fmla="val 10205"/>
            </a:avLst>
          </a:prstGeom>
          <a:solidFill>
            <a:schemeClr val="accent1"/>
          </a:solidFill>
          <a:ln w="9525" cap="flat">
            <a:noFill/>
            <a:prstDash val="solid"/>
            <a:miter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312D2A"/>
                </a:solidFill>
                <a:effectLst/>
                <a:uLnTx/>
                <a:uFillTx/>
                <a:latin typeface="Oracle Sans Tab"/>
                <a:ea typeface="+mn-ea"/>
                <a:cs typeface="+mn-cs"/>
              </a:rPr>
              <a:t>   </a:t>
            </a:r>
          </a:p>
        </p:txBody>
      </p:sp>
      <p:sp>
        <p:nvSpPr>
          <p:cNvPr id="369" name="Rounded Rectangle 368">
            <a:extLst>
              <a:ext uri="{FF2B5EF4-FFF2-40B4-BE49-F238E27FC236}">
                <a16:creationId xmlns:a16="http://schemas.microsoft.com/office/drawing/2014/main" id="{792F2172-982C-2F43-9B14-DA54786095E5}"/>
              </a:ext>
            </a:extLst>
          </p:cNvPr>
          <p:cNvSpPr>
            <a:spLocks noChangeAspect="1"/>
          </p:cNvSpPr>
          <p:nvPr>
            <p:custDataLst>
              <p:tags r:id="rId55"/>
            </p:custDataLst>
          </p:nvPr>
        </p:nvSpPr>
        <p:spPr>
          <a:xfrm>
            <a:off x="6002457" y="2700080"/>
            <a:ext cx="65914" cy="65914"/>
          </a:xfrm>
          <a:prstGeom prst="roundRect">
            <a:avLst>
              <a:gd name="adj" fmla="val 10205"/>
            </a:avLst>
          </a:prstGeom>
          <a:solidFill>
            <a:schemeClr val="accent1"/>
          </a:solidFill>
          <a:ln w="9525" cap="flat">
            <a:noFill/>
            <a:prstDash val="solid"/>
            <a:miter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312D2A"/>
                </a:solidFill>
                <a:effectLst/>
                <a:uLnTx/>
                <a:uFillTx/>
                <a:latin typeface="Oracle Sans Tab"/>
                <a:ea typeface="+mn-ea"/>
                <a:cs typeface="+mn-cs"/>
              </a:rPr>
              <a:t>   </a:t>
            </a:r>
          </a:p>
        </p:txBody>
      </p:sp>
      <p:sp>
        <p:nvSpPr>
          <p:cNvPr id="372" name="Rounded Rectangle 371">
            <a:extLst>
              <a:ext uri="{FF2B5EF4-FFF2-40B4-BE49-F238E27FC236}">
                <a16:creationId xmlns:a16="http://schemas.microsoft.com/office/drawing/2014/main" id="{D688775C-9D70-FD46-872C-18F06A02AC8A}"/>
              </a:ext>
            </a:extLst>
          </p:cNvPr>
          <p:cNvSpPr>
            <a:spLocks noChangeAspect="1"/>
          </p:cNvSpPr>
          <p:nvPr>
            <p:custDataLst>
              <p:tags r:id="rId56"/>
            </p:custDataLst>
          </p:nvPr>
        </p:nvSpPr>
        <p:spPr>
          <a:xfrm>
            <a:off x="6178658" y="1328239"/>
            <a:ext cx="65914" cy="65914"/>
          </a:xfrm>
          <a:prstGeom prst="roundRect">
            <a:avLst>
              <a:gd name="adj" fmla="val 10205"/>
            </a:avLst>
          </a:prstGeom>
          <a:solidFill>
            <a:schemeClr val="accent1"/>
          </a:solidFill>
          <a:ln w="9525" cap="flat">
            <a:noFill/>
            <a:prstDash val="solid"/>
            <a:miter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312D2A"/>
                </a:solidFill>
                <a:effectLst/>
                <a:uLnTx/>
                <a:uFillTx/>
                <a:latin typeface="Oracle Sans Tab"/>
                <a:ea typeface="+mn-ea"/>
                <a:cs typeface="+mn-cs"/>
              </a:rPr>
              <a:t>   </a:t>
            </a:r>
          </a:p>
        </p:txBody>
      </p:sp>
      <p:pic>
        <p:nvPicPr>
          <p:cNvPr id="373" name="Graphic 372">
            <a:extLst>
              <a:ext uri="{FF2B5EF4-FFF2-40B4-BE49-F238E27FC236}">
                <a16:creationId xmlns:a16="http://schemas.microsoft.com/office/drawing/2014/main" id="{F4019AA1-58B1-0242-B510-B1B8125D8575}"/>
              </a:ext>
            </a:extLst>
          </p:cNvPr>
          <p:cNvPicPr>
            <a:picLocks noChangeAspect="1"/>
          </p:cNvPicPr>
          <p:nvPr>
            <p:custDataLst>
              <p:tags r:id="rId57"/>
            </p:custDataLst>
          </p:nvPr>
        </p:nvPicPr>
        <p:blipFill>
          <a:blip r:embed="rId400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401"/>
              </a:ext>
            </a:extLst>
          </a:blip>
          <a:srcRect l="18105" t="74641" r="15135" b="15469"/>
          <a:stretch>
            <a:fillRect/>
          </a:stretch>
        </p:blipFill>
        <p:spPr>
          <a:xfrm>
            <a:off x="2289070" y="3424467"/>
            <a:ext cx="91416" cy="84650"/>
          </a:xfrm>
          <a:prstGeom prst="rect">
            <a:avLst/>
          </a:prstGeom>
        </p:spPr>
      </p:pic>
      <p:pic>
        <p:nvPicPr>
          <p:cNvPr id="375" name="Graphic 374">
            <a:extLst>
              <a:ext uri="{FF2B5EF4-FFF2-40B4-BE49-F238E27FC236}">
                <a16:creationId xmlns:a16="http://schemas.microsoft.com/office/drawing/2014/main" id="{86B8FA8A-9CD8-EA48-9AD2-385C47992CFE}"/>
              </a:ext>
            </a:extLst>
          </p:cNvPr>
          <p:cNvPicPr>
            <a:picLocks noChangeAspect="1"/>
          </p:cNvPicPr>
          <p:nvPr>
            <p:custDataLst>
              <p:tags r:id="rId58"/>
            </p:custDataLst>
          </p:nvPr>
        </p:nvPicPr>
        <p:blipFill>
          <a:blip r:embed="rId400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401"/>
              </a:ext>
            </a:extLst>
          </a:blip>
          <a:srcRect l="18105" t="74641" r="15135" b="15469"/>
          <a:stretch>
            <a:fillRect/>
          </a:stretch>
        </p:blipFill>
        <p:spPr>
          <a:xfrm>
            <a:off x="9446210" y="3355639"/>
            <a:ext cx="91416" cy="84650"/>
          </a:xfrm>
          <a:prstGeom prst="rect">
            <a:avLst/>
          </a:prstGeom>
        </p:spPr>
      </p:pic>
      <p:sp>
        <p:nvSpPr>
          <p:cNvPr id="376" name="Rounded Rectangle 375">
            <a:extLst>
              <a:ext uri="{FF2B5EF4-FFF2-40B4-BE49-F238E27FC236}">
                <a16:creationId xmlns:a16="http://schemas.microsoft.com/office/drawing/2014/main" id="{33325B1A-24AB-6148-BDDC-6D98D440956A}"/>
              </a:ext>
            </a:extLst>
          </p:cNvPr>
          <p:cNvSpPr>
            <a:spLocks noChangeAspect="1"/>
          </p:cNvSpPr>
          <p:nvPr>
            <p:custDataLst>
              <p:tags r:id="rId59"/>
            </p:custDataLst>
          </p:nvPr>
        </p:nvSpPr>
        <p:spPr>
          <a:xfrm>
            <a:off x="6528839" y="4261136"/>
            <a:ext cx="65914" cy="65914"/>
          </a:xfrm>
          <a:prstGeom prst="roundRect">
            <a:avLst>
              <a:gd name="adj" fmla="val 10205"/>
            </a:avLst>
          </a:prstGeom>
          <a:solidFill>
            <a:schemeClr val="accent1"/>
          </a:solidFill>
          <a:ln w="9525" cap="flat">
            <a:noFill/>
            <a:prstDash val="solid"/>
            <a:miter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312D2A"/>
                </a:solidFill>
                <a:effectLst/>
                <a:uLnTx/>
                <a:uFillTx/>
                <a:latin typeface="Oracle Sans Tab"/>
                <a:ea typeface="+mn-ea"/>
                <a:cs typeface="+mn-cs"/>
              </a:rPr>
              <a:t>   </a:t>
            </a:r>
          </a:p>
        </p:txBody>
      </p:sp>
      <p:pic>
        <p:nvPicPr>
          <p:cNvPr id="389" name="Graphic 388">
            <a:extLst>
              <a:ext uri="{FF2B5EF4-FFF2-40B4-BE49-F238E27FC236}">
                <a16:creationId xmlns:a16="http://schemas.microsoft.com/office/drawing/2014/main" id="{0143AEF0-7957-4F4F-B0A7-57F8B65A93FA}"/>
              </a:ext>
            </a:extLst>
          </p:cNvPr>
          <p:cNvPicPr>
            <a:picLocks noChangeAspect="1"/>
          </p:cNvPicPr>
          <p:nvPr>
            <p:custDataLst>
              <p:tags r:id="rId60"/>
            </p:custDataLst>
          </p:nvPr>
        </p:nvPicPr>
        <p:blipFill>
          <a:blip r:embed="rId400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401"/>
              </a:ext>
            </a:extLst>
          </a:blip>
          <a:srcRect l="18105" t="74641" r="15135" b="15469"/>
          <a:stretch>
            <a:fillRect/>
          </a:stretch>
        </p:blipFill>
        <p:spPr>
          <a:xfrm>
            <a:off x="8421183" y="3763996"/>
            <a:ext cx="91416" cy="84650"/>
          </a:xfrm>
          <a:prstGeom prst="rect">
            <a:avLst/>
          </a:prstGeom>
        </p:spPr>
      </p:pic>
      <p:sp>
        <p:nvSpPr>
          <p:cNvPr id="390" name="Rounded Rectangle 257">
            <a:extLst>
              <a:ext uri="{FF2B5EF4-FFF2-40B4-BE49-F238E27FC236}">
                <a16:creationId xmlns:a16="http://schemas.microsoft.com/office/drawing/2014/main" id="{B78203F9-B289-4820-A02C-8F4D6F0CE49B}"/>
              </a:ext>
            </a:extLst>
          </p:cNvPr>
          <p:cNvSpPr>
            <a:spLocks noChangeAspect="1"/>
          </p:cNvSpPr>
          <p:nvPr>
            <p:custDataLst>
              <p:tags r:id="rId61"/>
            </p:custDataLst>
          </p:nvPr>
        </p:nvSpPr>
        <p:spPr>
          <a:xfrm>
            <a:off x="5641979" y="3002607"/>
            <a:ext cx="65914" cy="65914"/>
          </a:xfrm>
          <a:prstGeom prst="roundRect">
            <a:avLst>
              <a:gd name="adj" fmla="val 10205"/>
            </a:avLst>
          </a:prstGeom>
          <a:solidFill>
            <a:schemeClr val="accent1"/>
          </a:solidFill>
          <a:ln w="9525" cap="flat">
            <a:noFill/>
            <a:prstDash val="solid"/>
            <a:miter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312D2A"/>
                </a:solidFill>
                <a:effectLst/>
                <a:uLnTx/>
                <a:uFillTx/>
                <a:latin typeface="Oracle Sans Tab"/>
                <a:ea typeface="+mn-ea"/>
                <a:cs typeface="+mn-cs"/>
              </a:rPr>
              <a:t>   </a:t>
            </a:r>
          </a:p>
        </p:txBody>
      </p:sp>
      <p:sp>
        <p:nvSpPr>
          <p:cNvPr id="8" name="Rounded Rectangle 257">
            <a:extLst>
              <a:ext uri="{FF2B5EF4-FFF2-40B4-BE49-F238E27FC236}">
                <a16:creationId xmlns:a16="http://schemas.microsoft.com/office/drawing/2014/main" id="{2CDE0632-B740-CC70-C7E7-D7273A150E2B}"/>
              </a:ext>
            </a:extLst>
          </p:cNvPr>
          <p:cNvSpPr>
            <a:spLocks noChangeAspect="1"/>
          </p:cNvSpPr>
          <p:nvPr>
            <p:custDataLst>
              <p:tags r:id="rId62"/>
            </p:custDataLst>
          </p:nvPr>
        </p:nvSpPr>
        <p:spPr>
          <a:xfrm>
            <a:off x="5000342" y="2491927"/>
            <a:ext cx="65914" cy="65914"/>
          </a:xfrm>
          <a:prstGeom prst="roundRect">
            <a:avLst>
              <a:gd name="adj" fmla="val 10205"/>
            </a:avLst>
          </a:prstGeom>
          <a:solidFill>
            <a:schemeClr val="accent1"/>
          </a:solidFill>
          <a:ln w="9525" cap="flat">
            <a:noFill/>
            <a:prstDash val="solid"/>
            <a:miter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312D2A"/>
                </a:solidFill>
                <a:effectLst/>
                <a:uLnTx/>
                <a:uFillTx/>
                <a:latin typeface="Oracle Sans Tab"/>
                <a:ea typeface="+mn-ea"/>
                <a:cs typeface="+mn-cs"/>
              </a:rPr>
              <a:t>   </a:t>
            </a:r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5CB8D61A-7C38-743F-626D-EC8242186E40}"/>
              </a:ext>
            </a:extLst>
          </p:cNvPr>
          <p:cNvPicPr>
            <a:picLocks noChangeAspect="1"/>
          </p:cNvPicPr>
          <p:nvPr>
            <p:custDataLst>
              <p:tags r:id="rId63"/>
            </p:custDataLst>
          </p:nvPr>
        </p:nvPicPr>
        <p:blipFill>
          <a:blip r:embed="rId400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402"/>
              </a:ext>
            </a:extLst>
          </a:blip>
          <a:srcRect l="18105" t="74641" r="15135" b="15469"/>
          <a:stretch>
            <a:fillRect/>
          </a:stretch>
        </p:blipFill>
        <p:spPr>
          <a:xfrm>
            <a:off x="6607062" y="4254792"/>
            <a:ext cx="93234" cy="86332"/>
          </a:xfrm>
          <a:prstGeom prst="rect">
            <a:avLst/>
          </a:prstGeom>
        </p:spPr>
      </p:pic>
      <p:sp>
        <p:nvSpPr>
          <p:cNvPr id="515" name="Rounded Rectangle 514">
            <a:extLst>
              <a:ext uri="{FF2B5EF4-FFF2-40B4-BE49-F238E27FC236}">
                <a16:creationId xmlns:a16="http://schemas.microsoft.com/office/drawing/2014/main" id="{15E51641-2C31-8899-A8FA-380068835713}"/>
              </a:ext>
            </a:extLst>
          </p:cNvPr>
          <p:cNvSpPr>
            <a:spLocks noChangeAspect="1"/>
          </p:cNvSpPr>
          <p:nvPr>
            <p:custDataLst>
              <p:tags r:id="rId64"/>
            </p:custDataLst>
          </p:nvPr>
        </p:nvSpPr>
        <p:spPr>
          <a:xfrm>
            <a:off x="9117043" y="6040101"/>
            <a:ext cx="132459" cy="132460"/>
          </a:xfrm>
          <a:prstGeom prst="roundRect">
            <a:avLst>
              <a:gd name="adj" fmla="val 10205"/>
            </a:avLst>
          </a:prstGeom>
          <a:solidFill>
            <a:schemeClr val="accent2">
              <a:lumMod val="75000"/>
            </a:schemeClr>
          </a:solidFill>
          <a:ln w="19050"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312D2A"/>
                </a:solidFill>
                <a:effectLst/>
                <a:uLnTx/>
                <a:uFillTx/>
                <a:latin typeface="Oracle Sans Tab"/>
                <a:ea typeface="+mn-ea"/>
                <a:cs typeface="+mn-cs"/>
              </a:rPr>
              <a:t>   </a:t>
            </a:r>
          </a:p>
        </p:txBody>
      </p:sp>
      <p:sp>
        <p:nvSpPr>
          <p:cNvPr id="516" name="TextBox 515">
            <a:extLst>
              <a:ext uri="{FF2B5EF4-FFF2-40B4-BE49-F238E27FC236}">
                <a16:creationId xmlns:a16="http://schemas.microsoft.com/office/drawing/2014/main" id="{383DFCAB-1A30-2073-80BC-6970A4E60901}"/>
              </a:ext>
            </a:extLst>
          </p:cNvPr>
          <p:cNvSpPr txBox="1"/>
          <p:nvPr>
            <p:custDataLst>
              <p:tags r:id="rId65"/>
            </p:custDataLst>
          </p:nvPr>
        </p:nvSpPr>
        <p:spPr>
          <a:xfrm>
            <a:off x="9342957" y="6042254"/>
            <a:ext cx="1492006" cy="13846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126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312D2A"/>
                </a:solidFill>
                <a:effectLst/>
                <a:uLnTx/>
                <a:uFillTx/>
                <a:latin typeface="Oracle Sans Semi Bold" panose="020B0503020204020204" pitchFamily="34" charset="0"/>
                <a:ea typeface="+mn-ea"/>
                <a:cs typeface="Oracle Sans Semi Bold" panose="020B0503020204020204" pitchFamily="34" charset="0"/>
              </a:rPr>
              <a:t>Sovereign</a:t>
            </a:r>
          </a:p>
        </p:txBody>
      </p:sp>
      <p:sp>
        <p:nvSpPr>
          <p:cNvPr id="552" name="Rounded Rectangle 551">
            <a:extLst>
              <a:ext uri="{FF2B5EF4-FFF2-40B4-BE49-F238E27FC236}">
                <a16:creationId xmlns:a16="http://schemas.microsoft.com/office/drawing/2014/main" id="{77F72CD3-90D4-EFBE-09D2-86BD63EDC573}"/>
              </a:ext>
            </a:extLst>
          </p:cNvPr>
          <p:cNvSpPr>
            <a:spLocks noChangeAspect="1"/>
          </p:cNvSpPr>
          <p:nvPr>
            <p:custDataLst>
              <p:tags r:id="rId66"/>
            </p:custDataLst>
          </p:nvPr>
        </p:nvSpPr>
        <p:spPr>
          <a:xfrm>
            <a:off x="5086382" y="2491927"/>
            <a:ext cx="65914" cy="65914"/>
          </a:xfrm>
          <a:prstGeom prst="roundRect">
            <a:avLst>
              <a:gd name="adj" fmla="val 10205"/>
            </a:avLst>
          </a:prstGeom>
          <a:solidFill>
            <a:schemeClr val="accent2">
              <a:lumMod val="75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312D2A"/>
                </a:solidFill>
                <a:effectLst/>
                <a:uLnTx/>
                <a:uFillTx/>
                <a:latin typeface="Oracle Sans Tab"/>
                <a:ea typeface="+mn-ea"/>
                <a:cs typeface="+mn-cs"/>
              </a:rPr>
              <a:t>   </a:t>
            </a:r>
          </a:p>
        </p:txBody>
      </p:sp>
      <p:grpSp>
        <p:nvGrpSpPr>
          <p:cNvPr id="561" name="Group 560">
            <a:extLst>
              <a:ext uri="{FF2B5EF4-FFF2-40B4-BE49-F238E27FC236}">
                <a16:creationId xmlns:a16="http://schemas.microsoft.com/office/drawing/2014/main" id="{5BEB7DE5-A074-81A9-E2AE-0D6C20D1CED7}"/>
              </a:ext>
            </a:extLst>
          </p:cNvPr>
          <p:cNvGrpSpPr/>
          <p:nvPr>
            <p:custDataLst>
              <p:tags r:id="rId67"/>
            </p:custDataLst>
          </p:nvPr>
        </p:nvGrpSpPr>
        <p:grpSpPr>
          <a:xfrm>
            <a:off x="2654970" y="3863751"/>
            <a:ext cx="244096" cy="244096"/>
            <a:chOff x="-763325" y="1701579"/>
            <a:chExt cx="349858" cy="349858"/>
          </a:xfrm>
        </p:grpSpPr>
        <p:sp>
          <p:nvSpPr>
            <p:cNvPr id="564" name="Oval 563">
              <a:extLst>
                <a:ext uri="{FF2B5EF4-FFF2-40B4-BE49-F238E27FC236}">
                  <a16:creationId xmlns:a16="http://schemas.microsoft.com/office/drawing/2014/main" id="{E095906B-1E41-0413-8469-A5FF5F3C1A66}"/>
                </a:ext>
              </a:extLst>
            </p:cNvPr>
            <p:cNvSpPr/>
            <p:nvPr>
              <p:custDataLst>
                <p:tags r:id="rId128"/>
              </p:custDataLst>
            </p:nvPr>
          </p:nvSpPr>
          <p:spPr>
            <a:xfrm>
              <a:off x="-763325" y="1701579"/>
              <a:ext cx="349858" cy="349858"/>
            </a:xfrm>
            <a:prstGeom prst="ellipse">
              <a:avLst/>
            </a:prstGeom>
            <a:solidFill>
              <a:srgbClr val="2C5967">
                <a:alpha val="42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1200" cap="none" spc="0" normalizeH="0" baseline="0" noProof="0" dirty="0">
                <a:ln>
                  <a:noFill/>
                </a:ln>
                <a:solidFill>
                  <a:srgbClr val="312D2A"/>
                </a:solidFill>
                <a:effectLst/>
                <a:uLnTx/>
                <a:uFillTx/>
                <a:latin typeface="Oracle Sans Tab"/>
                <a:ea typeface="+mn-ea"/>
                <a:cs typeface="+mn-cs"/>
              </a:endParaRPr>
            </a:p>
          </p:txBody>
        </p:sp>
        <p:sp>
          <p:nvSpPr>
            <p:cNvPr id="565" name="Oval 564">
              <a:extLst>
                <a:ext uri="{FF2B5EF4-FFF2-40B4-BE49-F238E27FC236}">
                  <a16:creationId xmlns:a16="http://schemas.microsoft.com/office/drawing/2014/main" id="{042B269B-CA77-6B41-C484-BFF8E41B5BBF}"/>
                </a:ext>
              </a:extLst>
            </p:cNvPr>
            <p:cNvSpPr/>
            <p:nvPr>
              <p:custDataLst>
                <p:tags r:id="rId129"/>
              </p:custDataLst>
            </p:nvPr>
          </p:nvSpPr>
          <p:spPr>
            <a:xfrm>
              <a:off x="-676936" y="1787968"/>
              <a:ext cx="177080" cy="177080"/>
            </a:xfrm>
            <a:prstGeom prst="ellipse">
              <a:avLst/>
            </a:prstGeom>
            <a:solidFill>
              <a:srgbClr val="2C596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1200" cap="none" spc="0" normalizeH="0" baseline="0" noProof="0" dirty="0">
                <a:ln>
                  <a:noFill/>
                </a:ln>
                <a:solidFill>
                  <a:srgbClr val="312D2A"/>
                </a:solidFill>
                <a:effectLst/>
                <a:uLnTx/>
                <a:uFillTx/>
                <a:latin typeface="Oracle Sans Tab"/>
                <a:ea typeface="+mn-ea"/>
                <a:cs typeface="+mn-cs"/>
              </a:endParaRPr>
            </a:p>
          </p:txBody>
        </p:sp>
      </p:grpSp>
      <p:sp>
        <p:nvSpPr>
          <p:cNvPr id="568" name="TextBox 567">
            <a:extLst>
              <a:ext uri="{FF2B5EF4-FFF2-40B4-BE49-F238E27FC236}">
                <a16:creationId xmlns:a16="http://schemas.microsoft.com/office/drawing/2014/main" id="{C3FEECE0-30B2-5648-690D-54EBDB5EF027}"/>
              </a:ext>
            </a:extLst>
          </p:cNvPr>
          <p:cNvSpPr txBox="1"/>
          <p:nvPr>
            <p:custDataLst>
              <p:tags r:id="rId68"/>
            </p:custDataLst>
          </p:nvPr>
        </p:nvSpPr>
        <p:spPr>
          <a:xfrm>
            <a:off x="2544963" y="4303815"/>
            <a:ext cx="480061" cy="10772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srgbClr val="172B4D"/>
                </a:solidFill>
                <a:effectLst/>
                <a:uLnTx/>
                <a:uFillTx/>
                <a:latin typeface="Oracle Sans Semi Bold" panose="020B0603020204020204" pitchFamily="34" charset="0"/>
                <a:ea typeface="+mn-ea"/>
                <a:cs typeface="Oracle Sans Semi Bold" panose="020B0603020204020204" pitchFamily="34" charset="0"/>
              </a:rPr>
              <a:t>Queretaro</a:t>
            </a:r>
            <a:endParaRPr kumimoji="0" lang="en-US" sz="700" b="0" i="0" u="none" strike="noStrike" kern="1200" cap="none" spc="0" normalizeH="0" baseline="0" noProof="0" dirty="0">
              <a:ln>
                <a:noFill/>
              </a:ln>
              <a:solidFill>
                <a:srgbClr val="312D2A"/>
              </a:solidFill>
              <a:effectLst/>
              <a:uLnTx/>
              <a:uFillTx/>
              <a:latin typeface="Oracle Sans Semi Bold" panose="020B0603020204020204" pitchFamily="34" charset="0"/>
              <a:ea typeface="+mn-ea"/>
              <a:cs typeface="Oracle Sans Semi Bold" panose="020B0603020204020204" pitchFamily="34" charset="0"/>
            </a:endParaRPr>
          </a:p>
        </p:txBody>
      </p:sp>
      <p:cxnSp>
        <p:nvCxnSpPr>
          <p:cNvPr id="569" name="Straight Connector 568">
            <a:extLst>
              <a:ext uri="{FF2B5EF4-FFF2-40B4-BE49-F238E27FC236}">
                <a16:creationId xmlns:a16="http://schemas.microsoft.com/office/drawing/2014/main" id="{A0F6D8EE-02C8-D650-9B7F-F5A2C9B66CA3}"/>
              </a:ext>
            </a:extLst>
          </p:cNvPr>
          <p:cNvCxnSpPr>
            <a:cxnSpLocks/>
            <a:stCxn id="565" idx="4"/>
            <a:endCxn id="568" idx="0"/>
          </p:cNvCxnSpPr>
          <p:nvPr>
            <p:custDataLst>
              <p:tags r:id="rId69"/>
            </p:custDataLst>
          </p:nvPr>
        </p:nvCxnSpPr>
        <p:spPr>
          <a:xfrm>
            <a:off x="2777019" y="4047574"/>
            <a:ext cx="7975" cy="256241"/>
          </a:xfrm>
          <a:prstGeom prst="line">
            <a:avLst/>
          </a:prstGeom>
          <a:ln>
            <a:solidFill>
              <a:srgbClr val="2C596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0" name="Rounded Rectangle 257">
            <a:extLst>
              <a:ext uri="{FF2B5EF4-FFF2-40B4-BE49-F238E27FC236}">
                <a16:creationId xmlns:a16="http://schemas.microsoft.com/office/drawing/2014/main" id="{F7FBA670-8412-24D8-3464-C0F68478D5E6}"/>
              </a:ext>
            </a:extLst>
          </p:cNvPr>
          <p:cNvSpPr>
            <a:spLocks noChangeAspect="1"/>
          </p:cNvSpPr>
          <p:nvPr>
            <p:custDataLst>
              <p:tags r:id="rId70"/>
            </p:custDataLst>
          </p:nvPr>
        </p:nvSpPr>
        <p:spPr>
          <a:xfrm>
            <a:off x="2752036" y="4416128"/>
            <a:ext cx="65914" cy="65914"/>
          </a:xfrm>
          <a:prstGeom prst="roundRect">
            <a:avLst>
              <a:gd name="adj" fmla="val 10205"/>
            </a:avLst>
          </a:prstGeom>
          <a:solidFill>
            <a:schemeClr val="accent1"/>
          </a:solidFill>
          <a:ln w="9525" cap="flat">
            <a:solidFill>
              <a:schemeClr val="accent1"/>
            </a:solidFill>
            <a:prstDash val="solid"/>
            <a:miter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312D2A"/>
                </a:solidFill>
                <a:effectLst/>
                <a:uLnTx/>
                <a:uFillTx/>
                <a:latin typeface="Oracle Sans Tab"/>
                <a:ea typeface="+mn-ea"/>
                <a:cs typeface="+mn-cs"/>
              </a:rPr>
              <a:t>   </a:t>
            </a:r>
          </a:p>
        </p:txBody>
      </p:sp>
      <p:sp>
        <p:nvSpPr>
          <p:cNvPr id="590" name="Rounded Rectangle 257">
            <a:extLst>
              <a:ext uri="{FF2B5EF4-FFF2-40B4-BE49-F238E27FC236}">
                <a16:creationId xmlns:a16="http://schemas.microsoft.com/office/drawing/2014/main" id="{385A1D40-990F-32E8-00CE-F731818F4458}"/>
              </a:ext>
            </a:extLst>
          </p:cNvPr>
          <p:cNvSpPr>
            <a:spLocks noChangeAspect="1"/>
          </p:cNvSpPr>
          <p:nvPr>
            <p:custDataLst>
              <p:tags r:id="rId71"/>
            </p:custDataLst>
          </p:nvPr>
        </p:nvSpPr>
        <p:spPr>
          <a:xfrm>
            <a:off x="2492547" y="4675907"/>
            <a:ext cx="65914" cy="65914"/>
          </a:xfrm>
          <a:prstGeom prst="roundRect">
            <a:avLst>
              <a:gd name="adj" fmla="val 10205"/>
            </a:avLst>
          </a:prstGeom>
          <a:solidFill>
            <a:schemeClr val="accent1"/>
          </a:solidFill>
          <a:ln w="9525" cap="flat">
            <a:noFill/>
            <a:prstDash val="solid"/>
            <a:miter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312D2A"/>
                </a:solidFill>
                <a:effectLst/>
                <a:uLnTx/>
                <a:uFillTx/>
                <a:latin typeface="Oracle Sans Tab"/>
                <a:ea typeface="+mn-ea"/>
                <a:cs typeface="+mn-cs"/>
              </a:rPr>
              <a:t>   </a:t>
            </a:r>
          </a:p>
        </p:txBody>
      </p:sp>
      <p:sp>
        <p:nvSpPr>
          <p:cNvPr id="591" name="Rounded Rectangle 590">
            <a:extLst>
              <a:ext uri="{FF2B5EF4-FFF2-40B4-BE49-F238E27FC236}">
                <a16:creationId xmlns:a16="http://schemas.microsoft.com/office/drawing/2014/main" id="{F1C96D74-38FC-683E-4D2B-25217900F262}"/>
              </a:ext>
            </a:extLst>
          </p:cNvPr>
          <p:cNvSpPr>
            <a:spLocks noChangeAspect="1"/>
          </p:cNvSpPr>
          <p:nvPr>
            <p:custDataLst>
              <p:tags r:id="rId72"/>
            </p:custDataLst>
          </p:nvPr>
        </p:nvSpPr>
        <p:spPr>
          <a:xfrm>
            <a:off x="5209542" y="4077359"/>
            <a:ext cx="65914" cy="65914"/>
          </a:xfrm>
          <a:prstGeom prst="roundRect">
            <a:avLst>
              <a:gd name="adj" fmla="val 10205"/>
            </a:avLst>
          </a:prstGeom>
          <a:solidFill>
            <a:schemeClr val="accent1"/>
          </a:solidFill>
          <a:ln w="9525" cap="flat">
            <a:noFill/>
            <a:prstDash val="solid"/>
            <a:miter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312D2A"/>
                </a:solidFill>
                <a:effectLst/>
                <a:uLnTx/>
                <a:uFillTx/>
                <a:latin typeface="Oracle Sans Tab"/>
                <a:ea typeface="+mn-ea"/>
                <a:cs typeface="+mn-cs"/>
              </a:rPr>
              <a:t>   </a:t>
            </a:r>
          </a:p>
        </p:txBody>
      </p:sp>
      <p:grpSp>
        <p:nvGrpSpPr>
          <p:cNvPr id="595" name="Group 594">
            <a:extLst>
              <a:ext uri="{FF2B5EF4-FFF2-40B4-BE49-F238E27FC236}">
                <a16:creationId xmlns:a16="http://schemas.microsoft.com/office/drawing/2014/main" id="{268C67AC-CD47-DE03-2B79-D5A1C21F2B7A}"/>
              </a:ext>
            </a:extLst>
          </p:cNvPr>
          <p:cNvGrpSpPr/>
          <p:nvPr>
            <p:custDataLst>
              <p:tags r:id="rId73"/>
            </p:custDataLst>
          </p:nvPr>
        </p:nvGrpSpPr>
        <p:grpSpPr>
          <a:xfrm>
            <a:off x="6274153" y="2201848"/>
            <a:ext cx="638884" cy="244097"/>
            <a:chOff x="5946488" y="2053093"/>
            <a:chExt cx="639049" cy="244160"/>
          </a:xfrm>
        </p:grpSpPr>
        <p:sp>
          <p:nvSpPr>
            <p:cNvPr id="598" name="TextBox 597">
              <a:extLst>
                <a:ext uri="{FF2B5EF4-FFF2-40B4-BE49-F238E27FC236}">
                  <a16:creationId xmlns:a16="http://schemas.microsoft.com/office/drawing/2014/main" id="{B6F9992E-FD2B-BB7B-2ABB-3AEF78493FF8}"/>
                </a:ext>
              </a:extLst>
            </p:cNvPr>
            <p:cNvSpPr txBox="1"/>
            <p:nvPr>
              <p:custDataLst>
                <p:tags r:id="rId121"/>
              </p:custDataLst>
            </p:nvPr>
          </p:nvSpPr>
          <p:spPr>
            <a:xfrm>
              <a:off x="6216291" y="2121252"/>
              <a:ext cx="369246" cy="10761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00" b="0" i="0" u="none" strike="noStrike" kern="1200" cap="none" spc="0" normalizeH="0" baseline="0" noProof="0" dirty="0">
                  <a:ln>
                    <a:noFill/>
                  </a:ln>
                  <a:solidFill>
                    <a:srgbClr val="312D2A"/>
                  </a:solidFill>
                  <a:effectLst/>
                  <a:uLnTx/>
                  <a:uFillTx/>
                  <a:latin typeface="Oracle Sans Semi Bold" panose="020B0503020204020204" pitchFamily="34" charset="0"/>
                  <a:ea typeface="+mn-ea"/>
                  <a:cs typeface="Oracle Sans Semi Bold" panose="020B0503020204020204" pitchFamily="34" charset="0"/>
                </a:rPr>
                <a:t>Serbia</a:t>
              </a:r>
            </a:p>
          </p:txBody>
        </p:sp>
        <p:grpSp>
          <p:nvGrpSpPr>
            <p:cNvPr id="599" name="Group 598">
              <a:extLst>
                <a:ext uri="{FF2B5EF4-FFF2-40B4-BE49-F238E27FC236}">
                  <a16:creationId xmlns:a16="http://schemas.microsoft.com/office/drawing/2014/main" id="{2B9CE262-3648-5AFA-D3DE-7D827593464F}"/>
                </a:ext>
              </a:extLst>
            </p:cNvPr>
            <p:cNvGrpSpPr/>
            <p:nvPr>
              <p:custDataLst>
                <p:tags r:id="rId122"/>
              </p:custDataLst>
            </p:nvPr>
          </p:nvGrpSpPr>
          <p:grpSpPr>
            <a:xfrm>
              <a:off x="5946488" y="2053093"/>
              <a:ext cx="269802" cy="244160"/>
              <a:chOff x="5946488" y="2053093"/>
              <a:chExt cx="269802" cy="244160"/>
            </a:xfrm>
          </p:grpSpPr>
          <p:grpSp>
            <p:nvGrpSpPr>
              <p:cNvPr id="603" name="Group 602">
                <a:extLst>
                  <a:ext uri="{FF2B5EF4-FFF2-40B4-BE49-F238E27FC236}">
                    <a16:creationId xmlns:a16="http://schemas.microsoft.com/office/drawing/2014/main" id="{AB335ADD-9757-6FB7-E857-702D6DE64D6E}"/>
                  </a:ext>
                </a:extLst>
              </p:cNvPr>
              <p:cNvGrpSpPr/>
              <p:nvPr>
                <p:custDataLst>
                  <p:tags r:id="rId124"/>
                </p:custDataLst>
              </p:nvPr>
            </p:nvGrpSpPr>
            <p:grpSpPr>
              <a:xfrm>
                <a:off x="5946488" y="2053093"/>
                <a:ext cx="244160" cy="244160"/>
                <a:chOff x="-763325" y="1701579"/>
                <a:chExt cx="349858" cy="349858"/>
              </a:xfrm>
            </p:grpSpPr>
            <p:sp>
              <p:nvSpPr>
                <p:cNvPr id="606" name="Oval 605">
                  <a:extLst>
                    <a:ext uri="{FF2B5EF4-FFF2-40B4-BE49-F238E27FC236}">
                      <a16:creationId xmlns:a16="http://schemas.microsoft.com/office/drawing/2014/main" id="{5C302D84-0078-92E7-E6EB-D8EBD16B8D5E}"/>
                    </a:ext>
                  </a:extLst>
                </p:cNvPr>
                <p:cNvSpPr/>
                <p:nvPr>
                  <p:custDataLst>
                    <p:tags r:id="rId126"/>
                  </p:custDataLst>
                </p:nvPr>
              </p:nvSpPr>
              <p:spPr>
                <a:xfrm>
                  <a:off x="-763325" y="1701579"/>
                  <a:ext cx="349858" cy="349858"/>
                </a:xfrm>
                <a:prstGeom prst="ellipse">
                  <a:avLst/>
                </a:prstGeom>
                <a:solidFill>
                  <a:srgbClr val="2C5967">
                    <a:alpha val="42000"/>
                  </a:srgb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799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12D2A"/>
                    </a:solidFill>
                    <a:effectLst/>
                    <a:uLnTx/>
                    <a:uFillTx/>
                    <a:latin typeface="Oracle Sans Tab"/>
                    <a:ea typeface="+mn-ea"/>
                    <a:cs typeface="+mn-cs"/>
                  </a:endParaRPr>
                </a:p>
              </p:txBody>
            </p:sp>
            <p:sp>
              <p:nvSpPr>
                <p:cNvPr id="607" name="Oval 606">
                  <a:extLst>
                    <a:ext uri="{FF2B5EF4-FFF2-40B4-BE49-F238E27FC236}">
                      <a16:creationId xmlns:a16="http://schemas.microsoft.com/office/drawing/2014/main" id="{7814D1C1-0635-3AD8-6B1F-0A080D06C3AE}"/>
                    </a:ext>
                  </a:extLst>
                </p:cNvPr>
                <p:cNvSpPr/>
                <p:nvPr>
                  <p:custDataLst>
                    <p:tags r:id="rId127"/>
                  </p:custDataLst>
                </p:nvPr>
              </p:nvSpPr>
              <p:spPr>
                <a:xfrm>
                  <a:off x="-676936" y="1787968"/>
                  <a:ext cx="177080" cy="177080"/>
                </a:xfrm>
                <a:prstGeom prst="ellipse">
                  <a:avLst/>
                </a:prstGeom>
                <a:solidFill>
                  <a:srgbClr val="2C5967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799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12D2A"/>
                    </a:solidFill>
                    <a:effectLst/>
                    <a:uLnTx/>
                    <a:uFillTx/>
                    <a:latin typeface="Oracle Sans Tab"/>
                    <a:ea typeface="+mn-ea"/>
                    <a:cs typeface="+mn-cs"/>
                  </a:endParaRPr>
                </a:p>
              </p:txBody>
            </p:sp>
          </p:grpSp>
          <p:cxnSp>
            <p:nvCxnSpPr>
              <p:cNvPr id="604" name="Straight Connector 603">
                <a:extLst>
                  <a:ext uri="{FF2B5EF4-FFF2-40B4-BE49-F238E27FC236}">
                    <a16:creationId xmlns:a16="http://schemas.microsoft.com/office/drawing/2014/main" id="{8B991A7D-3E24-F824-848E-BA78EB233BAB}"/>
                  </a:ext>
                </a:extLst>
              </p:cNvPr>
              <p:cNvCxnSpPr>
                <a:cxnSpLocks/>
                <a:stCxn id="607" idx="6"/>
                <a:endCxn id="598" idx="1"/>
              </p:cNvCxnSpPr>
              <p:nvPr>
                <p:custDataLst>
                  <p:tags r:id="rId125"/>
                </p:custDataLst>
              </p:nvPr>
            </p:nvCxnSpPr>
            <p:spPr>
              <a:xfrm flipV="1">
                <a:off x="6130358" y="2175059"/>
                <a:ext cx="85932" cy="114"/>
              </a:xfrm>
              <a:prstGeom prst="line">
                <a:avLst/>
              </a:prstGeom>
              <a:ln>
                <a:solidFill>
                  <a:srgbClr val="2C5967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602" name="Rounded Rectangle 601">
              <a:extLst>
                <a:ext uri="{FF2B5EF4-FFF2-40B4-BE49-F238E27FC236}">
                  <a16:creationId xmlns:a16="http://schemas.microsoft.com/office/drawing/2014/main" id="{972ADBC2-4368-5909-914A-9105C4E63A0F}"/>
                </a:ext>
              </a:extLst>
            </p:cNvPr>
            <p:cNvSpPr>
              <a:spLocks noChangeAspect="1"/>
            </p:cNvSpPr>
            <p:nvPr>
              <p:custDataLst>
                <p:tags r:id="rId123"/>
              </p:custDataLst>
            </p:nvPr>
          </p:nvSpPr>
          <p:spPr>
            <a:xfrm>
              <a:off x="6355342" y="2215295"/>
              <a:ext cx="65931" cy="65931"/>
            </a:xfrm>
            <a:prstGeom prst="roundRect">
              <a:avLst>
                <a:gd name="adj" fmla="val 10205"/>
              </a:avLst>
            </a:prstGeom>
            <a:solidFill>
              <a:schemeClr val="accent1"/>
            </a:solidFill>
            <a:ln w="9525" cap="flat">
              <a:solidFill>
                <a:schemeClr val="accent1"/>
              </a:solidFill>
              <a:prstDash val="solid"/>
              <a:miter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312D2A"/>
                  </a:solidFill>
                  <a:effectLst/>
                  <a:uLnTx/>
                  <a:uFillTx/>
                  <a:latin typeface="Oracle Sans Tab"/>
                  <a:ea typeface="+mn-ea"/>
                  <a:cs typeface="+mn-cs"/>
                </a:rPr>
                <a:t>   </a:t>
              </a:r>
            </a:p>
          </p:txBody>
        </p:sp>
      </p:grpSp>
      <p:sp>
        <p:nvSpPr>
          <p:cNvPr id="308" name="TextBox 307">
            <a:extLst>
              <a:ext uri="{FF2B5EF4-FFF2-40B4-BE49-F238E27FC236}">
                <a16:creationId xmlns:a16="http://schemas.microsoft.com/office/drawing/2014/main" id="{77820A16-2F75-A94B-837E-F750566B683D}"/>
              </a:ext>
            </a:extLst>
          </p:cNvPr>
          <p:cNvSpPr txBox="1"/>
          <p:nvPr>
            <p:custDataLst>
              <p:tags r:id="rId74"/>
            </p:custDataLst>
          </p:nvPr>
        </p:nvSpPr>
        <p:spPr>
          <a:xfrm>
            <a:off x="9339185" y="5610258"/>
            <a:ext cx="1024575" cy="138463"/>
          </a:xfrm>
          <a:prstGeom prst="rect">
            <a:avLst/>
          </a:prstGeom>
          <a:ln w="9525" cap="flat">
            <a:noFill/>
            <a:prstDash val="solid"/>
            <a:miter/>
          </a:ln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126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312D2A"/>
                </a:solidFill>
                <a:effectLst/>
                <a:uLnTx/>
                <a:uFillTx/>
                <a:latin typeface="Oracle Sans Semi Bold" panose="020B0503020204020204" pitchFamily="34" charset="0"/>
                <a:ea typeface="+mn-ea"/>
                <a:cs typeface="Oracle Sans Semi Bold" panose="020B0503020204020204" pitchFamily="34" charset="0"/>
              </a:rPr>
              <a:t>Commercial</a:t>
            </a:r>
          </a:p>
        </p:txBody>
      </p:sp>
      <p:sp>
        <p:nvSpPr>
          <p:cNvPr id="309" name="TextBox 308">
            <a:extLst>
              <a:ext uri="{FF2B5EF4-FFF2-40B4-BE49-F238E27FC236}">
                <a16:creationId xmlns:a16="http://schemas.microsoft.com/office/drawing/2014/main" id="{6CDB6876-426B-4F4B-852A-6894F344BE9A}"/>
              </a:ext>
            </a:extLst>
          </p:cNvPr>
          <p:cNvSpPr txBox="1"/>
          <p:nvPr>
            <p:custDataLst>
              <p:tags r:id="rId75"/>
            </p:custDataLst>
          </p:nvPr>
        </p:nvSpPr>
        <p:spPr>
          <a:xfrm>
            <a:off x="9339184" y="5826283"/>
            <a:ext cx="1492006" cy="13846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126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312D2A"/>
                </a:solidFill>
                <a:effectLst/>
                <a:uLnTx/>
                <a:uFillTx/>
                <a:latin typeface="Oracle Sans Semi Bold" panose="020B0503020204020204" pitchFamily="34" charset="0"/>
                <a:ea typeface="+mn-ea"/>
                <a:cs typeface="Oracle Sans Semi Bold" panose="020B0503020204020204" pitchFamily="34" charset="0"/>
              </a:rPr>
              <a:t>Commercial Planned</a:t>
            </a:r>
          </a:p>
        </p:txBody>
      </p:sp>
      <p:sp>
        <p:nvSpPr>
          <p:cNvPr id="310" name="Rounded Rectangle 309">
            <a:extLst>
              <a:ext uri="{FF2B5EF4-FFF2-40B4-BE49-F238E27FC236}">
                <a16:creationId xmlns:a16="http://schemas.microsoft.com/office/drawing/2014/main" id="{269C258C-D43D-9E48-B480-01444C2E9F3B}"/>
              </a:ext>
            </a:extLst>
          </p:cNvPr>
          <p:cNvSpPr>
            <a:spLocks noChangeAspect="1"/>
          </p:cNvSpPr>
          <p:nvPr>
            <p:custDataLst>
              <p:tags r:id="rId76"/>
            </p:custDataLst>
          </p:nvPr>
        </p:nvSpPr>
        <p:spPr>
          <a:xfrm>
            <a:off x="9117043" y="5588463"/>
            <a:ext cx="132459" cy="132460"/>
          </a:xfrm>
          <a:prstGeom prst="roundRect">
            <a:avLst>
              <a:gd name="adj" fmla="val 10205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312D2A"/>
                </a:solidFill>
                <a:effectLst/>
                <a:uLnTx/>
                <a:uFillTx/>
                <a:latin typeface="Oracle Sans Tab"/>
                <a:ea typeface="+mn-ea"/>
                <a:cs typeface="+mn-cs"/>
              </a:rPr>
              <a:t>   </a:t>
            </a:r>
          </a:p>
        </p:txBody>
      </p:sp>
      <p:sp>
        <p:nvSpPr>
          <p:cNvPr id="311" name="Rounded Rectangle 310">
            <a:extLst>
              <a:ext uri="{FF2B5EF4-FFF2-40B4-BE49-F238E27FC236}">
                <a16:creationId xmlns:a16="http://schemas.microsoft.com/office/drawing/2014/main" id="{13999AE0-A9AE-CC41-B53A-6ECF0134168B}"/>
              </a:ext>
            </a:extLst>
          </p:cNvPr>
          <p:cNvSpPr>
            <a:spLocks noChangeAspect="1"/>
          </p:cNvSpPr>
          <p:nvPr>
            <p:custDataLst>
              <p:tags r:id="rId77"/>
            </p:custDataLst>
          </p:nvPr>
        </p:nvSpPr>
        <p:spPr>
          <a:xfrm>
            <a:off x="9117043" y="5814282"/>
            <a:ext cx="132459" cy="132460"/>
          </a:xfrm>
          <a:prstGeom prst="roundRect">
            <a:avLst>
              <a:gd name="adj" fmla="val 10205"/>
            </a:avLst>
          </a:prstGeom>
          <a:noFill/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312D2A"/>
                </a:solidFill>
                <a:effectLst/>
                <a:uLnTx/>
                <a:uFillTx/>
                <a:latin typeface="Oracle Sans Tab"/>
                <a:ea typeface="+mn-ea"/>
                <a:cs typeface="+mn-cs"/>
              </a:rPr>
              <a:t>   </a:t>
            </a:r>
          </a:p>
        </p:txBody>
      </p:sp>
      <p:sp>
        <p:nvSpPr>
          <p:cNvPr id="312" name="TextBox 311">
            <a:extLst>
              <a:ext uri="{FF2B5EF4-FFF2-40B4-BE49-F238E27FC236}">
                <a16:creationId xmlns:a16="http://schemas.microsoft.com/office/drawing/2014/main" id="{23272A65-8498-654C-8ED7-BC1DA65C6152}"/>
              </a:ext>
            </a:extLst>
          </p:cNvPr>
          <p:cNvSpPr txBox="1"/>
          <p:nvPr>
            <p:custDataLst>
              <p:tags r:id="rId78"/>
            </p:custDataLst>
          </p:nvPr>
        </p:nvSpPr>
        <p:spPr>
          <a:xfrm>
            <a:off x="9339782" y="6283117"/>
            <a:ext cx="1024574" cy="13846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126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312D2A"/>
                </a:solidFill>
                <a:effectLst/>
                <a:uLnTx/>
                <a:uFillTx/>
                <a:latin typeface="Oracle Sans Semi Bold" panose="020B0503020204020204" pitchFamily="34" charset="0"/>
                <a:ea typeface="+mn-ea"/>
                <a:cs typeface="Oracle Sans Semi Bold" panose="020B0503020204020204" pitchFamily="34" charset="0"/>
              </a:rPr>
              <a:t>Government</a:t>
            </a:r>
          </a:p>
        </p:txBody>
      </p:sp>
      <p:sp>
        <p:nvSpPr>
          <p:cNvPr id="313" name="Rounded Rectangle 312">
            <a:extLst>
              <a:ext uri="{FF2B5EF4-FFF2-40B4-BE49-F238E27FC236}">
                <a16:creationId xmlns:a16="http://schemas.microsoft.com/office/drawing/2014/main" id="{1CFB906A-B32A-524F-B8DC-1E4CAF2A2C96}"/>
              </a:ext>
            </a:extLst>
          </p:cNvPr>
          <p:cNvSpPr>
            <a:spLocks noChangeAspect="1"/>
          </p:cNvSpPr>
          <p:nvPr>
            <p:custDataLst>
              <p:tags r:id="rId79"/>
            </p:custDataLst>
          </p:nvPr>
        </p:nvSpPr>
        <p:spPr>
          <a:xfrm>
            <a:off x="9115293" y="6265920"/>
            <a:ext cx="135959" cy="135959"/>
          </a:xfrm>
          <a:prstGeom prst="roundRect">
            <a:avLst>
              <a:gd name="adj" fmla="val 10205"/>
            </a:avLst>
          </a:prstGeom>
          <a:solidFill>
            <a:srgbClr val="41817E"/>
          </a:solidFill>
          <a:ln w="9525" cap="flat">
            <a:noFill/>
            <a:prstDash val="solid"/>
            <a:miter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312D2A"/>
                </a:solidFill>
                <a:effectLst/>
                <a:uLnTx/>
                <a:uFillTx/>
                <a:latin typeface="Oracle Sans Tab"/>
                <a:ea typeface="+mn-ea"/>
                <a:cs typeface="+mn-cs"/>
              </a:rPr>
              <a:t>   </a:t>
            </a:r>
          </a:p>
        </p:txBody>
      </p:sp>
      <p:pic>
        <p:nvPicPr>
          <p:cNvPr id="314" name="Graphic 313">
            <a:extLst>
              <a:ext uri="{FF2B5EF4-FFF2-40B4-BE49-F238E27FC236}">
                <a16:creationId xmlns:a16="http://schemas.microsoft.com/office/drawing/2014/main" id="{1981D9A3-69F1-0142-853D-236A8970D868}"/>
              </a:ext>
            </a:extLst>
          </p:cNvPr>
          <p:cNvPicPr>
            <a:picLocks noChangeAspect="1"/>
          </p:cNvPicPr>
          <p:nvPr>
            <p:custDataLst>
              <p:tags r:id="rId80"/>
            </p:custDataLst>
          </p:nvPr>
        </p:nvPicPr>
        <p:blipFill>
          <a:blip r:embed="rId400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401"/>
              </a:ext>
            </a:extLst>
          </a:blip>
          <a:srcRect l="18105" t="74641" r="15135" b="15469"/>
          <a:stretch>
            <a:fillRect/>
          </a:stretch>
        </p:blipFill>
        <p:spPr>
          <a:xfrm>
            <a:off x="9095611" y="6495239"/>
            <a:ext cx="175322" cy="162347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81B5C24-4075-4749-9BE3-B3891B2A3930}"/>
              </a:ext>
            </a:extLst>
          </p:cNvPr>
          <p:cNvSpPr>
            <a:spLocks noGrp="1"/>
          </p:cNvSpPr>
          <p:nvPr>
            <p:ph type="title"/>
            <p:custDataLst>
              <p:tags r:id="rId81"/>
            </p:custDataLst>
          </p:nvPr>
        </p:nvSpPr>
        <p:spPr>
          <a:xfrm>
            <a:off x="758533" y="146768"/>
            <a:ext cx="10671048" cy="822960"/>
          </a:xfrm>
        </p:spPr>
        <p:txBody>
          <a:bodyPr/>
          <a:lstStyle/>
          <a:p>
            <a:r>
              <a:rPr lang="fr-FR" dirty="0"/>
              <a:t>Oracle Cloud Infrastructure Global Footprint </a:t>
            </a:r>
          </a:p>
        </p:txBody>
      </p:sp>
      <p:sp>
        <p:nvSpPr>
          <p:cNvPr id="518" name="Rounded Rectangle 517">
            <a:extLst>
              <a:ext uri="{FF2B5EF4-FFF2-40B4-BE49-F238E27FC236}">
                <a16:creationId xmlns:a16="http://schemas.microsoft.com/office/drawing/2014/main" id="{A48637B8-2352-D84B-762E-6FDF0A67FC3C}"/>
              </a:ext>
            </a:extLst>
          </p:cNvPr>
          <p:cNvSpPr>
            <a:spLocks noChangeAspect="1"/>
          </p:cNvSpPr>
          <p:nvPr>
            <p:custDataLst>
              <p:tags r:id="rId82"/>
            </p:custDataLst>
          </p:nvPr>
        </p:nvSpPr>
        <p:spPr>
          <a:xfrm>
            <a:off x="2954388" y="2353743"/>
            <a:ext cx="65914" cy="65914"/>
          </a:xfrm>
          <a:prstGeom prst="roundRect">
            <a:avLst>
              <a:gd name="adj" fmla="val 10205"/>
            </a:avLst>
          </a:prstGeom>
          <a:solidFill>
            <a:schemeClr val="accent1"/>
          </a:solidFill>
          <a:ln w="9525" cap="flat">
            <a:noFill/>
            <a:prstDash val="solid"/>
            <a:miter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312D2A"/>
                </a:solidFill>
                <a:effectLst/>
                <a:uLnTx/>
                <a:uFillTx/>
                <a:latin typeface="Oracle Sans Tab"/>
                <a:ea typeface="+mn-ea"/>
                <a:cs typeface="+mn-cs"/>
              </a:rPr>
              <a:t>   </a:t>
            </a:r>
          </a:p>
        </p:txBody>
      </p:sp>
      <p:grpSp>
        <p:nvGrpSpPr>
          <p:cNvPr id="391" name="Group 390">
            <a:extLst>
              <a:ext uri="{FF2B5EF4-FFF2-40B4-BE49-F238E27FC236}">
                <a16:creationId xmlns:a16="http://schemas.microsoft.com/office/drawing/2014/main" id="{8E035E55-43CD-4CB3-ABAF-BE613256AD4C}"/>
              </a:ext>
            </a:extLst>
          </p:cNvPr>
          <p:cNvGrpSpPr/>
          <p:nvPr>
            <p:custDataLst>
              <p:tags r:id="rId83"/>
            </p:custDataLst>
          </p:nvPr>
        </p:nvGrpSpPr>
        <p:grpSpPr>
          <a:xfrm>
            <a:off x="6941747" y="2495057"/>
            <a:ext cx="244096" cy="244096"/>
            <a:chOff x="-763325" y="1701579"/>
            <a:chExt cx="349858" cy="349858"/>
          </a:xfrm>
        </p:grpSpPr>
        <p:sp>
          <p:nvSpPr>
            <p:cNvPr id="392" name="Oval 391">
              <a:extLst>
                <a:ext uri="{FF2B5EF4-FFF2-40B4-BE49-F238E27FC236}">
                  <a16:creationId xmlns:a16="http://schemas.microsoft.com/office/drawing/2014/main" id="{A0556104-8292-454A-B77E-D2CD9CF5AB61}"/>
                </a:ext>
              </a:extLst>
            </p:cNvPr>
            <p:cNvSpPr/>
            <p:nvPr>
              <p:custDataLst>
                <p:tags r:id="rId119"/>
              </p:custDataLst>
            </p:nvPr>
          </p:nvSpPr>
          <p:spPr>
            <a:xfrm>
              <a:off x="-763325" y="1701579"/>
              <a:ext cx="349858" cy="349858"/>
            </a:xfrm>
            <a:prstGeom prst="ellipse">
              <a:avLst/>
            </a:prstGeom>
            <a:solidFill>
              <a:srgbClr val="2C5967">
                <a:alpha val="42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1200" cap="none" spc="0" normalizeH="0" baseline="0" noProof="0" dirty="0">
                <a:ln>
                  <a:noFill/>
                </a:ln>
                <a:solidFill>
                  <a:srgbClr val="312D2A"/>
                </a:solidFill>
                <a:effectLst/>
                <a:uLnTx/>
                <a:uFillTx/>
                <a:latin typeface="Oracle Sans Tab"/>
                <a:ea typeface="+mn-ea"/>
                <a:cs typeface="+mn-cs"/>
              </a:endParaRPr>
            </a:p>
          </p:txBody>
        </p:sp>
        <p:sp>
          <p:nvSpPr>
            <p:cNvPr id="393" name="Oval 392">
              <a:extLst>
                <a:ext uri="{FF2B5EF4-FFF2-40B4-BE49-F238E27FC236}">
                  <a16:creationId xmlns:a16="http://schemas.microsoft.com/office/drawing/2014/main" id="{7F0AF7C4-236B-4EDB-99FA-0BE58436CADE}"/>
                </a:ext>
              </a:extLst>
            </p:cNvPr>
            <p:cNvSpPr/>
            <p:nvPr>
              <p:custDataLst>
                <p:tags r:id="rId120"/>
              </p:custDataLst>
            </p:nvPr>
          </p:nvSpPr>
          <p:spPr>
            <a:xfrm>
              <a:off x="-676936" y="1787968"/>
              <a:ext cx="177080" cy="177080"/>
            </a:xfrm>
            <a:prstGeom prst="ellipse">
              <a:avLst/>
            </a:prstGeom>
            <a:solidFill>
              <a:srgbClr val="2C596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1200" cap="none" spc="0" normalizeH="0" baseline="0" noProof="0" dirty="0">
                <a:ln>
                  <a:noFill/>
                </a:ln>
                <a:solidFill>
                  <a:srgbClr val="312D2A"/>
                </a:solidFill>
                <a:effectLst/>
                <a:uLnTx/>
                <a:uFillTx/>
                <a:latin typeface="Oracle Sans Tab"/>
                <a:ea typeface="+mn-ea"/>
                <a:cs typeface="+mn-cs"/>
              </a:endParaRPr>
            </a:p>
          </p:txBody>
        </p:sp>
      </p:grpSp>
      <p:sp>
        <p:nvSpPr>
          <p:cNvPr id="396" name="TextBox 395">
            <a:extLst>
              <a:ext uri="{FF2B5EF4-FFF2-40B4-BE49-F238E27FC236}">
                <a16:creationId xmlns:a16="http://schemas.microsoft.com/office/drawing/2014/main" id="{D0510FA8-7BCC-485A-A9DE-1F6C450B854C}"/>
              </a:ext>
            </a:extLst>
          </p:cNvPr>
          <p:cNvSpPr txBox="1"/>
          <p:nvPr>
            <p:custDataLst>
              <p:tags r:id="rId84"/>
            </p:custDataLst>
          </p:nvPr>
        </p:nvSpPr>
        <p:spPr>
          <a:xfrm>
            <a:off x="6299809" y="2737456"/>
            <a:ext cx="597821" cy="10772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srgbClr val="172B4D"/>
                </a:solidFill>
                <a:effectLst/>
                <a:uLnTx/>
                <a:uFillTx/>
                <a:latin typeface="Oracle Sans Semi Bold" panose="020B0603020204020204" pitchFamily="34" charset="0"/>
                <a:ea typeface="+mn-ea"/>
                <a:cs typeface="Oracle Sans Semi Bold" panose="020B0603020204020204" pitchFamily="34" charset="0"/>
              </a:rPr>
              <a:t>Saudi Arabia 3</a:t>
            </a:r>
            <a:endParaRPr kumimoji="0" lang="en-US" sz="700" b="0" i="0" u="none" strike="noStrike" kern="1200" cap="none" spc="0" normalizeH="0" baseline="0" noProof="0" dirty="0">
              <a:ln>
                <a:noFill/>
              </a:ln>
              <a:solidFill>
                <a:srgbClr val="312D2A"/>
              </a:solidFill>
              <a:effectLst/>
              <a:uLnTx/>
              <a:uFillTx/>
              <a:latin typeface="Oracle Sans Semi Bold" panose="020B0603020204020204" pitchFamily="34" charset="0"/>
              <a:ea typeface="+mn-ea"/>
              <a:cs typeface="Oracle Sans Semi Bold" panose="020B0603020204020204" pitchFamily="34" charset="0"/>
            </a:endParaRPr>
          </a:p>
        </p:txBody>
      </p:sp>
      <p:cxnSp>
        <p:nvCxnSpPr>
          <p:cNvPr id="399" name="Straight Connector 398">
            <a:extLst>
              <a:ext uri="{FF2B5EF4-FFF2-40B4-BE49-F238E27FC236}">
                <a16:creationId xmlns:a16="http://schemas.microsoft.com/office/drawing/2014/main" id="{070B83D9-AAE1-4BBD-81DA-435F478D65D5}"/>
              </a:ext>
            </a:extLst>
          </p:cNvPr>
          <p:cNvCxnSpPr>
            <a:cxnSpLocks/>
            <a:stCxn id="392" idx="2"/>
          </p:cNvCxnSpPr>
          <p:nvPr>
            <p:custDataLst>
              <p:tags r:id="rId85"/>
            </p:custDataLst>
          </p:nvPr>
        </p:nvCxnSpPr>
        <p:spPr>
          <a:xfrm rot="10800000" flipV="1">
            <a:off x="6615907" y="2617105"/>
            <a:ext cx="325840" cy="68626"/>
          </a:xfrm>
          <a:prstGeom prst="bentConnector3">
            <a:avLst>
              <a:gd name="adj1" fmla="val 50000"/>
            </a:avLst>
          </a:prstGeom>
          <a:ln>
            <a:solidFill>
              <a:srgbClr val="2C596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0" name="Rounded Rectangle 257">
            <a:extLst>
              <a:ext uri="{FF2B5EF4-FFF2-40B4-BE49-F238E27FC236}">
                <a16:creationId xmlns:a16="http://schemas.microsoft.com/office/drawing/2014/main" id="{8B205FD3-AD99-438E-AB31-20444DFDCFA6}"/>
              </a:ext>
            </a:extLst>
          </p:cNvPr>
          <p:cNvSpPr>
            <a:spLocks noChangeAspect="1"/>
          </p:cNvSpPr>
          <p:nvPr>
            <p:custDataLst>
              <p:tags r:id="rId86"/>
            </p:custDataLst>
          </p:nvPr>
        </p:nvSpPr>
        <p:spPr>
          <a:xfrm>
            <a:off x="6571078" y="2866353"/>
            <a:ext cx="65914" cy="65914"/>
          </a:xfrm>
          <a:prstGeom prst="roundRect">
            <a:avLst>
              <a:gd name="adj" fmla="val 10205"/>
            </a:avLst>
          </a:prstGeom>
          <a:noFill/>
          <a:ln w="9525" cap="flat">
            <a:solidFill>
              <a:schemeClr val="accent5"/>
            </a:solidFill>
            <a:prstDash val="solid"/>
            <a:miter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312D2A"/>
                </a:solidFill>
                <a:effectLst/>
                <a:uLnTx/>
                <a:uFillTx/>
                <a:latin typeface="Oracle Sans Tab"/>
                <a:ea typeface="+mn-ea"/>
                <a:cs typeface="+mn-cs"/>
              </a:rPr>
              <a:t>   </a:t>
            </a:r>
          </a:p>
        </p:txBody>
      </p:sp>
      <p:grpSp>
        <p:nvGrpSpPr>
          <p:cNvPr id="405" name="Group 404">
            <a:extLst>
              <a:ext uri="{FF2B5EF4-FFF2-40B4-BE49-F238E27FC236}">
                <a16:creationId xmlns:a16="http://schemas.microsoft.com/office/drawing/2014/main" id="{4C07FC8C-B933-49B2-A7D6-043DF5ADA2CF}"/>
              </a:ext>
            </a:extLst>
          </p:cNvPr>
          <p:cNvGrpSpPr/>
          <p:nvPr>
            <p:custDataLst>
              <p:tags r:id="rId87"/>
            </p:custDataLst>
          </p:nvPr>
        </p:nvGrpSpPr>
        <p:grpSpPr>
          <a:xfrm>
            <a:off x="7970688" y="3485790"/>
            <a:ext cx="1019390" cy="244096"/>
            <a:chOff x="8119822" y="3409254"/>
            <a:chExt cx="1019656" cy="244160"/>
          </a:xfrm>
        </p:grpSpPr>
        <p:sp>
          <p:nvSpPr>
            <p:cNvPr id="406" name="TextBox 405">
              <a:extLst>
                <a:ext uri="{FF2B5EF4-FFF2-40B4-BE49-F238E27FC236}">
                  <a16:creationId xmlns:a16="http://schemas.microsoft.com/office/drawing/2014/main" id="{AD79288D-7C29-4929-80F1-CBC72D69AAE9}"/>
                </a:ext>
              </a:extLst>
            </p:cNvPr>
            <p:cNvSpPr txBox="1"/>
            <p:nvPr>
              <p:custDataLst>
                <p:tags r:id="rId113"/>
              </p:custDataLst>
            </p:nvPr>
          </p:nvSpPr>
          <p:spPr>
            <a:xfrm>
              <a:off x="8119822" y="3468295"/>
              <a:ext cx="635274" cy="11024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00" i="0" u="none" strike="noStrike" kern="1200" cap="none" spc="0" normalizeH="0" baseline="0" noProof="0" dirty="0">
                  <a:ln>
                    <a:noFill/>
                  </a:ln>
                  <a:solidFill>
                    <a:srgbClr val="312D2A"/>
                  </a:solidFill>
                  <a:effectLst/>
                  <a:uLnTx/>
                  <a:uFillTx/>
                  <a:latin typeface="Oracle Sans Semi Bold" panose="020B0503020204020204" pitchFamily="34" charset="0"/>
                  <a:ea typeface="+mn-ea"/>
                  <a:cs typeface="Oracle Sans Semi Bold" panose="020B0503020204020204" pitchFamily="34" charset="0"/>
                </a:rPr>
                <a:t>Singapore 2</a:t>
              </a:r>
            </a:p>
          </p:txBody>
        </p:sp>
        <p:grpSp>
          <p:nvGrpSpPr>
            <p:cNvPr id="407" name="Group 406">
              <a:extLst>
                <a:ext uri="{FF2B5EF4-FFF2-40B4-BE49-F238E27FC236}">
                  <a16:creationId xmlns:a16="http://schemas.microsoft.com/office/drawing/2014/main" id="{0AE84522-E71B-4CF7-B421-4999694FD6DD}"/>
                </a:ext>
              </a:extLst>
            </p:cNvPr>
            <p:cNvGrpSpPr/>
            <p:nvPr>
              <p:custDataLst>
                <p:tags r:id="rId114"/>
              </p:custDataLst>
            </p:nvPr>
          </p:nvGrpSpPr>
          <p:grpSpPr>
            <a:xfrm>
              <a:off x="8690008" y="3409254"/>
              <a:ext cx="449470" cy="244160"/>
              <a:chOff x="8690008" y="3409254"/>
              <a:chExt cx="449470" cy="244160"/>
            </a:xfrm>
          </p:grpSpPr>
          <p:cxnSp>
            <p:nvCxnSpPr>
              <p:cNvPr id="408" name="Straight Connector 407">
                <a:extLst>
                  <a:ext uri="{FF2B5EF4-FFF2-40B4-BE49-F238E27FC236}">
                    <a16:creationId xmlns:a16="http://schemas.microsoft.com/office/drawing/2014/main" id="{5C1FDA2A-2983-40D8-899F-9FEBE9EA019E}"/>
                  </a:ext>
                </a:extLst>
              </p:cNvPr>
              <p:cNvCxnSpPr/>
              <p:nvPr>
                <p:custDataLst>
                  <p:tags r:id="rId115"/>
                </p:custDataLst>
              </p:nvPr>
            </p:nvCxnSpPr>
            <p:spPr>
              <a:xfrm>
                <a:off x="8690008" y="3531334"/>
                <a:ext cx="315267" cy="0"/>
              </a:xfrm>
              <a:prstGeom prst="line">
                <a:avLst/>
              </a:prstGeom>
              <a:ln>
                <a:solidFill>
                  <a:srgbClr val="2C5967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grpSp>
            <p:nvGrpSpPr>
              <p:cNvPr id="429" name="Group 428">
                <a:extLst>
                  <a:ext uri="{FF2B5EF4-FFF2-40B4-BE49-F238E27FC236}">
                    <a16:creationId xmlns:a16="http://schemas.microsoft.com/office/drawing/2014/main" id="{288784F5-896E-44E0-88D1-8ACD3CEEEAB6}"/>
                  </a:ext>
                </a:extLst>
              </p:cNvPr>
              <p:cNvGrpSpPr/>
              <p:nvPr>
                <p:custDataLst>
                  <p:tags r:id="rId116"/>
                </p:custDataLst>
              </p:nvPr>
            </p:nvGrpSpPr>
            <p:grpSpPr>
              <a:xfrm>
                <a:off x="8895318" y="3409254"/>
                <a:ext cx="244160" cy="244160"/>
                <a:chOff x="-763325" y="1701579"/>
                <a:chExt cx="349858" cy="349858"/>
              </a:xfrm>
            </p:grpSpPr>
            <p:sp>
              <p:nvSpPr>
                <p:cNvPr id="430" name="Oval 429">
                  <a:extLst>
                    <a:ext uri="{FF2B5EF4-FFF2-40B4-BE49-F238E27FC236}">
                      <a16:creationId xmlns:a16="http://schemas.microsoft.com/office/drawing/2014/main" id="{A865F5E5-F7EB-4312-BD96-0A4577486EA2}"/>
                    </a:ext>
                  </a:extLst>
                </p:cNvPr>
                <p:cNvSpPr/>
                <p:nvPr>
                  <p:custDataLst>
                    <p:tags r:id="rId117"/>
                  </p:custDataLst>
                </p:nvPr>
              </p:nvSpPr>
              <p:spPr>
                <a:xfrm>
                  <a:off x="-763325" y="1701579"/>
                  <a:ext cx="349858" cy="349858"/>
                </a:xfrm>
                <a:prstGeom prst="ellipse">
                  <a:avLst/>
                </a:prstGeom>
                <a:solidFill>
                  <a:srgbClr val="2C5967">
                    <a:alpha val="42000"/>
                  </a:srgb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799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12D2A"/>
                    </a:solidFill>
                    <a:effectLst/>
                    <a:uLnTx/>
                    <a:uFillTx/>
                    <a:latin typeface="Oracle Sans Tab"/>
                    <a:ea typeface="+mn-ea"/>
                    <a:cs typeface="+mn-cs"/>
                  </a:endParaRPr>
                </a:p>
              </p:txBody>
            </p:sp>
            <p:sp>
              <p:nvSpPr>
                <p:cNvPr id="431" name="Oval 430">
                  <a:extLst>
                    <a:ext uri="{FF2B5EF4-FFF2-40B4-BE49-F238E27FC236}">
                      <a16:creationId xmlns:a16="http://schemas.microsoft.com/office/drawing/2014/main" id="{2E5AC510-A8A3-4DB8-9F4D-C0C93BC8F93E}"/>
                    </a:ext>
                  </a:extLst>
                </p:cNvPr>
                <p:cNvSpPr/>
                <p:nvPr>
                  <p:custDataLst>
                    <p:tags r:id="rId118"/>
                  </p:custDataLst>
                </p:nvPr>
              </p:nvSpPr>
              <p:spPr>
                <a:xfrm>
                  <a:off x="-676936" y="1787968"/>
                  <a:ext cx="177080" cy="177080"/>
                </a:xfrm>
                <a:prstGeom prst="ellipse">
                  <a:avLst/>
                </a:prstGeom>
                <a:solidFill>
                  <a:srgbClr val="2C5967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799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12D2A"/>
                    </a:solidFill>
                    <a:effectLst/>
                    <a:uLnTx/>
                    <a:uFillTx/>
                    <a:latin typeface="Oracle Sans Tab"/>
                    <a:ea typeface="+mn-ea"/>
                    <a:cs typeface="+mn-cs"/>
                  </a:endParaRPr>
                </a:p>
              </p:txBody>
            </p:sp>
          </p:grpSp>
        </p:grpSp>
      </p:grpSp>
      <p:sp>
        <p:nvSpPr>
          <p:cNvPr id="519" name="Rounded Rectangle 343">
            <a:extLst>
              <a:ext uri="{FF2B5EF4-FFF2-40B4-BE49-F238E27FC236}">
                <a16:creationId xmlns:a16="http://schemas.microsoft.com/office/drawing/2014/main" id="{99127FB3-32DC-4BE5-97E4-0695F7BD172E}"/>
              </a:ext>
            </a:extLst>
          </p:cNvPr>
          <p:cNvSpPr>
            <a:spLocks noChangeAspect="1"/>
          </p:cNvSpPr>
          <p:nvPr>
            <p:custDataLst>
              <p:tags r:id="rId88"/>
            </p:custDataLst>
          </p:nvPr>
        </p:nvSpPr>
        <p:spPr>
          <a:xfrm>
            <a:off x="8347452" y="3459833"/>
            <a:ext cx="65914" cy="65914"/>
          </a:xfrm>
          <a:prstGeom prst="roundRect">
            <a:avLst>
              <a:gd name="adj" fmla="val 10205"/>
            </a:avLst>
          </a:prstGeom>
          <a:noFill/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312D2A"/>
                </a:solidFill>
                <a:effectLst/>
                <a:uLnTx/>
                <a:uFillTx/>
                <a:latin typeface="Oracle Sans Tab"/>
                <a:ea typeface="+mn-ea"/>
                <a:cs typeface="+mn-cs"/>
              </a:rPr>
              <a:t>   </a:t>
            </a:r>
          </a:p>
        </p:txBody>
      </p:sp>
      <p:sp>
        <p:nvSpPr>
          <p:cNvPr id="521" name="Rounded Rectangle 520">
            <a:extLst>
              <a:ext uri="{FF2B5EF4-FFF2-40B4-BE49-F238E27FC236}">
                <a16:creationId xmlns:a16="http://schemas.microsoft.com/office/drawing/2014/main" id="{60BA862E-5C65-DCA5-E5BE-6735E568BA9C}"/>
              </a:ext>
            </a:extLst>
          </p:cNvPr>
          <p:cNvSpPr>
            <a:spLocks noChangeAspect="1"/>
          </p:cNvSpPr>
          <p:nvPr>
            <p:custDataLst>
              <p:tags r:id="rId89"/>
            </p:custDataLst>
          </p:nvPr>
        </p:nvSpPr>
        <p:spPr>
          <a:xfrm>
            <a:off x="6409240" y="1632950"/>
            <a:ext cx="65914" cy="65914"/>
          </a:xfrm>
          <a:prstGeom prst="roundRect">
            <a:avLst>
              <a:gd name="adj" fmla="val 10205"/>
            </a:avLst>
          </a:prstGeom>
          <a:solidFill>
            <a:schemeClr val="accent2">
              <a:lumMod val="75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312D2A"/>
                </a:solidFill>
                <a:effectLst/>
                <a:uLnTx/>
                <a:uFillTx/>
                <a:latin typeface="Oracle Sans Tab"/>
                <a:ea typeface="+mn-ea"/>
                <a:cs typeface="+mn-cs"/>
              </a:rPr>
              <a:t>   </a:t>
            </a:r>
          </a:p>
        </p:txBody>
      </p:sp>
      <p:sp>
        <p:nvSpPr>
          <p:cNvPr id="522" name="TextBox 521">
            <a:extLst>
              <a:ext uri="{FF2B5EF4-FFF2-40B4-BE49-F238E27FC236}">
                <a16:creationId xmlns:a16="http://schemas.microsoft.com/office/drawing/2014/main" id="{62A9E34B-830C-7D39-5A49-A71D5FA1D54F}"/>
              </a:ext>
            </a:extLst>
          </p:cNvPr>
          <p:cNvSpPr txBox="1"/>
          <p:nvPr/>
        </p:nvSpPr>
        <p:spPr>
          <a:xfrm>
            <a:off x="4576110" y="2392261"/>
            <a:ext cx="297517" cy="153888"/>
          </a:xfrm>
          <a:prstGeom prst="rect">
            <a:avLst/>
          </a:prstGeom>
          <a:solidFill>
            <a:srgbClr val="C00000"/>
          </a:solidFill>
        </p:spPr>
        <p:txBody>
          <a:bodyPr wrap="none" lIns="45720" tIns="27432" rIns="45720" bIns="18288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FCFBFA"/>
                </a:solidFill>
                <a:effectLst/>
                <a:uLnTx/>
                <a:uFillTx/>
                <a:latin typeface="Oracle Sans Tab"/>
                <a:ea typeface="+mn-ea"/>
                <a:cs typeface="+mn-cs"/>
              </a:rPr>
              <a:t>NEW</a:t>
            </a:r>
          </a:p>
        </p:txBody>
      </p:sp>
      <p:sp>
        <p:nvSpPr>
          <p:cNvPr id="530" name="TextBox 529">
            <a:extLst>
              <a:ext uri="{FF2B5EF4-FFF2-40B4-BE49-F238E27FC236}">
                <a16:creationId xmlns:a16="http://schemas.microsoft.com/office/drawing/2014/main" id="{4CEC6785-B6F5-3830-B857-048A09A28132}"/>
              </a:ext>
            </a:extLst>
          </p:cNvPr>
          <p:cNvSpPr txBox="1"/>
          <p:nvPr/>
        </p:nvSpPr>
        <p:spPr>
          <a:xfrm>
            <a:off x="6660987" y="1536901"/>
            <a:ext cx="297517" cy="153888"/>
          </a:xfrm>
          <a:prstGeom prst="rect">
            <a:avLst/>
          </a:prstGeom>
          <a:solidFill>
            <a:srgbClr val="C00000"/>
          </a:solidFill>
        </p:spPr>
        <p:txBody>
          <a:bodyPr wrap="none" lIns="45720" tIns="27432" rIns="45720" bIns="18288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FCFBFA"/>
                </a:solidFill>
                <a:effectLst/>
                <a:uLnTx/>
                <a:uFillTx/>
                <a:latin typeface="Oracle Sans Tab"/>
                <a:ea typeface="+mn-ea"/>
                <a:cs typeface="+mn-cs"/>
              </a:rPr>
              <a:t>NEW</a:t>
            </a:r>
          </a:p>
        </p:txBody>
      </p:sp>
      <p:grpSp>
        <p:nvGrpSpPr>
          <p:cNvPr id="514" name="Group 513">
            <a:extLst>
              <a:ext uri="{FF2B5EF4-FFF2-40B4-BE49-F238E27FC236}">
                <a16:creationId xmlns:a16="http://schemas.microsoft.com/office/drawing/2014/main" id="{DCE533B2-6591-4F80-1347-09E461FD0084}"/>
              </a:ext>
            </a:extLst>
          </p:cNvPr>
          <p:cNvGrpSpPr/>
          <p:nvPr>
            <p:custDataLst>
              <p:tags r:id="rId90"/>
            </p:custDataLst>
          </p:nvPr>
        </p:nvGrpSpPr>
        <p:grpSpPr>
          <a:xfrm>
            <a:off x="9303051" y="4826965"/>
            <a:ext cx="635109" cy="563057"/>
            <a:chOff x="9782736" y="3377449"/>
            <a:chExt cx="635274" cy="563203"/>
          </a:xfrm>
        </p:grpSpPr>
        <p:grpSp>
          <p:nvGrpSpPr>
            <p:cNvPr id="517" name="Group 516">
              <a:extLst>
                <a:ext uri="{FF2B5EF4-FFF2-40B4-BE49-F238E27FC236}">
                  <a16:creationId xmlns:a16="http://schemas.microsoft.com/office/drawing/2014/main" id="{B6F65D52-D51B-BCA1-3708-C24E59898C73}"/>
                </a:ext>
              </a:extLst>
            </p:cNvPr>
            <p:cNvGrpSpPr/>
            <p:nvPr>
              <p:custDataLst>
                <p:tags r:id="rId107"/>
              </p:custDataLst>
            </p:nvPr>
          </p:nvGrpSpPr>
          <p:grpSpPr>
            <a:xfrm>
              <a:off x="9968744" y="3377449"/>
              <a:ext cx="244160" cy="428742"/>
              <a:chOff x="9968744" y="3377449"/>
              <a:chExt cx="244160" cy="428742"/>
            </a:xfrm>
          </p:grpSpPr>
          <p:grpSp>
            <p:nvGrpSpPr>
              <p:cNvPr id="531" name="Group 530">
                <a:extLst>
                  <a:ext uri="{FF2B5EF4-FFF2-40B4-BE49-F238E27FC236}">
                    <a16:creationId xmlns:a16="http://schemas.microsoft.com/office/drawing/2014/main" id="{9764EF75-FEC2-EEE2-2D9C-91BB58A724BE}"/>
                  </a:ext>
                </a:extLst>
              </p:cNvPr>
              <p:cNvGrpSpPr/>
              <p:nvPr>
                <p:custDataLst>
                  <p:tags r:id="rId109"/>
                </p:custDataLst>
              </p:nvPr>
            </p:nvGrpSpPr>
            <p:grpSpPr>
              <a:xfrm>
                <a:off x="9968744" y="3377449"/>
                <a:ext cx="244160" cy="244160"/>
                <a:chOff x="-763325" y="1701579"/>
                <a:chExt cx="349858" cy="349858"/>
              </a:xfrm>
            </p:grpSpPr>
            <p:sp>
              <p:nvSpPr>
                <p:cNvPr id="534" name="Oval 533">
                  <a:extLst>
                    <a:ext uri="{FF2B5EF4-FFF2-40B4-BE49-F238E27FC236}">
                      <a16:creationId xmlns:a16="http://schemas.microsoft.com/office/drawing/2014/main" id="{47101EB2-819E-20EE-B611-3C3B4F2D680E}"/>
                    </a:ext>
                  </a:extLst>
                </p:cNvPr>
                <p:cNvSpPr/>
                <p:nvPr>
                  <p:custDataLst>
                    <p:tags r:id="rId111"/>
                  </p:custDataLst>
                </p:nvPr>
              </p:nvSpPr>
              <p:spPr>
                <a:xfrm>
                  <a:off x="-763325" y="1701579"/>
                  <a:ext cx="349858" cy="349858"/>
                </a:xfrm>
                <a:prstGeom prst="ellipse">
                  <a:avLst/>
                </a:prstGeom>
                <a:solidFill>
                  <a:srgbClr val="2C5967">
                    <a:alpha val="42000"/>
                  </a:srgb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799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12D2A"/>
                    </a:solidFill>
                    <a:effectLst/>
                    <a:uLnTx/>
                    <a:uFillTx/>
                    <a:latin typeface="Oracle Sans Tab"/>
                    <a:ea typeface="+mn-ea"/>
                    <a:cs typeface="+mn-cs"/>
                  </a:endParaRPr>
                </a:p>
              </p:txBody>
            </p:sp>
            <p:sp>
              <p:nvSpPr>
                <p:cNvPr id="535" name="Oval 534">
                  <a:extLst>
                    <a:ext uri="{FF2B5EF4-FFF2-40B4-BE49-F238E27FC236}">
                      <a16:creationId xmlns:a16="http://schemas.microsoft.com/office/drawing/2014/main" id="{BB00D1CA-0836-0E9F-E811-F0203AC83BD9}"/>
                    </a:ext>
                  </a:extLst>
                </p:cNvPr>
                <p:cNvSpPr/>
                <p:nvPr>
                  <p:custDataLst>
                    <p:tags r:id="rId112"/>
                  </p:custDataLst>
                </p:nvPr>
              </p:nvSpPr>
              <p:spPr>
                <a:xfrm>
                  <a:off x="-676936" y="1787968"/>
                  <a:ext cx="177080" cy="177080"/>
                </a:xfrm>
                <a:prstGeom prst="ellipse">
                  <a:avLst/>
                </a:prstGeom>
                <a:solidFill>
                  <a:srgbClr val="2C5967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799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12D2A"/>
                    </a:solidFill>
                    <a:effectLst/>
                    <a:uLnTx/>
                    <a:uFillTx/>
                    <a:latin typeface="Oracle Sans Tab"/>
                    <a:ea typeface="+mn-ea"/>
                    <a:cs typeface="+mn-cs"/>
                  </a:endParaRPr>
                </a:p>
              </p:txBody>
            </p:sp>
          </p:grpSp>
          <p:cxnSp>
            <p:nvCxnSpPr>
              <p:cNvPr id="532" name="Straight Connector 531">
                <a:extLst>
                  <a:ext uri="{FF2B5EF4-FFF2-40B4-BE49-F238E27FC236}">
                    <a16:creationId xmlns:a16="http://schemas.microsoft.com/office/drawing/2014/main" id="{CB8BC96B-C1F4-9547-9655-2C44CF0E05C6}"/>
                  </a:ext>
                </a:extLst>
              </p:cNvPr>
              <p:cNvCxnSpPr/>
              <p:nvPr>
                <p:custDataLst>
                  <p:tags r:id="rId110"/>
                </p:custDataLst>
              </p:nvPr>
            </p:nvCxnSpPr>
            <p:spPr>
              <a:xfrm flipH="1">
                <a:off x="10090824" y="3499979"/>
                <a:ext cx="0" cy="306212"/>
              </a:xfrm>
              <a:prstGeom prst="line">
                <a:avLst/>
              </a:prstGeom>
              <a:ln>
                <a:solidFill>
                  <a:srgbClr val="2C5967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520" name="TextBox 519">
              <a:extLst>
                <a:ext uri="{FF2B5EF4-FFF2-40B4-BE49-F238E27FC236}">
                  <a16:creationId xmlns:a16="http://schemas.microsoft.com/office/drawing/2014/main" id="{4338B5EC-FFB5-3EFE-6063-E1BEC99E982C}"/>
                </a:ext>
              </a:extLst>
            </p:cNvPr>
            <p:cNvSpPr txBox="1"/>
            <p:nvPr>
              <p:custDataLst>
                <p:tags r:id="rId108"/>
              </p:custDataLst>
            </p:nvPr>
          </p:nvSpPr>
          <p:spPr>
            <a:xfrm>
              <a:off x="9782736" y="3830405"/>
              <a:ext cx="635274" cy="11024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00" b="1" i="0" u="none" strike="noStrike" kern="1200" cap="none" spc="0" normalizeH="0" baseline="0" noProof="0" dirty="0">
                  <a:ln>
                    <a:noFill/>
                  </a:ln>
                  <a:solidFill>
                    <a:srgbClr val="312D2A"/>
                  </a:solidFill>
                  <a:effectLst/>
                  <a:uLnTx/>
                  <a:uFillTx/>
                  <a:latin typeface="Oracle Sans Semi Bold" panose="020B0503020204020204" pitchFamily="34" charset="0"/>
                  <a:ea typeface="+mn-ea"/>
                  <a:cs typeface="Oracle Sans Semi Bold" panose="020B0503020204020204" pitchFamily="34" charset="0"/>
                </a:rPr>
                <a:t>Canberra</a:t>
              </a:r>
            </a:p>
          </p:txBody>
        </p:sp>
      </p:grpSp>
      <p:sp>
        <p:nvSpPr>
          <p:cNvPr id="538" name="Rounded Rectangle 537">
            <a:extLst>
              <a:ext uri="{FF2B5EF4-FFF2-40B4-BE49-F238E27FC236}">
                <a16:creationId xmlns:a16="http://schemas.microsoft.com/office/drawing/2014/main" id="{744DFCD7-2710-E1C4-F277-F87BF2A02591}"/>
              </a:ext>
            </a:extLst>
          </p:cNvPr>
          <p:cNvSpPr>
            <a:spLocks noChangeAspect="1"/>
          </p:cNvSpPr>
          <p:nvPr>
            <p:custDataLst>
              <p:tags r:id="rId91"/>
            </p:custDataLst>
          </p:nvPr>
        </p:nvSpPr>
        <p:spPr>
          <a:xfrm>
            <a:off x="9588501" y="5409998"/>
            <a:ext cx="65914" cy="65914"/>
          </a:xfrm>
          <a:prstGeom prst="roundRect">
            <a:avLst>
              <a:gd name="adj" fmla="val 10205"/>
            </a:avLst>
          </a:prstGeom>
          <a:solidFill>
            <a:srgbClr val="41817E"/>
          </a:solidFill>
          <a:ln w="9525" cap="flat">
            <a:noFill/>
            <a:prstDash val="solid"/>
            <a:miter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312D2A"/>
                </a:solidFill>
                <a:effectLst/>
                <a:uLnTx/>
                <a:uFillTx/>
                <a:latin typeface="Oracle Sans Tab"/>
                <a:ea typeface="+mn-ea"/>
                <a:cs typeface="+mn-cs"/>
              </a:rPr>
              <a:t>   </a:t>
            </a:r>
          </a:p>
        </p:txBody>
      </p:sp>
      <p:sp>
        <p:nvSpPr>
          <p:cNvPr id="539" name="TextBox 538">
            <a:extLst>
              <a:ext uri="{FF2B5EF4-FFF2-40B4-BE49-F238E27FC236}">
                <a16:creationId xmlns:a16="http://schemas.microsoft.com/office/drawing/2014/main" id="{A73C7163-A5DB-341E-6F10-1B1DCD1128C6}"/>
              </a:ext>
            </a:extLst>
          </p:cNvPr>
          <p:cNvSpPr txBox="1"/>
          <p:nvPr/>
        </p:nvSpPr>
        <p:spPr>
          <a:xfrm>
            <a:off x="9866885" y="5287334"/>
            <a:ext cx="297517" cy="153888"/>
          </a:xfrm>
          <a:prstGeom prst="rect">
            <a:avLst/>
          </a:prstGeom>
          <a:solidFill>
            <a:srgbClr val="C00000"/>
          </a:solidFill>
        </p:spPr>
        <p:txBody>
          <a:bodyPr wrap="none" lIns="45720" tIns="27432" rIns="45720" bIns="18288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FCFBFA"/>
                </a:solidFill>
                <a:effectLst/>
                <a:uLnTx/>
                <a:uFillTx/>
                <a:latin typeface="Oracle Sans Tab"/>
                <a:ea typeface="+mn-ea"/>
                <a:cs typeface="+mn-cs"/>
              </a:rPr>
              <a:t>NEW</a:t>
            </a:r>
          </a:p>
        </p:txBody>
      </p:sp>
      <p:sp>
        <p:nvSpPr>
          <p:cNvPr id="256" name="TextBox 255">
            <a:extLst>
              <a:ext uri="{FF2B5EF4-FFF2-40B4-BE49-F238E27FC236}">
                <a16:creationId xmlns:a16="http://schemas.microsoft.com/office/drawing/2014/main" id="{D9D05372-C053-C731-988D-A6E3D5AD8BE9}"/>
              </a:ext>
            </a:extLst>
          </p:cNvPr>
          <p:cNvSpPr txBox="1"/>
          <p:nvPr/>
        </p:nvSpPr>
        <p:spPr>
          <a:xfrm>
            <a:off x="5275456" y="4432935"/>
            <a:ext cx="297517" cy="153888"/>
          </a:xfrm>
          <a:prstGeom prst="rect">
            <a:avLst/>
          </a:prstGeom>
          <a:solidFill>
            <a:srgbClr val="C00000"/>
          </a:solidFill>
        </p:spPr>
        <p:txBody>
          <a:bodyPr wrap="none" lIns="45720" tIns="27432" rIns="45720" bIns="18288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FCFBFA"/>
                </a:solidFill>
                <a:effectLst/>
                <a:uLnTx/>
                <a:uFillTx/>
                <a:latin typeface="Oracle Sans Tab"/>
                <a:ea typeface="+mn-ea"/>
                <a:cs typeface="+mn-cs"/>
              </a:rPr>
              <a:t>NEW</a:t>
            </a:r>
          </a:p>
        </p:txBody>
      </p:sp>
      <p:sp>
        <p:nvSpPr>
          <p:cNvPr id="262" name="Rounded Rectangle 257">
            <a:extLst>
              <a:ext uri="{FF2B5EF4-FFF2-40B4-BE49-F238E27FC236}">
                <a16:creationId xmlns:a16="http://schemas.microsoft.com/office/drawing/2014/main" id="{1FCE7508-B458-8D57-9D85-715A497AFEAF}"/>
              </a:ext>
            </a:extLst>
          </p:cNvPr>
          <p:cNvSpPr>
            <a:spLocks noChangeAspect="1"/>
          </p:cNvSpPr>
          <p:nvPr>
            <p:custDataLst>
              <p:tags r:id="rId92"/>
            </p:custDataLst>
          </p:nvPr>
        </p:nvSpPr>
        <p:spPr>
          <a:xfrm>
            <a:off x="5010082" y="4587876"/>
            <a:ext cx="65914" cy="65914"/>
          </a:xfrm>
          <a:prstGeom prst="roundRect">
            <a:avLst>
              <a:gd name="adj" fmla="val 10205"/>
            </a:avLst>
          </a:prstGeom>
          <a:solidFill>
            <a:schemeClr val="accent1"/>
          </a:solidFill>
          <a:ln w="9525" cap="flat">
            <a:noFill/>
            <a:prstDash val="solid"/>
            <a:miter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312D2A"/>
                </a:solidFill>
                <a:effectLst/>
                <a:uLnTx/>
                <a:uFillTx/>
                <a:latin typeface="Oracle Sans Tab"/>
                <a:ea typeface="+mn-ea"/>
                <a:cs typeface="+mn-cs"/>
              </a:rPr>
              <a:t>   </a:t>
            </a:r>
          </a:p>
        </p:txBody>
      </p:sp>
      <p:sp>
        <p:nvSpPr>
          <p:cNvPr id="266" name="Rounded Rectangle 257">
            <a:extLst>
              <a:ext uri="{FF2B5EF4-FFF2-40B4-BE49-F238E27FC236}">
                <a16:creationId xmlns:a16="http://schemas.microsoft.com/office/drawing/2014/main" id="{E4BC73A0-07DB-701A-7E95-CDA803B928B8}"/>
              </a:ext>
            </a:extLst>
          </p:cNvPr>
          <p:cNvSpPr>
            <a:spLocks noChangeAspect="1"/>
          </p:cNvSpPr>
          <p:nvPr>
            <p:custDataLst>
              <p:tags r:id="rId93"/>
            </p:custDataLst>
          </p:nvPr>
        </p:nvSpPr>
        <p:spPr>
          <a:xfrm>
            <a:off x="3873496" y="3958487"/>
            <a:ext cx="65914" cy="65914"/>
          </a:xfrm>
          <a:prstGeom prst="roundRect">
            <a:avLst>
              <a:gd name="adj" fmla="val 10205"/>
            </a:avLst>
          </a:prstGeom>
          <a:solidFill>
            <a:schemeClr val="accent1"/>
          </a:solidFill>
          <a:ln w="9525" cap="flat">
            <a:noFill/>
            <a:prstDash val="solid"/>
            <a:miter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312D2A"/>
                </a:solidFill>
                <a:effectLst/>
                <a:uLnTx/>
                <a:uFillTx/>
                <a:latin typeface="Oracle Sans Tab"/>
                <a:ea typeface="+mn-ea"/>
                <a:cs typeface="+mn-cs"/>
              </a:rPr>
              <a:t>   </a:t>
            </a:r>
          </a:p>
        </p:txBody>
      </p:sp>
      <p:grpSp>
        <p:nvGrpSpPr>
          <p:cNvPr id="271" name="Group 270">
            <a:extLst>
              <a:ext uri="{FF2B5EF4-FFF2-40B4-BE49-F238E27FC236}">
                <a16:creationId xmlns:a16="http://schemas.microsoft.com/office/drawing/2014/main" id="{9C0AA62C-5CB8-963C-077B-3FC406A8394D}"/>
              </a:ext>
            </a:extLst>
          </p:cNvPr>
          <p:cNvGrpSpPr/>
          <p:nvPr>
            <p:custDataLst>
              <p:tags r:id="rId94"/>
            </p:custDataLst>
          </p:nvPr>
        </p:nvGrpSpPr>
        <p:grpSpPr>
          <a:xfrm>
            <a:off x="6716453" y="2024097"/>
            <a:ext cx="635109" cy="721622"/>
            <a:chOff x="6590692" y="1874024"/>
            <a:chExt cx="635274" cy="721810"/>
          </a:xfrm>
        </p:grpSpPr>
        <p:sp>
          <p:nvSpPr>
            <p:cNvPr id="272" name="TextBox 271">
              <a:extLst>
                <a:ext uri="{FF2B5EF4-FFF2-40B4-BE49-F238E27FC236}">
                  <a16:creationId xmlns:a16="http://schemas.microsoft.com/office/drawing/2014/main" id="{925192FF-B10A-8989-43B7-C5DCA93D94B3}"/>
                </a:ext>
              </a:extLst>
            </p:cNvPr>
            <p:cNvSpPr txBox="1"/>
            <p:nvPr>
              <p:custDataLst>
                <p:tags r:id="rId100"/>
              </p:custDataLst>
            </p:nvPr>
          </p:nvSpPr>
          <p:spPr>
            <a:xfrm>
              <a:off x="6590692" y="1874024"/>
              <a:ext cx="635274" cy="11024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00" b="0" i="0" u="none" strike="noStrike" kern="1200" cap="none" spc="0" normalizeH="0" baseline="0" noProof="0" dirty="0">
                  <a:ln>
                    <a:noFill/>
                  </a:ln>
                  <a:solidFill>
                    <a:srgbClr val="312D2A"/>
                  </a:solidFill>
                  <a:effectLst/>
                  <a:uLnTx/>
                  <a:uFillTx/>
                  <a:latin typeface="Oracle Sans Semi Bold" panose="020B0503020204020204" pitchFamily="34" charset="0"/>
                  <a:ea typeface="+mn-ea"/>
                  <a:cs typeface="Oracle Sans Semi Bold" panose="020B0503020204020204" pitchFamily="34" charset="0"/>
                </a:rPr>
                <a:t>Israel 2</a:t>
              </a:r>
            </a:p>
          </p:txBody>
        </p:sp>
        <p:sp>
          <p:nvSpPr>
            <p:cNvPr id="273" name="Rounded Rectangle 621">
              <a:extLst>
                <a:ext uri="{FF2B5EF4-FFF2-40B4-BE49-F238E27FC236}">
                  <a16:creationId xmlns:a16="http://schemas.microsoft.com/office/drawing/2014/main" id="{BF600F8D-2CEB-DE52-D6E7-FF73BAA15A66}"/>
                </a:ext>
              </a:extLst>
            </p:cNvPr>
            <p:cNvSpPr>
              <a:spLocks noChangeAspect="1"/>
            </p:cNvSpPr>
            <p:nvPr>
              <p:custDataLst>
                <p:tags r:id="rId101"/>
              </p:custDataLst>
            </p:nvPr>
          </p:nvSpPr>
          <p:spPr>
            <a:xfrm>
              <a:off x="6881881" y="1994302"/>
              <a:ext cx="65931" cy="65931"/>
            </a:xfrm>
            <a:prstGeom prst="roundRect">
              <a:avLst>
                <a:gd name="adj" fmla="val 10205"/>
              </a:avLst>
            </a:prstGeom>
            <a:noFill/>
            <a:ln w="1270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312D2A"/>
                  </a:solidFill>
                  <a:effectLst/>
                  <a:uLnTx/>
                  <a:uFillTx/>
                  <a:latin typeface="Oracle Sans Tab"/>
                  <a:ea typeface="+mn-ea"/>
                  <a:cs typeface="+mn-cs"/>
                </a:rPr>
                <a:t>   </a:t>
              </a:r>
            </a:p>
          </p:txBody>
        </p:sp>
        <p:grpSp>
          <p:nvGrpSpPr>
            <p:cNvPr id="274" name="Group 273">
              <a:extLst>
                <a:ext uri="{FF2B5EF4-FFF2-40B4-BE49-F238E27FC236}">
                  <a16:creationId xmlns:a16="http://schemas.microsoft.com/office/drawing/2014/main" id="{939F7100-3E33-560B-017C-7CDAF2E8AFBE}"/>
                </a:ext>
              </a:extLst>
            </p:cNvPr>
            <p:cNvGrpSpPr/>
            <p:nvPr>
              <p:custDataLst>
                <p:tags r:id="rId102"/>
              </p:custDataLst>
            </p:nvPr>
          </p:nvGrpSpPr>
          <p:grpSpPr>
            <a:xfrm>
              <a:off x="6792766" y="2105623"/>
              <a:ext cx="244160" cy="490211"/>
              <a:chOff x="6792766" y="2105623"/>
              <a:chExt cx="244160" cy="490211"/>
            </a:xfrm>
          </p:grpSpPr>
          <p:grpSp>
            <p:nvGrpSpPr>
              <p:cNvPr id="275" name="Group 274">
                <a:extLst>
                  <a:ext uri="{FF2B5EF4-FFF2-40B4-BE49-F238E27FC236}">
                    <a16:creationId xmlns:a16="http://schemas.microsoft.com/office/drawing/2014/main" id="{6AACDEBB-C87E-EEF5-7A3B-58B2DC6564A9}"/>
                  </a:ext>
                </a:extLst>
              </p:cNvPr>
              <p:cNvGrpSpPr/>
              <p:nvPr>
                <p:custDataLst>
                  <p:tags r:id="rId103"/>
                </p:custDataLst>
              </p:nvPr>
            </p:nvGrpSpPr>
            <p:grpSpPr>
              <a:xfrm>
                <a:off x="6792766" y="2351674"/>
                <a:ext cx="244160" cy="244160"/>
                <a:chOff x="-763325" y="1701579"/>
                <a:chExt cx="349858" cy="349858"/>
              </a:xfrm>
            </p:grpSpPr>
            <p:sp>
              <p:nvSpPr>
                <p:cNvPr id="277" name="Oval 276">
                  <a:extLst>
                    <a:ext uri="{FF2B5EF4-FFF2-40B4-BE49-F238E27FC236}">
                      <a16:creationId xmlns:a16="http://schemas.microsoft.com/office/drawing/2014/main" id="{7933504C-21A6-FBEE-4C45-665A656760B5}"/>
                    </a:ext>
                  </a:extLst>
                </p:cNvPr>
                <p:cNvSpPr/>
                <p:nvPr>
                  <p:custDataLst>
                    <p:tags r:id="rId105"/>
                  </p:custDataLst>
                </p:nvPr>
              </p:nvSpPr>
              <p:spPr>
                <a:xfrm>
                  <a:off x="-763325" y="1701579"/>
                  <a:ext cx="349858" cy="349858"/>
                </a:xfrm>
                <a:prstGeom prst="ellipse">
                  <a:avLst/>
                </a:prstGeom>
                <a:solidFill>
                  <a:srgbClr val="2C5967">
                    <a:alpha val="42000"/>
                  </a:srgb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799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12D2A"/>
                    </a:solidFill>
                    <a:effectLst/>
                    <a:uLnTx/>
                    <a:uFillTx/>
                    <a:latin typeface="Oracle Sans Tab"/>
                    <a:ea typeface="+mn-ea"/>
                    <a:cs typeface="+mn-cs"/>
                  </a:endParaRPr>
                </a:p>
              </p:txBody>
            </p:sp>
            <p:sp>
              <p:nvSpPr>
                <p:cNvPr id="278" name="Oval 277">
                  <a:extLst>
                    <a:ext uri="{FF2B5EF4-FFF2-40B4-BE49-F238E27FC236}">
                      <a16:creationId xmlns:a16="http://schemas.microsoft.com/office/drawing/2014/main" id="{1F3E7DD6-DECA-1767-0F0D-1491FD15A5F4}"/>
                    </a:ext>
                  </a:extLst>
                </p:cNvPr>
                <p:cNvSpPr/>
                <p:nvPr>
                  <p:custDataLst>
                    <p:tags r:id="rId106"/>
                  </p:custDataLst>
                </p:nvPr>
              </p:nvSpPr>
              <p:spPr>
                <a:xfrm>
                  <a:off x="-676936" y="1787968"/>
                  <a:ext cx="177080" cy="177080"/>
                </a:xfrm>
                <a:prstGeom prst="ellipse">
                  <a:avLst/>
                </a:prstGeom>
                <a:solidFill>
                  <a:srgbClr val="2C5967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799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12D2A"/>
                    </a:solidFill>
                    <a:effectLst/>
                    <a:uLnTx/>
                    <a:uFillTx/>
                    <a:latin typeface="Oracle Sans Tab"/>
                    <a:ea typeface="+mn-ea"/>
                    <a:cs typeface="+mn-cs"/>
                  </a:endParaRPr>
                </a:p>
              </p:txBody>
            </p:sp>
          </p:grpSp>
          <p:cxnSp>
            <p:nvCxnSpPr>
              <p:cNvPr id="276" name="Straight Connector 275">
                <a:extLst>
                  <a:ext uri="{FF2B5EF4-FFF2-40B4-BE49-F238E27FC236}">
                    <a16:creationId xmlns:a16="http://schemas.microsoft.com/office/drawing/2014/main" id="{48B5669B-F17A-559E-1C3C-201BB0E871BB}"/>
                  </a:ext>
                </a:extLst>
              </p:cNvPr>
              <p:cNvCxnSpPr/>
              <p:nvPr>
                <p:custDataLst>
                  <p:tags r:id="rId104"/>
                </p:custDataLst>
              </p:nvPr>
            </p:nvCxnSpPr>
            <p:spPr>
              <a:xfrm flipH="1">
                <a:off x="6914846" y="2105623"/>
                <a:ext cx="0" cy="382380"/>
              </a:xfrm>
              <a:prstGeom prst="line">
                <a:avLst/>
              </a:prstGeom>
              <a:ln>
                <a:solidFill>
                  <a:srgbClr val="2C5967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279" name="Rounded Rectangle 343">
            <a:extLst>
              <a:ext uri="{FF2B5EF4-FFF2-40B4-BE49-F238E27FC236}">
                <a16:creationId xmlns:a16="http://schemas.microsoft.com/office/drawing/2014/main" id="{F63035FB-747E-00A7-86A0-067A80B60292}"/>
              </a:ext>
            </a:extLst>
          </p:cNvPr>
          <p:cNvSpPr>
            <a:spLocks noChangeAspect="1"/>
          </p:cNvSpPr>
          <p:nvPr>
            <p:custDataLst>
              <p:tags r:id="rId95"/>
            </p:custDataLst>
          </p:nvPr>
        </p:nvSpPr>
        <p:spPr>
          <a:xfrm>
            <a:off x="5662743" y="3204509"/>
            <a:ext cx="65914" cy="65914"/>
          </a:xfrm>
          <a:prstGeom prst="roundRect">
            <a:avLst>
              <a:gd name="adj" fmla="val 10205"/>
            </a:avLst>
          </a:prstGeom>
          <a:noFill/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312D2A"/>
                </a:solidFill>
                <a:effectLst/>
                <a:uLnTx/>
                <a:uFillTx/>
                <a:latin typeface="Oracle Sans Tab"/>
                <a:ea typeface="+mn-ea"/>
                <a:cs typeface="+mn-cs"/>
              </a:rPr>
              <a:t>   </a:t>
            </a:r>
          </a:p>
        </p:txBody>
      </p:sp>
      <p:sp>
        <p:nvSpPr>
          <p:cNvPr id="282" name="TextBox 281">
            <a:extLst>
              <a:ext uri="{FF2B5EF4-FFF2-40B4-BE49-F238E27FC236}">
                <a16:creationId xmlns:a16="http://schemas.microsoft.com/office/drawing/2014/main" id="{319C2BF3-8F70-75EA-687C-DEB4A2DE97FE}"/>
              </a:ext>
            </a:extLst>
          </p:cNvPr>
          <p:cNvSpPr txBox="1"/>
          <p:nvPr>
            <p:custDataLst>
              <p:tags r:id="rId96"/>
            </p:custDataLst>
          </p:nvPr>
        </p:nvSpPr>
        <p:spPr>
          <a:xfrm>
            <a:off x="5714999" y="3175723"/>
            <a:ext cx="434190" cy="10772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i="0" u="none" strike="noStrike" kern="1200" cap="none" spc="0" normalizeH="0" baseline="0" noProof="0" dirty="0">
                <a:ln>
                  <a:noFill/>
                </a:ln>
                <a:solidFill>
                  <a:srgbClr val="312D2A"/>
                </a:solidFill>
                <a:effectLst/>
                <a:uLnTx/>
                <a:uFillTx/>
                <a:latin typeface="Oracle Sans Semi Bold" panose="020B0503020204020204" pitchFamily="34" charset="0"/>
                <a:ea typeface="+mn-ea"/>
                <a:cs typeface="Oracle Sans Semi Bold" panose="020B0503020204020204" pitchFamily="34" charset="0"/>
              </a:rPr>
              <a:t>Kenya</a:t>
            </a:r>
          </a:p>
        </p:txBody>
      </p:sp>
      <p:cxnSp>
        <p:nvCxnSpPr>
          <p:cNvPr id="283" name="Straight Connector 282">
            <a:extLst>
              <a:ext uri="{FF2B5EF4-FFF2-40B4-BE49-F238E27FC236}">
                <a16:creationId xmlns:a16="http://schemas.microsoft.com/office/drawing/2014/main" id="{DF672406-6C17-74D8-42D0-57E1BD5144CD}"/>
              </a:ext>
            </a:extLst>
          </p:cNvPr>
          <p:cNvCxnSpPr>
            <a:cxnSpLocks/>
            <a:stCxn id="282" idx="3"/>
            <a:endCxn id="285" idx="2"/>
          </p:cNvCxnSpPr>
          <p:nvPr>
            <p:custDataLst>
              <p:tags r:id="rId97"/>
            </p:custDataLst>
          </p:nvPr>
        </p:nvCxnSpPr>
        <p:spPr>
          <a:xfrm flipV="1">
            <a:off x="6149189" y="3226794"/>
            <a:ext cx="715151" cy="2790"/>
          </a:xfrm>
          <a:prstGeom prst="line">
            <a:avLst/>
          </a:prstGeom>
          <a:ln>
            <a:solidFill>
              <a:srgbClr val="2C596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4" name="Oval 283">
            <a:extLst>
              <a:ext uri="{FF2B5EF4-FFF2-40B4-BE49-F238E27FC236}">
                <a16:creationId xmlns:a16="http://schemas.microsoft.com/office/drawing/2014/main" id="{08E90D6C-41D2-B4F7-9AD5-1C60EA120CA7}"/>
              </a:ext>
            </a:extLst>
          </p:cNvPr>
          <p:cNvSpPr/>
          <p:nvPr>
            <p:custDataLst>
              <p:tags r:id="rId98"/>
            </p:custDataLst>
          </p:nvPr>
        </p:nvSpPr>
        <p:spPr>
          <a:xfrm>
            <a:off x="6804066" y="3104745"/>
            <a:ext cx="244096" cy="244096"/>
          </a:xfrm>
          <a:prstGeom prst="ellipse">
            <a:avLst/>
          </a:prstGeom>
          <a:solidFill>
            <a:srgbClr val="2C5967">
              <a:alpha val="42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1200" cap="none" spc="0" normalizeH="0" baseline="0" noProof="0" dirty="0">
              <a:ln>
                <a:noFill/>
              </a:ln>
              <a:solidFill>
                <a:srgbClr val="312D2A"/>
              </a:solidFill>
              <a:effectLst/>
              <a:uLnTx/>
              <a:uFillTx/>
              <a:latin typeface="Oracle Sans Tab"/>
              <a:ea typeface="+mn-ea"/>
              <a:cs typeface="+mn-cs"/>
            </a:endParaRPr>
          </a:p>
        </p:txBody>
      </p:sp>
      <p:sp>
        <p:nvSpPr>
          <p:cNvPr id="285" name="Oval 284">
            <a:extLst>
              <a:ext uri="{FF2B5EF4-FFF2-40B4-BE49-F238E27FC236}">
                <a16:creationId xmlns:a16="http://schemas.microsoft.com/office/drawing/2014/main" id="{ED8CF6D7-F6AE-ED19-6809-6B15C91AFA1F}"/>
              </a:ext>
            </a:extLst>
          </p:cNvPr>
          <p:cNvSpPr/>
          <p:nvPr>
            <p:custDataLst>
              <p:tags r:id="rId99"/>
            </p:custDataLst>
          </p:nvPr>
        </p:nvSpPr>
        <p:spPr>
          <a:xfrm>
            <a:off x="6864340" y="3165019"/>
            <a:ext cx="123549" cy="123549"/>
          </a:xfrm>
          <a:prstGeom prst="ellipse">
            <a:avLst/>
          </a:prstGeom>
          <a:solidFill>
            <a:srgbClr val="2C596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1200" cap="none" spc="0" normalizeH="0" baseline="0" noProof="0" dirty="0">
              <a:ln>
                <a:noFill/>
              </a:ln>
              <a:solidFill>
                <a:srgbClr val="312D2A"/>
              </a:solidFill>
              <a:effectLst/>
              <a:uLnTx/>
              <a:uFillTx/>
              <a:latin typeface="Oracle Sans Tab"/>
              <a:ea typeface="+mn-ea"/>
              <a:cs typeface="+mn-cs"/>
            </a:endParaRPr>
          </a:p>
        </p:txBody>
      </p:sp>
      <p:sp>
        <p:nvSpPr>
          <p:cNvPr id="280" name="TextBox 279">
            <a:extLst>
              <a:ext uri="{FF2B5EF4-FFF2-40B4-BE49-F238E27FC236}">
                <a16:creationId xmlns:a16="http://schemas.microsoft.com/office/drawing/2014/main" id="{FD778E5D-FCFE-88BD-2370-75719B0C65B8}"/>
              </a:ext>
            </a:extLst>
          </p:cNvPr>
          <p:cNvSpPr txBox="1"/>
          <p:nvPr/>
        </p:nvSpPr>
        <p:spPr>
          <a:xfrm>
            <a:off x="5342676" y="3199377"/>
            <a:ext cx="297517" cy="153888"/>
          </a:xfrm>
          <a:prstGeom prst="rect">
            <a:avLst/>
          </a:prstGeom>
          <a:solidFill>
            <a:srgbClr val="C00000"/>
          </a:solidFill>
        </p:spPr>
        <p:txBody>
          <a:bodyPr wrap="none" lIns="45720" tIns="27432" rIns="45720" bIns="18288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FCFBFA"/>
                </a:solidFill>
                <a:effectLst/>
                <a:uLnTx/>
                <a:uFillTx/>
                <a:latin typeface="Oracle Sans Tab"/>
                <a:ea typeface="+mn-ea"/>
                <a:cs typeface="+mn-cs"/>
              </a:rPr>
              <a:t>NEW</a:t>
            </a:r>
          </a:p>
        </p:txBody>
      </p:sp>
      <p:sp>
        <p:nvSpPr>
          <p:cNvPr id="281" name="Slide Number Placeholder 280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5D60D9-5372-5F40-9443-0F9AE5BDC3C8}" type="slidenum">
              <a:rPr lang="en-US" smtClean="0"/>
              <a:pPr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212600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p15="http://schemas.microsoft.com/office/powerpoint/2012/main" xmlns:a14="http://schemas.microsoft.com/office/drawing/2010/main"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4">
            <a:extLst>
              <a:ext uri="{FF2B5EF4-FFF2-40B4-BE49-F238E27FC236}">
                <a16:creationId xmlns:a16="http://schemas.microsoft.com/office/drawing/2014/main" id="{22AB9E99-BB6A-4DF6-B05E-DE57C37D074D}"/>
              </a:ext>
            </a:extLst>
          </p:cNvPr>
          <p:cNvGrpSpPr/>
          <p:nvPr/>
        </p:nvGrpSpPr>
        <p:grpSpPr>
          <a:xfrm>
            <a:off x="4762055" y="3946680"/>
            <a:ext cx="3567818" cy="3050929"/>
            <a:chOff x="4760467" y="3843647"/>
            <a:chExt cx="3567818" cy="3050929"/>
          </a:xfrm>
        </p:grpSpPr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6D0CB943-9B81-44AE-8002-B674F4FDA2C9}"/>
                </a:ext>
              </a:extLst>
            </p:cNvPr>
            <p:cNvSpPr/>
            <p:nvPr/>
          </p:nvSpPr>
          <p:spPr>
            <a:xfrm rot="540000">
              <a:off x="4760467" y="3843647"/>
              <a:ext cx="2558566" cy="3050929"/>
            </a:xfrm>
            <a:prstGeom prst="rect">
              <a:avLst/>
            </a:prstGeom>
            <a:solidFill>
              <a:schemeClr val="tx2">
                <a:lumMod val="75000"/>
                <a:lumOff val="25000"/>
              </a:schemeClr>
            </a:solidFill>
            <a:ln w="19050">
              <a:noFill/>
              <a:miter lim="800000"/>
            </a:ln>
            <a:scene3d>
              <a:camera prst="isometricOffAxis1Top"/>
              <a:lightRig rig="threePt" dir="t"/>
            </a:scene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defRPr/>
              </a:pPr>
              <a:endParaRPr lang="en-US" dirty="0">
                <a:solidFill>
                  <a:srgbClr val="FFFFFF"/>
                </a:solidFill>
                <a:latin typeface="Calibri"/>
              </a:endParaRPr>
            </a:p>
          </p:txBody>
        </p:sp>
        <p:grpSp>
          <p:nvGrpSpPr>
            <p:cNvPr id="7" name="Group 6">
              <a:extLst>
                <a:ext uri="{FF2B5EF4-FFF2-40B4-BE49-F238E27FC236}">
                  <a16:creationId xmlns:a16="http://schemas.microsoft.com/office/drawing/2014/main" id="{0AC60CAC-774B-41B7-B185-93A702A2987B}"/>
                </a:ext>
              </a:extLst>
            </p:cNvPr>
            <p:cNvGrpSpPr/>
            <p:nvPr/>
          </p:nvGrpSpPr>
          <p:grpSpPr>
            <a:xfrm>
              <a:off x="5120211" y="4893153"/>
              <a:ext cx="1033939" cy="939455"/>
              <a:chOff x="1246203" y="4829145"/>
              <a:chExt cx="1033939" cy="939455"/>
            </a:xfrm>
          </p:grpSpPr>
          <p:sp>
            <p:nvSpPr>
              <p:cNvPr id="16" name="Can 121">
                <a:extLst>
                  <a:ext uri="{FF2B5EF4-FFF2-40B4-BE49-F238E27FC236}">
                    <a16:creationId xmlns:a16="http://schemas.microsoft.com/office/drawing/2014/main" id="{1A14C05D-BD8E-4839-8D5C-337AD3DD9323}"/>
                  </a:ext>
                </a:extLst>
              </p:cNvPr>
              <p:cNvSpPr/>
              <p:nvPr/>
            </p:nvSpPr>
            <p:spPr>
              <a:xfrm rot="21535437">
                <a:off x="1246203" y="4829145"/>
                <a:ext cx="330702" cy="323124"/>
              </a:xfrm>
              <a:prstGeom prst="can">
                <a:avLst/>
              </a:prstGeom>
              <a:solidFill>
                <a:srgbClr val="CBAF87"/>
              </a:solidFill>
              <a:ln w="19050">
                <a:noFill/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lnSpc>
                    <a:spcPct val="90000"/>
                  </a:lnSpc>
                  <a:defRPr/>
                </a:pPr>
                <a:endParaRPr lang="en-US" dirty="0">
                  <a:solidFill>
                    <a:srgbClr val="FFFFFF"/>
                  </a:solidFill>
                  <a:latin typeface="Calibri"/>
                </a:endParaRPr>
              </a:p>
            </p:txBody>
          </p:sp>
          <p:sp>
            <p:nvSpPr>
              <p:cNvPr id="17" name="Can 252">
                <a:extLst>
                  <a:ext uri="{FF2B5EF4-FFF2-40B4-BE49-F238E27FC236}">
                    <a16:creationId xmlns:a16="http://schemas.microsoft.com/office/drawing/2014/main" id="{3308F30B-2A0A-4BD2-9FD7-0D08182C304B}"/>
                  </a:ext>
                </a:extLst>
              </p:cNvPr>
              <p:cNvSpPr/>
              <p:nvPr/>
            </p:nvSpPr>
            <p:spPr>
              <a:xfrm rot="21535437">
                <a:off x="1392294" y="4960366"/>
                <a:ext cx="330702" cy="323124"/>
              </a:xfrm>
              <a:prstGeom prst="can">
                <a:avLst/>
              </a:prstGeom>
              <a:solidFill>
                <a:srgbClr val="CBAF87"/>
              </a:solidFill>
              <a:ln w="19050">
                <a:noFill/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lnSpc>
                    <a:spcPct val="90000"/>
                  </a:lnSpc>
                  <a:defRPr/>
                </a:pPr>
                <a:endParaRPr lang="en-US" dirty="0">
                  <a:solidFill>
                    <a:srgbClr val="FFFFFF"/>
                  </a:solidFill>
                  <a:latin typeface="Calibri"/>
                </a:endParaRPr>
              </a:p>
            </p:txBody>
          </p:sp>
          <p:sp>
            <p:nvSpPr>
              <p:cNvPr id="18" name="Can 253">
                <a:extLst>
                  <a:ext uri="{FF2B5EF4-FFF2-40B4-BE49-F238E27FC236}">
                    <a16:creationId xmlns:a16="http://schemas.microsoft.com/office/drawing/2014/main" id="{2A9971F1-CCF6-400E-A597-4416049E1D13}"/>
                  </a:ext>
                </a:extLst>
              </p:cNvPr>
              <p:cNvSpPr/>
              <p:nvPr/>
            </p:nvSpPr>
            <p:spPr>
              <a:xfrm rot="21535437">
                <a:off x="1565816" y="5128165"/>
                <a:ext cx="330702" cy="323124"/>
              </a:xfrm>
              <a:prstGeom prst="can">
                <a:avLst/>
              </a:prstGeom>
              <a:solidFill>
                <a:srgbClr val="CBAF87"/>
              </a:solidFill>
              <a:ln w="19050">
                <a:noFill/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lnSpc>
                    <a:spcPct val="90000"/>
                  </a:lnSpc>
                  <a:defRPr/>
                </a:pPr>
                <a:endParaRPr lang="en-US" dirty="0">
                  <a:solidFill>
                    <a:srgbClr val="FFFFFF"/>
                  </a:solidFill>
                  <a:latin typeface="Calibri"/>
                </a:endParaRPr>
              </a:p>
            </p:txBody>
          </p:sp>
          <p:sp>
            <p:nvSpPr>
              <p:cNvPr id="19" name="Can 254">
                <a:extLst>
                  <a:ext uri="{FF2B5EF4-FFF2-40B4-BE49-F238E27FC236}">
                    <a16:creationId xmlns:a16="http://schemas.microsoft.com/office/drawing/2014/main" id="{826BD75E-997A-4941-8993-C0E7D999145D}"/>
                  </a:ext>
                </a:extLst>
              </p:cNvPr>
              <p:cNvSpPr/>
              <p:nvPr/>
            </p:nvSpPr>
            <p:spPr>
              <a:xfrm rot="21535437">
                <a:off x="1748484" y="5277678"/>
                <a:ext cx="330702" cy="323124"/>
              </a:xfrm>
              <a:prstGeom prst="can">
                <a:avLst/>
              </a:prstGeom>
              <a:solidFill>
                <a:srgbClr val="CBAF87"/>
              </a:solidFill>
              <a:ln w="19050">
                <a:noFill/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lnSpc>
                    <a:spcPct val="90000"/>
                  </a:lnSpc>
                  <a:defRPr/>
                </a:pPr>
                <a:endParaRPr lang="en-US" dirty="0">
                  <a:solidFill>
                    <a:srgbClr val="FFFFFF"/>
                  </a:solidFill>
                  <a:latin typeface="Calibri"/>
                </a:endParaRPr>
              </a:p>
            </p:txBody>
          </p:sp>
          <p:sp>
            <p:nvSpPr>
              <p:cNvPr id="20" name="Can 255">
                <a:extLst>
                  <a:ext uri="{FF2B5EF4-FFF2-40B4-BE49-F238E27FC236}">
                    <a16:creationId xmlns:a16="http://schemas.microsoft.com/office/drawing/2014/main" id="{6E375594-2FEA-43E9-81A1-4CBABA31F9F0}"/>
                  </a:ext>
                </a:extLst>
              </p:cNvPr>
              <p:cNvSpPr/>
              <p:nvPr/>
            </p:nvSpPr>
            <p:spPr>
              <a:xfrm rot="21535437">
                <a:off x="1949440" y="5445476"/>
                <a:ext cx="330702" cy="323124"/>
              </a:xfrm>
              <a:prstGeom prst="can">
                <a:avLst/>
              </a:prstGeom>
              <a:solidFill>
                <a:srgbClr val="CBAF87"/>
              </a:solidFill>
              <a:ln w="19050">
                <a:noFill/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lnSpc>
                    <a:spcPct val="90000"/>
                  </a:lnSpc>
                  <a:defRPr/>
                </a:pPr>
                <a:endParaRPr lang="en-US" dirty="0">
                  <a:solidFill>
                    <a:srgbClr val="FFFFFF"/>
                  </a:solidFill>
                  <a:latin typeface="Calibri"/>
                </a:endParaRPr>
              </a:p>
            </p:txBody>
          </p:sp>
        </p:grpSp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D63D009A-002F-41E1-BC2C-13F77B5E0C88}"/>
                </a:ext>
              </a:extLst>
            </p:cNvPr>
            <p:cNvSpPr txBox="1"/>
            <p:nvPr/>
          </p:nvSpPr>
          <p:spPr>
            <a:xfrm>
              <a:off x="5535296" y="6031173"/>
              <a:ext cx="2792989" cy="4631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>
                <a:lnSpc>
                  <a:spcPct val="90000"/>
                </a:lnSpc>
                <a:defRPr/>
              </a:pPr>
              <a:r>
                <a:rPr lang="en-US" sz="1400" dirty="0">
                  <a:solidFill>
                    <a:srgbClr val="58595B"/>
                  </a:solidFill>
                </a:rPr>
                <a:t>Fault Containment Zone 2</a:t>
              </a:r>
            </a:p>
          </p:txBody>
        </p:sp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A57E5236-C019-4496-ACA8-4E906C26819C}"/>
                </a:ext>
              </a:extLst>
            </p:cNvPr>
            <p:cNvSpPr txBox="1"/>
            <p:nvPr/>
          </p:nvSpPr>
          <p:spPr>
            <a:xfrm>
              <a:off x="6139557" y="4541622"/>
              <a:ext cx="566508" cy="31817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ctr">
                <a:lnSpc>
                  <a:spcPct val="90000"/>
                </a:lnSpc>
                <a:defRPr/>
              </a:pPr>
              <a:r>
                <a:rPr lang="en-US" sz="1050" dirty="0">
                  <a:solidFill>
                    <a:srgbClr val="000000"/>
                  </a:solidFill>
                  <a:latin typeface="Calibri"/>
                </a:rPr>
                <a:t>Storage Node</a:t>
              </a:r>
              <a:endParaRPr lang="en-US" sz="1050" dirty="0">
                <a:solidFill>
                  <a:srgbClr val="FFFFFF"/>
                </a:solidFill>
                <a:latin typeface="Calibri"/>
              </a:endParaRPr>
            </a:p>
            <a:p>
              <a:pPr>
                <a:lnSpc>
                  <a:spcPct val="90000"/>
                </a:lnSpc>
                <a:defRPr/>
              </a:pPr>
              <a:endParaRPr lang="en-US" sz="1050" dirty="0">
                <a:solidFill>
                  <a:srgbClr val="FFFFFF"/>
                </a:solidFill>
                <a:latin typeface="Calibri"/>
              </a:endParaRPr>
            </a:p>
          </p:txBody>
        </p:sp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id="{6658EEEE-A8E7-42C0-94A9-73D9023C6D2C}"/>
                </a:ext>
              </a:extLst>
            </p:cNvPr>
            <p:cNvGrpSpPr/>
            <p:nvPr/>
          </p:nvGrpSpPr>
          <p:grpSpPr>
            <a:xfrm>
              <a:off x="6031563" y="4891369"/>
              <a:ext cx="1033939" cy="939455"/>
              <a:chOff x="1246203" y="4829145"/>
              <a:chExt cx="1033939" cy="939455"/>
            </a:xfrm>
          </p:grpSpPr>
          <p:sp>
            <p:nvSpPr>
              <p:cNvPr id="11" name="Can 121">
                <a:extLst>
                  <a:ext uri="{FF2B5EF4-FFF2-40B4-BE49-F238E27FC236}">
                    <a16:creationId xmlns:a16="http://schemas.microsoft.com/office/drawing/2014/main" id="{533E14CE-FBB5-45C2-98B8-D0AC4713E70B}"/>
                  </a:ext>
                </a:extLst>
              </p:cNvPr>
              <p:cNvSpPr/>
              <p:nvPr/>
            </p:nvSpPr>
            <p:spPr>
              <a:xfrm rot="21535437">
                <a:off x="1246203" y="4829145"/>
                <a:ext cx="330702" cy="323124"/>
              </a:xfrm>
              <a:prstGeom prst="can">
                <a:avLst/>
              </a:prstGeom>
              <a:solidFill>
                <a:srgbClr val="CBAF87"/>
              </a:solidFill>
              <a:ln w="19050">
                <a:noFill/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lnSpc>
                    <a:spcPct val="90000"/>
                  </a:lnSpc>
                  <a:defRPr/>
                </a:pPr>
                <a:endParaRPr lang="en-US" dirty="0">
                  <a:solidFill>
                    <a:srgbClr val="FFFFFF"/>
                  </a:solidFill>
                  <a:latin typeface="Calibri"/>
                </a:endParaRPr>
              </a:p>
            </p:txBody>
          </p:sp>
          <p:sp>
            <p:nvSpPr>
              <p:cNvPr id="12" name="Can 252">
                <a:extLst>
                  <a:ext uri="{FF2B5EF4-FFF2-40B4-BE49-F238E27FC236}">
                    <a16:creationId xmlns:a16="http://schemas.microsoft.com/office/drawing/2014/main" id="{48D9532F-B1AF-4AF6-822A-6634DC8E170D}"/>
                  </a:ext>
                </a:extLst>
              </p:cNvPr>
              <p:cNvSpPr/>
              <p:nvPr/>
            </p:nvSpPr>
            <p:spPr>
              <a:xfrm rot="21535437">
                <a:off x="1392294" y="4960366"/>
                <a:ext cx="330702" cy="323124"/>
              </a:xfrm>
              <a:prstGeom prst="can">
                <a:avLst/>
              </a:prstGeom>
              <a:solidFill>
                <a:srgbClr val="CBAF87"/>
              </a:solidFill>
              <a:ln w="19050">
                <a:noFill/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lnSpc>
                    <a:spcPct val="90000"/>
                  </a:lnSpc>
                  <a:defRPr/>
                </a:pPr>
                <a:endParaRPr lang="en-US" dirty="0">
                  <a:solidFill>
                    <a:srgbClr val="FFFFFF"/>
                  </a:solidFill>
                  <a:latin typeface="Calibri"/>
                </a:endParaRPr>
              </a:p>
            </p:txBody>
          </p:sp>
          <p:sp>
            <p:nvSpPr>
              <p:cNvPr id="13" name="Can 253">
                <a:extLst>
                  <a:ext uri="{FF2B5EF4-FFF2-40B4-BE49-F238E27FC236}">
                    <a16:creationId xmlns:a16="http://schemas.microsoft.com/office/drawing/2014/main" id="{65636DF9-B248-43B6-A37C-8241DC643496}"/>
                  </a:ext>
                </a:extLst>
              </p:cNvPr>
              <p:cNvSpPr/>
              <p:nvPr/>
            </p:nvSpPr>
            <p:spPr>
              <a:xfrm rot="21535437">
                <a:off x="1565816" y="5128165"/>
                <a:ext cx="330702" cy="323124"/>
              </a:xfrm>
              <a:prstGeom prst="can">
                <a:avLst/>
              </a:prstGeom>
              <a:solidFill>
                <a:srgbClr val="CBAF87"/>
              </a:solidFill>
              <a:ln w="19050">
                <a:noFill/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lnSpc>
                    <a:spcPct val="90000"/>
                  </a:lnSpc>
                  <a:defRPr/>
                </a:pPr>
                <a:endParaRPr lang="en-US" dirty="0">
                  <a:solidFill>
                    <a:srgbClr val="FFFFFF"/>
                  </a:solidFill>
                  <a:latin typeface="Calibri"/>
                </a:endParaRPr>
              </a:p>
            </p:txBody>
          </p:sp>
          <p:sp>
            <p:nvSpPr>
              <p:cNvPr id="14" name="Can 254">
                <a:extLst>
                  <a:ext uri="{FF2B5EF4-FFF2-40B4-BE49-F238E27FC236}">
                    <a16:creationId xmlns:a16="http://schemas.microsoft.com/office/drawing/2014/main" id="{E3E3EA9B-1F74-49E5-8E3F-E44B98184ECD}"/>
                  </a:ext>
                </a:extLst>
              </p:cNvPr>
              <p:cNvSpPr/>
              <p:nvPr/>
            </p:nvSpPr>
            <p:spPr>
              <a:xfrm rot="21535437">
                <a:off x="1748484" y="5277678"/>
                <a:ext cx="330702" cy="323124"/>
              </a:xfrm>
              <a:prstGeom prst="can">
                <a:avLst/>
              </a:prstGeom>
              <a:solidFill>
                <a:srgbClr val="CBAF87"/>
              </a:solidFill>
              <a:ln w="19050">
                <a:noFill/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lnSpc>
                    <a:spcPct val="90000"/>
                  </a:lnSpc>
                  <a:defRPr/>
                </a:pPr>
                <a:endParaRPr lang="en-US" dirty="0">
                  <a:solidFill>
                    <a:srgbClr val="FFFFFF"/>
                  </a:solidFill>
                  <a:latin typeface="Calibri"/>
                </a:endParaRPr>
              </a:p>
            </p:txBody>
          </p:sp>
          <p:sp>
            <p:nvSpPr>
              <p:cNvPr id="15" name="Can 255">
                <a:extLst>
                  <a:ext uri="{FF2B5EF4-FFF2-40B4-BE49-F238E27FC236}">
                    <a16:creationId xmlns:a16="http://schemas.microsoft.com/office/drawing/2014/main" id="{60BC72F2-B055-442F-A711-64D1F8390A05}"/>
                  </a:ext>
                </a:extLst>
              </p:cNvPr>
              <p:cNvSpPr/>
              <p:nvPr/>
            </p:nvSpPr>
            <p:spPr>
              <a:xfrm rot="21535437">
                <a:off x="1949440" y="5445476"/>
                <a:ext cx="330702" cy="323124"/>
              </a:xfrm>
              <a:prstGeom prst="can">
                <a:avLst/>
              </a:prstGeom>
              <a:solidFill>
                <a:srgbClr val="CBAF87"/>
              </a:solidFill>
              <a:ln w="19050">
                <a:noFill/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lnSpc>
                    <a:spcPct val="90000"/>
                  </a:lnSpc>
                  <a:defRPr/>
                </a:pPr>
                <a:endParaRPr lang="en-US" dirty="0">
                  <a:solidFill>
                    <a:srgbClr val="FFFFFF"/>
                  </a:solidFill>
                  <a:latin typeface="Calibri"/>
                </a:endParaRPr>
              </a:p>
            </p:txBody>
          </p:sp>
        </p:grpSp>
      </p:grpSp>
      <p:grpSp>
        <p:nvGrpSpPr>
          <p:cNvPr id="21" name="Group 20">
            <a:extLst>
              <a:ext uri="{FF2B5EF4-FFF2-40B4-BE49-F238E27FC236}">
                <a16:creationId xmlns:a16="http://schemas.microsoft.com/office/drawing/2014/main" id="{D150B125-4569-4CFE-BEC8-D73FE45A8BC8}"/>
              </a:ext>
            </a:extLst>
          </p:cNvPr>
          <p:cNvGrpSpPr/>
          <p:nvPr/>
        </p:nvGrpSpPr>
        <p:grpSpPr>
          <a:xfrm>
            <a:off x="7831391" y="3946680"/>
            <a:ext cx="3567818" cy="3050929"/>
            <a:chOff x="7829803" y="3843647"/>
            <a:chExt cx="3567818" cy="3050929"/>
          </a:xfrm>
        </p:grpSpPr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B6CFD06E-0DA9-46EA-8BF4-241ABC646CB5}"/>
                </a:ext>
              </a:extLst>
            </p:cNvPr>
            <p:cNvSpPr/>
            <p:nvPr/>
          </p:nvSpPr>
          <p:spPr>
            <a:xfrm rot="540000">
              <a:off x="7829803" y="3843647"/>
              <a:ext cx="2558566" cy="3050929"/>
            </a:xfrm>
            <a:prstGeom prst="rect">
              <a:avLst/>
            </a:prstGeom>
            <a:solidFill>
              <a:schemeClr val="tx2">
                <a:lumMod val="75000"/>
                <a:lumOff val="25000"/>
              </a:schemeClr>
            </a:solidFill>
            <a:ln w="19050">
              <a:noFill/>
              <a:miter lim="800000"/>
            </a:ln>
            <a:scene3d>
              <a:camera prst="isometricOffAxis1Top"/>
              <a:lightRig rig="threePt" dir="t"/>
            </a:scene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defRPr/>
              </a:pPr>
              <a:endParaRPr lang="en-US" dirty="0">
                <a:solidFill>
                  <a:srgbClr val="FFFFFF"/>
                </a:solidFill>
                <a:latin typeface="Calibri"/>
              </a:endParaRPr>
            </a:p>
          </p:txBody>
        </p:sp>
        <p:grpSp>
          <p:nvGrpSpPr>
            <p:cNvPr id="23" name="Group 22">
              <a:extLst>
                <a:ext uri="{FF2B5EF4-FFF2-40B4-BE49-F238E27FC236}">
                  <a16:creationId xmlns:a16="http://schemas.microsoft.com/office/drawing/2014/main" id="{BAF85DDA-6962-43A9-AEAC-F73368C772E4}"/>
                </a:ext>
              </a:extLst>
            </p:cNvPr>
            <p:cNvGrpSpPr/>
            <p:nvPr/>
          </p:nvGrpSpPr>
          <p:grpSpPr>
            <a:xfrm>
              <a:off x="8189547" y="4893153"/>
              <a:ext cx="1033939" cy="939455"/>
              <a:chOff x="1246203" y="4829145"/>
              <a:chExt cx="1033939" cy="939455"/>
            </a:xfrm>
          </p:grpSpPr>
          <p:sp>
            <p:nvSpPr>
              <p:cNvPr id="31" name="Can 121">
                <a:extLst>
                  <a:ext uri="{FF2B5EF4-FFF2-40B4-BE49-F238E27FC236}">
                    <a16:creationId xmlns:a16="http://schemas.microsoft.com/office/drawing/2014/main" id="{16E67A0D-8D1E-4538-A5F9-39F69BC7A4A5}"/>
                  </a:ext>
                </a:extLst>
              </p:cNvPr>
              <p:cNvSpPr/>
              <p:nvPr/>
            </p:nvSpPr>
            <p:spPr>
              <a:xfrm rot="21535437">
                <a:off x="1246203" y="4829145"/>
                <a:ext cx="330702" cy="323124"/>
              </a:xfrm>
              <a:prstGeom prst="can">
                <a:avLst/>
              </a:prstGeom>
              <a:solidFill>
                <a:srgbClr val="CBAF87"/>
              </a:solidFill>
              <a:ln w="19050">
                <a:noFill/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lnSpc>
                    <a:spcPct val="90000"/>
                  </a:lnSpc>
                  <a:defRPr/>
                </a:pPr>
                <a:endParaRPr lang="en-US" dirty="0">
                  <a:solidFill>
                    <a:srgbClr val="FFFFFF"/>
                  </a:solidFill>
                  <a:latin typeface="Calibri"/>
                </a:endParaRPr>
              </a:p>
            </p:txBody>
          </p:sp>
          <p:sp>
            <p:nvSpPr>
              <p:cNvPr id="32" name="Can 252">
                <a:extLst>
                  <a:ext uri="{FF2B5EF4-FFF2-40B4-BE49-F238E27FC236}">
                    <a16:creationId xmlns:a16="http://schemas.microsoft.com/office/drawing/2014/main" id="{0C4A4785-77BC-4C7B-BE12-3F11248B1743}"/>
                  </a:ext>
                </a:extLst>
              </p:cNvPr>
              <p:cNvSpPr/>
              <p:nvPr/>
            </p:nvSpPr>
            <p:spPr>
              <a:xfrm rot="21535437">
                <a:off x="1392294" y="4960366"/>
                <a:ext cx="330702" cy="323124"/>
              </a:xfrm>
              <a:prstGeom prst="can">
                <a:avLst/>
              </a:prstGeom>
              <a:solidFill>
                <a:srgbClr val="CBAF87"/>
              </a:solidFill>
              <a:ln w="19050">
                <a:noFill/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lnSpc>
                    <a:spcPct val="90000"/>
                  </a:lnSpc>
                  <a:defRPr/>
                </a:pPr>
                <a:endParaRPr lang="en-US" dirty="0">
                  <a:solidFill>
                    <a:srgbClr val="FFFFFF"/>
                  </a:solidFill>
                  <a:latin typeface="Calibri"/>
                </a:endParaRPr>
              </a:p>
            </p:txBody>
          </p:sp>
          <p:sp>
            <p:nvSpPr>
              <p:cNvPr id="33" name="Can 253">
                <a:extLst>
                  <a:ext uri="{FF2B5EF4-FFF2-40B4-BE49-F238E27FC236}">
                    <a16:creationId xmlns:a16="http://schemas.microsoft.com/office/drawing/2014/main" id="{D1D35A22-4FE7-459E-B6DB-EB665D9B57EA}"/>
                  </a:ext>
                </a:extLst>
              </p:cNvPr>
              <p:cNvSpPr/>
              <p:nvPr/>
            </p:nvSpPr>
            <p:spPr>
              <a:xfrm rot="21535437">
                <a:off x="1565816" y="5128165"/>
                <a:ext cx="330702" cy="323124"/>
              </a:xfrm>
              <a:prstGeom prst="can">
                <a:avLst/>
              </a:prstGeom>
              <a:solidFill>
                <a:srgbClr val="CBAF87"/>
              </a:solidFill>
              <a:ln w="19050">
                <a:noFill/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lnSpc>
                    <a:spcPct val="90000"/>
                  </a:lnSpc>
                  <a:defRPr/>
                </a:pPr>
                <a:endParaRPr lang="en-US" dirty="0">
                  <a:solidFill>
                    <a:srgbClr val="FFFFFF"/>
                  </a:solidFill>
                  <a:latin typeface="Calibri"/>
                </a:endParaRPr>
              </a:p>
            </p:txBody>
          </p:sp>
          <p:sp>
            <p:nvSpPr>
              <p:cNvPr id="34" name="Can 254">
                <a:extLst>
                  <a:ext uri="{FF2B5EF4-FFF2-40B4-BE49-F238E27FC236}">
                    <a16:creationId xmlns:a16="http://schemas.microsoft.com/office/drawing/2014/main" id="{39C167E4-362D-4C77-9265-F6111005E631}"/>
                  </a:ext>
                </a:extLst>
              </p:cNvPr>
              <p:cNvSpPr/>
              <p:nvPr/>
            </p:nvSpPr>
            <p:spPr>
              <a:xfrm rot="21535437">
                <a:off x="1748484" y="5277678"/>
                <a:ext cx="330702" cy="323124"/>
              </a:xfrm>
              <a:prstGeom prst="can">
                <a:avLst/>
              </a:prstGeom>
              <a:solidFill>
                <a:srgbClr val="CBAF87"/>
              </a:solidFill>
              <a:ln w="19050">
                <a:noFill/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lnSpc>
                    <a:spcPct val="90000"/>
                  </a:lnSpc>
                  <a:defRPr/>
                </a:pPr>
                <a:endParaRPr lang="en-US" dirty="0">
                  <a:solidFill>
                    <a:srgbClr val="FFFFFF"/>
                  </a:solidFill>
                  <a:latin typeface="Calibri"/>
                </a:endParaRPr>
              </a:p>
            </p:txBody>
          </p:sp>
          <p:sp>
            <p:nvSpPr>
              <p:cNvPr id="35" name="Can 255">
                <a:extLst>
                  <a:ext uri="{FF2B5EF4-FFF2-40B4-BE49-F238E27FC236}">
                    <a16:creationId xmlns:a16="http://schemas.microsoft.com/office/drawing/2014/main" id="{B7ECB1FD-35CE-4527-9781-724E6E2AC05A}"/>
                  </a:ext>
                </a:extLst>
              </p:cNvPr>
              <p:cNvSpPr/>
              <p:nvPr/>
            </p:nvSpPr>
            <p:spPr>
              <a:xfrm rot="21535437">
                <a:off x="1949440" y="5445476"/>
                <a:ext cx="330702" cy="323124"/>
              </a:xfrm>
              <a:prstGeom prst="can">
                <a:avLst/>
              </a:prstGeom>
              <a:solidFill>
                <a:srgbClr val="CBAF87"/>
              </a:solidFill>
              <a:ln w="19050">
                <a:noFill/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lnSpc>
                    <a:spcPct val="90000"/>
                  </a:lnSpc>
                  <a:defRPr/>
                </a:pPr>
                <a:endParaRPr lang="en-US" dirty="0">
                  <a:solidFill>
                    <a:srgbClr val="FFFFFF"/>
                  </a:solidFill>
                  <a:latin typeface="Calibri"/>
                </a:endParaRPr>
              </a:p>
            </p:txBody>
          </p:sp>
        </p:grpSp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CE7FEE1C-D624-407A-88F8-6894E1282766}"/>
                </a:ext>
              </a:extLst>
            </p:cNvPr>
            <p:cNvSpPr txBox="1"/>
            <p:nvPr/>
          </p:nvSpPr>
          <p:spPr>
            <a:xfrm>
              <a:off x="8604632" y="6031173"/>
              <a:ext cx="2792989" cy="4631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>
                <a:lnSpc>
                  <a:spcPct val="90000"/>
                </a:lnSpc>
                <a:defRPr/>
              </a:pPr>
              <a:r>
                <a:rPr lang="en-US" sz="1400" dirty="0">
                  <a:solidFill>
                    <a:srgbClr val="58595B"/>
                  </a:solidFill>
                </a:rPr>
                <a:t>Fault Containment Zone 3</a:t>
              </a:r>
            </a:p>
          </p:txBody>
        </p:sp>
        <p:grpSp>
          <p:nvGrpSpPr>
            <p:cNvPr id="25" name="Group 24">
              <a:extLst>
                <a:ext uri="{FF2B5EF4-FFF2-40B4-BE49-F238E27FC236}">
                  <a16:creationId xmlns:a16="http://schemas.microsoft.com/office/drawing/2014/main" id="{0214E1C2-DA15-448B-8A57-410EA7F944C5}"/>
                </a:ext>
              </a:extLst>
            </p:cNvPr>
            <p:cNvGrpSpPr/>
            <p:nvPr/>
          </p:nvGrpSpPr>
          <p:grpSpPr>
            <a:xfrm>
              <a:off x="9100899" y="4891369"/>
              <a:ext cx="1033939" cy="939455"/>
              <a:chOff x="1246203" y="4829145"/>
              <a:chExt cx="1033939" cy="939455"/>
            </a:xfrm>
          </p:grpSpPr>
          <p:sp>
            <p:nvSpPr>
              <p:cNvPr id="26" name="Can 121">
                <a:extLst>
                  <a:ext uri="{FF2B5EF4-FFF2-40B4-BE49-F238E27FC236}">
                    <a16:creationId xmlns:a16="http://schemas.microsoft.com/office/drawing/2014/main" id="{A036F3F3-725E-4AB2-8C4E-9ACC804B0539}"/>
                  </a:ext>
                </a:extLst>
              </p:cNvPr>
              <p:cNvSpPr/>
              <p:nvPr/>
            </p:nvSpPr>
            <p:spPr>
              <a:xfrm rot="21535437">
                <a:off x="1246203" y="4829145"/>
                <a:ext cx="330702" cy="323124"/>
              </a:xfrm>
              <a:prstGeom prst="can">
                <a:avLst/>
              </a:prstGeom>
              <a:solidFill>
                <a:srgbClr val="CBAF87"/>
              </a:solidFill>
              <a:ln w="19050">
                <a:noFill/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lnSpc>
                    <a:spcPct val="90000"/>
                  </a:lnSpc>
                  <a:defRPr/>
                </a:pPr>
                <a:endParaRPr lang="en-US" dirty="0">
                  <a:solidFill>
                    <a:srgbClr val="FFFFFF"/>
                  </a:solidFill>
                  <a:latin typeface="Calibri"/>
                </a:endParaRPr>
              </a:p>
            </p:txBody>
          </p:sp>
          <p:sp>
            <p:nvSpPr>
              <p:cNvPr id="27" name="Can 252">
                <a:extLst>
                  <a:ext uri="{FF2B5EF4-FFF2-40B4-BE49-F238E27FC236}">
                    <a16:creationId xmlns:a16="http://schemas.microsoft.com/office/drawing/2014/main" id="{49B2FD7E-480C-4D68-9FB6-5CF931D18C34}"/>
                  </a:ext>
                </a:extLst>
              </p:cNvPr>
              <p:cNvSpPr/>
              <p:nvPr/>
            </p:nvSpPr>
            <p:spPr>
              <a:xfrm rot="21535437">
                <a:off x="1392294" y="4960366"/>
                <a:ext cx="330702" cy="323124"/>
              </a:xfrm>
              <a:prstGeom prst="can">
                <a:avLst/>
              </a:prstGeom>
              <a:solidFill>
                <a:srgbClr val="CBAF87"/>
              </a:solidFill>
              <a:ln w="19050">
                <a:noFill/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lnSpc>
                    <a:spcPct val="90000"/>
                  </a:lnSpc>
                  <a:defRPr/>
                </a:pPr>
                <a:endParaRPr lang="en-US" dirty="0">
                  <a:solidFill>
                    <a:srgbClr val="FFFFFF"/>
                  </a:solidFill>
                  <a:latin typeface="Calibri"/>
                </a:endParaRPr>
              </a:p>
            </p:txBody>
          </p:sp>
          <p:sp>
            <p:nvSpPr>
              <p:cNvPr id="28" name="Can 253">
                <a:extLst>
                  <a:ext uri="{FF2B5EF4-FFF2-40B4-BE49-F238E27FC236}">
                    <a16:creationId xmlns:a16="http://schemas.microsoft.com/office/drawing/2014/main" id="{430E5F7E-13FE-4ACC-BAF0-9FB35F6C2DB6}"/>
                  </a:ext>
                </a:extLst>
              </p:cNvPr>
              <p:cNvSpPr/>
              <p:nvPr/>
            </p:nvSpPr>
            <p:spPr>
              <a:xfrm rot="21535437">
                <a:off x="1565816" y="5128165"/>
                <a:ext cx="330702" cy="323124"/>
              </a:xfrm>
              <a:prstGeom prst="can">
                <a:avLst/>
              </a:prstGeom>
              <a:solidFill>
                <a:srgbClr val="CBAF87"/>
              </a:solidFill>
              <a:ln w="19050">
                <a:noFill/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lnSpc>
                    <a:spcPct val="90000"/>
                  </a:lnSpc>
                  <a:defRPr/>
                </a:pPr>
                <a:endParaRPr lang="en-US" dirty="0">
                  <a:solidFill>
                    <a:srgbClr val="FFFFFF"/>
                  </a:solidFill>
                  <a:latin typeface="Calibri"/>
                </a:endParaRPr>
              </a:p>
            </p:txBody>
          </p:sp>
          <p:sp>
            <p:nvSpPr>
              <p:cNvPr id="29" name="Can 254">
                <a:extLst>
                  <a:ext uri="{FF2B5EF4-FFF2-40B4-BE49-F238E27FC236}">
                    <a16:creationId xmlns:a16="http://schemas.microsoft.com/office/drawing/2014/main" id="{E3EC7DD5-418A-4777-B3AF-AB6E065C7084}"/>
                  </a:ext>
                </a:extLst>
              </p:cNvPr>
              <p:cNvSpPr/>
              <p:nvPr/>
            </p:nvSpPr>
            <p:spPr>
              <a:xfrm rot="21535437">
                <a:off x="1748484" y="5277678"/>
                <a:ext cx="330702" cy="323124"/>
              </a:xfrm>
              <a:prstGeom prst="can">
                <a:avLst/>
              </a:prstGeom>
              <a:solidFill>
                <a:srgbClr val="CBAF87"/>
              </a:solidFill>
              <a:ln w="19050">
                <a:noFill/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lnSpc>
                    <a:spcPct val="90000"/>
                  </a:lnSpc>
                  <a:defRPr/>
                </a:pPr>
                <a:endParaRPr lang="en-US" dirty="0">
                  <a:solidFill>
                    <a:srgbClr val="FFFFFF"/>
                  </a:solidFill>
                  <a:latin typeface="Calibri"/>
                </a:endParaRPr>
              </a:p>
            </p:txBody>
          </p:sp>
          <p:sp>
            <p:nvSpPr>
              <p:cNvPr id="30" name="Can 255">
                <a:extLst>
                  <a:ext uri="{FF2B5EF4-FFF2-40B4-BE49-F238E27FC236}">
                    <a16:creationId xmlns:a16="http://schemas.microsoft.com/office/drawing/2014/main" id="{15B99662-0DAF-4F02-A6B5-65F1D5B0829C}"/>
                  </a:ext>
                </a:extLst>
              </p:cNvPr>
              <p:cNvSpPr/>
              <p:nvPr/>
            </p:nvSpPr>
            <p:spPr>
              <a:xfrm rot="21535437">
                <a:off x="1949440" y="5445476"/>
                <a:ext cx="330702" cy="323124"/>
              </a:xfrm>
              <a:prstGeom prst="can">
                <a:avLst/>
              </a:prstGeom>
              <a:solidFill>
                <a:srgbClr val="CBAF87"/>
              </a:solidFill>
              <a:ln w="19050">
                <a:noFill/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lnSpc>
                    <a:spcPct val="90000"/>
                  </a:lnSpc>
                  <a:defRPr/>
                </a:pPr>
                <a:endParaRPr lang="en-US" dirty="0">
                  <a:solidFill>
                    <a:srgbClr val="FFFFFF"/>
                  </a:solidFill>
                  <a:latin typeface="Calibri"/>
                </a:endParaRPr>
              </a:p>
            </p:txBody>
          </p:sp>
        </p:grpSp>
      </p:grpSp>
      <p:sp>
        <p:nvSpPr>
          <p:cNvPr id="37" name="Rectangle 36">
            <a:extLst>
              <a:ext uri="{FF2B5EF4-FFF2-40B4-BE49-F238E27FC236}">
                <a16:creationId xmlns:a16="http://schemas.microsoft.com/office/drawing/2014/main" id="{6063076C-B080-4D97-BC19-AA525C9C396B}"/>
              </a:ext>
            </a:extLst>
          </p:cNvPr>
          <p:cNvSpPr/>
          <p:nvPr/>
        </p:nvSpPr>
        <p:spPr>
          <a:xfrm rot="540000">
            <a:off x="1637855" y="3937536"/>
            <a:ext cx="2558566" cy="3050929"/>
          </a:xfrm>
          <a:prstGeom prst="rect">
            <a:avLst/>
          </a:prstGeom>
          <a:solidFill>
            <a:schemeClr val="tx2">
              <a:lumMod val="75000"/>
              <a:lumOff val="25000"/>
            </a:schemeClr>
          </a:solidFill>
          <a:ln w="19050">
            <a:noFill/>
            <a:miter lim="800000"/>
          </a:ln>
          <a:scene3d>
            <a:camera prst="isometricOffAxis1Top"/>
            <a:lightRig rig="threePt" dir="t"/>
          </a:scene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defRPr/>
            </a:pPr>
            <a:endParaRPr lang="en-US" dirty="0">
              <a:solidFill>
                <a:srgbClr val="FFFFFF"/>
              </a:solidFill>
              <a:latin typeface="Calibri"/>
            </a:endParaRPr>
          </a:p>
        </p:txBody>
      </p:sp>
      <p:grpSp>
        <p:nvGrpSpPr>
          <p:cNvPr id="38" name="Group 37">
            <a:extLst>
              <a:ext uri="{FF2B5EF4-FFF2-40B4-BE49-F238E27FC236}">
                <a16:creationId xmlns:a16="http://schemas.microsoft.com/office/drawing/2014/main" id="{972ED47E-CBEA-4994-9312-7AE0946AC9C0}"/>
              </a:ext>
            </a:extLst>
          </p:cNvPr>
          <p:cNvGrpSpPr/>
          <p:nvPr/>
        </p:nvGrpSpPr>
        <p:grpSpPr>
          <a:xfrm>
            <a:off x="1997599" y="4987042"/>
            <a:ext cx="1033939" cy="939455"/>
            <a:chOff x="1246203" y="4829145"/>
            <a:chExt cx="1033939" cy="939455"/>
          </a:xfrm>
        </p:grpSpPr>
        <p:sp>
          <p:nvSpPr>
            <p:cNvPr id="47" name="Can 121">
              <a:extLst>
                <a:ext uri="{FF2B5EF4-FFF2-40B4-BE49-F238E27FC236}">
                  <a16:creationId xmlns:a16="http://schemas.microsoft.com/office/drawing/2014/main" id="{1AE608A5-6425-40D8-8A5A-EC64D672F1A1}"/>
                </a:ext>
              </a:extLst>
            </p:cNvPr>
            <p:cNvSpPr/>
            <p:nvPr/>
          </p:nvSpPr>
          <p:spPr>
            <a:xfrm rot="21535437">
              <a:off x="1246203" y="4829145"/>
              <a:ext cx="330702" cy="323124"/>
            </a:xfrm>
            <a:prstGeom prst="can">
              <a:avLst/>
            </a:prstGeom>
            <a:solidFill>
              <a:srgbClr val="CBAF87"/>
            </a:solidFill>
            <a:ln w="19050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defRPr/>
              </a:pPr>
              <a:endParaRPr lang="en-US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48" name="Can 252">
              <a:extLst>
                <a:ext uri="{FF2B5EF4-FFF2-40B4-BE49-F238E27FC236}">
                  <a16:creationId xmlns:a16="http://schemas.microsoft.com/office/drawing/2014/main" id="{33FA7739-51BE-4741-82FB-D791DB7A41BF}"/>
                </a:ext>
              </a:extLst>
            </p:cNvPr>
            <p:cNvSpPr/>
            <p:nvPr/>
          </p:nvSpPr>
          <p:spPr>
            <a:xfrm rot="21535437">
              <a:off x="1392294" y="4960366"/>
              <a:ext cx="330702" cy="323124"/>
            </a:xfrm>
            <a:prstGeom prst="can">
              <a:avLst/>
            </a:prstGeom>
            <a:solidFill>
              <a:srgbClr val="CBAF87"/>
            </a:solidFill>
            <a:ln w="19050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defRPr/>
              </a:pPr>
              <a:endParaRPr lang="en-US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49" name="Can 253">
              <a:extLst>
                <a:ext uri="{FF2B5EF4-FFF2-40B4-BE49-F238E27FC236}">
                  <a16:creationId xmlns:a16="http://schemas.microsoft.com/office/drawing/2014/main" id="{05C6ECEC-4A6F-498E-93EB-1025CF461A6C}"/>
                </a:ext>
              </a:extLst>
            </p:cNvPr>
            <p:cNvSpPr/>
            <p:nvPr/>
          </p:nvSpPr>
          <p:spPr>
            <a:xfrm rot="21535437">
              <a:off x="1565816" y="5128165"/>
              <a:ext cx="330702" cy="323124"/>
            </a:xfrm>
            <a:prstGeom prst="can">
              <a:avLst/>
            </a:prstGeom>
            <a:solidFill>
              <a:srgbClr val="CBAF87"/>
            </a:solidFill>
            <a:ln w="19050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defRPr/>
              </a:pPr>
              <a:endParaRPr lang="en-US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50" name="Can 254">
              <a:extLst>
                <a:ext uri="{FF2B5EF4-FFF2-40B4-BE49-F238E27FC236}">
                  <a16:creationId xmlns:a16="http://schemas.microsoft.com/office/drawing/2014/main" id="{761F3208-F6F7-49BA-857B-31BC8DE46798}"/>
                </a:ext>
              </a:extLst>
            </p:cNvPr>
            <p:cNvSpPr/>
            <p:nvPr/>
          </p:nvSpPr>
          <p:spPr>
            <a:xfrm rot="21535437">
              <a:off x="1748484" y="5277678"/>
              <a:ext cx="330702" cy="323124"/>
            </a:xfrm>
            <a:prstGeom prst="can">
              <a:avLst/>
            </a:prstGeom>
            <a:solidFill>
              <a:srgbClr val="CBAF87"/>
            </a:solidFill>
            <a:ln w="19050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defRPr/>
              </a:pPr>
              <a:endParaRPr lang="en-US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51" name="Can 255">
              <a:extLst>
                <a:ext uri="{FF2B5EF4-FFF2-40B4-BE49-F238E27FC236}">
                  <a16:creationId xmlns:a16="http://schemas.microsoft.com/office/drawing/2014/main" id="{3AD862BD-C4A7-4DCE-998D-2AB60FEC38AC}"/>
                </a:ext>
              </a:extLst>
            </p:cNvPr>
            <p:cNvSpPr/>
            <p:nvPr/>
          </p:nvSpPr>
          <p:spPr>
            <a:xfrm rot="21535437">
              <a:off x="1949440" y="5445476"/>
              <a:ext cx="330702" cy="323124"/>
            </a:xfrm>
            <a:prstGeom prst="can">
              <a:avLst/>
            </a:prstGeom>
            <a:solidFill>
              <a:srgbClr val="CBAF87"/>
            </a:solidFill>
            <a:ln w="19050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defRPr/>
              </a:pPr>
              <a:endParaRPr lang="en-US" dirty="0">
                <a:solidFill>
                  <a:srgbClr val="FFFFFF"/>
                </a:solidFill>
                <a:latin typeface="Calibri"/>
              </a:endParaRPr>
            </a:p>
          </p:txBody>
        </p:sp>
      </p:grpSp>
      <p:sp>
        <p:nvSpPr>
          <p:cNvPr id="39" name="TextBox 38">
            <a:extLst>
              <a:ext uri="{FF2B5EF4-FFF2-40B4-BE49-F238E27FC236}">
                <a16:creationId xmlns:a16="http://schemas.microsoft.com/office/drawing/2014/main" id="{44165352-4CA7-4C09-95EC-D6C21A9C2DF4}"/>
              </a:ext>
            </a:extLst>
          </p:cNvPr>
          <p:cNvSpPr txBox="1"/>
          <p:nvPr/>
        </p:nvSpPr>
        <p:spPr>
          <a:xfrm>
            <a:off x="2412684" y="6125062"/>
            <a:ext cx="2792989" cy="46318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90000"/>
              </a:lnSpc>
              <a:defRPr/>
            </a:pPr>
            <a:r>
              <a:rPr lang="en-US" sz="1400" dirty="0">
                <a:solidFill>
                  <a:srgbClr val="58595B"/>
                </a:solidFill>
              </a:rPr>
              <a:t>Fault Containment Zone 1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0ECE030F-E09D-4812-88FE-32F74CD8F189}"/>
              </a:ext>
            </a:extLst>
          </p:cNvPr>
          <p:cNvSpPr txBox="1"/>
          <p:nvPr/>
        </p:nvSpPr>
        <p:spPr>
          <a:xfrm>
            <a:off x="2742625" y="4608079"/>
            <a:ext cx="566508" cy="31817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>
              <a:lnSpc>
                <a:spcPct val="90000"/>
              </a:lnSpc>
              <a:defRPr/>
            </a:pPr>
            <a:r>
              <a:rPr lang="en-US" sz="1050" dirty="0">
                <a:solidFill>
                  <a:srgbClr val="000000"/>
                </a:solidFill>
                <a:latin typeface="Calibri"/>
              </a:rPr>
              <a:t>Storage Node</a:t>
            </a:r>
            <a:endParaRPr lang="en-US" sz="1050" dirty="0">
              <a:solidFill>
                <a:srgbClr val="FFFFFF"/>
              </a:solidFill>
              <a:latin typeface="Calibri"/>
            </a:endParaRPr>
          </a:p>
          <a:p>
            <a:pPr>
              <a:lnSpc>
                <a:spcPct val="90000"/>
              </a:lnSpc>
              <a:defRPr/>
            </a:pPr>
            <a:endParaRPr lang="en-US" sz="1050" dirty="0">
              <a:solidFill>
                <a:srgbClr val="FFFFFF"/>
              </a:solidFill>
              <a:latin typeface="Calibri"/>
            </a:endParaRPr>
          </a:p>
        </p:txBody>
      </p:sp>
      <p:grpSp>
        <p:nvGrpSpPr>
          <p:cNvPr id="41" name="Group 40">
            <a:extLst>
              <a:ext uri="{FF2B5EF4-FFF2-40B4-BE49-F238E27FC236}">
                <a16:creationId xmlns:a16="http://schemas.microsoft.com/office/drawing/2014/main" id="{60086E3D-8CB8-47F5-8DE5-D0222DC1CB5B}"/>
              </a:ext>
            </a:extLst>
          </p:cNvPr>
          <p:cNvGrpSpPr/>
          <p:nvPr/>
        </p:nvGrpSpPr>
        <p:grpSpPr>
          <a:xfrm>
            <a:off x="2908951" y="4985258"/>
            <a:ext cx="1033939" cy="939455"/>
            <a:chOff x="1246203" y="4829145"/>
            <a:chExt cx="1033939" cy="939455"/>
          </a:xfrm>
        </p:grpSpPr>
        <p:sp>
          <p:nvSpPr>
            <p:cNvPr id="42" name="Can 121">
              <a:extLst>
                <a:ext uri="{FF2B5EF4-FFF2-40B4-BE49-F238E27FC236}">
                  <a16:creationId xmlns:a16="http://schemas.microsoft.com/office/drawing/2014/main" id="{99223A82-CB0C-43AB-A643-83AB9EFA5B9A}"/>
                </a:ext>
              </a:extLst>
            </p:cNvPr>
            <p:cNvSpPr/>
            <p:nvPr/>
          </p:nvSpPr>
          <p:spPr>
            <a:xfrm rot="21535437">
              <a:off x="1246203" y="4829145"/>
              <a:ext cx="330702" cy="323124"/>
            </a:xfrm>
            <a:prstGeom prst="can">
              <a:avLst/>
            </a:prstGeom>
            <a:solidFill>
              <a:srgbClr val="CBAF87"/>
            </a:solidFill>
            <a:ln w="19050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defRPr/>
              </a:pPr>
              <a:endParaRPr lang="en-US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43" name="Can 252">
              <a:extLst>
                <a:ext uri="{FF2B5EF4-FFF2-40B4-BE49-F238E27FC236}">
                  <a16:creationId xmlns:a16="http://schemas.microsoft.com/office/drawing/2014/main" id="{294F3242-EA09-4E0E-A071-33A4541E3E5F}"/>
                </a:ext>
              </a:extLst>
            </p:cNvPr>
            <p:cNvSpPr/>
            <p:nvPr/>
          </p:nvSpPr>
          <p:spPr>
            <a:xfrm rot="21535437">
              <a:off x="1392294" y="4960366"/>
              <a:ext cx="330702" cy="323124"/>
            </a:xfrm>
            <a:prstGeom prst="can">
              <a:avLst/>
            </a:prstGeom>
            <a:solidFill>
              <a:srgbClr val="CBAF87"/>
            </a:solidFill>
            <a:ln w="19050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defRPr/>
              </a:pPr>
              <a:endParaRPr lang="en-US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44" name="Can 253">
              <a:extLst>
                <a:ext uri="{FF2B5EF4-FFF2-40B4-BE49-F238E27FC236}">
                  <a16:creationId xmlns:a16="http://schemas.microsoft.com/office/drawing/2014/main" id="{D4CCF974-378F-4FE2-87F1-8DE3D990DFB7}"/>
                </a:ext>
              </a:extLst>
            </p:cNvPr>
            <p:cNvSpPr/>
            <p:nvPr/>
          </p:nvSpPr>
          <p:spPr>
            <a:xfrm rot="21535437">
              <a:off x="1565816" y="5128165"/>
              <a:ext cx="330702" cy="323124"/>
            </a:xfrm>
            <a:prstGeom prst="can">
              <a:avLst/>
            </a:prstGeom>
            <a:solidFill>
              <a:srgbClr val="CBAF87"/>
            </a:solidFill>
            <a:ln w="19050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defRPr/>
              </a:pPr>
              <a:endParaRPr lang="en-US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45" name="Can 254">
              <a:extLst>
                <a:ext uri="{FF2B5EF4-FFF2-40B4-BE49-F238E27FC236}">
                  <a16:creationId xmlns:a16="http://schemas.microsoft.com/office/drawing/2014/main" id="{B3DFCD12-0FBB-46D6-BB2E-9AB989CEC6DC}"/>
                </a:ext>
              </a:extLst>
            </p:cNvPr>
            <p:cNvSpPr/>
            <p:nvPr/>
          </p:nvSpPr>
          <p:spPr>
            <a:xfrm rot="21535437">
              <a:off x="1748484" y="5277678"/>
              <a:ext cx="330702" cy="323124"/>
            </a:xfrm>
            <a:prstGeom prst="can">
              <a:avLst/>
            </a:prstGeom>
            <a:solidFill>
              <a:srgbClr val="CBAF87"/>
            </a:solidFill>
            <a:ln w="19050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defRPr/>
              </a:pPr>
              <a:endParaRPr lang="en-US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46" name="Can 255">
              <a:extLst>
                <a:ext uri="{FF2B5EF4-FFF2-40B4-BE49-F238E27FC236}">
                  <a16:creationId xmlns:a16="http://schemas.microsoft.com/office/drawing/2014/main" id="{BD6C6717-1FF9-4137-A462-A66DD6D26EEF}"/>
                </a:ext>
              </a:extLst>
            </p:cNvPr>
            <p:cNvSpPr/>
            <p:nvPr/>
          </p:nvSpPr>
          <p:spPr>
            <a:xfrm rot="21535437">
              <a:off x="1949440" y="5445476"/>
              <a:ext cx="330702" cy="323124"/>
            </a:xfrm>
            <a:prstGeom prst="can">
              <a:avLst/>
            </a:prstGeom>
            <a:solidFill>
              <a:srgbClr val="CBAF87"/>
            </a:solidFill>
            <a:ln w="19050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defRPr/>
              </a:pPr>
              <a:endParaRPr lang="en-US" dirty="0">
                <a:solidFill>
                  <a:srgbClr val="FFFFFF"/>
                </a:solidFill>
                <a:latin typeface="Calibri"/>
              </a:endParaRPr>
            </a:p>
          </p:txBody>
        </p:sp>
      </p:grpSp>
      <p:sp>
        <p:nvSpPr>
          <p:cNvPr id="52" name="Text Placeholder 6">
            <a:extLst>
              <a:ext uri="{FF2B5EF4-FFF2-40B4-BE49-F238E27FC236}">
                <a16:creationId xmlns:a16="http://schemas.microsoft.com/office/drawing/2014/main" id="{87EAB563-8379-476F-95CA-78FDE70DF154}"/>
              </a:ext>
            </a:extLst>
          </p:cNvPr>
          <p:cNvSpPr txBox="1">
            <a:spLocks/>
          </p:cNvSpPr>
          <p:nvPr/>
        </p:nvSpPr>
        <p:spPr>
          <a:xfrm>
            <a:off x="615254" y="787866"/>
            <a:ext cx="11125200" cy="344487"/>
          </a:xfrm>
          <a:prstGeom prst="rect">
            <a:avLst/>
          </a:prstGeom>
          <a:noFill/>
        </p:spPr>
        <p:txBody>
          <a:bodyPr vert="horz" lIns="0" tIns="0" rIns="0" bIns="0" rtlCol="0">
            <a:noAutofit/>
          </a:bodyPr>
          <a:lstStyle>
            <a:lvl1pPr marR="0" indent="0" fontAlgn="auto">
              <a:lnSpc>
                <a:spcPct val="95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 sz="2000" b="0" i="0">
                <a:latin typeface="Oracle Sans Tab" panose="020B0503020204020204" pitchFamily="34" charset="0"/>
                <a:cs typeface="Oracle Sans Tab" panose="020B0503020204020204" pitchFamily="34" charset="0"/>
              </a:defRPr>
            </a:lvl1pPr>
            <a:lvl2pPr marL="365760" marR="0" indent="-182880" fontAlgn="auto">
              <a:lnSpc>
                <a:spcPct val="95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 b="0" i="0">
                <a:cs typeface="Oracle Sans Tab" panose="020B0503020204020204" pitchFamily="34" charset="0"/>
              </a:defRPr>
            </a:lvl2pPr>
            <a:lvl3pPr marL="547688" marR="0" indent="-182563" fontAlgn="auto">
              <a:lnSpc>
                <a:spcPct val="95000"/>
              </a:lnSpc>
              <a:spcBef>
                <a:spcPts val="4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 sz="1600">
                <a:latin typeface="Oracle Sans Tab Light" panose="020B0403020204020204" pitchFamily="34" charset="0"/>
                <a:cs typeface="Oracle Sans Tab Light" panose="020B0403020204020204" pitchFamily="34" charset="0"/>
              </a:defRPr>
            </a:lvl3pPr>
            <a:lvl4pPr marL="730250" marR="0" indent="-182563" fontAlgn="auto">
              <a:lnSpc>
                <a:spcPct val="95000"/>
              </a:lnSpc>
              <a:spcBef>
                <a:spcPts val="4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 sz="1400">
                <a:latin typeface="Oracle Sans Tab Light" panose="020B0403020204020204" pitchFamily="34" charset="0"/>
                <a:cs typeface="Oracle Sans Tab Light" panose="020B0403020204020204" pitchFamily="34" charset="0"/>
              </a:defRPr>
            </a:lvl4pPr>
            <a:lvl5pPr marL="914400" marR="0" indent="-182880" fontAlgn="auto">
              <a:lnSpc>
                <a:spcPct val="95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 typeface="System Font Regular"/>
              <a:buChar char="•"/>
              <a:tabLst/>
              <a:defRPr sz="1200">
                <a:latin typeface="Oracle Sans Tab Light" panose="020B0403020204020204" pitchFamily="34" charset="0"/>
                <a:cs typeface="Oracle Sans Tab Light" panose="020B0403020204020204" pitchFamily="34" charset="0"/>
              </a:defRPr>
            </a:lvl5pPr>
            <a:lvl6pPr marL="1097280" indent="-182880">
              <a:lnSpc>
                <a:spcPct val="95000"/>
              </a:lnSpc>
              <a:spcBef>
                <a:spcPts val="40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200" b="0" i="0">
                <a:latin typeface="Oracle Sans Light" panose="020B0403020204020204" pitchFamily="34" charset="0"/>
                <a:cs typeface="Oracle Sans Light" panose="020B0403020204020204" pitchFamily="34" charset="0"/>
              </a:defRPr>
            </a:lvl6pPr>
            <a:lvl7pPr marL="1280160" indent="-182880">
              <a:lnSpc>
                <a:spcPct val="95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b="0" i="0">
                <a:latin typeface="Oracle Sans Light" panose="020B0403020204020204" pitchFamily="34" charset="0"/>
                <a:cs typeface="Oracle Sans Light" panose="020B0403020204020204" pitchFamily="34" charset="0"/>
              </a:defRPr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r>
              <a:rPr lang="en-US" sz="1800" dirty="0"/>
              <a:t>A distributed, shared nothing key/value data store architected for HA</a:t>
            </a:r>
          </a:p>
        </p:txBody>
      </p:sp>
      <p:grpSp>
        <p:nvGrpSpPr>
          <p:cNvPr id="53" name="Group 52">
            <a:extLst>
              <a:ext uri="{FF2B5EF4-FFF2-40B4-BE49-F238E27FC236}">
                <a16:creationId xmlns:a16="http://schemas.microsoft.com/office/drawing/2014/main" id="{7A5FB4F6-3A5F-46E4-A328-4F08256E7F90}"/>
              </a:ext>
            </a:extLst>
          </p:cNvPr>
          <p:cNvGrpSpPr/>
          <p:nvPr/>
        </p:nvGrpSpPr>
        <p:grpSpPr>
          <a:xfrm>
            <a:off x="682168" y="3346940"/>
            <a:ext cx="2995540" cy="1172232"/>
            <a:chOff x="296062" y="3738034"/>
            <a:chExt cx="3244476" cy="1218115"/>
          </a:xfrm>
        </p:grpSpPr>
        <p:sp>
          <p:nvSpPr>
            <p:cNvPr id="54" name="Rounded Rectangle 37">
              <a:extLst>
                <a:ext uri="{FF2B5EF4-FFF2-40B4-BE49-F238E27FC236}">
                  <a16:creationId xmlns:a16="http://schemas.microsoft.com/office/drawing/2014/main" id="{572A6CE8-9A2E-4E5E-9E1A-B1A92CC7B544}"/>
                </a:ext>
              </a:extLst>
            </p:cNvPr>
            <p:cNvSpPr/>
            <p:nvPr/>
          </p:nvSpPr>
          <p:spPr>
            <a:xfrm>
              <a:off x="296062" y="3738034"/>
              <a:ext cx="3244476" cy="1187847"/>
            </a:xfrm>
            <a:prstGeom prst="roundRect">
              <a:avLst/>
            </a:prstGeom>
            <a:solidFill>
              <a:schemeClr val="bg1">
                <a:lumMod val="85000"/>
              </a:schemeClr>
            </a:solidFill>
            <a:ln w="19050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defRPr/>
              </a:pPr>
              <a:endParaRPr lang="en-US" dirty="0">
                <a:solidFill>
                  <a:srgbClr val="FFFFFF"/>
                </a:solidFill>
                <a:latin typeface="Calibri"/>
              </a:endParaRPr>
            </a:p>
          </p:txBody>
        </p:sp>
        <p:grpSp>
          <p:nvGrpSpPr>
            <p:cNvPr id="55" name="Group 54">
              <a:extLst>
                <a:ext uri="{FF2B5EF4-FFF2-40B4-BE49-F238E27FC236}">
                  <a16:creationId xmlns:a16="http://schemas.microsoft.com/office/drawing/2014/main" id="{AE0660C7-4378-4336-B974-15506B5A70AA}"/>
                </a:ext>
              </a:extLst>
            </p:cNvPr>
            <p:cNvGrpSpPr/>
            <p:nvPr/>
          </p:nvGrpSpPr>
          <p:grpSpPr>
            <a:xfrm>
              <a:off x="460457" y="3914555"/>
              <a:ext cx="2927034" cy="1041594"/>
              <a:chOff x="460457" y="3914555"/>
              <a:chExt cx="2927034" cy="1041594"/>
            </a:xfrm>
          </p:grpSpPr>
          <p:grpSp>
            <p:nvGrpSpPr>
              <p:cNvPr id="56" name="Group 55">
                <a:extLst>
                  <a:ext uri="{FF2B5EF4-FFF2-40B4-BE49-F238E27FC236}">
                    <a16:creationId xmlns:a16="http://schemas.microsoft.com/office/drawing/2014/main" id="{9BEDE3D2-11F0-4D6C-882A-0638F29BCACC}"/>
                  </a:ext>
                </a:extLst>
              </p:cNvPr>
              <p:cNvGrpSpPr/>
              <p:nvPr/>
            </p:nvGrpSpPr>
            <p:grpSpPr>
              <a:xfrm>
                <a:off x="956545" y="3914555"/>
                <a:ext cx="2167398" cy="272908"/>
                <a:chOff x="2283587" y="2629189"/>
                <a:chExt cx="2167398" cy="327988"/>
              </a:xfrm>
            </p:grpSpPr>
            <p:sp>
              <p:nvSpPr>
                <p:cNvPr id="69" name="Rounded Rectangle 39">
                  <a:extLst>
                    <a:ext uri="{FF2B5EF4-FFF2-40B4-BE49-F238E27FC236}">
                      <a16:creationId xmlns:a16="http://schemas.microsoft.com/office/drawing/2014/main" id="{BDB1DEEA-86F1-4728-865A-23C978319C7A}"/>
                    </a:ext>
                  </a:extLst>
                </p:cNvPr>
                <p:cNvSpPr/>
                <p:nvPr/>
              </p:nvSpPr>
              <p:spPr>
                <a:xfrm>
                  <a:off x="2283587" y="2629189"/>
                  <a:ext cx="2027738" cy="258322"/>
                </a:xfrm>
                <a:prstGeom prst="roundRect">
                  <a:avLst/>
                </a:prstGeom>
                <a:solidFill>
                  <a:srgbClr val="465862"/>
                </a:solidFill>
                <a:ln w="19050">
                  <a:noFill/>
                  <a:miter lim="800000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lnSpc>
                      <a:spcPct val="90000"/>
                    </a:lnSpc>
                    <a:defRPr/>
                  </a:pPr>
                  <a:endParaRPr lang="en-US" dirty="0">
                    <a:solidFill>
                      <a:srgbClr val="FFFFFF"/>
                    </a:solidFill>
                    <a:latin typeface="Calibri"/>
                  </a:endParaRPr>
                </a:p>
              </p:txBody>
            </p:sp>
            <p:sp>
              <p:nvSpPr>
                <p:cNvPr id="70" name="TextBox 69">
                  <a:extLst>
                    <a:ext uri="{FF2B5EF4-FFF2-40B4-BE49-F238E27FC236}">
                      <a16:creationId xmlns:a16="http://schemas.microsoft.com/office/drawing/2014/main" id="{59CB917F-81F5-4CCF-A4E0-EF9368C61860}"/>
                    </a:ext>
                  </a:extLst>
                </p:cNvPr>
                <p:cNvSpPr txBox="1"/>
                <p:nvPr/>
              </p:nvSpPr>
              <p:spPr>
                <a:xfrm>
                  <a:off x="2994974" y="2656030"/>
                  <a:ext cx="1456011" cy="301147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noAutofit/>
                </a:bodyPr>
                <a:lstStyle/>
                <a:p>
                  <a:pPr>
                    <a:lnSpc>
                      <a:spcPct val="90000"/>
                    </a:lnSpc>
                    <a:defRPr/>
                  </a:pPr>
                  <a:r>
                    <a:rPr lang="en-US" sz="1400" b="1" dirty="0">
                      <a:solidFill>
                        <a:srgbClr val="FFFFFF"/>
                      </a:solidFill>
                      <a:latin typeface="+mj-lt"/>
                    </a:rPr>
                    <a:t>Shard</a:t>
                  </a:r>
                </a:p>
              </p:txBody>
            </p:sp>
          </p:grpSp>
          <p:grpSp>
            <p:nvGrpSpPr>
              <p:cNvPr id="57" name="Group 56">
                <a:extLst>
                  <a:ext uri="{FF2B5EF4-FFF2-40B4-BE49-F238E27FC236}">
                    <a16:creationId xmlns:a16="http://schemas.microsoft.com/office/drawing/2014/main" id="{9BC9FA47-F1ED-40FA-88F6-B9D5D6B543FD}"/>
                  </a:ext>
                </a:extLst>
              </p:cNvPr>
              <p:cNvGrpSpPr/>
              <p:nvPr/>
            </p:nvGrpSpPr>
            <p:grpSpPr>
              <a:xfrm>
                <a:off x="460457" y="4327272"/>
                <a:ext cx="760030" cy="628877"/>
                <a:chOff x="531812" y="4344480"/>
                <a:chExt cx="760030" cy="628877"/>
              </a:xfrm>
            </p:grpSpPr>
            <p:sp>
              <p:nvSpPr>
                <p:cNvPr id="67" name="Oval 66">
                  <a:extLst>
                    <a:ext uri="{FF2B5EF4-FFF2-40B4-BE49-F238E27FC236}">
                      <a16:creationId xmlns:a16="http://schemas.microsoft.com/office/drawing/2014/main" id="{40ABBAAA-3DDD-4F9D-BE7F-A375D0784099}"/>
                    </a:ext>
                  </a:extLst>
                </p:cNvPr>
                <p:cNvSpPr/>
                <p:nvPr/>
              </p:nvSpPr>
              <p:spPr>
                <a:xfrm>
                  <a:off x="531812" y="4344480"/>
                  <a:ext cx="667723" cy="530557"/>
                </a:xfrm>
                <a:prstGeom prst="ellipse">
                  <a:avLst/>
                </a:prstGeom>
                <a:solidFill>
                  <a:srgbClr val="41555E"/>
                </a:solidFill>
                <a:ln w="19050">
                  <a:noFill/>
                  <a:miter lim="800000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lnSpc>
                      <a:spcPct val="90000"/>
                    </a:lnSpc>
                    <a:defRPr/>
                  </a:pPr>
                  <a:endParaRPr lang="en-US" dirty="0">
                    <a:solidFill>
                      <a:srgbClr val="FFFFFF"/>
                    </a:solidFill>
                    <a:latin typeface="Calibri"/>
                  </a:endParaRPr>
                </a:p>
              </p:txBody>
            </p:sp>
            <p:sp>
              <p:nvSpPr>
                <p:cNvPr id="68" name="TextBox 67">
                  <a:extLst>
                    <a:ext uri="{FF2B5EF4-FFF2-40B4-BE49-F238E27FC236}">
                      <a16:creationId xmlns:a16="http://schemas.microsoft.com/office/drawing/2014/main" id="{BC4C133A-B1BB-4ADE-B37A-BAF9064CE508}"/>
                    </a:ext>
                  </a:extLst>
                </p:cNvPr>
                <p:cNvSpPr txBox="1"/>
                <p:nvPr/>
              </p:nvSpPr>
              <p:spPr>
                <a:xfrm>
                  <a:off x="678256" y="4442800"/>
                  <a:ext cx="613586" cy="530557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noAutofit/>
                </a:bodyPr>
                <a:lstStyle/>
                <a:p>
                  <a:pPr>
                    <a:lnSpc>
                      <a:spcPct val="90000"/>
                    </a:lnSpc>
                    <a:defRPr/>
                  </a:pPr>
                  <a:r>
                    <a:rPr lang="en-US" sz="1050" dirty="0">
                      <a:solidFill>
                        <a:srgbClr val="FFFFFF"/>
                      </a:solidFill>
                      <a:latin typeface="Calibri"/>
                    </a:rPr>
                    <a:t>Elected </a:t>
                  </a:r>
                </a:p>
                <a:p>
                  <a:pPr>
                    <a:lnSpc>
                      <a:spcPct val="90000"/>
                    </a:lnSpc>
                    <a:defRPr/>
                  </a:pPr>
                  <a:r>
                    <a:rPr lang="en-US" sz="1050" dirty="0">
                      <a:solidFill>
                        <a:srgbClr val="FFFFFF"/>
                      </a:solidFill>
                      <a:latin typeface="Calibri"/>
                    </a:rPr>
                    <a:t>Leader</a:t>
                  </a:r>
                </a:p>
              </p:txBody>
            </p:sp>
          </p:grpSp>
          <p:grpSp>
            <p:nvGrpSpPr>
              <p:cNvPr id="58" name="Group 57">
                <a:extLst>
                  <a:ext uri="{FF2B5EF4-FFF2-40B4-BE49-F238E27FC236}">
                    <a16:creationId xmlns:a16="http://schemas.microsoft.com/office/drawing/2014/main" id="{59E772C7-229E-44C5-8C26-A2EDC1E3CCA8}"/>
                  </a:ext>
                </a:extLst>
              </p:cNvPr>
              <p:cNvGrpSpPr/>
              <p:nvPr/>
            </p:nvGrpSpPr>
            <p:grpSpPr>
              <a:xfrm>
                <a:off x="1571732" y="4328351"/>
                <a:ext cx="738359" cy="530557"/>
                <a:chOff x="1571732" y="4328351"/>
                <a:chExt cx="738359" cy="530557"/>
              </a:xfrm>
            </p:grpSpPr>
            <p:sp>
              <p:nvSpPr>
                <p:cNvPr id="65" name="Oval 64">
                  <a:extLst>
                    <a:ext uri="{FF2B5EF4-FFF2-40B4-BE49-F238E27FC236}">
                      <a16:creationId xmlns:a16="http://schemas.microsoft.com/office/drawing/2014/main" id="{7B5DB1AA-9055-4420-A27F-B465D0040176}"/>
                    </a:ext>
                  </a:extLst>
                </p:cNvPr>
                <p:cNvSpPr/>
                <p:nvPr/>
              </p:nvSpPr>
              <p:spPr>
                <a:xfrm>
                  <a:off x="1571732" y="4328351"/>
                  <a:ext cx="667723" cy="530557"/>
                </a:xfrm>
                <a:prstGeom prst="ellipse">
                  <a:avLst/>
                </a:prstGeom>
                <a:solidFill>
                  <a:srgbClr val="96C9EA"/>
                </a:solidFill>
                <a:ln w="19050">
                  <a:noFill/>
                  <a:miter lim="800000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lnSpc>
                      <a:spcPct val="90000"/>
                    </a:lnSpc>
                    <a:defRPr/>
                  </a:pPr>
                  <a:endParaRPr lang="en-US" dirty="0">
                    <a:solidFill>
                      <a:srgbClr val="FFFFFF"/>
                    </a:solidFill>
                    <a:latin typeface="Calibri"/>
                  </a:endParaRPr>
                </a:p>
              </p:txBody>
            </p:sp>
            <p:sp>
              <p:nvSpPr>
                <p:cNvPr id="66" name="TextBox 65">
                  <a:extLst>
                    <a:ext uri="{FF2B5EF4-FFF2-40B4-BE49-F238E27FC236}">
                      <a16:creationId xmlns:a16="http://schemas.microsoft.com/office/drawing/2014/main" id="{5357A747-A4AF-48EF-A3D3-304CBC90B7B2}"/>
                    </a:ext>
                  </a:extLst>
                </p:cNvPr>
                <p:cNvSpPr txBox="1"/>
                <p:nvPr/>
              </p:nvSpPr>
              <p:spPr>
                <a:xfrm>
                  <a:off x="1696505" y="4498440"/>
                  <a:ext cx="613586" cy="330625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noAutofit/>
                </a:bodyPr>
                <a:lstStyle/>
                <a:p>
                  <a:pPr>
                    <a:lnSpc>
                      <a:spcPct val="90000"/>
                    </a:lnSpc>
                    <a:defRPr/>
                  </a:pPr>
                  <a:r>
                    <a:rPr lang="en-US" sz="1050" dirty="0">
                      <a:solidFill>
                        <a:srgbClr val="000000"/>
                      </a:solidFill>
                      <a:latin typeface="Calibri"/>
                    </a:rPr>
                    <a:t>Replica</a:t>
                  </a:r>
                  <a:endParaRPr lang="en-US" sz="1050" dirty="0">
                    <a:solidFill>
                      <a:srgbClr val="FFFFFF"/>
                    </a:solidFill>
                    <a:latin typeface="Calibri"/>
                  </a:endParaRPr>
                </a:p>
                <a:p>
                  <a:pPr>
                    <a:lnSpc>
                      <a:spcPct val="90000"/>
                    </a:lnSpc>
                    <a:defRPr/>
                  </a:pPr>
                  <a:endParaRPr lang="en-US" sz="1050" dirty="0">
                    <a:solidFill>
                      <a:srgbClr val="FFFFFF"/>
                    </a:solidFill>
                    <a:latin typeface="Calibri"/>
                  </a:endParaRPr>
                </a:p>
              </p:txBody>
            </p:sp>
          </p:grpSp>
          <p:grpSp>
            <p:nvGrpSpPr>
              <p:cNvPr id="59" name="Group 58">
                <a:extLst>
                  <a:ext uri="{FF2B5EF4-FFF2-40B4-BE49-F238E27FC236}">
                    <a16:creationId xmlns:a16="http://schemas.microsoft.com/office/drawing/2014/main" id="{4B55BF02-A226-4774-A160-877B18A4B322}"/>
                  </a:ext>
                </a:extLst>
              </p:cNvPr>
              <p:cNvGrpSpPr/>
              <p:nvPr/>
            </p:nvGrpSpPr>
            <p:grpSpPr>
              <a:xfrm>
                <a:off x="2649132" y="4336867"/>
                <a:ext cx="738359" cy="530557"/>
                <a:chOff x="1571732" y="4328351"/>
                <a:chExt cx="738359" cy="530557"/>
              </a:xfrm>
            </p:grpSpPr>
            <p:sp>
              <p:nvSpPr>
                <p:cNvPr id="63" name="Oval 62">
                  <a:extLst>
                    <a:ext uri="{FF2B5EF4-FFF2-40B4-BE49-F238E27FC236}">
                      <a16:creationId xmlns:a16="http://schemas.microsoft.com/office/drawing/2014/main" id="{E2A9AD49-983A-43DA-9669-BB1C8A79C636}"/>
                    </a:ext>
                  </a:extLst>
                </p:cNvPr>
                <p:cNvSpPr/>
                <p:nvPr/>
              </p:nvSpPr>
              <p:spPr>
                <a:xfrm>
                  <a:off x="1571732" y="4328351"/>
                  <a:ext cx="667723" cy="530557"/>
                </a:xfrm>
                <a:prstGeom prst="ellipse">
                  <a:avLst/>
                </a:prstGeom>
                <a:solidFill>
                  <a:srgbClr val="96C9EA"/>
                </a:solidFill>
                <a:ln w="19050">
                  <a:noFill/>
                  <a:miter lim="800000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lnSpc>
                      <a:spcPct val="90000"/>
                    </a:lnSpc>
                    <a:defRPr/>
                  </a:pPr>
                  <a:endParaRPr lang="en-US" dirty="0">
                    <a:solidFill>
                      <a:srgbClr val="FFFFFF"/>
                    </a:solidFill>
                    <a:latin typeface="Calibri"/>
                  </a:endParaRPr>
                </a:p>
              </p:txBody>
            </p:sp>
            <p:sp>
              <p:nvSpPr>
                <p:cNvPr id="64" name="TextBox 63">
                  <a:extLst>
                    <a:ext uri="{FF2B5EF4-FFF2-40B4-BE49-F238E27FC236}">
                      <a16:creationId xmlns:a16="http://schemas.microsoft.com/office/drawing/2014/main" id="{E6907F4A-7CF2-4E84-92E5-C307F98629F4}"/>
                    </a:ext>
                  </a:extLst>
                </p:cNvPr>
                <p:cNvSpPr txBox="1"/>
                <p:nvPr/>
              </p:nvSpPr>
              <p:spPr>
                <a:xfrm>
                  <a:off x="1696505" y="4498440"/>
                  <a:ext cx="613586" cy="330625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noAutofit/>
                </a:bodyPr>
                <a:lstStyle/>
                <a:p>
                  <a:pPr>
                    <a:lnSpc>
                      <a:spcPct val="90000"/>
                    </a:lnSpc>
                    <a:defRPr/>
                  </a:pPr>
                  <a:r>
                    <a:rPr lang="en-US" sz="1050" dirty="0">
                      <a:solidFill>
                        <a:srgbClr val="000000"/>
                      </a:solidFill>
                      <a:latin typeface="Calibri"/>
                    </a:rPr>
                    <a:t>Replica</a:t>
                  </a:r>
                  <a:endParaRPr lang="en-US" sz="1050" dirty="0">
                    <a:solidFill>
                      <a:srgbClr val="FFFFFF"/>
                    </a:solidFill>
                    <a:latin typeface="Calibri"/>
                  </a:endParaRPr>
                </a:p>
                <a:p>
                  <a:pPr>
                    <a:lnSpc>
                      <a:spcPct val="90000"/>
                    </a:lnSpc>
                    <a:defRPr/>
                  </a:pPr>
                  <a:endParaRPr lang="en-US" sz="1050" dirty="0">
                    <a:solidFill>
                      <a:srgbClr val="FFFFFF"/>
                    </a:solidFill>
                    <a:latin typeface="Calibri"/>
                  </a:endParaRPr>
                </a:p>
              </p:txBody>
            </p:sp>
          </p:grpSp>
          <p:cxnSp>
            <p:nvCxnSpPr>
              <p:cNvPr id="60" name="Straight Arrow Connector 59">
                <a:extLst>
                  <a:ext uri="{FF2B5EF4-FFF2-40B4-BE49-F238E27FC236}">
                    <a16:creationId xmlns:a16="http://schemas.microsoft.com/office/drawing/2014/main" id="{A015440C-4CA8-4B1E-B6F6-A99F5F37A7CE}"/>
                  </a:ext>
                </a:extLst>
              </p:cNvPr>
              <p:cNvCxnSpPr>
                <a:endCxn id="67" idx="0"/>
              </p:cNvCxnSpPr>
              <p:nvPr/>
            </p:nvCxnSpPr>
            <p:spPr>
              <a:xfrm flipH="1">
                <a:off x="794319" y="4129496"/>
                <a:ext cx="1082281" cy="197776"/>
              </a:xfrm>
              <a:prstGeom prst="straightConnector1">
                <a:avLst/>
              </a:prstGeom>
              <a:ln w="19050">
                <a:solidFill>
                  <a:srgbClr val="000000"/>
                </a:solidFill>
                <a:prstDash val="solid"/>
                <a:miter lim="800000"/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1" name="Straight Arrow Connector 60">
                <a:extLst>
                  <a:ext uri="{FF2B5EF4-FFF2-40B4-BE49-F238E27FC236}">
                    <a16:creationId xmlns:a16="http://schemas.microsoft.com/office/drawing/2014/main" id="{402F978F-7A29-49F3-A03B-967581E7F020}"/>
                  </a:ext>
                </a:extLst>
              </p:cNvPr>
              <p:cNvCxnSpPr>
                <a:endCxn id="65" idx="0"/>
              </p:cNvCxnSpPr>
              <p:nvPr/>
            </p:nvCxnSpPr>
            <p:spPr>
              <a:xfrm>
                <a:off x="1847606" y="4121237"/>
                <a:ext cx="57988" cy="207114"/>
              </a:xfrm>
              <a:prstGeom prst="straightConnector1">
                <a:avLst/>
              </a:prstGeom>
              <a:ln w="19050">
                <a:solidFill>
                  <a:srgbClr val="000000"/>
                </a:solidFill>
                <a:miter lim="800000"/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2" name="Straight Arrow Connector 61">
                <a:extLst>
                  <a:ext uri="{FF2B5EF4-FFF2-40B4-BE49-F238E27FC236}">
                    <a16:creationId xmlns:a16="http://schemas.microsoft.com/office/drawing/2014/main" id="{5982E6AB-32D3-4B8B-A9A3-0010931A94D4}"/>
                  </a:ext>
                </a:extLst>
              </p:cNvPr>
              <p:cNvCxnSpPr>
                <a:endCxn id="63" idx="1"/>
              </p:cNvCxnSpPr>
              <p:nvPr/>
            </p:nvCxnSpPr>
            <p:spPr>
              <a:xfrm>
                <a:off x="1876600" y="4140453"/>
                <a:ext cx="870318" cy="274112"/>
              </a:xfrm>
              <a:prstGeom prst="straightConnector1">
                <a:avLst/>
              </a:prstGeom>
              <a:ln w="19050">
                <a:solidFill>
                  <a:srgbClr val="000000"/>
                </a:solidFill>
                <a:prstDash val="solid"/>
                <a:miter lim="800000"/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71" name="Group 70">
            <a:extLst>
              <a:ext uri="{FF2B5EF4-FFF2-40B4-BE49-F238E27FC236}">
                <a16:creationId xmlns:a16="http://schemas.microsoft.com/office/drawing/2014/main" id="{31030663-FF64-41B1-9E33-A56A27A874CB}"/>
              </a:ext>
            </a:extLst>
          </p:cNvPr>
          <p:cNvGrpSpPr/>
          <p:nvPr/>
        </p:nvGrpSpPr>
        <p:grpSpPr>
          <a:xfrm>
            <a:off x="4272491" y="3346940"/>
            <a:ext cx="2995540" cy="1172232"/>
            <a:chOff x="296062" y="3738034"/>
            <a:chExt cx="3244476" cy="1218115"/>
          </a:xfrm>
        </p:grpSpPr>
        <p:sp>
          <p:nvSpPr>
            <p:cNvPr id="72" name="Rounded Rectangle 298">
              <a:extLst>
                <a:ext uri="{FF2B5EF4-FFF2-40B4-BE49-F238E27FC236}">
                  <a16:creationId xmlns:a16="http://schemas.microsoft.com/office/drawing/2014/main" id="{BAAEA988-9783-4C6E-B45D-140DA52BD55C}"/>
                </a:ext>
              </a:extLst>
            </p:cNvPr>
            <p:cNvSpPr/>
            <p:nvPr/>
          </p:nvSpPr>
          <p:spPr>
            <a:xfrm>
              <a:off x="296062" y="3738034"/>
              <a:ext cx="3244476" cy="1187847"/>
            </a:xfrm>
            <a:prstGeom prst="roundRect">
              <a:avLst/>
            </a:prstGeom>
            <a:solidFill>
              <a:schemeClr val="bg1">
                <a:lumMod val="85000"/>
              </a:schemeClr>
            </a:solidFill>
            <a:ln w="19050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defRPr/>
              </a:pPr>
              <a:endParaRPr lang="en-US" dirty="0">
                <a:solidFill>
                  <a:srgbClr val="FFFFFF"/>
                </a:solidFill>
                <a:latin typeface="Calibri"/>
              </a:endParaRPr>
            </a:p>
          </p:txBody>
        </p:sp>
        <p:grpSp>
          <p:nvGrpSpPr>
            <p:cNvPr id="73" name="Group 72">
              <a:extLst>
                <a:ext uri="{FF2B5EF4-FFF2-40B4-BE49-F238E27FC236}">
                  <a16:creationId xmlns:a16="http://schemas.microsoft.com/office/drawing/2014/main" id="{312A03CE-A839-49F5-BC4E-A9E0457E8533}"/>
                </a:ext>
              </a:extLst>
            </p:cNvPr>
            <p:cNvGrpSpPr/>
            <p:nvPr/>
          </p:nvGrpSpPr>
          <p:grpSpPr>
            <a:xfrm>
              <a:off x="460457" y="3914555"/>
              <a:ext cx="2927034" cy="1041594"/>
              <a:chOff x="460457" y="3914555"/>
              <a:chExt cx="2927034" cy="1041594"/>
            </a:xfrm>
          </p:grpSpPr>
          <p:grpSp>
            <p:nvGrpSpPr>
              <p:cNvPr id="74" name="Group 73">
                <a:extLst>
                  <a:ext uri="{FF2B5EF4-FFF2-40B4-BE49-F238E27FC236}">
                    <a16:creationId xmlns:a16="http://schemas.microsoft.com/office/drawing/2014/main" id="{2497DFF0-3332-497A-85E1-51DD98413DAF}"/>
                  </a:ext>
                </a:extLst>
              </p:cNvPr>
              <p:cNvGrpSpPr/>
              <p:nvPr/>
            </p:nvGrpSpPr>
            <p:grpSpPr>
              <a:xfrm>
                <a:off x="956545" y="3914555"/>
                <a:ext cx="2167398" cy="272908"/>
                <a:chOff x="2283587" y="2629189"/>
                <a:chExt cx="2167398" cy="327988"/>
              </a:xfrm>
            </p:grpSpPr>
            <p:sp>
              <p:nvSpPr>
                <p:cNvPr id="87" name="Rounded Rectangle 313">
                  <a:extLst>
                    <a:ext uri="{FF2B5EF4-FFF2-40B4-BE49-F238E27FC236}">
                      <a16:creationId xmlns:a16="http://schemas.microsoft.com/office/drawing/2014/main" id="{A586183F-0C0F-42E4-9B04-7EF6054534AC}"/>
                    </a:ext>
                  </a:extLst>
                </p:cNvPr>
                <p:cNvSpPr/>
                <p:nvPr/>
              </p:nvSpPr>
              <p:spPr>
                <a:xfrm>
                  <a:off x="2283587" y="2629189"/>
                  <a:ext cx="2027738" cy="258322"/>
                </a:xfrm>
                <a:prstGeom prst="roundRect">
                  <a:avLst/>
                </a:prstGeom>
                <a:solidFill>
                  <a:srgbClr val="465862"/>
                </a:solidFill>
                <a:ln w="19050">
                  <a:noFill/>
                  <a:miter lim="800000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lnSpc>
                      <a:spcPct val="90000"/>
                    </a:lnSpc>
                    <a:defRPr/>
                  </a:pPr>
                  <a:endParaRPr lang="en-US" dirty="0">
                    <a:solidFill>
                      <a:srgbClr val="FFFFFF"/>
                    </a:solidFill>
                    <a:latin typeface="Calibri"/>
                  </a:endParaRPr>
                </a:p>
              </p:txBody>
            </p:sp>
            <p:sp>
              <p:nvSpPr>
                <p:cNvPr id="88" name="TextBox 87">
                  <a:extLst>
                    <a:ext uri="{FF2B5EF4-FFF2-40B4-BE49-F238E27FC236}">
                      <a16:creationId xmlns:a16="http://schemas.microsoft.com/office/drawing/2014/main" id="{A1CDA3E0-2AF1-46D9-AF29-FE1F12103A48}"/>
                    </a:ext>
                  </a:extLst>
                </p:cNvPr>
                <p:cNvSpPr txBox="1"/>
                <p:nvPr/>
              </p:nvSpPr>
              <p:spPr>
                <a:xfrm>
                  <a:off x="2994974" y="2656030"/>
                  <a:ext cx="1456011" cy="301147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noAutofit/>
                </a:bodyPr>
                <a:lstStyle/>
                <a:p>
                  <a:pPr>
                    <a:lnSpc>
                      <a:spcPct val="90000"/>
                    </a:lnSpc>
                    <a:defRPr/>
                  </a:pPr>
                  <a:r>
                    <a:rPr lang="en-US" sz="1400" b="1" dirty="0">
                      <a:solidFill>
                        <a:srgbClr val="FFFFFF"/>
                      </a:solidFill>
                    </a:rPr>
                    <a:t>Shard</a:t>
                  </a:r>
                </a:p>
              </p:txBody>
            </p:sp>
          </p:grpSp>
          <p:grpSp>
            <p:nvGrpSpPr>
              <p:cNvPr id="75" name="Group 74">
                <a:extLst>
                  <a:ext uri="{FF2B5EF4-FFF2-40B4-BE49-F238E27FC236}">
                    <a16:creationId xmlns:a16="http://schemas.microsoft.com/office/drawing/2014/main" id="{C12B317F-5923-43F4-A9C8-1800AABF1928}"/>
                  </a:ext>
                </a:extLst>
              </p:cNvPr>
              <p:cNvGrpSpPr/>
              <p:nvPr/>
            </p:nvGrpSpPr>
            <p:grpSpPr>
              <a:xfrm>
                <a:off x="460457" y="4327272"/>
                <a:ext cx="760030" cy="628877"/>
                <a:chOff x="531812" y="4344480"/>
                <a:chExt cx="760030" cy="628877"/>
              </a:xfrm>
            </p:grpSpPr>
            <p:sp>
              <p:nvSpPr>
                <p:cNvPr id="85" name="Oval 84">
                  <a:extLst>
                    <a:ext uri="{FF2B5EF4-FFF2-40B4-BE49-F238E27FC236}">
                      <a16:creationId xmlns:a16="http://schemas.microsoft.com/office/drawing/2014/main" id="{28A17737-FDDB-46E9-97D5-0EAC8C1FA761}"/>
                    </a:ext>
                  </a:extLst>
                </p:cNvPr>
                <p:cNvSpPr/>
                <p:nvPr/>
              </p:nvSpPr>
              <p:spPr>
                <a:xfrm>
                  <a:off x="531812" y="4344480"/>
                  <a:ext cx="667723" cy="530557"/>
                </a:xfrm>
                <a:prstGeom prst="ellipse">
                  <a:avLst/>
                </a:prstGeom>
                <a:solidFill>
                  <a:srgbClr val="41555E"/>
                </a:solidFill>
                <a:ln w="19050">
                  <a:noFill/>
                  <a:miter lim="800000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lnSpc>
                      <a:spcPct val="90000"/>
                    </a:lnSpc>
                    <a:defRPr/>
                  </a:pPr>
                  <a:endParaRPr lang="en-US" dirty="0">
                    <a:solidFill>
                      <a:srgbClr val="FFFFFF"/>
                    </a:solidFill>
                    <a:latin typeface="Calibri"/>
                  </a:endParaRPr>
                </a:p>
              </p:txBody>
            </p:sp>
            <p:sp>
              <p:nvSpPr>
                <p:cNvPr id="86" name="TextBox 85">
                  <a:extLst>
                    <a:ext uri="{FF2B5EF4-FFF2-40B4-BE49-F238E27FC236}">
                      <a16:creationId xmlns:a16="http://schemas.microsoft.com/office/drawing/2014/main" id="{6E4DF724-3A97-4293-B07D-451D860773DB}"/>
                    </a:ext>
                  </a:extLst>
                </p:cNvPr>
                <p:cNvSpPr txBox="1"/>
                <p:nvPr/>
              </p:nvSpPr>
              <p:spPr>
                <a:xfrm>
                  <a:off x="678256" y="4442800"/>
                  <a:ext cx="613586" cy="530557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noAutofit/>
                </a:bodyPr>
                <a:lstStyle/>
                <a:p>
                  <a:pPr>
                    <a:lnSpc>
                      <a:spcPct val="90000"/>
                    </a:lnSpc>
                    <a:defRPr/>
                  </a:pPr>
                  <a:r>
                    <a:rPr lang="en-US" sz="1050" dirty="0">
                      <a:solidFill>
                        <a:srgbClr val="FFFFFF"/>
                      </a:solidFill>
                      <a:latin typeface="Calibri"/>
                    </a:rPr>
                    <a:t>Elected </a:t>
                  </a:r>
                </a:p>
                <a:p>
                  <a:pPr>
                    <a:lnSpc>
                      <a:spcPct val="90000"/>
                    </a:lnSpc>
                    <a:defRPr/>
                  </a:pPr>
                  <a:r>
                    <a:rPr lang="en-US" sz="1050" dirty="0">
                      <a:solidFill>
                        <a:srgbClr val="FFFFFF"/>
                      </a:solidFill>
                      <a:latin typeface="Calibri"/>
                    </a:rPr>
                    <a:t>Leader</a:t>
                  </a:r>
                </a:p>
              </p:txBody>
            </p:sp>
          </p:grpSp>
          <p:grpSp>
            <p:nvGrpSpPr>
              <p:cNvPr id="76" name="Group 75">
                <a:extLst>
                  <a:ext uri="{FF2B5EF4-FFF2-40B4-BE49-F238E27FC236}">
                    <a16:creationId xmlns:a16="http://schemas.microsoft.com/office/drawing/2014/main" id="{2E6A6B86-B3D2-49AA-8BE0-2EBA670F8327}"/>
                  </a:ext>
                </a:extLst>
              </p:cNvPr>
              <p:cNvGrpSpPr/>
              <p:nvPr/>
            </p:nvGrpSpPr>
            <p:grpSpPr>
              <a:xfrm>
                <a:off x="1571732" y="4328351"/>
                <a:ext cx="738359" cy="530557"/>
                <a:chOff x="1571732" y="4328351"/>
                <a:chExt cx="738359" cy="530557"/>
              </a:xfrm>
            </p:grpSpPr>
            <p:sp>
              <p:nvSpPr>
                <p:cNvPr id="83" name="Oval 82">
                  <a:extLst>
                    <a:ext uri="{FF2B5EF4-FFF2-40B4-BE49-F238E27FC236}">
                      <a16:creationId xmlns:a16="http://schemas.microsoft.com/office/drawing/2014/main" id="{3F1B72E8-6098-4255-8373-137B6148690F}"/>
                    </a:ext>
                  </a:extLst>
                </p:cNvPr>
                <p:cNvSpPr/>
                <p:nvPr/>
              </p:nvSpPr>
              <p:spPr>
                <a:xfrm>
                  <a:off x="1571732" y="4328351"/>
                  <a:ext cx="667723" cy="530557"/>
                </a:xfrm>
                <a:prstGeom prst="ellipse">
                  <a:avLst/>
                </a:prstGeom>
                <a:solidFill>
                  <a:srgbClr val="96C9EA"/>
                </a:solidFill>
                <a:ln w="19050">
                  <a:noFill/>
                  <a:miter lim="800000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lnSpc>
                      <a:spcPct val="90000"/>
                    </a:lnSpc>
                    <a:defRPr/>
                  </a:pPr>
                  <a:endParaRPr lang="en-US" dirty="0">
                    <a:solidFill>
                      <a:srgbClr val="FFFFFF"/>
                    </a:solidFill>
                    <a:latin typeface="Calibri"/>
                  </a:endParaRPr>
                </a:p>
              </p:txBody>
            </p:sp>
            <p:sp>
              <p:nvSpPr>
                <p:cNvPr id="84" name="TextBox 83">
                  <a:extLst>
                    <a:ext uri="{FF2B5EF4-FFF2-40B4-BE49-F238E27FC236}">
                      <a16:creationId xmlns:a16="http://schemas.microsoft.com/office/drawing/2014/main" id="{F0F12BC4-ED36-427B-ABDE-F89B914B949B}"/>
                    </a:ext>
                  </a:extLst>
                </p:cNvPr>
                <p:cNvSpPr txBox="1"/>
                <p:nvPr/>
              </p:nvSpPr>
              <p:spPr>
                <a:xfrm>
                  <a:off x="1696505" y="4498440"/>
                  <a:ext cx="613586" cy="330625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noAutofit/>
                </a:bodyPr>
                <a:lstStyle/>
                <a:p>
                  <a:pPr>
                    <a:lnSpc>
                      <a:spcPct val="90000"/>
                    </a:lnSpc>
                    <a:defRPr/>
                  </a:pPr>
                  <a:r>
                    <a:rPr lang="en-US" sz="1050" dirty="0">
                      <a:solidFill>
                        <a:srgbClr val="000000"/>
                      </a:solidFill>
                      <a:latin typeface="Calibri"/>
                    </a:rPr>
                    <a:t>Replica</a:t>
                  </a:r>
                  <a:endParaRPr lang="en-US" sz="1050" dirty="0">
                    <a:solidFill>
                      <a:srgbClr val="FFFFFF"/>
                    </a:solidFill>
                    <a:latin typeface="Calibri"/>
                  </a:endParaRPr>
                </a:p>
                <a:p>
                  <a:pPr>
                    <a:lnSpc>
                      <a:spcPct val="90000"/>
                    </a:lnSpc>
                    <a:defRPr/>
                  </a:pPr>
                  <a:endParaRPr lang="en-US" sz="1050" dirty="0">
                    <a:solidFill>
                      <a:srgbClr val="FFFFFF"/>
                    </a:solidFill>
                    <a:latin typeface="Calibri"/>
                  </a:endParaRPr>
                </a:p>
              </p:txBody>
            </p:sp>
          </p:grpSp>
          <p:grpSp>
            <p:nvGrpSpPr>
              <p:cNvPr id="77" name="Group 76">
                <a:extLst>
                  <a:ext uri="{FF2B5EF4-FFF2-40B4-BE49-F238E27FC236}">
                    <a16:creationId xmlns:a16="http://schemas.microsoft.com/office/drawing/2014/main" id="{171FC640-20AD-4266-994A-B435E919DFC4}"/>
                  </a:ext>
                </a:extLst>
              </p:cNvPr>
              <p:cNvGrpSpPr/>
              <p:nvPr/>
            </p:nvGrpSpPr>
            <p:grpSpPr>
              <a:xfrm>
                <a:off x="2649132" y="4336867"/>
                <a:ext cx="738359" cy="530557"/>
                <a:chOff x="1571732" y="4328351"/>
                <a:chExt cx="738359" cy="530557"/>
              </a:xfrm>
            </p:grpSpPr>
            <p:sp>
              <p:nvSpPr>
                <p:cNvPr id="81" name="Oval 80">
                  <a:extLst>
                    <a:ext uri="{FF2B5EF4-FFF2-40B4-BE49-F238E27FC236}">
                      <a16:creationId xmlns:a16="http://schemas.microsoft.com/office/drawing/2014/main" id="{0571F87E-AE08-417D-B5BB-838AED27E755}"/>
                    </a:ext>
                  </a:extLst>
                </p:cNvPr>
                <p:cNvSpPr/>
                <p:nvPr/>
              </p:nvSpPr>
              <p:spPr>
                <a:xfrm>
                  <a:off x="1571732" y="4328351"/>
                  <a:ext cx="667723" cy="530557"/>
                </a:xfrm>
                <a:prstGeom prst="ellipse">
                  <a:avLst/>
                </a:prstGeom>
                <a:solidFill>
                  <a:srgbClr val="96C9EA"/>
                </a:solidFill>
                <a:ln w="19050">
                  <a:noFill/>
                  <a:miter lim="800000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lnSpc>
                      <a:spcPct val="90000"/>
                    </a:lnSpc>
                    <a:defRPr/>
                  </a:pPr>
                  <a:endParaRPr lang="en-US" dirty="0">
                    <a:solidFill>
                      <a:srgbClr val="FFFFFF"/>
                    </a:solidFill>
                    <a:latin typeface="Calibri"/>
                  </a:endParaRPr>
                </a:p>
              </p:txBody>
            </p:sp>
            <p:sp>
              <p:nvSpPr>
                <p:cNvPr id="82" name="TextBox 81">
                  <a:extLst>
                    <a:ext uri="{FF2B5EF4-FFF2-40B4-BE49-F238E27FC236}">
                      <a16:creationId xmlns:a16="http://schemas.microsoft.com/office/drawing/2014/main" id="{8EDEAE5D-305A-4E84-8480-9C75A64F785D}"/>
                    </a:ext>
                  </a:extLst>
                </p:cNvPr>
                <p:cNvSpPr txBox="1"/>
                <p:nvPr/>
              </p:nvSpPr>
              <p:spPr>
                <a:xfrm>
                  <a:off x="1696505" y="4498440"/>
                  <a:ext cx="613586" cy="330625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noAutofit/>
                </a:bodyPr>
                <a:lstStyle/>
                <a:p>
                  <a:pPr>
                    <a:lnSpc>
                      <a:spcPct val="90000"/>
                    </a:lnSpc>
                    <a:defRPr/>
                  </a:pPr>
                  <a:r>
                    <a:rPr lang="en-US" sz="1050" dirty="0">
                      <a:solidFill>
                        <a:srgbClr val="000000"/>
                      </a:solidFill>
                      <a:latin typeface="Calibri"/>
                    </a:rPr>
                    <a:t>Replica</a:t>
                  </a:r>
                  <a:endParaRPr lang="en-US" sz="1050" dirty="0">
                    <a:solidFill>
                      <a:srgbClr val="FFFFFF"/>
                    </a:solidFill>
                    <a:latin typeface="Calibri"/>
                  </a:endParaRPr>
                </a:p>
                <a:p>
                  <a:pPr>
                    <a:lnSpc>
                      <a:spcPct val="90000"/>
                    </a:lnSpc>
                    <a:defRPr/>
                  </a:pPr>
                  <a:endParaRPr lang="en-US" sz="1050" dirty="0">
                    <a:solidFill>
                      <a:srgbClr val="FFFFFF"/>
                    </a:solidFill>
                    <a:latin typeface="Calibri"/>
                  </a:endParaRPr>
                </a:p>
              </p:txBody>
            </p:sp>
          </p:grpSp>
          <p:cxnSp>
            <p:nvCxnSpPr>
              <p:cNvPr id="78" name="Straight Arrow Connector 77">
                <a:extLst>
                  <a:ext uri="{FF2B5EF4-FFF2-40B4-BE49-F238E27FC236}">
                    <a16:creationId xmlns:a16="http://schemas.microsoft.com/office/drawing/2014/main" id="{3E9F0052-654B-44F5-9CE3-E531063AE2E5}"/>
                  </a:ext>
                </a:extLst>
              </p:cNvPr>
              <p:cNvCxnSpPr/>
              <p:nvPr/>
            </p:nvCxnSpPr>
            <p:spPr>
              <a:xfrm flipH="1">
                <a:off x="794319" y="4129496"/>
                <a:ext cx="1082281" cy="197776"/>
              </a:xfrm>
              <a:prstGeom prst="straightConnector1">
                <a:avLst/>
              </a:prstGeom>
              <a:ln w="19050">
                <a:solidFill>
                  <a:srgbClr val="000000"/>
                </a:solidFill>
                <a:miter lim="800000"/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9" name="Straight Arrow Connector 78">
                <a:extLst>
                  <a:ext uri="{FF2B5EF4-FFF2-40B4-BE49-F238E27FC236}">
                    <a16:creationId xmlns:a16="http://schemas.microsoft.com/office/drawing/2014/main" id="{147AD640-BF91-4FE3-A00E-1776C8FAD490}"/>
                  </a:ext>
                </a:extLst>
              </p:cNvPr>
              <p:cNvCxnSpPr/>
              <p:nvPr/>
            </p:nvCxnSpPr>
            <p:spPr>
              <a:xfrm>
                <a:off x="1855512" y="4137615"/>
                <a:ext cx="50082" cy="190737"/>
              </a:xfrm>
              <a:prstGeom prst="straightConnector1">
                <a:avLst/>
              </a:prstGeom>
              <a:ln w="19050">
                <a:solidFill>
                  <a:srgbClr val="000000"/>
                </a:solidFill>
                <a:miter lim="800000"/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0" name="Straight Arrow Connector 79">
                <a:extLst>
                  <a:ext uri="{FF2B5EF4-FFF2-40B4-BE49-F238E27FC236}">
                    <a16:creationId xmlns:a16="http://schemas.microsoft.com/office/drawing/2014/main" id="{4B3CEE4E-DFF3-433C-A262-127B36228BD3}"/>
                  </a:ext>
                </a:extLst>
              </p:cNvPr>
              <p:cNvCxnSpPr/>
              <p:nvPr/>
            </p:nvCxnSpPr>
            <p:spPr>
              <a:xfrm>
                <a:off x="1855512" y="4133055"/>
                <a:ext cx="889738" cy="298410"/>
              </a:xfrm>
              <a:prstGeom prst="straightConnector1">
                <a:avLst/>
              </a:prstGeom>
              <a:ln w="19050">
                <a:solidFill>
                  <a:srgbClr val="000000"/>
                </a:solidFill>
                <a:miter lim="800000"/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89" name="Rounded Rectangle 2">
            <a:extLst>
              <a:ext uri="{FF2B5EF4-FFF2-40B4-BE49-F238E27FC236}">
                <a16:creationId xmlns:a16="http://schemas.microsoft.com/office/drawing/2014/main" id="{AB3302EA-8C11-4025-B68D-4DB1C20FEB60}"/>
              </a:ext>
            </a:extLst>
          </p:cNvPr>
          <p:cNvSpPr/>
          <p:nvPr/>
        </p:nvSpPr>
        <p:spPr>
          <a:xfrm>
            <a:off x="833951" y="2202489"/>
            <a:ext cx="9951702" cy="244401"/>
          </a:xfrm>
          <a:prstGeom prst="roundRect">
            <a:avLst/>
          </a:prstGeom>
          <a:solidFill>
            <a:schemeClr val="tx1">
              <a:lumMod val="75000"/>
            </a:schemeClr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defRPr/>
            </a:pPr>
            <a:endParaRPr lang="en-US" dirty="0">
              <a:solidFill>
                <a:srgbClr val="FFFFFF"/>
              </a:solidFill>
              <a:latin typeface="Calibri"/>
            </a:endParaRPr>
          </a:p>
        </p:txBody>
      </p:sp>
      <p:sp>
        <p:nvSpPr>
          <p:cNvPr id="90" name="TextBox 89">
            <a:extLst>
              <a:ext uri="{FF2B5EF4-FFF2-40B4-BE49-F238E27FC236}">
                <a16:creationId xmlns:a16="http://schemas.microsoft.com/office/drawing/2014/main" id="{99DA1C7C-2AEB-44FE-8284-907A30526C3A}"/>
              </a:ext>
            </a:extLst>
          </p:cNvPr>
          <p:cNvSpPr txBox="1"/>
          <p:nvPr/>
        </p:nvSpPr>
        <p:spPr>
          <a:xfrm>
            <a:off x="4918986" y="2237831"/>
            <a:ext cx="4457330" cy="28824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90000"/>
              </a:lnSpc>
              <a:defRPr/>
            </a:pPr>
            <a:r>
              <a:rPr lang="en-US" sz="1400" b="1" dirty="0">
                <a:solidFill>
                  <a:srgbClr val="FFFFFF"/>
                </a:solidFill>
              </a:rPr>
              <a:t>Key Space (Auto-sharded tables)</a:t>
            </a:r>
          </a:p>
        </p:txBody>
      </p:sp>
      <p:grpSp>
        <p:nvGrpSpPr>
          <p:cNvPr id="91" name="Group 90">
            <a:extLst>
              <a:ext uri="{FF2B5EF4-FFF2-40B4-BE49-F238E27FC236}">
                <a16:creationId xmlns:a16="http://schemas.microsoft.com/office/drawing/2014/main" id="{E2AF7329-900A-4618-BE7F-2F8396FF8ED1}"/>
              </a:ext>
            </a:extLst>
          </p:cNvPr>
          <p:cNvGrpSpPr/>
          <p:nvPr/>
        </p:nvGrpSpPr>
        <p:grpSpPr>
          <a:xfrm>
            <a:off x="4789800" y="2794649"/>
            <a:ext cx="2027738" cy="261929"/>
            <a:chOff x="2283587" y="2629189"/>
            <a:chExt cx="2027738" cy="315288"/>
          </a:xfrm>
        </p:grpSpPr>
        <p:sp>
          <p:nvSpPr>
            <p:cNvPr id="92" name="Rounded Rectangle 8">
              <a:extLst>
                <a:ext uri="{FF2B5EF4-FFF2-40B4-BE49-F238E27FC236}">
                  <a16:creationId xmlns:a16="http://schemas.microsoft.com/office/drawing/2014/main" id="{DAFBB0E2-F44D-4D41-AAC2-E0F478F1C02A}"/>
                </a:ext>
              </a:extLst>
            </p:cNvPr>
            <p:cNvSpPr/>
            <p:nvPr/>
          </p:nvSpPr>
          <p:spPr>
            <a:xfrm>
              <a:off x="2283587" y="2629189"/>
              <a:ext cx="2027738" cy="258322"/>
            </a:xfrm>
            <a:prstGeom prst="roundRect">
              <a:avLst/>
            </a:prstGeom>
            <a:solidFill>
              <a:schemeClr val="tx1"/>
            </a:solidFill>
            <a:ln w="19050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defRPr/>
              </a:pPr>
              <a:endParaRPr lang="en-US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93" name="TextBox 92">
              <a:extLst>
                <a:ext uri="{FF2B5EF4-FFF2-40B4-BE49-F238E27FC236}">
                  <a16:creationId xmlns:a16="http://schemas.microsoft.com/office/drawing/2014/main" id="{154BB33C-891C-42E1-959B-BB8BF809C629}"/>
                </a:ext>
              </a:extLst>
            </p:cNvPr>
            <p:cNvSpPr txBox="1"/>
            <p:nvPr/>
          </p:nvSpPr>
          <p:spPr>
            <a:xfrm>
              <a:off x="2726024" y="2643330"/>
              <a:ext cx="1456011" cy="30114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>
                <a:lnSpc>
                  <a:spcPct val="90000"/>
                </a:lnSpc>
                <a:defRPr/>
              </a:pPr>
              <a:r>
                <a:rPr lang="en-US" sz="1400" b="1" dirty="0">
                  <a:solidFill>
                    <a:srgbClr val="FFFFFF"/>
                  </a:solidFill>
                </a:rPr>
                <a:t>Hash Function</a:t>
              </a:r>
            </a:p>
          </p:txBody>
        </p:sp>
      </p:grpSp>
      <p:cxnSp>
        <p:nvCxnSpPr>
          <p:cNvPr id="94" name="Straight Arrow Connector 93">
            <a:extLst>
              <a:ext uri="{FF2B5EF4-FFF2-40B4-BE49-F238E27FC236}">
                <a16:creationId xmlns:a16="http://schemas.microsoft.com/office/drawing/2014/main" id="{0C1AD3F6-35B7-46DF-B9D8-CB948B508AA7}"/>
              </a:ext>
            </a:extLst>
          </p:cNvPr>
          <p:cNvCxnSpPr>
            <a:endCxn id="92" idx="1"/>
          </p:cNvCxnSpPr>
          <p:nvPr/>
        </p:nvCxnSpPr>
        <p:spPr>
          <a:xfrm>
            <a:off x="833950" y="2446890"/>
            <a:ext cx="3955850" cy="455061"/>
          </a:xfrm>
          <a:prstGeom prst="straightConnector1">
            <a:avLst/>
          </a:prstGeom>
          <a:ln w="19050">
            <a:solidFill>
              <a:srgbClr val="000000"/>
            </a:solidFill>
            <a:miter lim="800000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5" name="Straight Arrow Connector 94">
            <a:extLst>
              <a:ext uri="{FF2B5EF4-FFF2-40B4-BE49-F238E27FC236}">
                <a16:creationId xmlns:a16="http://schemas.microsoft.com/office/drawing/2014/main" id="{0C03B2F8-8B14-48C2-969E-8E36DA654571}"/>
              </a:ext>
            </a:extLst>
          </p:cNvPr>
          <p:cNvCxnSpPr>
            <a:endCxn id="92" idx="3"/>
          </p:cNvCxnSpPr>
          <p:nvPr/>
        </p:nvCxnSpPr>
        <p:spPr>
          <a:xfrm flipH="1">
            <a:off x="6817539" y="2443512"/>
            <a:ext cx="3902899" cy="458439"/>
          </a:xfrm>
          <a:prstGeom prst="straightConnector1">
            <a:avLst/>
          </a:prstGeom>
          <a:ln w="19050">
            <a:solidFill>
              <a:srgbClr val="000000"/>
            </a:solidFill>
            <a:miter lim="800000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6" name="Straight Arrow Connector 95">
            <a:extLst>
              <a:ext uri="{FF2B5EF4-FFF2-40B4-BE49-F238E27FC236}">
                <a16:creationId xmlns:a16="http://schemas.microsoft.com/office/drawing/2014/main" id="{127948FB-167E-4112-AF83-F376778038A1}"/>
              </a:ext>
            </a:extLst>
          </p:cNvPr>
          <p:cNvCxnSpPr/>
          <p:nvPr/>
        </p:nvCxnSpPr>
        <p:spPr>
          <a:xfrm>
            <a:off x="5625668" y="2408255"/>
            <a:ext cx="4813" cy="388815"/>
          </a:xfrm>
          <a:prstGeom prst="straightConnector1">
            <a:avLst/>
          </a:prstGeom>
          <a:ln w="19050">
            <a:solidFill>
              <a:srgbClr val="000000"/>
            </a:solidFill>
            <a:miter lim="800000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Straight Arrow Connector 96">
            <a:extLst>
              <a:ext uri="{FF2B5EF4-FFF2-40B4-BE49-F238E27FC236}">
                <a16:creationId xmlns:a16="http://schemas.microsoft.com/office/drawing/2014/main" id="{E8581696-B3CE-41F4-AA56-5AB6AF479110}"/>
              </a:ext>
            </a:extLst>
          </p:cNvPr>
          <p:cNvCxnSpPr>
            <a:cxnSpLocks/>
          </p:cNvCxnSpPr>
          <p:nvPr/>
        </p:nvCxnSpPr>
        <p:spPr>
          <a:xfrm flipH="1">
            <a:off x="3668236" y="3010824"/>
            <a:ext cx="1966056" cy="518002"/>
          </a:xfrm>
          <a:prstGeom prst="straightConnector1">
            <a:avLst/>
          </a:prstGeom>
          <a:ln w="19050">
            <a:solidFill>
              <a:srgbClr val="000000"/>
            </a:solidFill>
            <a:miter lim="800000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8" name="Straight Arrow Connector 97">
            <a:extLst>
              <a:ext uri="{FF2B5EF4-FFF2-40B4-BE49-F238E27FC236}">
                <a16:creationId xmlns:a16="http://schemas.microsoft.com/office/drawing/2014/main" id="{C6252D9B-C892-4F57-BD4F-3FF3EE131A9B}"/>
              </a:ext>
            </a:extLst>
          </p:cNvPr>
          <p:cNvCxnSpPr/>
          <p:nvPr/>
        </p:nvCxnSpPr>
        <p:spPr>
          <a:xfrm>
            <a:off x="5636807" y="3015826"/>
            <a:ext cx="0" cy="321971"/>
          </a:xfrm>
          <a:prstGeom prst="straightConnector1">
            <a:avLst/>
          </a:prstGeom>
          <a:ln w="19050">
            <a:solidFill>
              <a:srgbClr val="000000"/>
            </a:solidFill>
            <a:miter lim="800000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" name="Straight Arrow Connector 98">
            <a:extLst>
              <a:ext uri="{FF2B5EF4-FFF2-40B4-BE49-F238E27FC236}">
                <a16:creationId xmlns:a16="http://schemas.microsoft.com/office/drawing/2014/main" id="{742D30A4-990D-4085-ADF8-B1BB14E435DB}"/>
              </a:ext>
            </a:extLst>
          </p:cNvPr>
          <p:cNvCxnSpPr>
            <a:cxnSpLocks/>
          </p:cNvCxnSpPr>
          <p:nvPr/>
        </p:nvCxnSpPr>
        <p:spPr>
          <a:xfrm>
            <a:off x="5634292" y="3010825"/>
            <a:ext cx="2307410" cy="502563"/>
          </a:xfrm>
          <a:prstGeom prst="straightConnector1">
            <a:avLst/>
          </a:prstGeom>
          <a:ln w="19050">
            <a:solidFill>
              <a:srgbClr val="000000"/>
            </a:solidFill>
            <a:miter lim="800000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0" name="Straight Arrow Connector 99">
            <a:extLst>
              <a:ext uri="{FF2B5EF4-FFF2-40B4-BE49-F238E27FC236}">
                <a16:creationId xmlns:a16="http://schemas.microsoft.com/office/drawing/2014/main" id="{6787FE25-2ECA-4178-A513-0D84E37A47DF}"/>
              </a:ext>
            </a:extLst>
          </p:cNvPr>
          <p:cNvCxnSpPr>
            <a:stCxn id="85" idx="3"/>
          </p:cNvCxnSpPr>
          <p:nvPr/>
        </p:nvCxnSpPr>
        <p:spPr>
          <a:xfrm flipH="1">
            <a:off x="3133878" y="4349783"/>
            <a:ext cx="1380679" cy="648314"/>
          </a:xfrm>
          <a:prstGeom prst="straightConnector1">
            <a:avLst/>
          </a:prstGeom>
          <a:ln w="19050">
            <a:solidFill>
              <a:srgbClr val="000000"/>
            </a:solidFill>
            <a:prstDash val="dash"/>
            <a:miter lim="800000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1" name="Straight Arrow Connector 100">
            <a:extLst>
              <a:ext uri="{FF2B5EF4-FFF2-40B4-BE49-F238E27FC236}">
                <a16:creationId xmlns:a16="http://schemas.microsoft.com/office/drawing/2014/main" id="{777F72CC-F82E-4A86-AB3E-052016806A44}"/>
              </a:ext>
            </a:extLst>
          </p:cNvPr>
          <p:cNvCxnSpPr>
            <a:cxnSpLocks/>
            <a:stCxn id="83" idx="4"/>
            <a:endCxn id="11" idx="1"/>
          </p:cNvCxnSpPr>
          <p:nvPr/>
        </p:nvCxnSpPr>
        <p:spPr>
          <a:xfrm>
            <a:off x="5758530" y="4425593"/>
            <a:ext cx="436938" cy="568836"/>
          </a:xfrm>
          <a:prstGeom prst="straightConnector1">
            <a:avLst/>
          </a:prstGeom>
          <a:ln w="19050">
            <a:solidFill>
              <a:srgbClr val="000000"/>
            </a:solidFill>
            <a:prstDash val="dash"/>
            <a:miter lim="800000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2" name="Straight Arrow Connector 101">
            <a:extLst>
              <a:ext uri="{FF2B5EF4-FFF2-40B4-BE49-F238E27FC236}">
                <a16:creationId xmlns:a16="http://schemas.microsoft.com/office/drawing/2014/main" id="{B0E10AD8-708E-4EB1-8873-DB4B4D76C1BB}"/>
              </a:ext>
            </a:extLst>
          </p:cNvPr>
          <p:cNvCxnSpPr>
            <a:cxnSpLocks/>
            <a:endCxn id="31" idx="3"/>
          </p:cNvCxnSpPr>
          <p:nvPr/>
        </p:nvCxnSpPr>
        <p:spPr>
          <a:xfrm>
            <a:off x="6972798" y="4358679"/>
            <a:ext cx="1386722" cy="960602"/>
          </a:xfrm>
          <a:prstGeom prst="straightConnector1">
            <a:avLst/>
          </a:prstGeom>
          <a:ln w="19050">
            <a:solidFill>
              <a:srgbClr val="000000"/>
            </a:solidFill>
            <a:prstDash val="dash"/>
            <a:miter lim="800000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03" name="Group 102">
            <a:extLst>
              <a:ext uri="{FF2B5EF4-FFF2-40B4-BE49-F238E27FC236}">
                <a16:creationId xmlns:a16="http://schemas.microsoft.com/office/drawing/2014/main" id="{DACB859D-274E-4106-BD85-2B1DBD9FC22C}"/>
              </a:ext>
            </a:extLst>
          </p:cNvPr>
          <p:cNvGrpSpPr/>
          <p:nvPr/>
        </p:nvGrpSpPr>
        <p:grpSpPr>
          <a:xfrm>
            <a:off x="7931417" y="3346940"/>
            <a:ext cx="2995540" cy="1172232"/>
            <a:chOff x="296062" y="3738034"/>
            <a:chExt cx="3244476" cy="1218115"/>
          </a:xfrm>
        </p:grpSpPr>
        <p:sp>
          <p:nvSpPr>
            <p:cNvPr id="104" name="Rounded Rectangle 359">
              <a:extLst>
                <a:ext uri="{FF2B5EF4-FFF2-40B4-BE49-F238E27FC236}">
                  <a16:creationId xmlns:a16="http://schemas.microsoft.com/office/drawing/2014/main" id="{D7BC76B6-7AF4-4931-8B69-5C3AC6E87AE4}"/>
                </a:ext>
              </a:extLst>
            </p:cNvPr>
            <p:cNvSpPr/>
            <p:nvPr/>
          </p:nvSpPr>
          <p:spPr>
            <a:xfrm>
              <a:off x="296062" y="3738034"/>
              <a:ext cx="3244476" cy="1187847"/>
            </a:xfrm>
            <a:prstGeom prst="roundRect">
              <a:avLst/>
            </a:prstGeom>
            <a:solidFill>
              <a:schemeClr val="bg1">
                <a:lumMod val="85000"/>
              </a:schemeClr>
            </a:solidFill>
            <a:ln w="19050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defRPr/>
              </a:pPr>
              <a:endParaRPr lang="en-US" dirty="0">
                <a:solidFill>
                  <a:srgbClr val="FFFFFF"/>
                </a:solidFill>
                <a:latin typeface="Calibri"/>
              </a:endParaRPr>
            </a:p>
          </p:txBody>
        </p:sp>
        <p:grpSp>
          <p:nvGrpSpPr>
            <p:cNvPr id="105" name="Group 104">
              <a:extLst>
                <a:ext uri="{FF2B5EF4-FFF2-40B4-BE49-F238E27FC236}">
                  <a16:creationId xmlns:a16="http://schemas.microsoft.com/office/drawing/2014/main" id="{303AE82A-6FD8-4A65-A231-65E48C7D618E}"/>
                </a:ext>
              </a:extLst>
            </p:cNvPr>
            <p:cNvGrpSpPr/>
            <p:nvPr/>
          </p:nvGrpSpPr>
          <p:grpSpPr>
            <a:xfrm>
              <a:off x="460457" y="3914555"/>
              <a:ext cx="2927034" cy="1041594"/>
              <a:chOff x="460457" y="3914555"/>
              <a:chExt cx="2927034" cy="1041594"/>
            </a:xfrm>
          </p:grpSpPr>
          <p:grpSp>
            <p:nvGrpSpPr>
              <p:cNvPr id="106" name="Group 105">
                <a:extLst>
                  <a:ext uri="{FF2B5EF4-FFF2-40B4-BE49-F238E27FC236}">
                    <a16:creationId xmlns:a16="http://schemas.microsoft.com/office/drawing/2014/main" id="{0B923B7B-A75D-4EBE-8DD6-70AC3E13FF41}"/>
                  </a:ext>
                </a:extLst>
              </p:cNvPr>
              <p:cNvGrpSpPr/>
              <p:nvPr/>
            </p:nvGrpSpPr>
            <p:grpSpPr>
              <a:xfrm>
                <a:off x="956545" y="3914555"/>
                <a:ext cx="2167398" cy="272908"/>
                <a:chOff x="2283587" y="2629189"/>
                <a:chExt cx="2167398" cy="327988"/>
              </a:xfrm>
            </p:grpSpPr>
            <p:sp>
              <p:nvSpPr>
                <p:cNvPr id="119" name="Rounded Rectangle 374">
                  <a:extLst>
                    <a:ext uri="{FF2B5EF4-FFF2-40B4-BE49-F238E27FC236}">
                      <a16:creationId xmlns:a16="http://schemas.microsoft.com/office/drawing/2014/main" id="{D257269F-DA77-4A11-8278-303AB5648DBC}"/>
                    </a:ext>
                  </a:extLst>
                </p:cNvPr>
                <p:cNvSpPr/>
                <p:nvPr/>
              </p:nvSpPr>
              <p:spPr>
                <a:xfrm>
                  <a:off x="2283587" y="2629189"/>
                  <a:ext cx="2027738" cy="258322"/>
                </a:xfrm>
                <a:prstGeom prst="roundRect">
                  <a:avLst/>
                </a:prstGeom>
                <a:solidFill>
                  <a:srgbClr val="465862"/>
                </a:solidFill>
                <a:ln w="19050">
                  <a:noFill/>
                  <a:miter lim="800000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lnSpc>
                      <a:spcPct val="90000"/>
                    </a:lnSpc>
                    <a:defRPr/>
                  </a:pPr>
                  <a:endParaRPr lang="en-US" dirty="0">
                    <a:solidFill>
                      <a:srgbClr val="FFFFFF"/>
                    </a:solidFill>
                    <a:latin typeface="Calibri"/>
                  </a:endParaRPr>
                </a:p>
              </p:txBody>
            </p:sp>
            <p:sp>
              <p:nvSpPr>
                <p:cNvPr id="120" name="TextBox 119">
                  <a:extLst>
                    <a:ext uri="{FF2B5EF4-FFF2-40B4-BE49-F238E27FC236}">
                      <a16:creationId xmlns:a16="http://schemas.microsoft.com/office/drawing/2014/main" id="{7E85D98E-5CBD-4AA3-9070-40A6AAEC2CE3}"/>
                    </a:ext>
                  </a:extLst>
                </p:cNvPr>
                <p:cNvSpPr txBox="1"/>
                <p:nvPr/>
              </p:nvSpPr>
              <p:spPr>
                <a:xfrm>
                  <a:off x="2994974" y="2656030"/>
                  <a:ext cx="1456011" cy="301147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noAutofit/>
                </a:bodyPr>
                <a:lstStyle/>
                <a:p>
                  <a:pPr>
                    <a:lnSpc>
                      <a:spcPct val="90000"/>
                    </a:lnSpc>
                    <a:defRPr/>
                  </a:pPr>
                  <a:r>
                    <a:rPr lang="en-US" sz="1400" b="1" dirty="0">
                      <a:solidFill>
                        <a:srgbClr val="FFFFFF"/>
                      </a:solidFill>
                    </a:rPr>
                    <a:t>Shard</a:t>
                  </a:r>
                </a:p>
              </p:txBody>
            </p:sp>
          </p:grpSp>
          <p:grpSp>
            <p:nvGrpSpPr>
              <p:cNvPr id="107" name="Group 106">
                <a:extLst>
                  <a:ext uri="{FF2B5EF4-FFF2-40B4-BE49-F238E27FC236}">
                    <a16:creationId xmlns:a16="http://schemas.microsoft.com/office/drawing/2014/main" id="{11A166D6-A88B-4398-81AB-B60EC358C6A2}"/>
                  </a:ext>
                </a:extLst>
              </p:cNvPr>
              <p:cNvGrpSpPr/>
              <p:nvPr/>
            </p:nvGrpSpPr>
            <p:grpSpPr>
              <a:xfrm>
                <a:off x="460457" y="4327272"/>
                <a:ext cx="760030" cy="628877"/>
                <a:chOff x="531812" y="4344480"/>
                <a:chExt cx="760030" cy="628877"/>
              </a:xfrm>
            </p:grpSpPr>
            <p:sp>
              <p:nvSpPr>
                <p:cNvPr id="117" name="Oval 116">
                  <a:extLst>
                    <a:ext uri="{FF2B5EF4-FFF2-40B4-BE49-F238E27FC236}">
                      <a16:creationId xmlns:a16="http://schemas.microsoft.com/office/drawing/2014/main" id="{869EBC79-6B51-4AB4-B04B-341DCF6A83FE}"/>
                    </a:ext>
                  </a:extLst>
                </p:cNvPr>
                <p:cNvSpPr/>
                <p:nvPr/>
              </p:nvSpPr>
              <p:spPr>
                <a:xfrm>
                  <a:off x="531812" y="4344480"/>
                  <a:ext cx="667723" cy="530557"/>
                </a:xfrm>
                <a:prstGeom prst="ellipse">
                  <a:avLst/>
                </a:prstGeom>
                <a:solidFill>
                  <a:srgbClr val="41555E"/>
                </a:solidFill>
                <a:ln w="19050">
                  <a:noFill/>
                  <a:miter lim="800000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lnSpc>
                      <a:spcPct val="90000"/>
                    </a:lnSpc>
                    <a:defRPr/>
                  </a:pPr>
                  <a:endParaRPr lang="en-US" dirty="0">
                    <a:solidFill>
                      <a:srgbClr val="FFFFFF"/>
                    </a:solidFill>
                    <a:latin typeface="Calibri"/>
                  </a:endParaRPr>
                </a:p>
              </p:txBody>
            </p:sp>
            <p:sp>
              <p:nvSpPr>
                <p:cNvPr id="118" name="TextBox 117">
                  <a:extLst>
                    <a:ext uri="{FF2B5EF4-FFF2-40B4-BE49-F238E27FC236}">
                      <a16:creationId xmlns:a16="http://schemas.microsoft.com/office/drawing/2014/main" id="{4905E07D-C953-4288-B06C-C700FE858187}"/>
                    </a:ext>
                  </a:extLst>
                </p:cNvPr>
                <p:cNvSpPr txBox="1"/>
                <p:nvPr/>
              </p:nvSpPr>
              <p:spPr>
                <a:xfrm>
                  <a:off x="678256" y="4442800"/>
                  <a:ext cx="613586" cy="530557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noAutofit/>
                </a:bodyPr>
                <a:lstStyle/>
                <a:p>
                  <a:pPr>
                    <a:lnSpc>
                      <a:spcPct val="90000"/>
                    </a:lnSpc>
                    <a:defRPr/>
                  </a:pPr>
                  <a:r>
                    <a:rPr lang="en-US" sz="1050" dirty="0">
                      <a:solidFill>
                        <a:srgbClr val="FFFFFF"/>
                      </a:solidFill>
                      <a:latin typeface="Calibri"/>
                    </a:rPr>
                    <a:t>Elected </a:t>
                  </a:r>
                </a:p>
                <a:p>
                  <a:pPr>
                    <a:lnSpc>
                      <a:spcPct val="90000"/>
                    </a:lnSpc>
                    <a:defRPr/>
                  </a:pPr>
                  <a:r>
                    <a:rPr lang="en-US" sz="1050" dirty="0">
                      <a:solidFill>
                        <a:srgbClr val="FFFFFF"/>
                      </a:solidFill>
                      <a:latin typeface="Calibri"/>
                    </a:rPr>
                    <a:t>Leader</a:t>
                  </a:r>
                </a:p>
              </p:txBody>
            </p:sp>
          </p:grpSp>
          <p:grpSp>
            <p:nvGrpSpPr>
              <p:cNvPr id="108" name="Group 107">
                <a:extLst>
                  <a:ext uri="{FF2B5EF4-FFF2-40B4-BE49-F238E27FC236}">
                    <a16:creationId xmlns:a16="http://schemas.microsoft.com/office/drawing/2014/main" id="{154C28DB-12C8-4E04-A845-C9F79EF4036D}"/>
                  </a:ext>
                </a:extLst>
              </p:cNvPr>
              <p:cNvGrpSpPr/>
              <p:nvPr/>
            </p:nvGrpSpPr>
            <p:grpSpPr>
              <a:xfrm>
                <a:off x="1571732" y="4328351"/>
                <a:ext cx="738359" cy="530557"/>
                <a:chOff x="1571732" y="4328351"/>
                <a:chExt cx="738359" cy="530557"/>
              </a:xfrm>
            </p:grpSpPr>
            <p:sp>
              <p:nvSpPr>
                <p:cNvPr id="115" name="Oval 114">
                  <a:extLst>
                    <a:ext uri="{FF2B5EF4-FFF2-40B4-BE49-F238E27FC236}">
                      <a16:creationId xmlns:a16="http://schemas.microsoft.com/office/drawing/2014/main" id="{2064CB9D-2731-48D2-A58B-7E545DDB476D}"/>
                    </a:ext>
                  </a:extLst>
                </p:cNvPr>
                <p:cNvSpPr/>
                <p:nvPr/>
              </p:nvSpPr>
              <p:spPr>
                <a:xfrm>
                  <a:off x="1571732" y="4328351"/>
                  <a:ext cx="667723" cy="530557"/>
                </a:xfrm>
                <a:prstGeom prst="ellipse">
                  <a:avLst/>
                </a:prstGeom>
                <a:solidFill>
                  <a:srgbClr val="96C9EA"/>
                </a:solidFill>
                <a:ln w="19050">
                  <a:noFill/>
                  <a:miter lim="800000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lnSpc>
                      <a:spcPct val="90000"/>
                    </a:lnSpc>
                    <a:defRPr/>
                  </a:pPr>
                  <a:endParaRPr lang="en-US" dirty="0">
                    <a:solidFill>
                      <a:srgbClr val="FFFFFF"/>
                    </a:solidFill>
                    <a:latin typeface="Calibri"/>
                  </a:endParaRPr>
                </a:p>
              </p:txBody>
            </p:sp>
            <p:sp>
              <p:nvSpPr>
                <p:cNvPr id="116" name="TextBox 115">
                  <a:extLst>
                    <a:ext uri="{FF2B5EF4-FFF2-40B4-BE49-F238E27FC236}">
                      <a16:creationId xmlns:a16="http://schemas.microsoft.com/office/drawing/2014/main" id="{EFB23FEB-C2C3-4E45-B298-B3A4327043C8}"/>
                    </a:ext>
                  </a:extLst>
                </p:cNvPr>
                <p:cNvSpPr txBox="1"/>
                <p:nvPr/>
              </p:nvSpPr>
              <p:spPr>
                <a:xfrm>
                  <a:off x="1696505" y="4498440"/>
                  <a:ext cx="613586" cy="330625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noAutofit/>
                </a:bodyPr>
                <a:lstStyle/>
                <a:p>
                  <a:pPr>
                    <a:lnSpc>
                      <a:spcPct val="90000"/>
                    </a:lnSpc>
                    <a:defRPr/>
                  </a:pPr>
                  <a:r>
                    <a:rPr lang="en-US" sz="1050" dirty="0">
                      <a:solidFill>
                        <a:srgbClr val="000000"/>
                      </a:solidFill>
                      <a:latin typeface="Calibri"/>
                    </a:rPr>
                    <a:t>Replica</a:t>
                  </a:r>
                  <a:endParaRPr lang="en-US" sz="1050" dirty="0">
                    <a:solidFill>
                      <a:srgbClr val="FFFFFF"/>
                    </a:solidFill>
                    <a:latin typeface="Calibri"/>
                  </a:endParaRPr>
                </a:p>
                <a:p>
                  <a:pPr>
                    <a:lnSpc>
                      <a:spcPct val="90000"/>
                    </a:lnSpc>
                    <a:defRPr/>
                  </a:pPr>
                  <a:endParaRPr lang="en-US" sz="1050" dirty="0">
                    <a:solidFill>
                      <a:srgbClr val="FFFFFF"/>
                    </a:solidFill>
                    <a:latin typeface="Calibri"/>
                  </a:endParaRPr>
                </a:p>
              </p:txBody>
            </p:sp>
          </p:grpSp>
          <p:grpSp>
            <p:nvGrpSpPr>
              <p:cNvPr id="109" name="Group 108">
                <a:extLst>
                  <a:ext uri="{FF2B5EF4-FFF2-40B4-BE49-F238E27FC236}">
                    <a16:creationId xmlns:a16="http://schemas.microsoft.com/office/drawing/2014/main" id="{DE6427E7-ED2D-4172-8848-1C56471DD0E2}"/>
                  </a:ext>
                </a:extLst>
              </p:cNvPr>
              <p:cNvGrpSpPr/>
              <p:nvPr/>
            </p:nvGrpSpPr>
            <p:grpSpPr>
              <a:xfrm>
                <a:off x="2649132" y="4336867"/>
                <a:ext cx="738359" cy="530557"/>
                <a:chOff x="1571732" y="4328351"/>
                <a:chExt cx="738359" cy="530557"/>
              </a:xfrm>
            </p:grpSpPr>
            <p:sp>
              <p:nvSpPr>
                <p:cNvPr id="113" name="Oval 112">
                  <a:extLst>
                    <a:ext uri="{FF2B5EF4-FFF2-40B4-BE49-F238E27FC236}">
                      <a16:creationId xmlns:a16="http://schemas.microsoft.com/office/drawing/2014/main" id="{57BBD14E-4DAE-4BFB-BA97-3301AACD39EF}"/>
                    </a:ext>
                  </a:extLst>
                </p:cNvPr>
                <p:cNvSpPr/>
                <p:nvPr/>
              </p:nvSpPr>
              <p:spPr>
                <a:xfrm>
                  <a:off x="1571732" y="4328351"/>
                  <a:ext cx="667723" cy="530557"/>
                </a:xfrm>
                <a:prstGeom prst="ellipse">
                  <a:avLst/>
                </a:prstGeom>
                <a:solidFill>
                  <a:srgbClr val="96C9EA"/>
                </a:solidFill>
                <a:ln w="19050">
                  <a:noFill/>
                  <a:miter lim="800000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lnSpc>
                      <a:spcPct val="90000"/>
                    </a:lnSpc>
                    <a:defRPr/>
                  </a:pPr>
                  <a:endParaRPr lang="en-US" dirty="0">
                    <a:solidFill>
                      <a:srgbClr val="FFFFFF"/>
                    </a:solidFill>
                    <a:latin typeface="Calibri"/>
                  </a:endParaRPr>
                </a:p>
              </p:txBody>
            </p:sp>
            <p:sp>
              <p:nvSpPr>
                <p:cNvPr id="114" name="TextBox 113">
                  <a:extLst>
                    <a:ext uri="{FF2B5EF4-FFF2-40B4-BE49-F238E27FC236}">
                      <a16:creationId xmlns:a16="http://schemas.microsoft.com/office/drawing/2014/main" id="{91C21ADF-18EE-4006-8BC6-9026A7F6605C}"/>
                    </a:ext>
                  </a:extLst>
                </p:cNvPr>
                <p:cNvSpPr txBox="1"/>
                <p:nvPr/>
              </p:nvSpPr>
              <p:spPr>
                <a:xfrm>
                  <a:off x="1696505" y="4498440"/>
                  <a:ext cx="613586" cy="330625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noAutofit/>
                </a:bodyPr>
                <a:lstStyle/>
                <a:p>
                  <a:pPr>
                    <a:lnSpc>
                      <a:spcPct val="90000"/>
                    </a:lnSpc>
                    <a:defRPr/>
                  </a:pPr>
                  <a:r>
                    <a:rPr lang="en-US" sz="1050" dirty="0">
                      <a:solidFill>
                        <a:srgbClr val="000000"/>
                      </a:solidFill>
                      <a:latin typeface="Calibri"/>
                    </a:rPr>
                    <a:t>Replica</a:t>
                  </a:r>
                  <a:endParaRPr lang="en-US" sz="1050" dirty="0">
                    <a:solidFill>
                      <a:srgbClr val="FFFFFF"/>
                    </a:solidFill>
                    <a:latin typeface="Calibri"/>
                  </a:endParaRPr>
                </a:p>
                <a:p>
                  <a:pPr>
                    <a:lnSpc>
                      <a:spcPct val="90000"/>
                    </a:lnSpc>
                    <a:defRPr/>
                  </a:pPr>
                  <a:endParaRPr lang="en-US" sz="1050" dirty="0">
                    <a:solidFill>
                      <a:srgbClr val="FFFFFF"/>
                    </a:solidFill>
                    <a:latin typeface="Calibri"/>
                  </a:endParaRPr>
                </a:p>
              </p:txBody>
            </p:sp>
          </p:grpSp>
          <p:cxnSp>
            <p:nvCxnSpPr>
              <p:cNvPr id="110" name="Straight Arrow Connector 109">
                <a:extLst>
                  <a:ext uri="{FF2B5EF4-FFF2-40B4-BE49-F238E27FC236}">
                    <a16:creationId xmlns:a16="http://schemas.microsoft.com/office/drawing/2014/main" id="{0A78F3B1-B522-436A-9EFE-B361A96A0226}"/>
                  </a:ext>
                </a:extLst>
              </p:cNvPr>
              <p:cNvCxnSpPr/>
              <p:nvPr/>
            </p:nvCxnSpPr>
            <p:spPr>
              <a:xfrm flipH="1">
                <a:off x="794319" y="4129496"/>
                <a:ext cx="1082281" cy="197776"/>
              </a:xfrm>
              <a:prstGeom prst="straightConnector1">
                <a:avLst/>
              </a:prstGeom>
              <a:ln w="19050">
                <a:solidFill>
                  <a:srgbClr val="000000"/>
                </a:solidFill>
                <a:miter lim="800000"/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1" name="Straight Arrow Connector 110">
                <a:extLst>
                  <a:ext uri="{FF2B5EF4-FFF2-40B4-BE49-F238E27FC236}">
                    <a16:creationId xmlns:a16="http://schemas.microsoft.com/office/drawing/2014/main" id="{3592D7B4-005C-4846-9276-11F063247781}"/>
                  </a:ext>
                </a:extLst>
              </p:cNvPr>
              <p:cNvCxnSpPr/>
              <p:nvPr/>
            </p:nvCxnSpPr>
            <p:spPr>
              <a:xfrm>
                <a:off x="1855512" y="4137615"/>
                <a:ext cx="50082" cy="190737"/>
              </a:xfrm>
              <a:prstGeom prst="straightConnector1">
                <a:avLst/>
              </a:prstGeom>
              <a:ln w="19050">
                <a:solidFill>
                  <a:srgbClr val="000000"/>
                </a:solidFill>
                <a:miter lim="800000"/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2" name="Straight Arrow Connector 111">
                <a:extLst>
                  <a:ext uri="{FF2B5EF4-FFF2-40B4-BE49-F238E27FC236}">
                    <a16:creationId xmlns:a16="http://schemas.microsoft.com/office/drawing/2014/main" id="{D355123E-72E4-4F1F-AFCB-55819065B9EC}"/>
                  </a:ext>
                </a:extLst>
              </p:cNvPr>
              <p:cNvCxnSpPr/>
              <p:nvPr/>
            </p:nvCxnSpPr>
            <p:spPr>
              <a:xfrm>
                <a:off x="1855512" y="4133055"/>
                <a:ext cx="889738" cy="298410"/>
              </a:xfrm>
              <a:prstGeom prst="straightConnector1">
                <a:avLst/>
              </a:prstGeom>
              <a:ln w="19050">
                <a:solidFill>
                  <a:srgbClr val="000000"/>
                </a:solidFill>
                <a:miter lim="800000"/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cxnSp>
        <p:nvCxnSpPr>
          <p:cNvPr id="121" name="Straight Connector 120">
            <a:extLst>
              <a:ext uri="{FF2B5EF4-FFF2-40B4-BE49-F238E27FC236}">
                <a16:creationId xmlns:a16="http://schemas.microsoft.com/office/drawing/2014/main" id="{3AB16408-6C45-4087-9D99-CE68ACD77185}"/>
              </a:ext>
            </a:extLst>
          </p:cNvPr>
          <p:cNvCxnSpPr/>
          <p:nvPr/>
        </p:nvCxnSpPr>
        <p:spPr>
          <a:xfrm>
            <a:off x="161077" y="2078134"/>
            <a:ext cx="11706447" cy="0"/>
          </a:xfrm>
          <a:prstGeom prst="line">
            <a:avLst/>
          </a:prstGeom>
          <a:ln w="3175">
            <a:solidFill>
              <a:schemeClr val="bg1">
                <a:lumMod val="75000"/>
              </a:schemeClr>
            </a:solidFill>
            <a:prstDash val="lgDash"/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2" name="TextBox 121">
            <a:extLst>
              <a:ext uri="{FF2B5EF4-FFF2-40B4-BE49-F238E27FC236}">
                <a16:creationId xmlns:a16="http://schemas.microsoft.com/office/drawing/2014/main" id="{B724C70B-AEA6-4910-879F-DC8A325E949A}"/>
              </a:ext>
            </a:extLst>
          </p:cNvPr>
          <p:cNvSpPr txBox="1"/>
          <p:nvPr/>
        </p:nvSpPr>
        <p:spPr>
          <a:xfrm>
            <a:off x="11335895" y="1759777"/>
            <a:ext cx="563527" cy="16163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90000"/>
              </a:lnSpc>
              <a:defRPr/>
            </a:pPr>
            <a:r>
              <a:rPr lang="en-US" sz="1400" dirty="0">
                <a:solidFill>
                  <a:srgbClr val="58595B">
                    <a:lumMod val="75000"/>
                  </a:srgbClr>
                </a:solidFill>
                <a:latin typeface="Calibri"/>
              </a:rPr>
              <a:t>Client</a:t>
            </a:r>
          </a:p>
        </p:txBody>
      </p:sp>
      <p:sp>
        <p:nvSpPr>
          <p:cNvPr id="123" name="TextBox 122">
            <a:extLst>
              <a:ext uri="{FF2B5EF4-FFF2-40B4-BE49-F238E27FC236}">
                <a16:creationId xmlns:a16="http://schemas.microsoft.com/office/drawing/2014/main" id="{26DE03A2-703A-49D5-BD49-FCD4FC0883EA}"/>
              </a:ext>
            </a:extLst>
          </p:cNvPr>
          <p:cNvSpPr txBox="1"/>
          <p:nvPr/>
        </p:nvSpPr>
        <p:spPr>
          <a:xfrm>
            <a:off x="11302863" y="2172248"/>
            <a:ext cx="563527" cy="16163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90000"/>
              </a:lnSpc>
              <a:defRPr/>
            </a:pPr>
            <a:r>
              <a:rPr lang="en-US" sz="1400" dirty="0">
                <a:solidFill>
                  <a:srgbClr val="58595B">
                    <a:lumMod val="75000"/>
                  </a:srgbClr>
                </a:solidFill>
                <a:latin typeface="Calibri"/>
              </a:rPr>
              <a:t>Server</a:t>
            </a:r>
          </a:p>
        </p:txBody>
      </p:sp>
      <p:sp>
        <p:nvSpPr>
          <p:cNvPr id="124" name="TextBox 123">
            <a:extLst>
              <a:ext uri="{FF2B5EF4-FFF2-40B4-BE49-F238E27FC236}">
                <a16:creationId xmlns:a16="http://schemas.microsoft.com/office/drawing/2014/main" id="{EDDBF849-4B36-4787-B88F-7D4689AB30F8}"/>
              </a:ext>
            </a:extLst>
          </p:cNvPr>
          <p:cNvSpPr txBox="1"/>
          <p:nvPr/>
        </p:nvSpPr>
        <p:spPr>
          <a:xfrm>
            <a:off x="8011625" y="4654153"/>
            <a:ext cx="566508" cy="31817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>
              <a:lnSpc>
                <a:spcPct val="90000"/>
              </a:lnSpc>
              <a:defRPr/>
            </a:pPr>
            <a:r>
              <a:rPr lang="en-US" sz="1050" dirty="0">
                <a:solidFill>
                  <a:srgbClr val="000000"/>
                </a:solidFill>
                <a:latin typeface="Calibri"/>
              </a:rPr>
              <a:t>Storage Node</a:t>
            </a:r>
            <a:endParaRPr lang="en-US" sz="1050" dirty="0">
              <a:solidFill>
                <a:srgbClr val="FFFFFF"/>
              </a:solidFill>
              <a:latin typeface="Calibri"/>
            </a:endParaRPr>
          </a:p>
          <a:p>
            <a:pPr>
              <a:lnSpc>
                <a:spcPct val="90000"/>
              </a:lnSpc>
              <a:defRPr/>
            </a:pPr>
            <a:endParaRPr lang="en-US" sz="1050" dirty="0">
              <a:solidFill>
                <a:srgbClr val="FFFFFF"/>
              </a:solidFill>
              <a:latin typeface="Calibri"/>
            </a:endParaRPr>
          </a:p>
        </p:txBody>
      </p:sp>
      <p:sp>
        <p:nvSpPr>
          <p:cNvPr id="125" name="Rounded Rectangle 8">
            <a:extLst>
              <a:ext uri="{FF2B5EF4-FFF2-40B4-BE49-F238E27FC236}">
                <a16:creationId xmlns:a16="http://schemas.microsoft.com/office/drawing/2014/main" id="{BC209D89-46C6-4DAC-A692-3EDA8D767A16}"/>
              </a:ext>
            </a:extLst>
          </p:cNvPr>
          <p:cNvSpPr/>
          <p:nvPr/>
        </p:nvSpPr>
        <p:spPr bwMode="gray">
          <a:xfrm>
            <a:off x="4847486" y="1473762"/>
            <a:ext cx="1601950" cy="244685"/>
          </a:xfrm>
          <a:prstGeom prst="roundRect">
            <a:avLst>
              <a:gd name="adj" fmla="val 0"/>
            </a:avLst>
          </a:prstGeom>
          <a:solidFill>
            <a:schemeClr val="accent1">
              <a:lumMod val="75000"/>
            </a:schemeClr>
          </a:solidFill>
          <a:ln w="15875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defRPr/>
            </a:pPr>
            <a:r>
              <a:rPr lang="en-US" sz="1200" dirty="0">
                <a:solidFill>
                  <a:srgbClr val="FFFFFF"/>
                </a:solidFill>
              </a:rPr>
              <a:t>Application</a:t>
            </a:r>
          </a:p>
        </p:txBody>
      </p:sp>
      <p:sp>
        <p:nvSpPr>
          <p:cNvPr id="126" name="Rounded Rectangle 8">
            <a:extLst>
              <a:ext uri="{FF2B5EF4-FFF2-40B4-BE49-F238E27FC236}">
                <a16:creationId xmlns:a16="http://schemas.microsoft.com/office/drawing/2014/main" id="{9DC03FDB-E607-4EE3-B6FF-15D7F96EBE6A}"/>
              </a:ext>
            </a:extLst>
          </p:cNvPr>
          <p:cNvSpPr/>
          <p:nvPr/>
        </p:nvSpPr>
        <p:spPr bwMode="gray">
          <a:xfrm>
            <a:off x="4846030" y="1753163"/>
            <a:ext cx="1601950" cy="208278"/>
          </a:xfrm>
          <a:prstGeom prst="roundRect">
            <a:avLst>
              <a:gd name="adj" fmla="val 0"/>
            </a:avLst>
          </a:prstGeom>
          <a:solidFill>
            <a:schemeClr val="accent6">
              <a:lumMod val="60000"/>
              <a:lumOff val="40000"/>
            </a:schemeClr>
          </a:solidFill>
          <a:ln w="15875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defRPr/>
            </a:pPr>
            <a:endParaRPr lang="en-US" dirty="0">
              <a:solidFill>
                <a:srgbClr val="C65823"/>
              </a:solidFill>
              <a:latin typeface="Calibri"/>
            </a:endParaRPr>
          </a:p>
        </p:txBody>
      </p:sp>
      <p:sp>
        <p:nvSpPr>
          <p:cNvPr id="127" name="TextBox 126">
            <a:extLst>
              <a:ext uri="{FF2B5EF4-FFF2-40B4-BE49-F238E27FC236}">
                <a16:creationId xmlns:a16="http://schemas.microsoft.com/office/drawing/2014/main" id="{3035FEC5-D49D-4BE4-AC13-589C2FC6C2F8}"/>
              </a:ext>
            </a:extLst>
          </p:cNvPr>
          <p:cNvSpPr txBox="1"/>
          <p:nvPr/>
        </p:nvSpPr>
        <p:spPr>
          <a:xfrm>
            <a:off x="5025521" y="1780867"/>
            <a:ext cx="1256075" cy="1661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90000"/>
              </a:lnSpc>
              <a:defRPr/>
            </a:pPr>
            <a:r>
              <a:rPr lang="en-US" sz="1200" dirty="0">
                <a:solidFill>
                  <a:schemeClr val="bg1"/>
                </a:solidFill>
              </a:rPr>
              <a:t>NoSQL Driver</a:t>
            </a:r>
          </a:p>
        </p:txBody>
      </p:sp>
      <p:sp>
        <p:nvSpPr>
          <p:cNvPr id="128" name="Title 1">
            <a:extLst>
              <a:ext uri="{FF2B5EF4-FFF2-40B4-BE49-F238E27FC236}">
                <a16:creationId xmlns:a16="http://schemas.microsoft.com/office/drawing/2014/main" id="{35FFE706-0BBA-4500-BFB8-47502875D9C6}"/>
              </a:ext>
            </a:extLst>
          </p:cNvPr>
          <p:cNvSpPr txBox="1">
            <a:spLocks/>
          </p:cNvSpPr>
          <p:nvPr/>
        </p:nvSpPr>
        <p:spPr>
          <a:xfrm>
            <a:off x="594049" y="292552"/>
            <a:ext cx="11125200" cy="475727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defPPr>
              <a:defRPr lang="en-US"/>
            </a:defPPr>
            <a:lvl1pPr>
              <a:lnSpc>
                <a:spcPct val="80000"/>
              </a:lnSpc>
              <a:spcBef>
                <a:spcPct val="0"/>
              </a:spcBef>
              <a:buNone/>
              <a:defRPr sz="2400" b="1" i="0" baseline="0">
                <a:cs typeface="Arial" charset="0"/>
              </a:defRPr>
            </a:lvl1pPr>
          </a:lstStyle>
          <a:p>
            <a:r>
              <a:rPr lang="en-US" dirty="0"/>
              <a:t>Oracle NoSQL Database Architecture Overview</a:t>
            </a:r>
          </a:p>
        </p:txBody>
      </p:sp>
      <p:sp>
        <p:nvSpPr>
          <p:cNvPr id="129" name="Down Arrow 11">
            <a:extLst>
              <a:ext uri="{FF2B5EF4-FFF2-40B4-BE49-F238E27FC236}">
                <a16:creationId xmlns:a16="http://schemas.microsoft.com/office/drawing/2014/main" id="{38162A01-E4FF-43F8-9D72-4F8A406BC933}"/>
              </a:ext>
            </a:extLst>
          </p:cNvPr>
          <p:cNvSpPr/>
          <p:nvPr/>
        </p:nvSpPr>
        <p:spPr bwMode="gray">
          <a:xfrm rot="10800000">
            <a:off x="5668034" y="1917333"/>
            <a:ext cx="137160" cy="274320"/>
          </a:xfrm>
          <a:prstGeom prst="downArrow">
            <a:avLst/>
          </a:prstGeom>
          <a:solidFill>
            <a:srgbClr val="455761"/>
          </a:solidFill>
          <a:ln w="15875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defRPr/>
            </a:pPr>
            <a:endParaRPr lang="en-US" dirty="0">
              <a:solidFill>
                <a:srgbClr val="FFFFFF"/>
              </a:solidFill>
              <a:latin typeface="Calibri"/>
            </a:endParaRPr>
          </a:p>
        </p:txBody>
      </p:sp>
      <p:sp>
        <p:nvSpPr>
          <p:cNvPr id="130" name="Down Arrow 11">
            <a:extLst>
              <a:ext uri="{FF2B5EF4-FFF2-40B4-BE49-F238E27FC236}">
                <a16:creationId xmlns:a16="http://schemas.microsoft.com/office/drawing/2014/main" id="{8BF544D9-A078-4A5B-B130-673F8D9718AA}"/>
              </a:ext>
            </a:extLst>
          </p:cNvPr>
          <p:cNvSpPr/>
          <p:nvPr/>
        </p:nvSpPr>
        <p:spPr bwMode="gray">
          <a:xfrm>
            <a:off x="5429726" y="1932015"/>
            <a:ext cx="137160" cy="274320"/>
          </a:xfrm>
          <a:prstGeom prst="downArrow">
            <a:avLst/>
          </a:prstGeom>
          <a:solidFill>
            <a:srgbClr val="455761"/>
          </a:solidFill>
          <a:ln w="15875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defRPr/>
            </a:pPr>
            <a:endParaRPr lang="en-US" dirty="0">
              <a:solidFill>
                <a:srgbClr val="FFFFFF"/>
              </a:solidFill>
              <a:latin typeface="Calibri"/>
            </a:endParaRPr>
          </a:p>
        </p:txBody>
      </p:sp>
      <p:sp>
        <p:nvSpPr>
          <p:cNvPr id="132" name="Footer Placeholder 2">
            <a:extLst>
              <a:ext uri="{FF2B5EF4-FFF2-40B4-BE49-F238E27FC236}">
                <a16:creationId xmlns:a16="http://schemas.microsoft.com/office/drawing/2014/main" id="{3BEA4B30-AAFE-433D-8BBB-CF2993411831}"/>
              </a:ext>
            </a:extLst>
          </p:cNvPr>
          <p:cNvSpPr txBox="1">
            <a:spLocks/>
          </p:cNvSpPr>
          <p:nvPr/>
        </p:nvSpPr>
        <p:spPr>
          <a:xfrm>
            <a:off x="1142195" y="6392494"/>
            <a:ext cx="5745379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l" defTabSz="914400" rtl="0" eaLnBrk="1" latinLnBrk="0" hangingPunct="1">
              <a:defRPr sz="900" kern="1200">
                <a:solidFill>
                  <a:srgbClr val="8B8580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Copyright © </a:t>
            </a:r>
            <a:r>
              <a:rPr lang="en-US" dirty="0" smtClean="0"/>
              <a:t>2024, </a:t>
            </a:r>
            <a:r>
              <a:rPr lang="en-US" dirty="0"/>
              <a:t>Oracle and/or its affiliates. All rights reserved</a:t>
            </a:r>
          </a:p>
        </p:txBody>
      </p:sp>
      <p:sp>
        <p:nvSpPr>
          <p:cNvPr id="36" name="Slide Number Placeholder 3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5D60D9-5372-5F40-9443-0F9AE5BDC3C8}" type="slidenum">
              <a:rPr lang="en-US" smtClean="0"/>
              <a:pPr/>
              <a:t>5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08311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5BDA42-AEAD-414E-A412-8B8F0CAB37B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7077" y="324861"/>
            <a:ext cx="10668269" cy="416004"/>
          </a:xfrm>
        </p:spPr>
        <p:txBody>
          <a:bodyPr vert="horz" lIns="0" tIns="0" rIns="0" bIns="0" rtlCol="0" anchor="b">
            <a:noAutofit/>
          </a:bodyPr>
          <a:lstStyle/>
          <a:p>
            <a:pPr>
              <a:lnSpc>
                <a:spcPct val="80000"/>
              </a:lnSpc>
            </a:pPr>
            <a:r>
              <a:rPr lang="en-US" dirty="0">
                <a:cs typeface="Arial" charset="0"/>
              </a:rPr>
              <a:t>Oracle NoSQL Database Cloud Servic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28ABAA6-682E-4644-BDCF-BF6A1856CAC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pPr defTabSz="914126">
              <a:defRPr/>
            </a:pPr>
            <a:r>
              <a:rPr lang="en-US" smtClean="0">
                <a:latin typeface="Oracle Sans Tab"/>
              </a:rPr>
              <a:t>Copyright © 2024, Oracle and/or its affiliates. All rights reserved   </a:t>
            </a:r>
            <a:endParaRPr lang="en-US" dirty="0">
              <a:latin typeface="Oracle Sans Tab"/>
            </a:endParaRP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39B10BCA-1AF1-4739-9CBF-99936F229E57}"/>
              </a:ext>
            </a:extLst>
          </p:cNvPr>
          <p:cNvSpPr txBox="1">
            <a:spLocks/>
          </p:cNvSpPr>
          <p:nvPr/>
        </p:nvSpPr>
        <p:spPr>
          <a:xfrm>
            <a:off x="614585" y="712948"/>
            <a:ext cx="10668269" cy="317830"/>
          </a:xfrm>
          <a:prstGeom prst="rect">
            <a:avLst/>
          </a:prstGeom>
          <a:noFill/>
        </p:spPr>
        <p:txBody>
          <a:bodyPr vert="horz" lIns="0" tIns="0" rIns="0" bIns="0" rtlCol="0">
            <a:noAutofit/>
          </a:bodyPr>
          <a:lstStyle>
            <a:defPPr>
              <a:defRPr lang="en-US"/>
            </a:defPPr>
            <a:lvl1pPr marR="0" indent="0" fontAlgn="auto">
              <a:lnSpc>
                <a:spcPct val="95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 sz="2000" b="0" i="0">
                <a:latin typeface="Oracle Sans Tab" panose="020B0503020204020204" pitchFamily="34" charset="0"/>
                <a:cs typeface="Oracle Sans Tab" panose="020B0503020204020204" pitchFamily="34" charset="0"/>
              </a:defRPr>
            </a:lvl1pPr>
            <a:lvl2pPr marL="365760" marR="0" indent="-182880" fontAlgn="auto">
              <a:lnSpc>
                <a:spcPct val="95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 b="0" i="0">
                <a:cs typeface="Oracle Sans Tab" panose="020B0503020204020204" pitchFamily="34" charset="0"/>
              </a:defRPr>
            </a:lvl2pPr>
            <a:lvl3pPr marL="547688" marR="0" indent="-182563" fontAlgn="auto">
              <a:lnSpc>
                <a:spcPct val="95000"/>
              </a:lnSpc>
              <a:spcBef>
                <a:spcPts val="4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 sz="1600">
                <a:latin typeface="Oracle Sans Tab Light" panose="020B0403020204020204" pitchFamily="34" charset="0"/>
                <a:cs typeface="Oracle Sans Tab Light" panose="020B0403020204020204" pitchFamily="34" charset="0"/>
              </a:defRPr>
            </a:lvl3pPr>
            <a:lvl4pPr marL="730250" marR="0" indent="-182563" fontAlgn="auto">
              <a:lnSpc>
                <a:spcPct val="95000"/>
              </a:lnSpc>
              <a:spcBef>
                <a:spcPts val="4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 sz="1400">
                <a:latin typeface="Oracle Sans Tab Light" panose="020B0403020204020204" pitchFamily="34" charset="0"/>
                <a:cs typeface="Oracle Sans Tab Light" panose="020B0403020204020204" pitchFamily="34" charset="0"/>
              </a:defRPr>
            </a:lvl4pPr>
            <a:lvl5pPr marL="914400" marR="0" indent="-182880" fontAlgn="auto">
              <a:lnSpc>
                <a:spcPct val="95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 typeface="System Font Regular"/>
              <a:buChar char="•"/>
              <a:tabLst/>
              <a:defRPr sz="1200">
                <a:latin typeface="Oracle Sans Tab Light" panose="020B0403020204020204" pitchFamily="34" charset="0"/>
                <a:cs typeface="Oracle Sans Tab Light" panose="020B0403020204020204" pitchFamily="34" charset="0"/>
              </a:defRPr>
            </a:lvl5pPr>
            <a:lvl6pPr marL="1097280" indent="-182880">
              <a:lnSpc>
                <a:spcPct val="95000"/>
              </a:lnSpc>
              <a:spcBef>
                <a:spcPts val="40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200" b="0" i="0">
                <a:latin typeface="Oracle Sans Light" panose="020B0403020204020204" pitchFamily="34" charset="0"/>
                <a:cs typeface="Oracle Sans Light" panose="020B0403020204020204" pitchFamily="34" charset="0"/>
              </a:defRPr>
            </a:lvl6pPr>
            <a:lvl7pPr marL="1280160" indent="-182880">
              <a:lnSpc>
                <a:spcPct val="95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b="0" i="0">
                <a:latin typeface="Oracle Sans Light" panose="020B0403020204020204" pitchFamily="34" charset="0"/>
                <a:cs typeface="Oracle Sans Light" panose="020B0403020204020204" pitchFamily="34" charset="0"/>
              </a:defRPr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r>
              <a:rPr lang="en-US" dirty="0"/>
              <a:t>Built for extreme, dynamic workloads of today’s modern applications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55FF7556-D3C0-4BC7-8BCC-9547631E9B0B}"/>
              </a:ext>
            </a:extLst>
          </p:cNvPr>
          <p:cNvSpPr txBox="1">
            <a:spLocks/>
          </p:cNvSpPr>
          <p:nvPr/>
        </p:nvSpPr>
        <p:spPr>
          <a:xfrm>
            <a:off x="671047" y="1321087"/>
            <a:ext cx="5459165" cy="2737729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5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 sz="1800" b="0" i="0" kern="1200">
                <a:solidFill>
                  <a:schemeClr val="tx1"/>
                </a:solidFill>
                <a:latin typeface="+mn-lt"/>
                <a:ea typeface="+mn-ea"/>
                <a:cs typeface="Oracle Sans Tab" panose="020B0503020204020204" pitchFamily="34" charset="0"/>
              </a:defRPr>
            </a:lvl1pPr>
            <a:lvl2pPr marL="365760" marR="0" indent="-182880" algn="l" defTabSz="914400" rtl="0" eaLnBrk="1" fontAlgn="auto" latinLnBrk="0" hangingPunct="1">
              <a:lnSpc>
                <a:spcPct val="95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 sz="1800" b="0" i="0" kern="1200">
                <a:solidFill>
                  <a:schemeClr val="tx1"/>
                </a:solidFill>
                <a:latin typeface="+mn-lt"/>
                <a:ea typeface="+mn-ea"/>
                <a:cs typeface="Oracle Sans Tab" panose="020B0503020204020204" pitchFamily="34" charset="0"/>
              </a:defRPr>
            </a:lvl2pPr>
            <a:lvl3pPr marL="547688" marR="0" indent="-182563" algn="l" defTabSz="914400" rtl="0" eaLnBrk="1" fontAlgn="auto" latinLnBrk="0" hangingPunct="1">
              <a:lnSpc>
                <a:spcPct val="95000"/>
              </a:lnSpc>
              <a:spcBef>
                <a:spcPts val="4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Oracle Sans Tab Light" panose="020B0403020204020204" pitchFamily="34" charset="0"/>
                <a:ea typeface="+mn-ea"/>
                <a:cs typeface="Oracle Sans Tab Light" panose="020B0403020204020204" pitchFamily="34" charset="0"/>
              </a:defRPr>
            </a:lvl3pPr>
            <a:lvl4pPr marL="730250" marR="0" indent="-182563" algn="l" defTabSz="914400" rtl="0" eaLnBrk="1" fontAlgn="auto" latinLnBrk="0" hangingPunct="1">
              <a:lnSpc>
                <a:spcPct val="95000"/>
              </a:lnSpc>
              <a:spcBef>
                <a:spcPts val="4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 sz="1400" kern="1200">
                <a:solidFill>
                  <a:schemeClr val="tx1"/>
                </a:solidFill>
                <a:latin typeface="Oracle Sans Tab Light" panose="020B0403020204020204" pitchFamily="34" charset="0"/>
                <a:ea typeface="+mn-ea"/>
                <a:cs typeface="Oracle Sans Tab Light" panose="020B0403020204020204" pitchFamily="34" charset="0"/>
              </a:defRPr>
            </a:lvl4pPr>
            <a:lvl5pPr marL="914400" marR="0" indent="-182880" algn="l" defTabSz="914400" rtl="0" eaLnBrk="1" fontAlgn="auto" latinLnBrk="0" hangingPunct="1">
              <a:lnSpc>
                <a:spcPct val="95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 typeface="System Font Regular"/>
              <a:buChar char="•"/>
              <a:tabLst/>
              <a:defRPr sz="1200" kern="1200">
                <a:solidFill>
                  <a:schemeClr val="tx1"/>
                </a:solidFill>
                <a:latin typeface="Oracle Sans Tab Light" panose="020B0403020204020204" pitchFamily="34" charset="0"/>
                <a:ea typeface="+mn-ea"/>
                <a:cs typeface="Oracle Sans Tab Light" panose="020B0403020204020204" pitchFamily="34" charset="0"/>
              </a:defRPr>
            </a:lvl5pPr>
            <a:lvl6pPr marL="1097280" indent="-182880" algn="l" defTabSz="914400" rtl="0" eaLnBrk="1" latinLnBrk="0" hangingPunct="1">
              <a:lnSpc>
                <a:spcPct val="95000"/>
              </a:lnSpc>
              <a:spcBef>
                <a:spcPts val="40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200" b="0" i="0" kern="1200">
                <a:solidFill>
                  <a:schemeClr val="tx1"/>
                </a:solidFill>
                <a:latin typeface="Oracle Sans Light" panose="020B0403020204020204" pitchFamily="34" charset="0"/>
                <a:ea typeface="+mn-ea"/>
                <a:cs typeface="Oracle Sans Light" panose="020B0403020204020204" pitchFamily="34" charset="0"/>
              </a:defRPr>
            </a:lvl6pPr>
            <a:lvl7pPr marL="1280160" indent="-182880" algn="l" defTabSz="914400" rtl="0" eaLnBrk="1" latinLnBrk="0" hangingPunct="1">
              <a:lnSpc>
                <a:spcPct val="95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b="0" i="0" kern="1200">
                <a:solidFill>
                  <a:schemeClr val="tx1"/>
                </a:solidFill>
                <a:latin typeface="Oracle Sans Light" panose="020B0403020204020204" pitchFamily="34" charset="0"/>
                <a:ea typeface="+mn-ea"/>
                <a:cs typeface="Oracle Sans Light" panose="020B0403020204020204" pitchFamily="34" charset="0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126">
              <a:defRPr/>
            </a:pPr>
            <a:r>
              <a:rPr lang="en-US" sz="1600" b="1" dirty="0">
                <a:solidFill>
                  <a:srgbClr val="312D2A"/>
                </a:solidFill>
                <a:latin typeface="Oracle Sans Tab"/>
              </a:rPr>
              <a:t>Fast, Flexible NoSQL Database Service at any scale</a:t>
            </a:r>
          </a:p>
          <a:p>
            <a:pPr marL="285664" indent="-285664" defTabSz="914126">
              <a:lnSpc>
                <a:spcPct val="100000"/>
              </a:lnSpc>
              <a:buFont typeface="Arial" panose="020B0604020202020204" pitchFamily="34" charset="0"/>
              <a:buChar char="•"/>
              <a:defRPr/>
            </a:pPr>
            <a:r>
              <a:rPr lang="en-US" sz="1400" b="1" dirty="0">
                <a:solidFill>
                  <a:srgbClr val="312D2A"/>
                </a:solidFill>
                <a:latin typeface="Oracle Sans Tab"/>
              </a:rPr>
              <a:t>Fully managed</a:t>
            </a:r>
            <a:r>
              <a:rPr lang="en-US" sz="1400" dirty="0">
                <a:solidFill>
                  <a:srgbClr val="312D2A"/>
                </a:solidFill>
                <a:latin typeface="Oracle Sans Tab"/>
              </a:rPr>
              <a:t>, </a:t>
            </a:r>
            <a:r>
              <a:rPr lang="en-US" sz="1400" b="1" dirty="0">
                <a:solidFill>
                  <a:srgbClr val="312D2A"/>
                </a:solidFill>
                <a:latin typeface="Oracle Sans Tab"/>
              </a:rPr>
              <a:t>serverless</a:t>
            </a:r>
            <a:r>
              <a:rPr lang="en-US" sz="1400" dirty="0">
                <a:solidFill>
                  <a:srgbClr val="312D2A"/>
                </a:solidFill>
                <a:latin typeface="Oracle Sans Tab"/>
              </a:rPr>
              <a:t> NoSQL database </a:t>
            </a:r>
            <a:r>
              <a:rPr lang="en-US" sz="1400" b="1" dirty="0">
                <a:solidFill>
                  <a:srgbClr val="312D2A"/>
                </a:solidFill>
                <a:latin typeface="Oracle Sans Tab"/>
              </a:rPr>
              <a:t>table service</a:t>
            </a:r>
          </a:p>
          <a:p>
            <a:pPr marL="285664" indent="-285664" defTabSz="914126">
              <a:lnSpc>
                <a:spcPct val="100000"/>
              </a:lnSpc>
              <a:buFont typeface="Arial" panose="020B0604020202020204" pitchFamily="34" charset="0"/>
              <a:buChar char="•"/>
              <a:defRPr/>
            </a:pPr>
            <a:r>
              <a:rPr lang="en-US" sz="1400" b="1" dirty="0">
                <a:solidFill>
                  <a:srgbClr val="312D2A"/>
                </a:solidFill>
                <a:latin typeface="Oracle Sans Tab"/>
              </a:rPr>
              <a:t>Single digit millisecond </a:t>
            </a:r>
            <a:r>
              <a:rPr lang="en-US" sz="1400" dirty="0">
                <a:solidFill>
                  <a:srgbClr val="312D2A"/>
                </a:solidFill>
                <a:latin typeface="Oracle Sans Tab"/>
              </a:rPr>
              <a:t>and </a:t>
            </a:r>
            <a:r>
              <a:rPr lang="en-US" sz="1400" b="1" dirty="0">
                <a:solidFill>
                  <a:srgbClr val="312D2A"/>
                </a:solidFill>
                <a:latin typeface="Oracle Sans Tab"/>
              </a:rPr>
              <a:t>predictable </a:t>
            </a:r>
            <a:r>
              <a:rPr lang="en-US" sz="1400" dirty="0">
                <a:solidFill>
                  <a:srgbClr val="312D2A"/>
                </a:solidFill>
                <a:latin typeface="Oracle Sans Tab"/>
              </a:rPr>
              <a:t> latency at any scale</a:t>
            </a:r>
          </a:p>
          <a:p>
            <a:pPr marL="285664" indent="-285664" defTabSz="914126">
              <a:lnSpc>
                <a:spcPct val="100000"/>
              </a:lnSpc>
              <a:buFont typeface="Arial" panose="020B0604020202020204" pitchFamily="34" charset="0"/>
              <a:buChar char="•"/>
              <a:defRPr/>
            </a:pPr>
            <a:r>
              <a:rPr lang="en-US" sz="1400" b="1" dirty="0">
                <a:solidFill>
                  <a:srgbClr val="312D2A"/>
                </a:solidFill>
                <a:latin typeface="Oracle Sans Tab"/>
              </a:rPr>
              <a:t>Linear throughput scaling  </a:t>
            </a:r>
            <a:r>
              <a:rPr lang="en-US" sz="1400" dirty="0">
                <a:solidFill>
                  <a:srgbClr val="312D2A"/>
                </a:solidFill>
                <a:latin typeface="Oracle Sans Tab"/>
              </a:rPr>
              <a:t>for </a:t>
            </a:r>
            <a:r>
              <a:rPr lang="en-US" sz="1400" b="1" dirty="0">
                <a:solidFill>
                  <a:srgbClr val="312D2A"/>
                </a:solidFill>
                <a:latin typeface="Oracle Sans Tab"/>
              </a:rPr>
              <a:t>extreme</a:t>
            </a:r>
            <a:r>
              <a:rPr lang="en-US" sz="1400" dirty="0">
                <a:solidFill>
                  <a:srgbClr val="312D2A"/>
                </a:solidFill>
                <a:latin typeface="Oracle Sans Tab"/>
              </a:rPr>
              <a:t> workloads</a:t>
            </a:r>
          </a:p>
          <a:p>
            <a:pPr marL="285664" indent="-285664" defTabSz="914126">
              <a:lnSpc>
                <a:spcPct val="100000"/>
              </a:lnSpc>
              <a:buFont typeface="Arial" panose="020B0604020202020204" pitchFamily="34" charset="0"/>
              <a:buChar char="•"/>
              <a:defRPr/>
            </a:pPr>
            <a:r>
              <a:rPr lang="en-US" sz="1400" dirty="0">
                <a:solidFill>
                  <a:srgbClr val="312D2A"/>
                </a:solidFill>
                <a:latin typeface="Oracle Sans Tab"/>
              </a:rPr>
              <a:t>Multi-model support (document, fixed schema, key/value)</a:t>
            </a:r>
          </a:p>
          <a:p>
            <a:pPr marL="285664" indent="-285664" defTabSz="914126">
              <a:lnSpc>
                <a:spcPct val="100000"/>
              </a:lnSpc>
              <a:buFont typeface="Arial" panose="020B0604020202020204" pitchFamily="34" charset="0"/>
              <a:buChar char="•"/>
              <a:defRPr/>
            </a:pPr>
            <a:r>
              <a:rPr lang="en-US" sz="1400" b="1" dirty="0">
                <a:solidFill>
                  <a:srgbClr val="312D2A"/>
                </a:solidFill>
                <a:latin typeface="Oracle Sans Tab"/>
              </a:rPr>
              <a:t>Built-in high availability </a:t>
            </a:r>
            <a:r>
              <a:rPr lang="en-US" sz="1400" dirty="0">
                <a:solidFill>
                  <a:srgbClr val="312D2A"/>
                </a:solidFill>
                <a:latin typeface="Oracle Sans Tab"/>
              </a:rPr>
              <a:t>for business continuity</a:t>
            </a:r>
          </a:p>
          <a:p>
            <a:pPr marL="285664" indent="-285664" defTabSz="914126">
              <a:lnSpc>
                <a:spcPct val="100000"/>
              </a:lnSpc>
              <a:buFont typeface="Arial" panose="020B0604020202020204" pitchFamily="34" charset="0"/>
              <a:buChar char="•"/>
              <a:defRPr/>
            </a:pPr>
            <a:r>
              <a:rPr lang="en-US" sz="1400" dirty="0">
                <a:solidFill>
                  <a:srgbClr val="312D2A"/>
                </a:solidFill>
                <a:latin typeface="Oracle Sans Tab"/>
              </a:rPr>
              <a:t>Fully </a:t>
            </a:r>
            <a:r>
              <a:rPr lang="en-US" sz="1400" b="1" dirty="0">
                <a:solidFill>
                  <a:srgbClr val="312D2A"/>
                </a:solidFill>
                <a:latin typeface="Oracle Sans Tab"/>
              </a:rPr>
              <a:t>ACID compliant </a:t>
            </a:r>
            <a:r>
              <a:rPr lang="en-US" sz="1400" dirty="0">
                <a:solidFill>
                  <a:srgbClr val="312D2A"/>
                </a:solidFill>
                <a:latin typeface="Oracle Sans Tab"/>
              </a:rPr>
              <a:t>and </a:t>
            </a:r>
            <a:r>
              <a:rPr lang="en-US" sz="1400" b="1" dirty="0">
                <a:solidFill>
                  <a:srgbClr val="312D2A"/>
                </a:solidFill>
                <a:latin typeface="Oracle Sans Tab"/>
              </a:rPr>
              <a:t>adjustable</a:t>
            </a:r>
            <a:r>
              <a:rPr lang="en-US" sz="1400" dirty="0">
                <a:solidFill>
                  <a:srgbClr val="312D2A"/>
                </a:solidFill>
                <a:latin typeface="Oracle Sans Tab"/>
              </a:rPr>
              <a:t> read consistency</a:t>
            </a:r>
          </a:p>
          <a:p>
            <a:pPr marL="285664" indent="-285664" defTabSz="914126">
              <a:lnSpc>
                <a:spcPct val="100000"/>
              </a:lnSpc>
              <a:buFont typeface="Arial" panose="020B0604020202020204" pitchFamily="34" charset="0"/>
              <a:buChar char="•"/>
              <a:defRPr/>
            </a:pPr>
            <a:r>
              <a:rPr lang="en-US" sz="1400" dirty="0">
                <a:solidFill>
                  <a:srgbClr val="312D2A"/>
                </a:solidFill>
                <a:latin typeface="Oracle Sans Tab"/>
              </a:rPr>
              <a:t>Serverless computing through Oracle Functions </a:t>
            </a:r>
          </a:p>
          <a:p>
            <a:pPr marL="285664" indent="-285664" defTabSz="914126">
              <a:lnSpc>
                <a:spcPct val="100000"/>
              </a:lnSpc>
              <a:buFont typeface="Arial" panose="020B0604020202020204" pitchFamily="34" charset="0"/>
              <a:buChar char="•"/>
              <a:defRPr/>
            </a:pPr>
            <a:r>
              <a:rPr lang="en-US" sz="1400" dirty="0"/>
              <a:t>Available in 30 OCI commercial regions worldwide (Mar 2022)</a:t>
            </a:r>
          </a:p>
          <a:p>
            <a:pPr defTabSz="914126">
              <a:lnSpc>
                <a:spcPct val="100000"/>
              </a:lnSpc>
              <a:defRPr/>
            </a:pPr>
            <a:endParaRPr lang="en-US" sz="1400" dirty="0">
              <a:solidFill>
                <a:srgbClr val="312D2A"/>
              </a:solidFill>
              <a:latin typeface="Oracle Sans Tab"/>
            </a:endParaRPr>
          </a:p>
          <a:p>
            <a:pPr marL="285664" indent="-285664" defTabSz="914126">
              <a:lnSpc>
                <a:spcPct val="100000"/>
              </a:lnSpc>
              <a:buFont typeface="Arial" panose="020B0604020202020204" pitchFamily="34" charset="0"/>
              <a:buChar char="•"/>
              <a:defRPr/>
            </a:pPr>
            <a:endParaRPr lang="en-US" sz="1400" dirty="0">
              <a:solidFill>
                <a:srgbClr val="312D2A"/>
              </a:solidFill>
              <a:latin typeface="Oracle Sans Tab"/>
            </a:endParaRPr>
          </a:p>
          <a:p>
            <a:pPr marL="182825" lvl="1" indent="0" defTabSz="914126">
              <a:buNone/>
              <a:defRPr/>
            </a:pPr>
            <a:endParaRPr lang="en-US" sz="1799" dirty="0">
              <a:solidFill>
                <a:srgbClr val="312D2A"/>
              </a:solidFill>
              <a:latin typeface="Oracle Sans Tab"/>
            </a:endParaRP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357C64AE-6C19-4AAB-AC87-0DF121F0D593}"/>
              </a:ext>
            </a:extLst>
          </p:cNvPr>
          <p:cNvSpPr txBox="1">
            <a:spLocks/>
          </p:cNvSpPr>
          <p:nvPr/>
        </p:nvSpPr>
        <p:spPr>
          <a:xfrm>
            <a:off x="680179" y="4232709"/>
            <a:ext cx="5353339" cy="1999776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5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 sz="1800" b="0" i="0" kern="1200">
                <a:solidFill>
                  <a:schemeClr val="tx1"/>
                </a:solidFill>
                <a:latin typeface="+mn-lt"/>
                <a:ea typeface="+mn-ea"/>
                <a:cs typeface="Oracle Sans Tab" panose="020B0503020204020204" pitchFamily="34" charset="0"/>
              </a:defRPr>
            </a:lvl1pPr>
            <a:lvl2pPr marL="365760" marR="0" indent="-182880" algn="l" defTabSz="914400" rtl="0" eaLnBrk="1" fontAlgn="auto" latinLnBrk="0" hangingPunct="1">
              <a:lnSpc>
                <a:spcPct val="95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 sz="1800" b="0" i="0" kern="1200">
                <a:solidFill>
                  <a:schemeClr val="tx1"/>
                </a:solidFill>
                <a:latin typeface="+mn-lt"/>
                <a:ea typeface="+mn-ea"/>
                <a:cs typeface="Oracle Sans Tab" panose="020B0503020204020204" pitchFamily="34" charset="0"/>
              </a:defRPr>
            </a:lvl2pPr>
            <a:lvl3pPr marL="547688" marR="0" indent="-182563" algn="l" defTabSz="914400" rtl="0" eaLnBrk="1" fontAlgn="auto" latinLnBrk="0" hangingPunct="1">
              <a:lnSpc>
                <a:spcPct val="95000"/>
              </a:lnSpc>
              <a:spcBef>
                <a:spcPts val="4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Oracle Sans Tab Light" panose="020B0403020204020204" pitchFamily="34" charset="0"/>
                <a:ea typeface="+mn-ea"/>
                <a:cs typeface="Oracle Sans Tab Light" panose="020B0403020204020204" pitchFamily="34" charset="0"/>
              </a:defRPr>
            </a:lvl3pPr>
            <a:lvl4pPr marL="730250" marR="0" indent="-182563" algn="l" defTabSz="914400" rtl="0" eaLnBrk="1" fontAlgn="auto" latinLnBrk="0" hangingPunct="1">
              <a:lnSpc>
                <a:spcPct val="95000"/>
              </a:lnSpc>
              <a:spcBef>
                <a:spcPts val="4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 sz="1400" kern="1200">
                <a:solidFill>
                  <a:schemeClr val="tx1"/>
                </a:solidFill>
                <a:latin typeface="Oracle Sans Tab Light" panose="020B0403020204020204" pitchFamily="34" charset="0"/>
                <a:ea typeface="+mn-ea"/>
                <a:cs typeface="Oracle Sans Tab Light" panose="020B0403020204020204" pitchFamily="34" charset="0"/>
              </a:defRPr>
            </a:lvl4pPr>
            <a:lvl5pPr marL="914400" marR="0" indent="-182880" algn="l" defTabSz="914400" rtl="0" eaLnBrk="1" fontAlgn="auto" latinLnBrk="0" hangingPunct="1">
              <a:lnSpc>
                <a:spcPct val="95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 typeface="System Font Regular"/>
              <a:buChar char="•"/>
              <a:tabLst/>
              <a:defRPr sz="1200" kern="1200">
                <a:solidFill>
                  <a:schemeClr val="tx1"/>
                </a:solidFill>
                <a:latin typeface="Oracle Sans Tab Light" panose="020B0403020204020204" pitchFamily="34" charset="0"/>
                <a:ea typeface="+mn-ea"/>
                <a:cs typeface="Oracle Sans Tab Light" panose="020B0403020204020204" pitchFamily="34" charset="0"/>
              </a:defRPr>
            </a:lvl5pPr>
            <a:lvl6pPr marL="1097280" indent="-182880" algn="l" defTabSz="914400" rtl="0" eaLnBrk="1" latinLnBrk="0" hangingPunct="1">
              <a:lnSpc>
                <a:spcPct val="95000"/>
              </a:lnSpc>
              <a:spcBef>
                <a:spcPts val="40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200" b="0" i="0" kern="1200">
                <a:solidFill>
                  <a:schemeClr val="tx1"/>
                </a:solidFill>
                <a:latin typeface="Oracle Sans Light" panose="020B0403020204020204" pitchFamily="34" charset="0"/>
                <a:ea typeface="+mn-ea"/>
                <a:cs typeface="Oracle Sans Light" panose="020B0403020204020204" pitchFamily="34" charset="0"/>
              </a:defRPr>
            </a:lvl6pPr>
            <a:lvl7pPr marL="1280160" indent="-182880" algn="l" defTabSz="914400" rtl="0" eaLnBrk="1" latinLnBrk="0" hangingPunct="1">
              <a:lnSpc>
                <a:spcPct val="95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b="0" i="0" kern="1200">
                <a:solidFill>
                  <a:schemeClr val="tx1"/>
                </a:solidFill>
                <a:latin typeface="Oracle Sans Light" panose="020B0403020204020204" pitchFamily="34" charset="0"/>
                <a:ea typeface="+mn-ea"/>
                <a:cs typeface="Oracle Sans Light" panose="020B0403020204020204" pitchFamily="34" charset="0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126">
              <a:defRPr/>
            </a:pPr>
            <a:r>
              <a:rPr lang="en-US" sz="1600" b="1" dirty="0">
                <a:solidFill>
                  <a:srgbClr val="312D2A"/>
                </a:solidFill>
                <a:latin typeface="Oracle Sans Tab"/>
              </a:rPr>
              <a:t>Differentiated Use Cases</a:t>
            </a:r>
          </a:p>
          <a:p>
            <a:pPr marL="285664" indent="-285664" defTabSz="914126">
              <a:lnSpc>
                <a:spcPct val="100000"/>
              </a:lnSpc>
              <a:buFont typeface="Arial" panose="020B0604020202020204" pitchFamily="34" charset="0"/>
              <a:buChar char="•"/>
              <a:defRPr/>
            </a:pPr>
            <a:r>
              <a:rPr lang="en-US" sz="1400" b="1" dirty="0">
                <a:solidFill>
                  <a:srgbClr val="312D2A"/>
                </a:solidFill>
                <a:latin typeface="Oracle Sans Tab"/>
              </a:rPr>
              <a:t>Request level granularity </a:t>
            </a:r>
            <a:r>
              <a:rPr lang="en-US" sz="1400" dirty="0">
                <a:solidFill>
                  <a:srgbClr val="312D2A"/>
                </a:solidFill>
                <a:latin typeface="Oracle Sans Tab"/>
              </a:rPr>
              <a:t>for extreme workloads, and handles </a:t>
            </a:r>
            <a:r>
              <a:rPr lang="en-US" sz="1400" b="1" dirty="0">
                <a:solidFill>
                  <a:srgbClr val="312D2A"/>
                </a:solidFill>
                <a:latin typeface="Oracle Sans Tab"/>
              </a:rPr>
              <a:t>spikes</a:t>
            </a:r>
            <a:r>
              <a:rPr lang="en-US" sz="1400" dirty="0">
                <a:solidFill>
                  <a:srgbClr val="312D2A"/>
                </a:solidFill>
                <a:latin typeface="Oracle Sans Tab"/>
              </a:rPr>
              <a:t> and </a:t>
            </a:r>
            <a:r>
              <a:rPr lang="en-US" sz="1400" b="1" dirty="0">
                <a:solidFill>
                  <a:srgbClr val="312D2A"/>
                </a:solidFill>
                <a:latin typeface="Oracle Sans Tab"/>
              </a:rPr>
              <a:t>drops optimally</a:t>
            </a:r>
          </a:p>
          <a:p>
            <a:pPr marL="285664" indent="-285664" defTabSz="914126">
              <a:lnSpc>
                <a:spcPct val="100000"/>
              </a:lnSpc>
              <a:buFont typeface="Arial" panose="020B0604020202020204" pitchFamily="34" charset="0"/>
              <a:buChar char="•"/>
              <a:defRPr/>
            </a:pPr>
            <a:r>
              <a:rPr lang="en-US" sz="1400" dirty="0">
                <a:solidFill>
                  <a:srgbClr val="312D2A"/>
                </a:solidFill>
                <a:latin typeface="Oracle Sans Tab"/>
              </a:rPr>
              <a:t>Fast, constant, high-volume workloads requiring </a:t>
            </a:r>
            <a:r>
              <a:rPr lang="en-US" sz="1400" b="1" dirty="0">
                <a:solidFill>
                  <a:srgbClr val="312D2A"/>
                </a:solidFill>
                <a:latin typeface="Oracle Sans Tab"/>
              </a:rPr>
              <a:t>predictable low latency </a:t>
            </a:r>
            <a:r>
              <a:rPr lang="en-US" sz="1400" dirty="0">
                <a:solidFill>
                  <a:srgbClr val="312D2A"/>
                </a:solidFill>
                <a:latin typeface="Oracle Sans Tab"/>
              </a:rPr>
              <a:t>for </a:t>
            </a:r>
            <a:r>
              <a:rPr lang="en-US" sz="1400" b="1" dirty="0">
                <a:solidFill>
                  <a:srgbClr val="312D2A"/>
                </a:solidFill>
                <a:latin typeface="Oracle Sans Tab"/>
              </a:rPr>
              <a:t>highly responsive applications</a:t>
            </a:r>
          </a:p>
          <a:p>
            <a:pPr marL="285664" indent="-285664" defTabSz="914126">
              <a:lnSpc>
                <a:spcPct val="100000"/>
              </a:lnSpc>
              <a:buFont typeface="Arial" panose="020B0604020202020204" pitchFamily="34" charset="0"/>
              <a:buChar char="•"/>
              <a:defRPr/>
            </a:pPr>
            <a:r>
              <a:rPr lang="en-US" sz="1400" dirty="0">
                <a:solidFill>
                  <a:srgbClr val="312D2A"/>
                </a:solidFill>
                <a:latin typeface="Oracle Sans Tab"/>
              </a:rPr>
              <a:t>Designed for business applications requiring </a:t>
            </a:r>
            <a:r>
              <a:rPr lang="en-US" sz="1400" b="1" dirty="0">
                <a:solidFill>
                  <a:srgbClr val="312D2A"/>
                </a:solidFill>
                <a:latin typeface="Oracle Sans Tab"/>
              </a:rPr>
              <a:t>scale</a:t>
            </a:r>
            <a:r>
              <a:rPr lang="en-US" sz="1400" dirty="0">
                <a:solidFill>
                  <a:srgbClr val="312D2A"/>
                </a:solidFill>
                <a:latin typeface="Oracle Sans Tab"/>
              </a:rPr>
              <a:t>, </a:t>
            </a:r>
            <a:r>
              <a:rPr lang="en-US" sz="1400" b="1" dirty="0">
                <a:solidFill>
                  <a:srgbClr val="312D2A"/>
                </a:solidFill>
                <a:latin typeface="Oracle Sans Tab"/>
              </a:rPr>
              <a:t>performance</a:t>
            </a:r>
            <a:r>
              <a:rPr lang="en-US" sz="1400" dirty="0">
                <a:solidFill>
                  <a:srgbClr val="312D2A"/>
                </a:solidFill>
                <a:latin typeface="Oracle Sans Tab"/>
              </a:rPr>
              <a:t>, and </a:t>
            </a:r>
            <a:r>
              <a:rPr lang="en-US" sz="1400" b="1" dirty="0">
                <a:solidFill>
                  <a:srgbClr val="312D2A"/>
                </a:solidFill>
                <a:latin typeface="Oracle Sans Tab"/>
              </a:rPr>
              <a:t>high availability </a:t>
            </a:r>
            <a:r>
              <a:rPr lang="en-US" sz="1400" dirty="0">
                <a:solidFill>
                  <a:srgbClr val="312D2A"/>
                </a:solidFill>
                <a:latin typeface="Oracle Sans Tab"/>
              </a:rPr>
              <a:t>with flexible consistency</a:t>
            </a:r>
            <a:endParaRPr lang="en-US" sz="1799" dirty="0">
              <a:solidFill>
                <a:srgbClr val="312D2A"/>
              </a:solidFill>
              <a:latin typeface="Oracle Sans Tab"/>
            </a:endParaRP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55C2295D-EA33-433A-BBC6-3848FBEC5F30}"/>
              </a:ext>
            </a:extLst>
          </p:cNvPr>
          <p:cNvGrpSpPr/>
          <p:nvPr/>
        </p:nvGrpSpPr>
        <p:grpSpPr>
          <a:xfrm>
            <a:off x="6069541" y="1862459"/>
            <a:ext cx="6145804" cy="3834146"/>
            <a:chOff x="6318915" y="2156348"/>
            <a:chExt cx="5656740" cy="3316403"/>
          </a:xfrm>
        </p:grpSpPr>
        <p:pic>
          <p:nvPicPr>
            <p:cNvPr id="15" name="Picture 14" descr="Text, whiteboard&#10;&#10;Description automatically generated">
              <a:extLst>
                <a:ext uri="{FF2B5EF4-FFF2-40B4-BE49-F238E27FC236}">
                  <a16:creationId xmlns:a16="http://schemas.microsoft.com/office/drawing/2014/main" id="{8BE4ACFD-CB4C-4172-8B1C-9EF86950299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9598" t="19503" r="9492" b="20995"/>
            <a:stretch/>
          </p:blipFill>
          <p:spPr>
            <a:xfrm>
              <a:off x="6318915" y="2156348"/>
              <a:ext cx="5656740" cy="3316403"/>
            </a:xfrm>
            <a:prstGeom prst="rect">
              <a:avLst/>
            </a:prstGeom>
          </p:spPr>
        </p:pic>
        <p:pic>
          <p:nvPicPr>
            <p:cNvPr id="8" name="Picture 7">
              <a:extLst>
                <a:ext uri="{FF2B5EF4-FFF2-40B4-BE49-F238E27FC236}">
                  <a16:creationId xmlns:a16="http://schemas.microsoft.com/office/drawing/2014/main" id="{9D3F1D23-AB31-47A3-9699-D813BBF9D9F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t="20242" b="140"/>
            <a:stretch/>
          </p:blipFill>
          <p:spPr>
            <a:xfrm>
              <a:off x="7018159" y="2420606"/>
              <a:ext cx="4303776" cy="2583656"/>
            </a:xfrm>
            <a:prstGeom prst="rect">
              <a:avLst/>
            </a:prstGeom>
          </p:spPr>
        </p:pic>
      </p:grpSp>
      <p:sp>
        <p:nvSpPr>
          <p:cNvPr id="5" name="Slide Number Placeholder 4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345D60D9-5372-5F40-9443-0F9AE5BDC3C8}" type="slidenum">
              <a:rPr lang="en-US" smtClean="0"/>
              <a:pPr/>
              <a:t>5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807503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12558032" y="711201"/>
            <a:ext cx="116114" cy="16660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90000"/>
              </a:lnSpc>
              <a:defRPr/>
            </a:pPr>
            <a:endParaRPr lang="en-US" dirty="0">
              <a:solidFill>
                <a:srgbClr val="4E3629"/>
              </a:solidFill>
              <a:latin typeface="Calibri" panose="020F0502020204030204"/>
            </a:endParaRP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0D732F92-73E1-4D6E-A1B0-404A5CEE644F}"/>
              </a:ext>
            </a:extLst>
          </p:cNvPr>
          <p:cNvSpPr txBox="1">
            <a:spLocks/>
          </p:cNvSpPr>
          <p:nvPr/>
        </p:nvSpPr>
        <p:spPr>
          <a:xfrm>
            <a:off x="608703" y="298825"/>
            <a:ext cx="11125200" cy="475727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defPPr>
              <a:defRPr lang="en-US"/>
            </a:defPPr>
            <a:lvl1pPr>
              <a:lnSpc>
                <a:spcPct val="80000"/>
              </a:lnSpc>
              <a:spcBef>
                <a:spcPct val="0"/>
              </a:spcBef>
              <a:buNone/>
              <a:defRPr sz="2400" b="1" i="0" baseline="0">
                <a:cs typeface="Arial" charset="0"/>
              </a:defRPr>
            </a:lvl1pPr>
          </a:lstStyle>
          <a:p>
            <a:r>
              <a:rPr lang="en-US" dirty="0"/>
              <a:t>Oracle NoSQL Database Cloud Service - Metrics </a:t>
            </a:r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75B65E-8071-4268-AB37-8C73D1F364A4}"/>
              </a:ext>
            </a:extLst>
          </p:cNvPr>
          <p:cNvSpPr txBox="1">
            <a:spLocks/>
          </p:cNvSpPr>
          <p:nvPr/>
        </p:nvSpPr>
        <p:spPr>
          <a:xfrm>
            <a:off x="617974" y="774552"/>
            <a:ext cx="11125199" cy="343299"/>
          </a:xfrm>
          <a:prstGeom prst="rect">
            <a:avLst/>
          </a:prstGeom>
          <a:noFill/>
        </p:spPr>
        <p:txBody>
          <a:bodyPr vert="horz" lIns="0" tIns="0" rIns="0" bIns="0" rtlCol="0">
            <a:noAutofit/>
          </a:bodyPr>
          <a:lstStyle>
            <a:defPPr>
              <a:defRPr lang="en-US"/>
            </a:defPPr>
            <a:lvl1pPr marR="0" indent="0" fontAlgn="auto">
              <a:lnSpc>
                <a:spcPct val="95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 sz="2000" b="0" i="0">
                <a:latin typeface="Oracle Sans Tab" panose="020B0503020204020204" pitchFamily="34" charset="0"/>
                <a:cs typeface="Oracle Sans Tab" panose="020B0503020204020204" pitchFamily="34" charset="0"/>
              </a:defRPr>
            </a:lvl1pPr>
            <a:lvl2pPr marL="365760" marR="0" indent="-182880" fontAlgn="auto">
              <a:lnSpc>
                <a:spcPct val="95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 b="0" i="0">
                <a:cs typeface="Oracle Sans Tab" panose="020B0503020204020204" pitchFamily="34" charset="0"/>
              </a:defRPr>
            </a:lvl2pPr>
            <a:lvl3pPr marL="547688" marR="0" indent="-182563" fontAlgn="auto">
              <a:lnSpc>
                <a:spcPct val="95000"/>
              </a:lnSpc>
              <a:spcBef>
                <a:spcPts val="4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 sz="1600">
                <a:latin typeface="Oracle Sans Tab Light" panose="020B0403020204020204" pitchFamily="34" charset="0"/>
                <a:cs typeface="Oracle Sans Tab Light" panose="020B0403020204020204" pitchFamily="34" charset="0"/>
              </a:defRPr>
            </a:lvl3pPr>
            <a:lvl4pPr marL="730250" marR="0" indent="-182563" fontAlgn="auto">
              <a:lnSpc>
                <a:spcPct val="95000"/>
              </a:lnSpc>
              <a:spcBef>
                <a:spcPts val="4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 sz="1400">
                <a:latin typeface="Oracle Sans Tab Light" panose="020B0403020204020204" pitchFamily="34" charset="0"/>
                <a:cs typeface="Oracle Sans Tab Light" panose="020B0403020204020204" pitchFamily="34" charset="0"/>
              </a:defRPr>
            </a:lvl4pPr>
            <a:lvl5pPr marL="914400" marR="0" indent="-182880" fontAlgn="auto">
              <a:lnSpc>
                <a:spcPct val="95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 typeface="System Font Regular"/>
              <a:buChar char="•"/>
              <a:tabLst/>
              <a:defRPr sz="1200">
                <a:latin typeface="Oracle Sans Tab Light" panose="020B0403020204020204" pitchFamily="34" charset="0"/>
                <a:cs typeface="Oracle Sans Tab Light" panose="020B0403020204020204" pitchFamily="34" charset="0"/>
              </a:defRPr>
            </a:lvl5pPr>
            <a:lvl6pPr marL="1097280" indent="-182880">
              <a:lnSpc>
                <a:spcPct val="95000"/>
              </a:lnSpc>
              <a:spcBef>
                <a:spcPts val="40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200" b="0" i="0">
                <a:latin typeface="Oracle Sans Light" panose="020B0403020204020204" pitchFamily="34" charset="0"/>
                <a:cs typeface="Oracle Sans Light" panose="020B0403020204020204" pitchFamily="34" charset="0"/>
              </a:defRPr>
            </a:lvl6pPr>
            <a:lvl7pPr marL="1280160" indent="-182880">
              <a:lnSpc>
                <a:spcPct val="95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b="0" i="0">
                <a:latin typeface="Oracle Sans Light" panose="020B0403020204020204" pitchFamily="34" charset="0"/>
                <a:cs typeface="Oracle Sans Light" panose="020B0403020204020204" pitchFamily="34" charset="0"/>
              </a:defRPr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r>
              <a:rPr lang="en-US" altLang="ja-JP" sz="1800" dirty="0"/>
              <a:t>Throughput provisioning</a:t>
            </a:r>
          </a:p>
          <a:p>
            <a:endParaRPr lang="en-US" dirty="0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4BD3F1B2-A166-4D7B-89A4-067473A3492B}"/>
              </a:ext>
            </a:extLst>
          </p:cNvPr>
          <p:cNvCxnSpPr/>
          <p:nvPr/>
        </p:nvCxnSpPr>
        <p:spPr>
          <a:xfrm>
            <a:off x="6107512" y="1715726"/>
            <a:ext cx="4" cy="3383280"/>
          </a:xfrm>
          <a:prstGeom prst="line">
            <a:avLst/>
          </a:prstGeom>
          <a:ln w="6350">
            <a:solidFill>
              <a:schemeClr val="bg1">
                <a:lumMod val="75000"/>
              </a:schemeClr>
            </a:solidFill>
            <a:prstDash val="solid"/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Content Placeholder 5">
            <a:extLst>
              <a:ext uri="{FF2B5EF4-FFF2-40B4-BE49-F238E27FC236}">
                <a16:creationId xmlns:a16="http://schemas.microsoft.com/office/drawing/2014/main" id="{4602ECA5-17C3-4C05-A267-D892C1049F87}"/>
              </a:ext>
            </a:extLst>
          </p:cNvPr>
          <p:cNvSpPr txBox="1">
            <a:spLocks/>
          </p:cNvSpPr>
          <p:nvPr/>
        </p:nvSpPr>
        <p:spPr>
          <a:xfrm>
            <a:off x="7966386" y="1423453"/>
            <a:ext cx="2114874" cy="38503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defPPr>
              <a:defRPr lang="en-US"/>
            </a:defPPr>
            <a:lvl1pPr indent="0">
              <a:lnSpc>
                <a:spcPct val="90000"/>
              </a:lnSpc>
              <a:spcBef>
                <a:spcPts val="1200"/>
              </a:spcBef>
              <a:buClr>
                <a:srgbClr val="4E3629">
                  <a:lumMod val="60000"/>
                  <a:lumOff val="40000"/>
                </a:srgbClr>
              </a:buClr>
              <a:buFont typeface="Arial" panose="020B0604020202020204" pitchFamily="34" charset="0"/>
              <a:buNone/>
              <a:defRPr sz="2800">
                <a:solidFill>
                  <a:schemeClr val="bg2">
                    <a:lumMod val="50000"/>
                  </a:schemeClr>
                </a:solidFill>
              </a:defRPr>
            </a:lvl1pPr>
            <a:lvl2pPr marL="502920" indent="-228600">
              <a:lnSpc>
                <a:spcPct val="90000"/>
              </a:lnSpc>
              <a:spcBef>
                <a:spcPts val="800"/>
              </a:spcBef>
              <a:buClr>
                <a:schemeClr val="tx1">
                  <a:lumMod val="60000"/>
                  <a:lumOff val="40000"/>
                </a:schemeClr>
              </a:buClr>
              <a:buFont typeface="Arial" panose="020B0604020202020204" pitchFamily="34" charset="0"/>
              <a:buChar char="–"/>
              <a:defRPr sz="2400"/>
            </a:lvl2pPr>
            <a:lvl3pPr marL="731520" indent="-182880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Font typeface="Arial" panose="020B0604020202020204" pitchFamily="34" charset="0"/>
              <a:buChar char="•"/>
              <a:defRPr sz="2000"/>
            </a:lvl3pPr>
            <a:lvl4pPr marL="960120" indent="-182880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Font typeface="Arial" panose="020B0604020202020204" pitchFamily="34" charset="0"/>
              <a:buChar char="–"/>
            </a:lvl4pPr>
            <a:lvl5pPr marL="1188720" indent="-182880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Font typeface="Arial" panose="020B0604020202020204" pitchFamily="34" charset="0"/>
              <a:buChar char="•"/>
              <a:defRPr sz="1600"/>
            </a:lvl5pPr>
            <a:lvl6pPr marL="1417320" indent="-182880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Font typeface="Arial" panose="020B0604020202020204" pitchFamily="34" charset="0"/>
              <a:buChar char="–"/>
              <a:defRPr sz="1600"/>
            </a:lvl6pPr>
            <a:lvl7pPr marL="1645920" indent="-182880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Font typeface="Arial" panose="020B0604020202020204" pitchFamily="34" charset="0"/>
              <a:buChar char="•"/>
              <a:defRPr sz="1600"/>
            </a:lvl7pPr>
            <a:lvl8pPr marL="1874520" indent="-182880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Font typeface="Arial" panose="020B0604020202020204" pitchFamily="34" charset="0"/>
              <a:buChar char="–"/>
              <a:defRPr sz="1600"/>
            </a:lvl8pPr>
            <a:lvl9pPr marL="2103120" indent="-182880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Font typeface="Arial" panose="020B0604020202020204" pitchFamily="34" charset="0"/>
              <a:buChar char="•"/>
              <a:defRPr sz="1600"/>
            </a:lvl9pPr>
          </a:lstStyle>
          <a:p>
            <a:r>
              <a:rPr lang="en-US" sz="2400" b="1" dirty="0">
                <a:solidFill>
                  <a:srgbClr val="2C5967"/>
                </a:solidFill>
              </a:rPr>
              <a:t>1 Read Unit</a:t>
            </a:r>
          </a:p>
        </p:txBody>
      </p:sp>
      <p:sp>
        <p:nvSpPr>
          <p:cNvPr id="11" name="Content Placeholder 5">
            <a:extLst>
              <a:ext uri="{FF2B5EF4-FFF2-40B4-BE49-F238E27FC236}">
                <a16:creationId xmlns:a16="http://schemas.microsoft.com/office/drawing/2014/main" id="{94DA9E0A-00F7-43E6-A4B9-572945BD0141}"/>
              </a:ext>
            </a:extLst>
          </p:cNvPr>
          <p:cNvSpPr txBox="1">
            <a:spLocks/>
          </p:cNvSpPr>
          <p:nvPr/>
        </p:nvSpPr>
        <p:spPr>
          <a:xfrm>
            <a:off x="2082219" y="1426036"/>
            <a:ext cx="2432631" cy="38503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Clr>
                <a:schemeClr val="tx1">
                  <a:lumMod val="60000"/>
                  <a:lumOff val="40000"/>
                </a:schemeClr>
              </a:buClr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2920" indent="-22860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tx1">
                  <a:lumMod val="60000"/>
                  <a:lumOff val="40000"/>
                </a:schemeClr>
              </a:buClr>
              <a:buFont typeface="Arial" panose="020B0604020202020204" pitchFamily="34" charset="0"/>
              <a:buChar char="–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315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601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887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4173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6459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8745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1031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Clr>
                <a:srgbClr val="4E3629">
                  <a:lumMod val="60000"/>
                  <a:lumOff val="40000"/>
                </a:srgbClr>
              </a:buClr>
              <a:buNone/>
              <a:defRPr/>
            </a:pPr>
            <a:r>
              <a:rPr lang="en-US" sz="2400" b="1" dirty="0">
                <a:solidFill>
                  <a:srgbClr val="2C5967"/>
                </a:solidFill>
              </a:rPr>
              <a:t>1 Write Unit</a:t>
            </a:r>
          </a:p>
        </p:txBody>
      </p:sp>
      <p:sp>
        <p:nvSpPr>
          <p:cNvPr id="14" name="Content Placeholder 5">
            <a:extLst>
              <a:ext uri="{FF2B5EF4-FFF2-40B4-BE49-F238E27FC236}">
                <a16:creationId xmlns:a16="http://schemas.microsoft.com/office/drawing/2014/main" id="{D336476F-FCB5-4D13-A5C8-0E93A0C31CE1}"/>
              </a:ext>
            </a:extLst>
          </p:cNvPr>
          <p:cNvSpPr txBox="1">
            <a:spLocks/>
          </p:cNvSpPr>
          <p:nvPr/>
        </p:nvSpPr>
        <p:spPr>
          <a:xfrm>
            <a:off x="608704" y="2106637"/>
            <a:ext cx="5250379" cy="19297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Clr>
                <a:schemeClr val="tx1">
                  <a:lumMod val="60000"/>
                  <a:lumOff val="40000"/>
                </a:schemeClr>
              </a:buClr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2920" indent="-22860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tx1">
                  <a:lumMod val="60000"/>
                  <a:lumOff val="40000"/>
                </a:schemeClr>
              </a:buClr>
              <a:buFont typeface="Arial" panose="020B0604020202020204" pitchFamily="34" charset="0"/>
              <a:buChar char="–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315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601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887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4173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6459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8745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1031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rgbClr val="4E3629">
                  <a:lumMod val="60000"/>
                  <a:lumOff val="40000"/>
                </a:srgbClr>
              </a:buClr>
              <a:defRPr/>
            </a:pPr>
            <a:r>
              <a:rPr lang="en-US" sz="2000" dirty="0">
                <a:latin typeface="Oracle Sans" panose="020B0503020204020204" pitchFamily="34" charset="0"/>
                <a:cs typeface="Oracle Sans" panose="020B0503020204020204" pitchFamily="34" charset="0"/>
              </a:rPr>
              <a:t>The throughput of up to 1 kilobyte (KB) of data per second for a write operation over a one-month period</a:t>
            </a:r>
          </a:p>
          <a:p>
            <a:pPr>
              <a:buClr>
                <a:srgbClr val="4E3629">
                  <a:lumMod val="60000"/>
                  <a:lumOff val="40000"/>
                </a:srgbClr>
              </a:buClr>
              <a:defRPr/>
            </a:pPr>
            <a:r>
              <a:rPr lang="en-US" sz="2000" dirty="0">
                <a:latin typeface="Oracle Sans" panose="020B0503020204020204" pitchFamily="34" charset="0"/>
                <a:cs typeface="Oracle Sans" panose="020B0503020204020204" pitchFamily="34" charset="0"/>
              </a:rPr>
              <a:t>Approximately 2.67 million writes per month</a:t>
            </a:r>
          </a:p>
          <a:p>
            <a:pPr marL="548640" lvl="2" indent="0">
              <a:buClr>
                <a:srgbClr val="4E3629">
                  <a:lumMod val="60000"/>
                  <a:lumOff val="40000"/>
                </a:srgbClr>
              </a:buClr>
              <a:buNone/>
              <a:defRPr/>
            </a:pPr>
            <a:endParaRPr lang="en-US" dirty="0">
              <a:solidFill>
                <a:srgbClr val="4E3629"/>
              </a:solidFill>
              <a:latin typeface="Calibri" panose="020F0502020204030204"/>
            </a:endParaRPr>
          </a:p>
        </p:txBody>
      </p:sp>
      <p:sp>
        <p:nvSpPr>
          <p:cNvPr id="15" name="Content Placeholder 5">
            <a:extLst>
              <a:ext uri="{FF2B5EF4-FFF2-40B4-BE49-F238E27FC236}">
                <a16:creationId xmlns:a16="http://schemas.microsoft.com/office/drawing/2014/main" id="{E2DA1899-0ED7-42A3-BFE0-FCE42866334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432606" y="2106637"/>
            <a:ext cx="5215681" cy="2799748"/>
          </a:xfrm>
        </p:spPr>
        <p:txBody>
          <a:bodyPr vert="horz" lIns="0" tIns="0" rIns="0" bIns="0" rtlCol="0">
            <a:noAutofit/>
          </a:bodyPr>
          <a:lstStyle/>
          <a:p>
            <a:pPr marL="228600" indent="-228600">
              <a:spcBef>
                <a:spcPts val="1200"/>
              </a:spcBef>
              <a:buClr>
                <a:schemeClr val="tx1">
                  <a:lumMod val="60000"/>
                  <a:lumOff val="40000"/>
                </a:schemeClr>
              </a:buClr>
            </a:pPr>
            <a:r>
              <a:rPr lang="en-US" sz="2000" dirty="0">
                <a:latin typeface="Oracle Sans" panose="020B0503020204020204" pitchFamily="34" charset="0"/>
                <a:cs typeface="Oracle Sans" panose="020B0503020204020204" pitchFamily="34" charset="0"/>
              </a:rPr>
              <a:t>The throughput of up to 1 kilobyte (KB) of data per second for an eventually consistent read operation</a:t>
            </a:r>
          </a:p>
          <a:p>
            <a:pPr marL="228600" indent="-228600">
              <a:spcBef>
                <a:spcPts val="1200"/>
              </a:spcBef>
              <a:buClr>
                <a:schemeClr val="tx1">
                  <a:lumMod val="60000"/>
                  <a:lumOff val="40000"/>
                </a:schemeClr>
              </a:buClr>
            </a:pPr>
            <a:r>
              <a:rPr lang="en-US" sz="2000" dirty="0">
                <a:latin typeface="Oracle Sans" panose="020B0503020204020204" pitchFamily="34" charset="0"/>
                <a:cs typeface="Oracle Sans" panose="020B0503020204020204" pitchFamily="34" charset="0"/>
              </a:rPr>
              <a:t>Approximately 2.67 million eventually consistent reads per month</a:t>
            </a:r>
          </a:p>
          <a:p>
            <a:pPr marL="228600" indent="-228600">
              <a:spcBef>
                <a:spcPts val="1200"/>
              </a:spcBef>
              <a:buClr>
                <a:schemeClr val="tx1">
                  <a:lumMod val="60000"/>
                  <a:lumOff val="40000"/>
                </a:schemeClr>
              </a:buClr>
            </a:pPr>
            <a:r>
              <a:rPr lang="en-US" sz="2000" dirty="0">
                <a:latin typeface="Oracle Sans" panose="020B0503020204020204" pitchFamily="34" charset="0"/>
                <a:cs typeface="Oracle Sans" panose="020B0503020204020204" pitchFamily="34" charset="0"/>
              </a:rPr>
              <a:t>2 Read units are needed for an absolute consistent read</a:t>
            </a:r>
          </a:p>
          <a:p>
            <a:pPr marL="228600" indent="-228600">
              <a:spcBef>
                <a:spcPts val="1200"/>
              </a:spcBef>
              <a:buClr>
                <a:schemeClr val="tx1">
                  <a:lumMod val="60000"/>
                  <a:lumOff val="40000"/>
                </a:schemeClr>
              </a:buClr>
            </a:pPr>
            <a:endParaRPr lang="en-US" sz="2000" dirty="0">
              <a:latin typeface="Oracle Sans" panose="020B0503020204020204" pitchFamily="34" charset="0"/>
              <a:cs typeface="Oracle Sans" panose="020B0503020204020204" pitchFamily="34" charset="0"/>
            </a:endParaRPr>
          </a:p>
          <a:p>
            <a:pPr marL="548640" lvl="2" indent="0"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None/>
            </a:pPr>
            <a:endParaRPr lang="en-US" sz="2000" dirty="0">
              <a:latin typeface="+mn-lt"/>
              <a:cs typeface="+mn-cs"/>
            </a:endParaRPr>
          </a:p>
        </p:txBody>
      </p:sp>
      <p:sp>
        <p:nvSpPr>
          <p:cNvPr id="17" name="Footer Placeholder 2">
            <a:extLst>
              <a:ext uri="{FF2B5EF4-FFF2-40B4-BE49-F238E27FC236}">
                <a16:creationId xmlns:a16="http://schemas.microsoft.com/office/drawing/2014/main" id="{08138A38-57C3-423F-A61A-208A2466EE3F}"/>
              </a:ext>
            </a:extLst>
          </p:cNvPr>
          <p:cNvSpPr txBox="1">
            <a:spLocks/>
          </p:cNvSpPr>
          <p:nvPr/>
        </p:nvSpPr>
        <p:spPr>
          <a:xfrm>
            <a:off x="1102001" y="6372462"/>
            <a:ext cx="5745379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l" defTabSz="914400" rtl="0" eaLnBrk="1" latinLnBrk="0" hangingPunct="1">
              <a:defRPr sz="900" kern="1200">
                <a:solidFill>
                  <a:srgbClr val="8B8580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Copyright © </a:t>
            </a:r>
            <a:r>
              <a:rPr lang="en-US" dirty="0" smtClean="0"/>
              <a:t>2024, </a:t>
            </a:r>
            <a:r>
              <a:rPr lang="en-US" dirty="0"/>
              <a:t>Oracle and/or its affiliates. All rights reserved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556F707E-8E83-4AD7-972C-116090D5DCBA}"/>
              </a:ext>
            </a:extLst>
          </p:cNvPr>
          <p:cNvGrpSpPr/>
          <p:nvPr/>
        </p:nvGrpSpPr>
        <p:grpSpPr>
          <a:xfrm>
            <a:off x="1233111" y="5222356"/>
            <a:ext cx="6403452" cy="986446"/>
            <a:chOff x="2586051" y="5222356"/>
            <a:chExt cx="6403452" cy="986446"/>
          </a:xfrm>
        </p:grpSpPr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D38454A2-F74F-4BA5-99FB-8F747894B498}"/>
                </a:ext>
              </a:extLst>
            </p:cNvPr>
            <p:cNvSpPr txBox="1"/>
            <p:nvPr/>
          </p:nvSpPr>
          <p:spPr>
            <a:xfrm>
              <a:off x="3333761" y="5289031"/>
              <a:ext cx="914400" cy="914400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pPr>
                <a:lnSpc>
                  <a:spcPct val="90000"/>
                </a:lnSpc>
              </a:pPr>
              <a:endParaRPr lang="en-US" dirty="0">
                <a:solidFill>
                  <a:srgbClr val="58595B"/>
                </a:solidFill>
                <a:latin typeface="Calibri"/>
              </a:endParaRPr>
            </a:p>
          </p:txBody>
        </p:sp>
        <p:sp>
          <p:nvSpPr>
            <p:cNvPr id="21" name="Can 45">
              <a:extLst>
                <a:ext uri="{FF2B5EF4-FFF2-40B4-BE49-F238E27FC236}">
                  <a16:creationId xmlns:a16="http://schemas.microsoft.com/office/drawing/2014/main" id="{CCB67DD3-6D0F-4B7F-9A5D-61C8B22F36F1}"/>
                </a:ext>
              </a:extLst>
            </p:cNvPr>
            <p:cNvSpPr/>
            <p:nvPr/>
          </p:nvSpPr>
          <p:spPr bwMode="gray">
            <a:xfrm rot="5400000">
              <a:off x="3038488" y="5084260"/>
              <a:ext cx="257175" cy="1162050"/>
            </a:xfrm>
            <a:prstGeom prst="can">
              <a:avLst/>
            </a:prstGeom>
            <a:noFill/>
            <a:ln w="15875">
              <a:solidFill>
                <a:schemeClr val="tx1">
                  <a:lumMod val="50000"/>
                </a:scheme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US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22" name="Can 46">
              <a:extLst>
                <a:ext uri="{FF2B5EF4-FFF2-40B4-BE49-F238E27FC236}">
                  <a16:creationId xmlns:a16="http://schemas.microsoft.com/office/drawing/2014/main" id="{09321A20-F145-4F78-A160-3FB49237E6A5}"/>
                </a:ext>
              </a:extLst>
            </p:cNvPr>
            <p:cNvSpPr>
              <a:spLocks noChangeAspect="1"/>
            </p:cNvSpPr>
            <p:nvPr/>
          </p:nvSpPr>
          <p:spPr bwMode="gray">
            <a:xfrm rot="5400000">
              <a:off x="3451199" y="5588187"/>
              <a:ext cx="224561" cy="159687"/>
            </a:xfrm>
            <a:prstGeom prst="can">
              <a:avLst/>
            </a:prstGeom>
            <a:solidFill>
              <a:srgbClr val="969696"/>
            </a:solidFill>
            <a:ln w="15875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US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23" name="Right Arrow 47">
              <a:extLst>
                <a:ext uri="{FF2B5EF4-FFF2-40B4-BE49-F238E27FC236}">
                  <a16:creationId xmlns:a16="http://schemas.microsoft.com/office/drawing/2014/main" id="{58DB24E1-DCF3-4F18-98E1-39928B2156B0}"/>
                </a:ext>
              </a:extLst>
            </p:cNvPr>
            <p:cNvSpPr/>
            <p:nvPr/>
          </p:nvSpPr>
          <p:spPr bwMode="gray">
            <a:xfrm flipH="1">
              <a:off x="3781242" y="5617463"/>
              <a:ext cx="200025" cy="123825"/>
            </a:xfrm>
            <a:prstGeom prst="leftRightArrow">
              <a:avLst/>
            </a:prstGeom>
            <a:solidFill>
              <a:schemeClr val="bg2">
                <a:lumMod val="50000"/>
              </a:schemeClr>
            </a:solidFill>
            <a:ln w="15875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US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215C8856-E47A-4029-BEC2-A3E8B6169146}"/>
                </a:ext>
              </a:extLst>
            </p:cNvPr>
            <p:cNvSpPr/>
            <p:nvPr/>
          </p:nvSpPr>
          <p:spPr>
            <a:xfrm>
              <a:off x="4664089" y="5543962"/>
              <a:ext cx="485775" cy="24468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>
                <a:lnSpc>
                  <a:spcPct val="90000"/>
                </a:lnSpc>
              </a:pPr>
              <a:r>
                <a:rPr lang="en-US" sz="1100" b="1" dirty="0">
                  <a:solidFill>
                    <a:srgbClr val="58595B"/>
                  </a:solidFill>
                  <a:latin typeface="Calibri"/>
                </a:rPr>
                <a:t>. . . </a:t>
              </a:r>
            </a:p>
          </p:txBody>
        </p:sp>
        <p:sp>
          <p:nvSpPr>
            <p:cNvPr id="25" name="Can 49">
              <a:extLst>
                <a:ext uri="{FF2B5EF4-FFF2-40B4-BE49-F238E27FC236}">
                  <a16:creationId xmlns:a16="http://schemas.microsoft.com/office/drawing/2014/main" id="{3574250C-9682-414F-8AF4-8AE6B254B58E}"/>
                </a:ext>
              </a:extLst>
            </p:cNvPr>
            <p:cNvSpPr>
              <a:spLocks noChangeAspect="1"/>
            </p:cNvSpPr>
            <p:nvPr/>
          </p:nvSpPr>
          <p:spPr bwMode="gray">
            <a:xfrm rot="5400000">
              <a:off x="3241649" y="5588187"/>
              <a:ext cx="224561" cy="159687"/>
            </a:xfrm>
            <a:prstGeom prst="can">
              <a:avLst/>
            </a:prstGeom>
            <a:solidFill>
              <a:srgbClr val="969696"/>
            </a:solidFill>
            <a:ln w="15875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US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26" name="Can 50">
              <a:extLst>
                <a:ext uri="{FF2B5EF4-FFF2-40B4-BE49-F238E27FC236}">
                  <a16:creationId xmlns:a16="http://schemas.microsoft.com/office/drawing/2014/main" id="{597BD473-91F2-4F49-9609-E8E1493DD567}"/>
                </a:ext>
              </a:extLst>
            </p:cNvPr>
            <p:cNvSpPr>
              <a:spLocks noChangeAspect="1"/>
            </p:cNvSpPr>
            <p:nvPr/>
          </p:nvSpPr>
          <p:spPr bwMode="gray">
            <a:xfrm rot="5400000">
              <a:off x="3022574" y="5588187"/>
              <a:ext cx="224561" cy="159687"/>
            </a:xfrm>
            <a:prstGeom prst="can">
              <a:avLst/>
            </a:prstGeom>
            <a:solidFill>
              <a:srgbClr val="969696"/>
            </a:solidFill>
            <a:ln w="15875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US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27" name="Can 51">
              <a:extLst>
                <a:ext uri="{FF2B5EF4-FFF2-40B4-BE49-F238E27FC236}">
                  <a16:creationId xmlns:a16="http://schemas.microsoft.com/office/drawing/2014/main" id="{6D2CCDE1-C0AC-4C49-9D5D-C3B6BD608B10}"/>
                </a:ext>
              </a:extLst>
            </p:cNvPr>
            <p:cNvSpPr>
              <a:spLocks noChangeAspect="1"/>
            </p:cNvSpPr>
            <p:nvPr/>
          </p:nvSpPr>
          <p:spPr bwMode="gray">
            <a:xfrm rot="5400000">
              <a:off x="2793974" y="5588187"/>
              <a:ext cx="224561" cy="159687"/>
            </a:xfrm>
            <a:prstGeom prst="can">
              <a:avLst/>
            </a:prstGeom>
            <a:solidFill>
              <a:srgbClr val="969696"/>
            </a:solidFill>
            <a:ln w="15875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US" dirty="0">
                <a:solidFill>
                  <a:srgbClr val="FFFFFF"/>
                </a:solidFill>
                <a:latin typeface="Calibri"/>
              </a:endParaRPr>
            </a:p>
          </p:txBody>
        </p:sp>
        <p:grpSp>
          <p:nvGrpSpPr>
            <p:cNvPr id="28" name="Group 60">
              <a:extLst>
                <a:ext uri="{FF2B5EF4-FFF2-40B4-BE49-F238E27FC236}">
                  <a16:creationId xmlns:a16="http://schemas.microsoft.com/office/drawing/2014/main" id="{2CDA9A63-2EBC-45CF-BA84-165F74AB88E4}"/>
                </a:ext>
              </a:extLst>
            </p:cNvPr>
            <p:cNvGrpSpPr/>
            <p:nvPr/>
          </p:nvGrpSpPr>
          <p:grpSpPr>
            <a:xfrm>
              <a:off x="3897860" y="5565275"/>
              <a:ext cx="457194" cy="402620"/>
              <a:chOff x="2802474" y="3652843"/>
              <a:chExt cx="457194" cy="402620"/>
            </a:xfrm>
          </p:grpSpPr>
          <p:sp>
            <p:nvSpPr>
              <p:cNvPr id="93" name="Can 115">
                <a:extLst>
                  <a:ext uri="{FF2B5EF4-FFF2-40B4-BE49-F238E27FC236}">
                    <a16:creationId xmlns:a16="http://schemas.microsoft.com/office/drawing/2014/main" id="{CF82290D-1B07-4342-8F98-EFA0F79E40B7}"/>
                  </a:ext>
                </a:extLst>
              </p:cNvPr>
              <p:cNvSpPr>
                <a:spLocks noChangeAspect="1"/>
              </p:cNvSpPr>
              <p:nvPr/>
            </p:nvSpPr>
            <p:spPr bwMode="gray">
              <a:xfrm rot="5400000">
                <a:off x="2917788" y="3685280"/>
                <a:ext cx="224561" cy="159687"/>
              </a:xfrm>
              <a:prstGeom prst="can">
                <a:avLst/>
              </a:prstGeom>
              <a:solidFill>
                <a:srgbClr val="969696"/>
              </a:solidFill>
              <a:ln w="15875">
                <a:noFill/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lnSpc>
                    <a:spcPct val="90000"/>
                  </a:lnSpc>
                </a:pPr>
                <a:endParaRPr lang="en-US" dirty="0">
                  <a:solidFill>
                    <a:srgbClr val="FFFFFF"/>
                  </a:solidFill>
                  <a:latin typeface="Calibri"/>
                </a:endParaRPr>
              </a:p>
            </p:txBody>
          </p:sp>
          <p:sp>
            <p:nvSpPr>
              <p:cNvPr id="94" name="Rectangle 93">
                <a:extLst>
                  <a:ext uri="{FF2B5EF4-FFF2-40B4-BE49-F238E27FC236}">
                    <a16:creationId xmlns:a16="http://schemas.microsoft.com/office/drawing/2014/main" id="{975C4951-3F8D-4F04-BF34-514A2C059E19}"/>
                  </a:ext>
                </a:extLst>
              </p:cNvPr>
              <p:cNvSpPr/>
              <p:nvPr/>
            </p:nvSpPr>
            <p:spPr>
              <a:xfrm>
                <a:off x="2802474" y="3852330"/>
                <a:ext cx="457194" cy="203133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>
                  <a:lnSpc>
                    <a:spcPct val="90000"/>
                  </a:lnSpc>
                </a:pPr>
                <a:r>
                  <a:rPr lang="en-US" sz="800" dirty="0">
                    <a:solidFill>
                      <a:srgbClr val="58595B"/>
                    </a:solidFill>
                    <a:latin typeface="Calibri"/>
                  </a:rPr>
                  <a:t>|sec|</a:t>
                </a:r>
              </a:p>
            </p:txBody>
          </p:sp>
        </p:grpSp>
        <p:grpSp>
          <p:nvGrpSpPr>
            <p:cNvPr id="29" name="Group 61">
              <a:extLst>
                <a:ext uri="{FF2B5EF4-FFF2-40B4-BE49-F238E27FC236}">
                  <a16:creationId xmlns:a16="http://schemas.microsoft.com/office/drawing/2014/main" id="{EAEA7C6F-F7BC-468E-9E9D-49C14D2D6347}"/>
                </a:ext>
              </a:extLst>
            </p:cNvPr>
            <p:cNvGrpSpPr/>
            <p:nvPr/>
          </p:nvGrpSpPr>
          <p:grpSpPr>
            <a:xfrm>
              <a:off x="4161389" y="5568973"/>
              <a:ext cx="457194" cy="402620"/>
              <a:chOff x="2802474" y="3652843"/>
              <a:chExt cx="457194" cy="402620"/>
            </a:xfrm>
          </p:grpSpPr>
          <p:sp>
            <p:nvSpPr>
              <p:cNvPr id="91" name="Can 25">
                <a:extLst>
                  <a:ext uri="{FF2B5EF4-FFF2-40B4-BE49-F238E27FC236}">
                    <a16:creationId xmlns:a16="http://schemas.microsoft.com/office/drawing/2014/main" id="{2FC32A6A-5E59-4317-97F9-DEFEDF3F5895}"/>
                  </a:ext>
                </a:extLst>
              </p:cNvPr>
              <p:cNvSpPr>
                <a:spLocks noChangeAspect="1"/>
              </p:cNvSpPr>
              <p:nvPr/>
            </p:nvSpPr>
            <p:spPr bwMode="gray">
              <a:xfrm rot="5400000">
                <a:off x="2917788" y="3685280"/>
                <a:ext cx="224561" cy="159687"/>
              </a:xfrm>
              <a:prstGeom prst="can">
                <a:avLst/>
              </a:prstGeom>
              <a:solidFill>
                <a:srgbClr val="969696"/>
              </a:solidFill>
              <a:ln w="15875">
                <a:noFill/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lnSpc>
                    <a:spcPct val="90000"/>
                  </a:lnSpc>
                </a:pPr>
                <a:endParaRPr lang="en-US" dirty="0">
                  <a:solidFill>
                    <a:srgbClr val="FFFFFF"/>
                  </a:solidFill>
                  <a:latin typeface="Calibri"/>
                </a:endParaRPr>
              </a:p>
            </p:txBody>
          </p:sp>
          <p:sp>
            <p:nvSpPr>
              <p:cNvPr id="92" name="Rectangle 91">
                <a:extLst>
                  <a:ext uri="{FF2B5EF4-FFF2-40B4-BE49-F238E27FC236}">
                    <a16:creationId xmlns:a16="http://schemas.microsoft.com/office/drawing/2014/main" id="{7B1DA83D-1E2F-4758-A036-16DFC2063C89}"/>
                  </a:ext>
                </a:extLst>
              </p:cNvPr>
              <p:cNvSpPr/>
              <p:nvPr/>
            </p:nvSpPr>
            <p:spPr>
              <a:xfrm>
                <a:off x="2802474" y="3852330"/>
                <a:ext cx="457194" cy="203133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>
                  <a:lnSpc>
                    <a:spcPct val="90000"/>
                  </a:lnSpc>
                </a:pPr>
                <a:r>
                  <a:rPr lang="en-US" sz="800" dirty="0">
                    <a:solidFill>
                      <a:srgbClr val="58595B"/>
                    </a:solidFill>
                    <a:latin typeface="Calibri"/>
                  </a:rPr>
                  <a:t>|sec|</a:t>
                </a:r>
              </a:p>
            </p:txBody>
          </p:sp>
        </p:grpSp>
        <p:grpSp>
          <p:nvGrpSpPr>
            <p:cNvPr id="30" name="Group 64">
              <a:extLst>
                <a:ext uri="{FF2B5EF4-FFF2-40B4-BE49-F238E27FC236}">
                  <a16:creationId xmlns:a16="http://schemas.microsoft.com/office/drawing/2014/main" id="{41B733AA-EF0C-4C0E-A2B5-C077B6A1FFFC}"/>
                </a:ext>
              </a:extLst>
            </p:cNvPr>
            <p:cNvGrpSpPr/>
            <p:nvPr/>
          </p:nvGrpSpPr>
          <p:grpSpPr>
            <a:xfrm>
              <a:off x="4442905" y="5573741"/>
              <a:ext cx="457194" cy="402620"/>
              <a:chOff x="2802474" y="3652843"/>
              <a:chExt cx="457194" cy="402620"/>
            </a:xfrm>
          </p:grpSpPr>
          <p:sp>
            <p:nvSpPr>
              <p:cNvPr id="89" name="Can 23">
                <a:extLst>
                  <a:ext uri="{FF2B5EF4-FFF2-40B4-BE49-F238E27FC236}">
                    <a16:creationId xmlns:a16="http://schemas.microsoft.com/office/drawing/2014/main" id="{F95E3955-9604-4A1E-A687-FD51367E6886}"/>
                  </a:ext>
                </a:extLst>
              </p:cNvPr>
              <p:cNvSpPr>
                <a:spLocks noChangeAspect="1"/>
              </p:cNvSpPr>
              <p:nvPr/>
            </p:nvSpPr>
            <p:spPr bwMode="gray">
              <a:xfrm rot="5400000">
                <a:off x="2917788" y="3685280"/>
                <a:ext cx="224561" cy="159687"/>
              </a:xfrm>
              <a:prstGeom prst="can">
                <a:avLst/>
              </a:prstGeom>
              <a:solidFill>
                <a:srgbClr val="969696"/>
              </a:solidFill>
              <a:ln w="15875">
                <a:noFill/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lnSpc>
                    <a:spcPct val="90000"/>
                  </a:lnSpc>
                </a:pPr>
                <a:endParaRPr lang="en-US" dirty="0">
                  <a:solidFill>
                    <a:srgbClr val="FFFFFF"/>
                  </a:solidFill>
                  <a:latin typeface="Calibri"/>
                </a:endParaRPr>
              </a:p>
            </p:txBody>
          </p:sp>
          <p:sp>
            <p:nvSpPr>
              <p:cNvPr id="90" name="Rectangle 24">
                <a:extLst>
                  <a:ext uri="{FF2B5EF4-FFF2-40B4-BE49-F238E27FC236}">
                    <a16:creationId xmlns:a16="http://schemas.microsoft.com/office/drawing/2014/main" id="{B8377736-D42F-4293-AC32-45FEAB6D554D}"/>
                  </a:ext>
                </a:extLst>
              </p:cNvPr>
              <p:cNvSpPr/>
              <p:nvPr/>
            </p:nvSpPr>
            <p:spPr>
              <a:xfrm>
                <a:off x="2802474" y="3852330"/>
                <a:ext cx="457194" cy="203133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>
                  <a:lnSpc>
                    <a:spcPct val="90000"/>
                  </a:lnSpc>
                </a:pPr>
                <a:r>
                  <a:rPr lang="en-US" sz="800" dirty="0">
                    <a:solidFill>
                      <a:srgbClr val="58595B"/>
                    </a:solidFill>
                    <a:latin typeface="Calibri"/>
                  </a:rPr>
                  <a:t>|sec|</a:t>
                </a:r>
              </a:p>
            </p:txBody>
          </p:sp>
        </p:grpSp>
        <p:grpSp>
          <p:nvGrpSpPr>
            <p:cNvPr id="31" name="Group 200">
              <a:extLst>
                <a:ext uri="{FF2B5EF4-FFF2-40B4-BE49-F238E27FC236}">
                  <a16:creationId xmlns:a16="http://schemas.microsoft.com/office/drawing/2014/main" id="{E0662D94-9904-41DF-BD28-8E43B51A9C9A}"/>
                </a:ext>
              </a:extLst>
            </p:cNvPr>
            <p:cNvGrpSpPr/>
            <p:nvPr/>
          </p:nvGrpSpPr>
          <p:grpSpPr>
            <a:xfrm>
              <a:off x="4941384" y="5579564"/>
              <a:ext cx="1352544" cy="402611"/>
              <a:chOff x="2903023" y="3443308"/>
              <a:chExt cx="1352544" cy="402611"/>
            </a:xfrm>
          </p:grpSpPr>
          <p:grpSp>
            <p:nvGrpSpPr>
              <p:cNvPr id="77" name="Group 59">
                <a:extLst>
                  <a:ext uri="{FF2B5EF4-FFF2-40B4-BE49-F238E27FC236}">
                    <a16:creationId xmlns:a16="http://schemas.microsoft.com/office/drawing/2014/main" id="{08F6CE4D-784C-41D8-BD31-F6260D4C7879}"/>
                  </a:ext>
                </a:extLst>
              </p:cNvPr>
              <p:cNvGrpSpPr/>
              <p:nvPr/>
            </p:nvGrpSpPr>
            <p:grpSpPr>
              <a:xfrm>
                <a:off x="2903023" y="3443308"/>
                <a:ext cx="457194" cy="402611"/>
                <a:chOff x="3649143" y="3652843"/>
                <a:chExt cx="457194" cy="402611"/>
              </a:xfrm>
            </p:grpSpPr>
            <p:sp>
              <p:nvSpPr>
                <p:cNvPr id="87" name="Can 109">
                  <a:extLst>
                    <a:ext uri="{FF2B5EF4-FFF2-40B4-BE49-F238E27FC236}">
                      <a16:creationId xmlns:a16="http://schemas.microsoft.com/office/drawing/2014/main" id="{FA969F43-E980-434B-A0F8-CF745A59C49D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gray">
                <a:xfrm rot="5400000">
                  <a:off x="3755988" y="3685280"/>
                  <a:ext cx="224561" cy="159687"/>
                </a:xfrm>
                <a:prstGeom prst="can">
                  <a:avLst/>
                </a:prstGeom>
                <a:solidFill>
                  <a:srgbClr val="969696"/>
                </a:solidFill>
                <a:ln w="15875">
                  <a:noFill/>
                  <a:miter lim="800000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lnSpc>
                      <a:spcPct val="90000"/>
                    </a:lnSpc>
                  </a:pPr>
                  <a:endParaRPr lang="en-US" dirty="0">
                    <a:solidFill>
                      <a:srgbClr val="FFFFFF"/>
                    </a:solidFill>
                    <a:latin typeface="Calibri"/>
                  </a:endParaRPr>
                </a:p>
              </p:txBody>
            </p:sp>
            <p:sp>
              <p:nvSpPr>
                <p:cNvPr id="88" name="Rectangle 87">
                  <a:extLst>
                    <a:ext uri="{FF2B5EF4-FFF2-40B4-BE49-F238E27FC236}">
                      <a16:creationId xmlns:a16="http://schemas.microsoft.com/office/drawing/2014/main" id="{F11BE10E-5234-48AA-8871-50E7D84D00BC}"/>
                    </a:ext>
                  </a:extLst>
                </p:cNvPr>
                <p:cNvSpPr/>
                <p:nvPr/>
              </p:nvSpPr>
              <p:spPr>
                <a:xfrm>
                  <a:off x="3649143" y="3852321"/>
                  <a:ext cx="457194" cy="203133"/>
                </a:xfrm>
                <a:prstGeom prst="rect">
                  <a:avLst/>
                </a:prstGeom>
              </p:spPr>
              <p:txBody>
                <a:bodyPr wrap="square">
                  <a:spAutoFit/>
                </a:bodyPr>
                <a:lstStyle/>
                <a:p>
                  <a:pPr>
                    <a:lnSpc>
                      <a:spcPct val="90000"/>
                    </a:lnSpc>
                  </a:pPr>
                  <a:r>
                    <a:rPr lang="en-US" sz="800" dirty="0">
                      <a:solidFill>
                        <a:srgbClr val="58595B"/>
                      </a:solidFill>
                      <a:latin typeface="Calibri"/>
                    </a:rPr>
                    <a:t>|sec|</a:t>
                  </a:r>
                </a:p>
              </p:txBody>
            </p:sp>
          </p:grpSp>
          <p:grpSp>
            <p:nvGrpSpPr>
              <p:cNvPr id="78" name="Group 59">
                <a:extLst>
                  <a:ext uri="{FF2B5EF4-FFF2-40B4-BE49-F238E27FC236}">
                    <a16:creationId xmlns:a16="http://schemas.microsoft.com/office/drawing/2014/main" id="{DFE7B334-E380-4B3C-8082-C07D73537CFE}"/>
                  </a:ext>
                </a:extLst>
              </p:cNvPr>
              <p:cNvGrpSpPr/>
              <p:nvPr/>
            </p:nvGrpSpPr>
            <p:grpSpPr>
              <a:xfrm>
                <a:off x="3188773" y="3443308"/>
                <a:ext cx="457194" cy="402611"/>
                <a:chOff x="3649143" y="3652843"/>
                <a:chExt cx="457194" cy="402611"/>
              </a:xfrm>
            </p:grpSpPr>
            <p:sp>
              <p:nvSpPr>
                <p:cNvPr id="85" name="Can 107">
                  <a:extLst>
                    <a:ext uri="{FF2B5EF4-FFF2-40B4-BE49-F238E27FC236}">
                      <a16:creationId xmlns:a16="http://schemas.microsoft.com/office/drawing/2014/main" id="{5826DC6D-F599-4368-837A-09453D6973D4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gray">
                <a:xfrm rot="5400000">
                  <a:off x="3755988" y="3685280"/>
                  <a:ext cx="224561" cy="159687"/>
                </a:xfrm>
                <a:prstGeom prst="can">
                  <a:avLst/>
                </a:prstGeom>
                <a:solidFill>
                  <a:srgbClr val="969696"/>
                </a:solidFill>
                <a:ln w="15875">
                  <a:noFill/>
                  <a:miter lim="800000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lnSpc>
                      <a:spcPct val="90000"/>
                    </a:lnSpc>
                  </a:pPr>
                  <a:endParaRPr lang="en-US" dirty="0">
                    <a:solidFill>
                      <a:srgbClr val="FFFFFF"/>
                    </a:solidFill>
                    <a:latin typeface="Calibri"/>
                  </a:endParaRPr>
                </a:p>
              </p:txBody>
            </p:sp>
            <p:sp>
              <p:nvSpPr>
                <p:cNvPr id="86" name="Rectangle 85">
                  <a:extLst>
                    <a:ext uri="{FF2B5EF4-FFF2-40B4-BE49-F238E27FC236}">
                      <a16:creationId xmlns:a16="http://schemas.microsoft.com/office/drawing/2014/main" id="{AD02F2F3-1A87-4AC3-9B76-C19388FE3718}"/>
                    </a:ext>
                  </a:extLst>
                </p:cNvPr>
                <p:cNvSpPr/>
                <p:nvPr/>
              </p:nvSpPr>
              <p:spPr>
                <a:xfrm>
                  <a:off x="3649143" y="3852321"/>
                  <a:ext cx="457194" cy="203133"/>
                </a:xfrm>
                <a:prstGeom prst="rect">
                  <a:avLst/>
                </a:prstGeom>
              </p:spPr>
              <p:txBody>
                <a:bodyPr wrap="square">
                  <a:spAutoFit/>
                </a:bodyPr>
                <a:lstStyle/>
                <a:p>
                  <a:pPr>
                    <a:lnSpc>
                      <a:spcPct val="90000"/>
                    </a:lnSpc>
                  </a:pPr>
                  <a:r>
                    <a:rPr lang="en-US" sz="800" dirty="0">
                      <a:solidFill>
                        <a:srgbClr val="58595B"/>
                      </a:solidFill>
                      <a:latin typeface="Calibri"/>
                    </a:rPr>
                    <a:t>|sec|</a:t>
                  </a:r>
                </a:p>
              </p:txBody>
            </p:sp>
          </p:grpSp>
          <p:grpSp>
            <p:nvGrpSpPr>
              <p:cNvPr id="79" name="Group 78">
                <a:extLst>
                  <a:ext uri="{FF2B5EF4-FFF2-40B4-BE49-F238E27FC236}">
                    <a16:creationId xmlns:a16="http://schemas.microsoft.com/office/drawing/2014/main" id="{E734EAAE-4012-4479-A0CE-884B8E42B28E}"/>
                  </a:ext>
                </a:extLst>
              </p:cNvPr>
              <p:cNvGrpSpPr/>
              <p:nvPr/>
            </p:nvGrpSpPr>
            <p:grpSpPr>
              <a:xfrm>
                <a:off x="3493573" y="3443308"/>
                <a:ext cx="457194" cy="402611"/>
                <a:chOff x="3649143" y="3652843"/>
                <a:chExt cx="457194" cy="402611"/>
              </a:xfrm>
            </p:grpSpPr>
            <p:sp>
              <p:nvSpPr>
                <p:cNvPr id="83" name="Can 105">
                  <a:extLst>
                    <a:ext uri="{FF2B5EF4-FFF2-40B4-BE49-F238E27FC236}">
                      <a16:creationId xmlns:a16="http://schemas.microsoft.com/office/drawing/2014/main" id="{51692F94-165F-4F7A-BDF3-39ECE0A32A88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gray">
                <a:xfrm rot="5400000">
                  <a:off x="3755988" y="3685280"/>
                  <a:ext cx="224561" cy="159687"/>
                </a:xfrm>
                <a:prstGeom prst="can">
                  <a:avLst/>
                </a:prstGeom>
                <a:solidFill>
                  <a:srgbClr val="969696"/>
                </a:solidFill>
                <a:ln w="15875">
                  <a:noFill/>
                  <a:miter lim="800000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lnSpc>
                      <a:spcPct val="90000"/>
                    </a:lnSpc>
                  </a:pPr>
                  <a:endParaRPr lang="en-US" dirty="0">
                    <a:solidFill>
                      <a:srgbClr val="FFFFFF"/>
                    </a:solidFill>
                    <a:latin typeface="Calibri"/>
                  </a:endParaRPr>
                </a:p>
              </p:txBody>
            </p:sp>
            <p:sp>
              <p:nvSpPr>
                <p:cNvPr id="84" name="Rectangle 83">
                  <a:extLst>
                    <a:ext uri="{FF2B5EF4-FFF2-40B4-BE49-F238E27FC236}">
                      <a16:creationId xmlns:a16="http://schemas.microsoft.com/office/drawing/2014/main" id="{028AC8A9-B48C-4679-B11F-79FAA34F33D5}"/>
                    </a:ext>
                  </a:extLst>
                </p:cNvPr>
                <p:cNvSpPr/>
                <p:nvPr/>
              </p:nvSpPr>
              <p:spPr>
                <a:xfrm>
                  <a:off x="3649143" y="3852321"/>
                  <a:ext cx="457194" cy="203133"/>
                </a:xfrm>
                <a:prstGeom prst="rect">
                  <a:avLst/>
                </a:prstGeom>
              </p:spPr>
              <p:txBody>
                <a:bodyPr wrap="square">
                  <a:spAutoFit/>
                </a:bodyPr>
                <a:lstStyle/>
                <a:p>
                  <a:pPr>
                    <a:lnSpc>
                      <a:spcPct val="90000"/>
                    </a:lnSpc>
                  </a:pPr>
                  <a:r>
                    <a:rPr lang="en-US" sz="800" dirty="0">
                      <a:solidFill>
                        <a:srgbClr val="58595B"/>
                      </a:solidFill>
                      <a:latin typeface="Calibri"/>
                    </a:rPr>
                    <a:t>|sec|</a:t>
                  </a:r>
                </a:p>
              </p:txBody>
            </p:sp>
          </p:grpSp>
          <p:grpSp>
            <p:nvGrpSpPr>
              <p:cNvPr id="80" name="Group 59">
                <a:extLst>
                  <a:ext uri="{FF2B5EF4-FFF2-40B4-BE49-F238E27FC236}">
                    <a16:creationId xmlns:a16="http://schemas.microsoft.com/office/drawing/2014/main" id="{045DA0C9-6161-43FC-8688-A78E6EFC8723}"/>
                  </a:ext>
                </a:extLst>
              </p:cNvPr>
              <p:cNvGrpSpPr/>
              <p:nvPr/>
            </p:nvGrpSpPr>
            <p:grpSpPr>
              <a:xfrm>
                <a:off x="3798373" y="3443308"/>
                <a:ext cx="457194" cy="402611"/>
                <a:chOff x="3649143" y="3652843"/>
                <a:chExt cx="457194" cy="402611"/>
              </a:xfrm>
            </p:grpSpPr>
            <p:sp>
              <p:nvSpPr>
                <p:cNvPr id="81" name="Can 103">
                  <a:extLst>
                    <a:ext uri="{FF2B5EF4-FFF2-40B4-BE49-F238E27FC236}">
                      <a16:creationId xmlns:a16="http://schemas.microsoft.com/office/drawing/2014/main" id="{4B01DB28-2278-4699-88A4-72CDC6D59432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gray">
                <a:xfrm rot="5400000">
                  <a:off x="3755988" y="3685280"/>
                  <a:ext cx="224561" cy="159687"/>
                </a:xfrm>
                <a:prstGeom prst="can">
                  <a:avLst/>
                </a:prstGeom>
                <a:solidFill>
                  <a:srgbClr val="969696"/>
                </a:solidFill>
                <a:ln w="15875">
                  <a:noFill/>
                  <a:miter lim="800000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lnSpc>
                      <a:spcPct val="90000"/>
                    </a:lnSpc>
                  </a:pPr>
                  <a:endParaRPr lang="en-US" dirty="0">
                    <a:solidFill>
                      <a:srgbClr val="FFFFFF"/>
                    </a:solidFill>
                    <a:latin typeface="Calibri"/>
                  </a:endParaRPr>
                </a:p>
              </p:txBody>
            </p:sp>
            <p:sp>
              <p:nvSpPr>
                <p:cNvPr id="82" name="Rectangle 81">
                  <a:extLst>
                    <a:ext uri="{FF2B5EF4-FFF2-40B4-BE49-F238E27FC236}">
                      <a16:creationId xmlns:a16="http://schemas.microsoft.com/office/drawing/2014/main" id="{01AA4A52-F091-4202-876E-ECF32AE45546}"/>
                    </a:ext>
                  </a:extLst>
                </p:cNvPr>
                <p:cNvSpPr/>
                <p:nvPr/>
              </p:nvSpPr>
              <p:spPr>
                <a:xfrm>
                  <a:off x="3649143" y="3852321"/>
                  <a:ext cx="457194" cy="203133"/>
                </a:xfrm>
                <a:prstGeom prst="rect">
                  <a:avLst/>
                </a:prstGeom>
              </p:spPr>
              <p:txBody>
                <a:bodyPr wrap="square">
                  <a:spAutoFit/>
                </a:bodyPr>
                <a:lstStyle/>
                <a:p>
                  <a:pPr>
                    <a:lnSpc>
                      <a:spcPct val="90000"/>
                    </a:lnSpc>
                  </a:pPr>
                  <a:r>
                    <a:rPr lang="en-US" sz="800" dirty="0">
                      <a:solidFill>
                        <a:srgbClr val="58595B"/>
                      </a:solidFill>
                      <a:latin typeface="Calibri"/>
                    </a:rPr>
                    <a:t>|sec|</a:t>
                  </a:r>
                </a:p>
              </p:txBody>
            </p:sp>
          </p:grpSp>
        </p:grpSp>
        <p:sp>
          <p:nvSpPr>
            <p:cNvPr id="32" name="TextBox 31">
              <a:extLst>
                <a:ext uri="{FF2B5EF4-FFF2-40B4-BE49-F238E27FC236}">
                  <a16:creationId xmlns:a16="http://schemas.microsoft.com/office/drawing/2014/main" id="{6838F391-62EE-4ABF-83BA-23B6D511FB99}"/>
                </a:ext>
              </a:extLst>
            </p:cNvPr>
            <p:cNvSpPr txBox="1"/>
            <p:nvPr/>
          </p:nvSpPr>
          <p:spPr>
            <a:xfrm>
              <a:off x="5838836" y="5222356"/>
              <a:ext cx="914400" cy="914400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pPr>
                <a:lnSpc>
                  <a:spcPct val="90000"/>
                </a:lnSpc>
              </a:pPr>
              <a:endParaRPr lang="en-US" dirty="0">
                <a:solidFill>
                  <a:srgbClr val="58595B"/>
                </a:solidFill>
                <a:latin typeface="Calibri"/>
              </a:endParaRPr>
            </a:p>
          </p:txBody>
        </p:sp>
        <p:sp>
          <p:nvSpPr>
            <p:cNvPr id="33" name="Rectangle 32">
              <a:extLst>
                <a:ext uri="{FF2B5EF4-FFF2-40B4-BE49-F238E27FC236}">
                  <a16:creationId xmlns:a16="http://schemas.microsoft.com/office/drawing/2014/main" id="{1A72D20F-6CBA-4857-AB0E-4E80E21B2B4A}"/>
                </a:ext>
              </a:extLst>
            </p:cNvPr>
            <p:cNvSpPr/>
            <p:nvPr/>
          </p:nvSpPr>
          <p:spPr>
            <a:xfrm>
              <a:off x="4664089" y="5724937"/>
              <a:ext cx="485775" cy="24468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>
                <a:lnSpc>
                  <a:spcPct val="90000"/>
                </a:lnSpc>
              </a:pPr>
              <a:r>
                <a:rPr lang="en-US" sz="1100" b="1" dirty="0">
                  <a:solidFill>
                    <a:srgbClr val="58595B"/>
                  </a:solidFill>
                  <a:latin typeface="Calibri"/>
                </a:rPr>
                <a:t>. . . </a:t>
              </a:r>
            </a:p>
          </p:txBody>
        </p:sp>
        <p:grpSp>
          <p:nvGrpSpPr>
            <p:cNvPr id="34" name="Group 221">
              <a:extLst>
                <a:ext uri="{FF2B5EF4-FFF2-40B4-BE49-F238E27FC236}">
                  <a16:creationId xmlns:a16="http://schemas.microsoft.com/office/drawing/2014/main" id="{F25B6B16-C29D-48FF-BCBD-21B4E5556E41}"/>
                </a:ext>
              </a:extLst>
            </p:cNvPr>
            <p:cNvGrpSpPr/>
            <p:nvPr/>
          </p:nvGrpSpPr>
          <p:grpSpPr>
            <a:xfrm>
              <a:off x="6026164" y="5553487"/>
              <a:ext cx="1582214" cy="438213"/>
              <a:chOff x="3987803" y="3417231"/>
              <a:chExt cx="1582214" cy="438213"/>
            </a:xfrm>
          </p:grpSpPr>
          <p:grpSp>
            <p:nvGrpSpPr>
              <p:cNvPr id="63" name="Group 201">
                <a:extLst>
                  <a:ext uri="{FF2B5EF4-FFF2-40B4-BE49-F238E27FC236}">
                    <a16:creationId xmlns:a16="http://schemas.microsoft.com/office/drawing/2014/main" id="{20C08B50-3E46-4060-A079-30D2BF51D90D}"/>
                  </a:ext>
                </a:extLst>
              </p:cNvPr>
              <p:cNvGrpSpPr/>
              <p:nvPr/>
            </p:nvGrpSpPr>
            <p:grpSpPr>
              <a:xfrm>
                <a:off x="4217473" y="3452833"/>
                <a:ext cx="1352544" cy="402611"/>
                <a:chOff x="2903023" y="3443308"/>
                <a:chExt cx="1352544" cy="402611"/>
              </a:xfrm>
            </p:grpSpPr>
            <p:grpSp>
              <p:nvGrpSpPr>
                <p:cNvPr id="65" name="Group 59">
                  <a:extLst>
                    <a:ext uri="{FF2B5EF4-FFF2-40B4-BE49-F238E27FC236}">
                      <a16:creationId xmlns:a16="http://schemas.microsoft.com/office/drawing/2014/main" id="{AA82F3EB-47AA-41D8-AEAF-94F2FCDA91E3}"/>
                    </a:ext>
                  </a:extLst>
                </p:cNvPr>
                <p:cNvGrpSpPr/>
                <p:nvPr/>
              </p:nvGrpSpPr>
              <p:grpSpPr>
                <a:xfrm>
                  <a:off x="2903023" y="3443308"/>
                  <a:ext cx="457194" cy="402611"/>
                  <a:chOff x="3649143" y="3652843"/>
                  <a:chExt cx="457194" cy="402611"/>
                </a:xfrm>
              </p:grpSpPr>
              <p:sp>
                <p:nvSpPr>
                  <p:cNvPr id="75" name="Can 97">
                    <a:extLst>
                      <a:ext uri="{FF2B5EF4-FFF2-40B4-BE49-F238E27FC236}">
                        <a16:creationId xmlns:a16="http://schemas.microsoft.com/office/drawing/2014/main" id="{938BB432-2CD3-4A5A-9317-7218F9B78069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gray">
                  <a:xfrm rot="5400000">
                    <a:off x="3755988" y="3685280"/>
                    <a:ext cx="224561" cy="159687"/>
                  </a:xfrm>
                  <a:prstGeom prst="can">
                    <a:avLst/>
                  </a:prstGeom>
                  <a:solidFill>
                    <a:srgbClr val="969696"/>
                  </a:solidFill>
                  <a:ln w="15875">
                    <a:noFill/>
                    <a:miter lim="800000"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ctr">
                      <a:lnSpc>
                        <a:spcPct val="90000"/>
                      </a:lnSpc>
                    </a:pPr>
                    <a:endParaRPr lang="en-US" dirty="0">
                      <a:solidFill>
                        <a:srgbClr val="FFFFFF"/>
                      </a:solidFill>
                      <a:latin typeface="Calibri"/>
                    </a:endParaRPr>
                  </a:p>
                </p:txBody>
              </p:sp>
              <p:sp>
                <p:nvSpPr>
                  <p:cNvPr id="76" name="Rectangle 75">
                    <a:extLst>
                      <a:ext uri="{FF2B5EF4-FFF2-40B4-BE49-F238E27FC236}">
                        <a16:creationId xmlns:a16="http://schemas.microsoft.com/office/drawing/2014/main" id="{06C4120C-87A2-4310-956A-9D4809386047}"/>
                      </a:ext>
                    </a:extLst>
                  </p:cNvPr>
                  <p:cNvSpPr/>
                  <p:nvPr/>
                </p:nvSpPr>
                <p:spPr>
                  <a:xfrm>
                    <a:off x="3649143" y="3852321"/>
                    <a:ext cx="457194" cy="203133"/>
                  </a:xfrm>
                  <a:prstGeom prst="rect">
                    <a:avLst/>
                  </a:prstGeom>
                </p:spPr>
                <p:txBody>
                  <a:bodyPr wrap="square">
                    <a:spAutoFit/>
                  </a:bodyPr>
                  <a:lstStyle/>
                  <a:p>
                    <a:pPr>
                      <a:lnSpc>
                        <a:spcPct val="90000"/>
                      </a:lnSpc>
                    </a:pPr>
                    <a:r>
                      <a:rPr lang="en-US" sz="800" dirty="0">
                        <a:solidFill>
                          <a:srgbClr val="58595B"/>
                        </a:solidFill>
                        <a:latin typeface="Calibri"/>
                      </a:rPr>
                      <a:t>|sec|</a:t>
                    </a:r>
                  </a:p>
                </p:txBody>
              </p:sp>
            </p:grpSp>
            <p:grpSp>
              <p:nvGrpSpPr>
                <p:cNvPr id="66" name="Group 59">
                  <a:extLst>
                    <a:ext uri="{FF2B5EF4-FFF2-40B4-BE49-F238E27FC236}">
                      <a16:creationId xmlns:a16="http://schemas.microsoft.com/office/drawing/2014/main" id="{649521CA-3560-44EB-82D4-0739A046DF13}"/>
                    </a:ext>
                  </a:extLst>
                </p:cNvPr>
                <p:cNvGrpSpPr/>
                <p:nvPr/>
              </p:nvGrpSpPr>
              <p:grpSpPr>
                <a:xfrm>
                  <a:off x="3188773" y="3443308"/>
                  <a:ext cx="457194" cy="402611"/>
                  <a:chOff x="3649143" y="3652843"/>
                  <a:chExt cx="457194" cy="402611"/>
                </a:xfrm>
              </p:grpSpPr>
              <p:sp>
                <p:nvSpPr>
                  <p:cNvPr id="73" name="Can 95">
                    <a:extLst>
                      <a:ext uri="{FF2B5EF4-FFF2-40B4-BE49-F238E27FC236}">
                        <a16:creationId xmlns:a16="http://schemas.microsoft.com/office/drawing/2014/main" id="{57596255-E16E-41D1-A32D-690429EBB5E4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gray">
                  <a:xfrm rot="5400000">
                    <a:off x="3755988" y="3685280"/>
                    <a:ext cx="224561" cy="159687"/>
                  </a:xfrm>
                  <a:prstGeom prst="can">
                    <a:avLst/>
                  </a:prstGeom>
                  <a:solidFill>
                    <a:srgbClr val="969696"/>
                  </a:solidFill>
                  <a:ln w="15875">
                    <a:noFill/>
                    <a:miter lim="800000"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ctr">
                      <a:lnSpc>
                        <a:spcPct val="90000"/>
                      </a:lnSpc>
                    </a:pPr>
                    <a:endParaRPr lang="en-US" dirty="0">
                      <a:solidFill>
                        <a:srgbClr val="FFFFFF"/>
                      </a:solidFill>
                      <a:latin typeface="Calibri"/>
                    </a:endParaRPr>
                  </a:p>
                </p:txBody>
              </p:sp>
              <p:sp>
                <p:nvSpPr>
                  <p:cNvPr id="74" name="Rectangle 73">
                    <a:extLst>
                      <a:ext uri="{FF2B5EF4-FFF2-40B4-BE49-F238E27FC236}">
                        <a16:creationId xmlns:a16="http://schemas.microsoft.com/office/drawing/2014/main" id="{1E4E8480-F9EB-4EB1-9D12-475FB12ADC68}"/>
                      </a:ext>
                    </a:extLst>
                  </p:cNvPr>
                  <p:cNvSpPr/>
                  <p:nvPr/>
                </p:nvSpPr>
                <p:spPr>
                  <a:xfrm>
                    <a:off x="3649143" y="3852321"/>
                    <a:ext cx="457194" cy="203133"/>
                  </a:xfrm>
                  <a:prstGeom prst="rect">
                    <a:avLst/>
                  </a:prstGeom>
                </p:spPr>
                <p:txBody>
                  <a:bodyPr wrap="square">
                    <a:spAutoFit/>
                  </a:bodyPr>
                  <a:lstStyle/>
                  <a:p>
                    <a:pPr>
                      <a:lnSpc>
                        <a:spcPct val="90000"/>
                      </a:lnSpc>
                    </a:pPr>
                    <a:r>
                      <a:rPr lang="en-US" sz="800" dirty="0">
                        <a:solidFill>
                          <a:srgbClr val="58595B"/>
                        </a:solidFill>
                        <a:latin typeface="Calibri"/>
                      </a:rPr>
                      <a:t>|sec|</a:t>
                    </a:r>
                  </a:p>
                </p:txBody>
              </p:sp>
            </p:grpSp>
            <p:grpSp>
              <p:nvGrpSpPr>
                <p:cNvPr id="67" name="Group 59">
                  <a:extLst>
                    <a:ext uri="{FF2B5EF4-FFF2-40B4-BE49-F238E27FC236}">
                      <a16:creationId xmlns:a16="http://schemas.microsoft.com/office/drawing/2014/main" id="{1980861A-8A3A-4EA3-80EB-F34B43177460}"/>
                    </a:ext>
                  </a:extLst>
                </p:cNvPr>
                <p:cNvGrpSpPr/>
                <p:nvPr/>
              </p:nvGrpSpPr>
              <p:grpSpPr>
                <a:xfrm>
                  <a:off x="3493573" y="3443308"/>
                  <a:ext cx="457194" cy="402611"/>
                  <a:chOff x="3649143" y="3652843"/>
                  <a:chExt cx="457194" cy="402611"/>
                </a:xfrm>
              </p:grpSpPr>
              <p:sp>
                <p:nvSpPr>
                  <p:cNvPr id="71" name="Can 93">
                    <a:extLst>
                      <a:ext uri="{FF2B5EF4-FFF2-40B4-BE49-F238E27FC236}">
                        <a16:creationId xmlns:a16="http://schemas.microsoft.com/office/drawing/2014/main" id="{B0810665-6D5B-4A20-B22E-86726A9B110C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gray">
                  <a:xfrm rot="5400000">
                    <a:off x="3755988" y="3685280"/>
                    <a:ext cx="224561" cy="159687"/>
                  </a:xfrm>
                  <a:prstGeom prst="can">
                    <a:avLst/>
                  </a:prstGeom>
                  <a:solidFill>
                    <a:srgbClr val="969696"/>
                  </a:solidFill>
                  <a:ln w="15875">
                    <a:noFill/>
                    <a:miter lim="800000"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ctr">
                      <a:lnSpc>
                        <a:spcPct val="90000"/>
                      </a:lnSpc>
                    </a:pPr>
                    <a:endParaRPr lang="en-US" dirty="0">
                      <a:solidFill>
                        <a:srgbClr val="FFFFFF"/>
                      </a:solidFill>
                      <a:latin typeface="Calibri"/>
                    </a:endParaRPr>
                  </a:p>
                </p:txBody>
              </p:sp>
              <p:sp>
                <p:nvSpPr>
                  <p:cNvPr id="72" name="Rectangle 71">
                    <a:extLst>
                      <a:ext uri="{FF2B5EF4-FFF2-40B4-BE49-F238E27FC236}">
                        <a16:creationId xmlns:a16="http://schemas.microsoft.com/office/drawing/2014/main" id="{B468A997-6B69-4C39-905D-3CA35D69B3B9}"/>
                      </a:ext>
                    </a:extLst>
                  </p:cNvPr>
                  <p:cNvSpPr/>
                  <p:nvPr/>
                </p:nvSpPr>
                <p:spPr>
                  <a:xfrm>
                    <a:off x="3649143" y="3852321"/>
                    <a:ext cx="457194" cy="203133"/>
                  </a:xfrm>
                  <a:prstGeom prst="rect">
                    <a:avLst/>
                  </a:prstGeom>
                </p:spPr>
                <p:txBody>
                  <a:bodyPr wrap="square">
                    <a:spAutoFit/>
                  </a:bodyPr>
                  <a:lstStyle/>
                  <a:p>
                    <a:pPr>
                      <a:lnSpc>
                        <a:spcPct val="90000"/>
                      </a:lnSpc>
                    </a:pPr>
                    <a:r>
                      <a:rPr lang="en-US" sz="800" dirty="0">
                        <a:solidFill>
                          <a:srgbClr val="58595B"/>
                        </a:solidFill>
                        <a:latin typeface="Calibri"/>
                      </a:rPr>
                      <a:t>|sec|</a:t>
                    </a:r>
                  </a:p>
                </p:txBody>
              </p:sp>
            </p:grpSp>
            <p:grpSp>
              <p:nvGrpSpPr>
                <p:cNvPr id="68" name="Group 59">
                  <a:extLst>
                    <a:ext uri="{FF2B5EF4-FFF2-40B4-BE49-F238E27FC236}">
                      <a16:creationId xmlns:a16="http://schemas.microsoft.com/office/drawing/2014/main" id="{65757DB0-14A2-4623-8D28-B01A54979BC5}"/>
                    </a:ext>
                  </a:extLst>
                </p:cNvPr>
                <p:cNvGrpSpPr/>
                <p:nvPr/>
              </p:nvGrpSpPr>
              <p:grpSpPr>
                <a:xfrm>
                  <a:off x="3798373" y="3443308"/>
                  <a:ext cx="457194" cy="402611"/>
                  <a:chOff x="3649143" y="3652843"/>
                  <a:chExt cx="457194" cy="402611"/>
                </a:xfrm>
              </p:grpSpPr>
              <p:sp>
                <p:nvSpPr>
                  <p:cNvPr id="69" name="Can 91">
                    <a:extLst>
                      <a:ext uri="{FF2B5EF4-FFF2-40B4-BE49-F238E27FC236}">
                        <a16:creationId xmlns:a16="http://schemas.microsoft.com/office/drawing/2014/main" id="{3E1B2E9A-5DC7-4DCB-A271-F838F2CF0028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gray">
                  <a:xfrm rot="5400000">
                    <a:off x="3755988" y="3685280"/>
                    <a:ext cx="224561" cy="159687"/>
                  </a:xfrm>
                  <a:prstGeom prst="can">
                    <a:avLst/>
                  </a:prstGeom>
                  <a:solidFill>
                    <a:srgbClr val="969696"/>
                  </a:solidFill>
                  <a:ln w="15875">
                    <a:noFill/>
                    <a:miter lim="800000"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ctr">
                      <a:lnSpc>
                        <a:spcPct val="90000"/>
                      </a:lnSpc>
                    </a:pPr>
                    <a:endParaRPr lang="en-US" dirty="0">
                      <a:solidFill>
                        <a:srgbClr val="FFFFFF"/>
                      </a:solidFill>
                      <a:latin typeface="Calibri"/>
                    </a:endParaRPr>
                  </a:p>
                </p:txBody>
              </p:sp>
              <p:sp>
                <p:nvSpPr>
                  <p:cNvPr id="70" name="Rectangle 69">
                    <a:extLst>
                      <a:ext uri="{FF2B5EF4-FFF2-40B4-BE49-F238E27FC236}">
                        <a16:creationId xmlns:a16="http://schemas.microsoft.com/office/drawing/2014/main" id="{A70F6C4C-9DE0-4EEE-983E-E7C31AF5CC9D}"/>
                      </a:ext>
                    </a:extLst>
                  </p:cNvPr>
                  <p:cNvSpPr/>
                  <p:nvPr/>
                </p:nvSpPr>
                <p:spPr>
                  <a:xfrm>
                    <a:off x="3649143" y="3852321"/>
                    <a:ext cx="457194" cy="203133"/>
                  </a:xfrm>
                  <a:prstGeom prst="rect">
                    <a:avLst/>
                  </a:prstGeom>
                </p:spPr>
                <p:txBody>
                  <a:bodyPr wrap="square">
                    <a:spAutoFit/>
                  </a:bodyPr>
                  <a:lstStyle/>
                  <a:p>
                    <a:pPr>
                      <a:lnSpc>
                        <a:spcPct val="90000"/>
                      </a:lnSpc>
                    </a:pPr>
                    <a:r>
                      <a:rPr lang="en-US" sz="800" dirty="0">
                        <a:solidFill>
                          <a:srgbClr val="58595B"/>
                        </a:solidFill>
                        <a:latin typeface="Calibri"/>
                      </a:rPr>
                      <a:t>|sec|</a:t>
                    </a:r>
                  </a:p>
                </p:txBody>
              </p:sp>
            </p:grpSp>
          </p:grpSp>
          <p:sp>
            <p:nvSpPr>
              <p:cNvPr id="64" name="Rectangle 63">
                <a:extLst>
                  <a:ext uri="{FF2B5EF4-FFF2-40B4-BE49-F238E27FC236}">
                    <a16:creationId xmlns:a16="http://schemas.microsoft.com/office/drawing/2014/main" id="{A4F7DF0C-DA38-4DFE-A1E3-AA28AD59C66C}"/>
                  </a:ext>
                </a:extLst>
              </p:cNvPr>
              <p:cNvSpPr/>
              <p:nvPr/>
            </p:nvSpPr>
            <p:spPr>
              <a:xfrm>
                <a:off x="3987803" y="3417231"/>
                <a:ext cx="485775" cy="244682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algn="ctr">
                  <a:lnSpc>
                    <a:spcPct val="90000"/>
                  </a:lnSpc>
                </a:pPr>
                <a:r>
                  <a:rPr lang="en-US" sz="1100" b="1" dirty="0">
                    <a:solidFill>
                      <a:srgbClr val="58595B"/>
                    </a:solidFill>
                    <a:latin typeface="Calibri"/>
                  </a:rPr>
                  <a:t>. . . </a:t>
                </a:r>
              </a:p>
            </p:txBody>
          </p:sp>
        </p:grpSp>
        <p:grpSp>
          <p:nvGrpSpPr>
            <p:cNvPr id="35" name="Group 222">
              <a:extLst>
                <a:ext uri="{FF2B5EF4-FFF2-40B4-BE49-F238E27FC236}">
                  <a16:creationId xmlns:a16="http://schemas.microsoft.com/office/drawing/2014/main" id="{BE9B6BFE-7EF6-48EF-BF6A-ADE8D14F4C0E}"/>
                </a:ext>
              </a:extLst>
            </p:cNvPr>
            <p:cNvGrpSpPr/>
            <p:nvPr/>
          </p:nvGrpSpPr>
          <p:grpSpPr>
            <a:xfrm>
              <a:off x="7378714" y="5572537"/>
              <a:ext cx="1610789" cy="438213"/>
              <a:chOff x="3959228" y="3417231"/>
              <a:chExt cx="1610789" cy="438213"/>
            </a:xfrm>
          </p:grpSpPr>
          <p:grpSp>
            <p:nvGrpSpPr>
              <p:cNvPr id="49" name="Group 201">
                <a:extLst>
                  <a:ext uri="{FF2B5EF4-FFF2-40B4-BE49-F238E27FC236}">
                    <a16:creationId xmlns:a16="http://schemas.microsoft.com/office/drawing/2014/main" id="{E296367D-7141-433A-919E-2E926D05B428}"/>
                  </a:ext>
                </a:extLst>
              </p:cNvPr>
              <p:cNvGrpSpPr/>
              <p:nvPr/>
            </p:nvGrpSpPr>
            <p:grpSpPr>
              <a:xfrm>
                <a:off x="4217473" y="3452833"/>
                <a:ext cx="1352544" cy="402611"/>
                <a:chOff x="2903023" y="3443308"/>
                <a:chExt cx="1352544" cy="402611"/>
              </a:xfrm>
            </p:grpSpPr>
            <p:grpSp>
              <p:nvGrpSpPr>
                <p:cNvPr id="51" name="Group 59">
                  <a:extLst>
                    <a:ext uri="{FF2B5EF4-FFF2-40B4-BE49-F238E27FC236}">
                      <a16:creationId xmlns:a16="http://schemas.microsoft.com/office/drawing/2014/main" id="{22608673-5BCA-4B67-AD41-2CCDCEE087C2}"/>
                    </a:ext>
                  </a:extLst>
                </p:cNvPr>
                <p:cNvGrpSpPr/>
                <p:nvPr/>
              </p:nvGrpSpPr>
              <p:grpSpPr>
                <a:xfrm>
                  <a:off x="2903023" y="3443308"/>
                  <a:ext cx="457194" cy="402611"/>
                  <a:chOff x="3649143" y="3652843"/>
                  <a:chExt cx="457194" cy="402611"/>
                </a:xfrm>
              </p:grpSpPr>
              <p:sp>
                <p:nvSpPr>
                  <p:cNvPr id="61" name="Can 83">
                    <a:extLst>
                      <a:ext uri="{FF2B5EF4-FFF2-40B4-BE49-F238E27FC236}">
                        <a16:creationId xmlns:a16="http://schemas.microsoft.com/office/drawing/2014/main" id="{352A9DFE-5B52-42A4-976C-AC98FDD74AE0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gray">
                  <a:xfrm rot="5400000">
                    <a:off x="3755988" y="3685280"/>
                    <a:ext cx="224561" cy="159687"/>
                  </a:xfrm>
                  <a:prstGeom prst="can">
                    <a:avLst/>
                  </a:prstGeom>
                  <a:solidFill>
                    <a:srgbClr val="969696"/>
                  </a:solidFill>
                  <a:ln w="15875">
                    <a:noFill/>
                    <a:miter lim="800000"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ctr">
                      <a:lnSpc>
                        <a:spcPct val="90000"/>
                      </a:lnSpc>
                    </a:pPr>
                    <a:endParaRPr lang="en-US" dirty="0">
                      <a:solidFill>
                        <a:srgbClr val="FFFFFF"/>
                      </a:solidFill>
                      <a:latin typeface="Calibri"/>
                    </a:endParaRPr>
                  </a:p>
                </p:txBody>
              </p:sp>
              <p:sp>
                <p:nvSpPr>
                  <p:cNvPr id="62" name="Rectangle 61">
                    <a:extLst>
                      <a:ext uri="{FF2B5EF4-FFF2-40B4-BE49-F238E27FC236}">
                        <a16:creationId xmlns:a16="http://schemas.microsoft.com/office/drawing/2014/main" id="{5F08541E-D8B0-416B-B741-DDEC1012307A}"/>
                      </a:ext>
                    </a:extLst>
                  </p:cNvPr>
                  <p:cNvSpPr/>
                  <p:nvPr/>
                </p:nvSpPr>
                <p:spPr>
                  <a:xfrm>
                    <a:off x="3649143" y="3852321"/>
                    <a:ext cx="457194" cy="203133"/>
                  </a:xfrm>
                  <a:prstGeom prst="rect">
                    <a:avLst/>
                  </a:prstGeom>
                </p:spPr>
                <p:txBody>
                  <a:bodyPr wrap="square">
                    <a:spAutoFit/>
                  </a:bodyPr>
                  <a:lstStyle/>
                  <a:p>
                    <a:pPr>
                      <a:lnSpc>
                        <a:spcPct val="90000"/>
                      </a:lnSpc>
                    </a:pPr>
                    <a:r>
                      <a:rPr lang="en-US" sz="800" dirty="0">
                        <a:solidFill>
                          <a:srgbClr val="58595B"/>
                        </a:solidFill>
                        <a:latin typeface="Calibri"/>
                      </a:rPr>
                      <a:t>|sec|</a:t>
                    </a:r>
                  </a:p>
                </p:txBody>
              </p:sp>
            </p:grpSp>
            <p:grpSp>
              <p:nvGrpSpPr>
                <p:cNvPr id="52" name="Group 59">
                  <a:extLst>
                    <a:ext uri="{FF2B5EF4-FFF2-40B4-BE49-F238E27FC236}">
                      <a16:creationId xmlns:a16="http://schemas.microsoft.com/office/drawing/2014/main" id="{6C05906C-5580-44F4-BCCD-238C52E0AD20}"/>
                    </a:ext>
                  </a:extLst>
                </p:cNvPr>
                <p:cNvGrpSpPr/>
                <p:nvPr/>
              </p:nvGrpSpPr>
              <p:grpSpPr>
                <a:xfrm>
                  <a:off x="3188773" y="3443308"/>
                  <a:ext cx="457194" cy="402611"/>
                  <a:chOff x="3649143" y="3652843"/>
                  <a:chExt cx="457194" cy="402611"/>
                </a:xfrm>
              </p:grpSpPr>
              <p:sp>
                <p:nvSpPr>
                  <p:cNvPr id="59" name="Can 81">
                    <a:extLst>
                      <a:ext uri="{FF2B5EF4-FFF2-40B4-BE49-F238E27FC236}">
                        <a16:creationId xmlns:a16="http://schemas.microsoft.com/office/drawing/2014/main" id="{7C5A0323-7A27-4E54-ABCC-C1CB019B8917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gray">
                  <a:xfrm rot="5400000">
                    <a:off x="3755988" y="3685280"/>
                    <a:ext cx="224561" cy="159687"/>
                  </a:xfrm>
                  <a:prstGeom prst="can">
                    <a:avLst/>
                  </a:prstGeom>
                  <a:solidFill>
                    <a:srgbClr val="969696"/>
                  </a:solidFill>
                  <a:ln w="15875">
                    <a:noFill/>
                    <a:miter lim="800000"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ctr">
                      <a:lnSpc>
                        <a:spcPct val="90000"/>
                      </a:lnSpc>
                    </a:pPr>
                    <a:endParaRPr lang="en-US" dirty="0">
                      <a:solidFill>
                        <a:srgbClr val="FFFFFF"/>
                      </a:solidFill>
                      <a:latin typeface="Calibri"/>
                    </a:endParaRPr>
                  </a:p>
                </p:txBody>
              </p:sp>
              <p:sp>
                <p:nvSpPr>
                  <p:cNvPr id="60" name="Rectangle 59">
                    <a:extLst>
                      <a:ext uri="{FF2B5EF4-FFF2-40B4-BE49-F238E27FC236}">
                        <a16:creationId xmlns:a16="http://schemas.microsoft.com/office/drawing/2014/main" id="{82F89599-E539-4D99-9D1C-A78C3002BEBD}"/>
                      </a:ext>
                    </a:extLst>
                  </p:cNvPr>
                  <p:cNvSpPr/>
                  <p:nvPr/>
                </p:nvSpPr>
                <p:spPr>
                  <a:xfrm>
                    <a:off x="3649143" y="3852321"/>
                    <a:ext cx="457194" cy="203133"/>
                  </a:xfrm>
                  <a:prstGeom prst="rect">
                    <a:avLst/>
                  </a:prstGeom>
                </p:spPr>
                <p:txBody>
                  <a:bodyPr wrap="square">
                    <a:spAutoFit/>
                  </a:bodyPr>
                  <a:lstStyle/>
                  <a:p>
                    <a:pPr>
                      <a:lnSpc>
                        <a:spcPct val="90000"/>
                      </a:lnSpc>
                    </a:pPr>
                    <a:r>
                      <a:rPr lang="en-US" sz="800" dirty="0">
                        <a:solidFill>
                          <a:srgbClr val="58595B"/>
                        </a:solidFill>
                        <a:latin typeface="Calibri"/>
                      </a:rPr>
                      <a:t>|sec|</a:t>
                    </a:r>
                  </a:p>
                </p:txBody>
              </p:sp>
            </p:grpSp>
            <p:grpSp>
              <p:nvGrpSpPr>
                <p:cNvPr id="53" name="Group 59">
                  <a:extLst>
                    <a:ext uri="{FF2B5EF4-FFF2-40B4-BE49-F238E27FC236}">
                      <a16:creationId xmlns:a16="http://schemas.microsoft.com/office/drawing/2014/main" id="{C2D81CAA-C5BA-428B-894C-5776E20882AF}"/>
                    </a:ext>
                  </a:extLst>
                </p:cNvPr>
                <p:cNvGrpSpPr/>
                <p:nvPr/>
              </p:nvGrpSpPr>
              <p:grpSpPr>
                <a:xfrm>
                  <a:off x="3493573" y="3443308"/>
                  <a:ext cx="457194" cy="402611"/>
                  <a:chOff x="3649143" y="3652843"/>
                  <a:chExt cx="457194" cy="402611"/>
                </a:xfrm>
              </p:grpSpPr>
              <p:sp>
                <p:nvSpPr>
                  <p:cNvPr id="57" name="Can 79">
                    <a:extLst>
                      <a:ext uri="{FF2B5EF4-FFF2-40B4-BE49-F238E27FC236}">
                        <a16:creationId xmlns:a16="http://schemas.microsoft.com/office/drawing/2014/main" id="{532BA2F5-801C-4D58-B7C5-2E15787E7F23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gray">
                  <a:xfrm rot="5400000">
                    <a:off x="3755988" y="3685280"/>
                    <a:ext cx="224561" cy="159687"/>
                  </a:xfrm>
                  <a:prstGeom prst="can">
                    <a:avLst/>
                  </a:prstGeom>
                  <a:solidFill>
                    <a:srgbClr val="969696"/>
                  </a:solidFill>
                  <a:ln w="15875">
                    <a:noFill/>
                    <a:miter lim="800000"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ctr">
                      <a:lnSpc>
                        <a:spcPct val="90000"/>
                      </a:lnSpc>
                    </a:pPr>
                    <a:endParaRPr lang="en-US" dirty="0">
                      <a:solidFill>
                        <a:srgbClr val="FFFFFF"/>
                      </a:solidFill>
                      <a:latin typeface="Calibri"/>
                    </a:endParaRPr>
                  </a:p>
                </p:txBody>
              </p:sp>
              <p:sp>
                <p:nvSpPr>
                  <p:cNvPr id="58" name="Rectangle 57">
                    <a:extLst>
                      <a:ext uri="{FF2B5EF4-FFF2-40B4-BE49-F238E27FC236}">
                        <a16:creationId xmlns:a16="http://schemas.microsoft.com/office/drawing/2014/main" id="{2A03D5F6-51AB-47EF-A6D8-BAD13477366E}"/>
                      </a:ext>
                    </a:extLst>
                  </p:cNvPr>
                  <p:cNvSpPr/>
                  <p:nvPr/>
                </p:nvSpPr>
                <p:spPr>
                  <a:xfrm>
                    <a:off x="3649143" y="3852321"/>
                    <a:ext cx="457194" cy="203133"/>
                  </a:xfrm>
                  <a:prstGeom prst="rect">
                    <a:avLst/>
                  </a:prstGeom>
                </p:spPr>
                <p:txBody>
                  <a:bodyPr wrap="square">
                    <a:spAutoFit/>
                  </a:bodyPr>
                  <a:lstStyle/>
                  <a:p>
                    <a:pPr>
                      <a:lnSpc>
                        <a:spcPct val="90000"/>
                      </a:lnSpc>
                    </a:pPr>
                    <a:r>
                      <a:rPr lang="en-US" sz="800" dirty="0">
                        <a:solidFill>
                          <a:srgbClr val="58595B"/>
                        </a:solidFill>
                        <a:latin typeface="Calibri"/>
                      </a:rPr>
                      <a:t>|sec|</a:t>
                    </a:r>
                  </a:p>
                </p:txBody>
              </p:sp>
            </p:grpSp>
            <p:grpSp>
              <p:nvGrpSpPr>
                <p:cNvPr id="54" name="Group 59">
                  <a:extLst>
                    <a:ext uri="{FF2B5EF4-FFF2-40B4-BE49-F238E27FC236}">
                      <a16:creationId xmlns:a16="http://schemas.microsoft.com/office/drawing/2014/main" id="{E73F50F3-A786-4DE8-A66C-E5F8A9FF0CF0}"/>
                    </a:ext>
                  </a:extLst>
                </p:cNvPr>
                <p:cNvGrpSpPr/>
                <p:nvPr/>
              </p:nvGrpSpPr>
              <p:grpSpPr>
                <a:xfrm>
                  <a:off x="3798373" y="3443308"/>
                  <a:ext cx="457194" cy="402611"/>
                  <a:chOff x="3649143" y="3652843"/>
                  <a:chExt cx="457194" cy="402611"/>
                </a:xfrm>
              </p:grpSpPr>
              <p:sp>
                <p:nvSpPr>
                  <p:cNvPr id="55" name="Can 77">
                    <a:extLst>
                      <a:ext uri="{FF2B5EF4-FFF2-40B4-BE49-F238E27FC236}">
                        <a16:creationId xmlns:a16="http://schemas.microsoft.com/office/drawing/2014/main" id="{8DD58404-07C1-4C3B-B7FA-4B0E32C2C7D1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gray">
                  <a:xfrm rot="5400000">
                    <a:off x="3755988" y="3685280"/>
                    <a:ext cx="224561" cy="159687"/>
                  </a:xfrm>
                  <a:prstGeom prst="can">
                    <a:avLst/>
                  </a:prstGeom>
                  <a:solidFill>
                    <a:srgbClr val="969696"/>
                  </a:solidFill>
                  <a:ln w="15875">
                    <a:noFill/>
                    <a:miter lim="800000"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ctr">
                      <a:lnSpc>
                        <a:spcPct val="90000"/>
                      </a:lnSpc>
                    </a:pPr>
                    <a:endParaRPr lang="en-US" dirty="0">
                      <a:solidFill>
                        <a:srgbClr val="FFFFFF"/>
                      </a:solidFill>
                      <a:latin typeface="Calibri"/>
                    </a:endParaRPr>
                  </a:p>
                </p:txBody>
              </p:sp>
              <p:sp>
                <p:nvSpPr>
                  <p:cNvPr id="56" name="Rectangle 55">
                    <a:extLst>
                      <a:ext uri="{FF2B5EF4-FFF2-40B4-BE49-F238E27FC236}">
                        <a16:creationId xmlns:a16="http://schemas.microsoft.com/office/drawing/2014/main" id="{FF04FA79-DE61-48A0-858D-84E4269285BE}"/>
                      </a:ext>
                    </a:extLst>
                  </p:cNvPr>
                  <p:cNvSpPr/>
                  <p:nvPr/>
                </p:nvSpPr>
                <p:spPr>
                  <a:xfrm>
                    <a:off x="3649143" y="3852321"/>
                    <a:ext cx="457194" cy="203133"/>
                  </a:xfrm>
                  <a:prstGeom prst="rect">
                    <a:avLst/>
                  </a:prstGeom>
                </p:spPr>
                <p:txBody>
                  <a:bodyPr wrap="square">
                    <a:spAutoFit/>
                  </a:bodyPr>
                  <a:lstStyle/>
                  <a:p>
                    <a:pPr>
                      <a:lnSpc>
                        <a:spcPct val="90000"/>
                      </a:lnSpc>
                    </a:pPr>
                    <a:r>
                      <a:rPr lang="en-US" sz="800" dirty="0">
                        <a:solidFill>
                          <a:srgbClr val="58595B"/>
                        </a:solidFill>
                        <a:latin typeface="Calibri"/>
                      </a:rPr>
                      <a:t>|sec|</a:t>
                    </a:r>
                  </a:p>
                </p:txBody>
              </p:sp>
            </p:grpSp>
          </p:grpSp>
          <p:sp>
            <p:nvSpPr>
              <p:cNvPr id="50" name="Rectangle 49">
                <a:extLst>
                  <a:ext uri="{FF2B5EF4-FFF2-40B4-BE49-F238E27FC236}">
                    <a16:creationId xmlns:a16="http://schemas.microsoft.com/office/drawing/2014/main" id="{99FDA13C-26C3-426E-BE5A-BAB9C28983FB}"/>
                  </a:ext>
                </a:extLst>
              </p:cNvPr>
              <p:cNvSpPr/>
              <p:nvPr/>
            </p:nvSpPr>
            <p:spPr>
              <a:xfrm>
                <a:off x="3959228" y="3417231"/>
                <a:ext cx="485775" cy="244682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algn="ctr">
                  <a:lnSpc>
                    <a:spcPct val="90000"/>
                  </a:lnSpc>
                </a:pPr>
                <a:r>
                  <a:rPr lang="en-US" sz="1100" b="1" dirty="0">
                    <a:solidFill>
                      <a:srgbClr val="58595B"/>
                    </a:solidFill>
                    <a:latin typeface="Calibri"/>
                  </a:rPr>
                  <a:t>. . . </a:t>
                </a:r>
              </a:p>
            </p:txBody>
          </p:sp>
        </p:grpSp>
        <p:grpSp>
          <p:nvGrpSpPr>
            <p:cNvPr id="36" name="Group 143">
              <a:extLst>
                <a:ext uri="{FF2B5EF4-FFF2-40B4-BE49-F238E27FC236}">
                  <a16:creationId xmlns:a16="http://schemas.microsoft.com/office/drawing/2014/main" id="{C1E3EAE6-F103-4F27-8824-637CA3D1403F}"/>
                </a:ext>
              </a:extLst>
            </p:cNvPr>
            <p:cNvGrpSpPr/>
            <p:nvPr/>
          </p:nvGrpSpPr>
          <p:grpSpPr>
            <a:xfrm>
              <a:off x="3895735" y="5964120"/>
              <a:ext cx="4953001" cy="244682"/>
              <a:chOff x="1952624" y="2675339"/>
              <a:chExt cx="4953001" cy="244682"/>
            </a:xfrm>
          </p:grpSpPr>
          <p:sp>
            <p:nvSpPr>
              <p:cNvPr id="42" name="Rectangle 41">
                <a:extLst>
                  <a:ext uri="{FF2B5EF4-FFF2-40B4-BE49-F238E27FC236}">
                    <a16:creationId xmlns:a16="http://schemas.microsoft.com/office/drawing/2014/main" id="{FF160489-C1E1-4C5B-8831-8FEE8DA1A66F}"/>
                  </a:ext>
                </a:extLst>
              </p:cNvPr>
              <p:cNvSpPr/>
              <p:nvPr/>
            </p:nvSpPr>
            <p:spPr>
              <a:xfrm>
                <a:off x="4114799" y="2675339"/>
                <a:ext cx="714376" cy="244682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>
                  <a:lnSpc>
                    <a:spcPct val="90000"/>
                  </a:lnSpc>
                </a:pPr>
                <a:r>
                  <a:rPr lang="en-US" sz="1100" b="1" dirty="0">
                    <a:solidFill>
                      <a:srgbClr val="FFFFFF">
                        <a:lumMod val="50000"/>
                      </a:srgbClr>
                    </a:solidFill>
                    <a:latin typeface="Calibri"/>
                  </a:rPr>
                  <a:t>1 Month</a:t>
                </a:r>
              </a:p>
            </p:txBody>
          </p:sp>
          <p:grpSp>
            <p:nvGrpSpPr>
              <p:cNvPr id="43" name="Group 257">
                <a:extLst>
                  <a:ext uri="{FF2B5EF4-FFF2-40B4-BE49-F238E27FC236}">
                    <a16:creationId xmlns:a16="http://schemas.microsoft.com/office/drawing/2014/main" id="{11B15A56-B1DE-4EC8-AEA7-E418DCA1769E}"/>
                  </a:ext>
                </a:extLst>
              </p:cNvPr>
              <p:cNvGrpSpPr/>
              <p:nvPr/>
            </p:nvGrpSpPr>
            <p:grpSpPr>
              <a:xfrm>
                <a:off x="4972050" y="2695574"/>
                <a:ext cx="1933575" cy="216982"/>
                <a:chOff x="4648200" y="3086099"/>
                <a:chExt cx="1933575" cy="216982"/>
              </a:xfrm>
            </p:grpSpPr>
            <p:cxnSp>
              <p:nvCxnSpPr>
                <p:cNvPr id="47" name="Straight Arrow Connector 46">
                  <a:extLst>
                    <a:ext uri="{FF2B5EF4-FFF2-40B4-BE49-F238E27FC236}">
                      <a16:creationId xmlns:a16="http://schemas.microsoft.com/office/drawing/2014/main" id="{519D0F76-E649-43FC-BD55-3BB4D178DE3A}"/>
                    </a:ext>
                  </a:extLst>
                </p:cNvPr>
                <p:cNvCxnSpPr>
                  <a:cxnSpLocks noChangeAspect="1"/>
                </p:cNvCxnSpPr>
                <p:nvPr/>
              </p:nvCxnSpPr>
              <p:spPr>
                <a:xfrm flipV="1">
                  <a:off x="4648200" y="3190865"/>
                  <a:ext cx="1828800" cy="20"/>
                </a:xfrm>
                <a:prstGeom prst="straightConnector1">
                  <a:avLst/>
                </a:prstGeom>
                <a:ln w="6350">
                  <a:solidFill>
                    <a:schemeClr val="bg1">
                      <a:lumMod val="65000"/>
                    </a:schemeClr>
                  </a:solidFill>
                  <a:prstDash val="sysDash"/>
                  <a:miter lim="800000"/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48" name="Rectangle 47">
                  <a:extLst>
                    <a:ext uri="{FF2B5EF4-FFF2-40B4-BE49-F238E27FC236}">
                      <a16:creationId xmlns:a16="http://schemas.microsoft.com/office/drawing/2014/main" id="{51BDC35B-97C4-4C45-9ED2-6C414EF8D832}"/>
                    </a:ext>
                  </a:extLst>
                </p:cNvPr>
                <p:cNvSpPr/>
                <p:nvPr/>
              </p:nvSpPr>
              <p:spPr>
                <a:xfrm>
                  <a:off x="6400799" y="3086099"/>
                  <a:ext cx="180976" cy="216982"/>
                </a:xfrm>
                <a:prstGeom prst="rect">
                  <a:avLst/>
                </a:prstGeom>
              </p:spPr>
              <p:txBody>
                <a:bodyPr wrap="square">
                  <a:spAutoFit/>
                </a:bodyPr>
                <a:lstStyle/>
                <a:p>
                  <a:pPr>
                    <a:lnSpc>
                      <a:spcPct val="90000"/>
                    </a:lnSpc>
                  </a:pPr>
                  <a:r>
                    <a:rPr lang="en-US" sz="900" dirty="0">
                      <a:solidFill>
                        <a:srgbClr val="FFFFFF">
                          <a:lumMod val="50000"/>
                        </a:srgbClr>
                      </a:solidFill>
                      <a:latin typeface="Calibri"/>
                    </a:rPr>
                    <a:t>|</a:t>
                  </a:r>
                </a:p>
              </p:txBody>
            </p:sp>
          </p:grpSp>
          <p:grpSp>
            <p:nvGrpSpPr>
              <p:cNvPr id="44" name="Group 258">
                <a:extLst>
                  <a:ext uri="{FF2B5EF4-FFF2-40B4-BE49-F238E27FC236}">
                    <a16:creationId xmlns:a16="http://schemas.microsoft.com/office/drawing/2014/main" id="{28D7CF9F-DF55-4873-9F4D-FA08A888831F}"/>
                  </a:ext>
                </a:extLst>
              </p:cNvPr>
              <p:cNvGrpSpPr/>
              <p:nvPr/>
            </p:nvGrpSpPr>
            <p:grpSpPr>
              <a:xfrm>
                <a:off x="1952624" y="2695574"/>
                <a:ext cx="1971676" cy="216982"/>
                <a:chOff x="1904999" y="3086099"/>
                <a:chExt cx="1971676" cy="216982"/>
              </a:xfrm>
            </p:grpSpPr>
            <p:cxnSp>
              <p:nvCxnSpPr>
                <p:cNvPr id="45" name="Straight Arrow Connector 44">
                  <a:extLst>
                    <a:ext uri="{FF2B5EF4-FFF2-40B4-BE49-F238E27FC236}">
                      <a16:creationId xmlns:a16="http://schemas.microsoft.com/office/drawing/2014/main" id="{07FE47C9-7CA6-4FEA-981E-95E7C2E472B6}"/>
                    </a:ext>
                  </a:extLst>
                </p:cNvPr>
                <p:cNvCxnSpPr>
                  <a:cxnSpLocks noChangeAspect="1"/>
                </p:cNvCxnSpPr>
                <p:nvPr/>
              </p:nvCxnSpPr>
              <p:spPr>
                <a:xfrm flipH="1" flipV="1">
                  <a:off x="2047875" y="3190865"/>
                  <a:ext cx="1828800" cy="20"/>
                </a:xfrm>
                <a:prstGeom prst="straightConnector1">
                  <a:avLst/>
                </a:prstGeom>
                <a:ln w="6350">
                  <a:solidFill>
                    <a:schemeClr val="bg1">
                      <a:lumMod val="65000"/>
                    </a:schemeClr>
                  </a:solidFill>
                  <a:prstDash val="sysDash"/>
                  <a:miter lim="800000"/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46" name="Rectangle 45">
                  <a:extLst>
                    <a:ext uri="{FF2B5EF4-FFF2-40B4-BE49-F238E27FC236}">
                      <a16:creationId xmlns:a16="http://schemas.microsoft.com/office/drawing/2014/main" id="{90341250-6455-4B8C-9CFF-FBACC1242C30}"/>
                    </a:ext>
                  </a:extLst>
                </p:cNvPr>
                <p:cNvSpPr/>
                <p:nvPr/>
              </p:nvSpPr>
              <p:spPr>
                <a:xfrm>
                  <a:off x="1904999" y="3086099"/>
                  <a:ext cx="180976" cy="216982"/>
                </a:xfrm>
                <a:prstGeom prst="rect">
                  <a:avLst/>
                </a:prstGeom>
              </p:spPr>
              <p:txBody>
                <a:bodyPr wrap="square">
                  <a:spAutoFit/>
                </a:bodyPr>
                <a:lstStyle/>
                <a:p>
                  <a:pPr>
                    <a:lnSpc>
                      <a:spcPct val="90000"/>
                    </a:lnSpc>
                  </a:pPr>
                  <a:r>
                    <a:rPr lang="en-US" sz="900" dirty="0">
                      <a:solidFill>
                        <a:srgbClr val="FFFFFF">
                          <a:lumMod val="50000"/>
                        </a:srgbClr>
                      </a:solidFill>
                      <a:latin typeface="Calibri"/>
                    </a:rPr>
                    <a:t>|</a:t>
                  </a:r>
                </a:p>
              </p:txBody>
            </p:sp>
          </p:grpSp>
        </p:grpSp>
        <p:grpSp>
          <p:nvGrpSpPr>
            <p:cNvPr id="37" name="Group 140">
              <a:extLst>
                <a:ext uri="{FF2B5EF4-FFF2-40B4-BE49-F238E27FC236}">
                  <a16:creationId xmlns:a16="http://schemas.microsoft.com/office/drawing/2014/main" id="{BA20830E-F69E-4C6D-AC0A-5B7A3B1B0162}"/>
                </a:ext>
              </a:extLst>
            </p:cNvPr>
            <p:cNvGrpSpPr/>
            <p:nvPr/>
          </p:nvGrpSpPr>
          <p:grpSpPr>
            <a:xfrm>
              <a:off x="5792354" y="5225819"/>
              <a:ext cx="2662649" cy="258532"/>
              <a:chOff x="3430143" y="1813213"/>
              <a:chExt cx="2662649" cy="258532"/>
            </a:xfrm>
          </p:grpSpPr>
          <p:sp>
            <p:nvSpPr>
              <p:cNvPr id="40" name="Rectangle 39">
                <a:extLst>
                  <a:ext uri="{FF2B5EF4-FFF2-40B4-BE49-F238E27FC236}">
                    <a16:creationId xmlns:a16="http://schemas.microsoft.com/office/drawing/2014/main" id="{38EC95A9-D77E-45EF-97CE-08DD2BD835BF}"/>
                  </a:ext>
                </a:extLst>
              </p:cNvPr>
              <p:cNvSpPr/>
              <p:nvPr/>
            </p:nvSpPr>
            <p:spPr>
              <a:xfrm>
                <a:off x="3778216" y="1817989"/>
                <a:ext cx="2314576" cy="244682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algn="ctr">
                  <a:lnSpc>
                    <a:spcPct val="90000"/>
                  </a:lnSpc>
                </a:pPr>
                <a:r>
                  <a:rPr lang="en-US" sz="1100" b="1" dirty="0">
                    <a:solidFill>
                      <a:srgbClr val="58595B"/>
                    </a:solidFill>
                    <a:latin typeface="Calibri"/>
                  </a:rPr>
                  <a:t>Throughput of 1 KB /second</a:t>
                </a:r>
              </a:p>
            </p:txBody>
          </p:sp>
          <p:sp>
            <p:nvSpPr>
              <p:cNvPr id="41" name="Rectangle 40">
                <a:extLst>
                  <a:ext uri="{FF2B5EF4-FFF2-40B4-BE49-F238E27FC236}">
                    <a16:creationId xmlns:a16="http://schemas.microsoft.com/office/drawing/2014/main" id="{997561A7-99B1-49E9-949C-813EED99681B}"/>
                  </a:ext>
                </a:extLst>
              </p:cNvPr>
              <p:cNvSpPr/>
              <p:nvPr/>
            </p:nvSpPr>
            <p:spPr>
              <a:xfrm>
                <a:off x="3430143" y="1813213"/>
                <a:ext cx="738197" cy="258532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>
                  <a:lnSpc>
                    <a:spcPct val="90000"/>
                  </a:lnSpc>
                </a:pPr>
                <a:r>
                  <a:rPr lang="en-US" sz="1200" b="1" dirty="0">
                    <a:solidFill>
                      <a:schemeClr val="bg2">
                        <a:lumMod val="50000"/>
                      </a:schemeClr>
                    </a:solidFill>
                    <a:latin typeface="Calibri"/>
                  </a:rPr>
                  <a:t>METRIC:</a:t>
                </a:r>
              </a:p>
            </p:txBody>
          </p:sp>
        </p:grpSp>
        <p:sp>
          <p:nvSpPr>
            <p:cNvPr id="38" name="Rectangle 37">
              <a:extLst>
                <a:ext uri="{FF2B5EF4-FFF2-40B4-BE49-F238E27FC236}">
                  <a16:creationId xmlns:a16="http://schemas.microsoft.com/office/drawing/2014/main" id="{C5D0BC69-9C2E-4862-BE5E-D5B7AA9DEF2D}"/>
                </a:ext>
              </a:extLst>
            </p:cNvPr>
            <p:cNvSpPr/>
            <p:nvPr/>
          </p:nvSpPr>
          <p:spPr>
            <a:xfrm>
              <a:off x="3893634" y="5378992"/>
              <a:ext cx="457194" cy="203133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>
                <a:lnSpc>
                  <a:spcPct val="90000"/>
                </a:lnSpc>
              </a:pPr>
              <a:r>
                <a:rPr lang="en-US" sz="800" dirty="0">
                  <a:solidFill>
                    <a:srgbClr val="58595B"/>
                  </a:solidFill>
                  <a:latin typeface="Calibri"/>
                </a:rPr>
                <a:t>|1 KB|</a:t>
              </a:r>
            </a:p>
          </p:txBody>
        </p:sp>
        <p:sp>
          <p:nvSpPr>
            <p:cNvPr id="39" name="Rectangle 38">
              <a:extLst>
                <a:ext uri="{FF2B5EF4-FFF2-40B4-BE49-F238E27FC236}">
                  <a16:creationId xmlns:a16="http://schemas.microsoft.com/office/drawing/2014/main" id="{D850FDD0-D692-4B68-B0F2-0061210E1211}"/>
                </a:ext>
              </a:extLst>
            </p:cNvPr>
            <p:cNvSpPr/>
            <p:nvPr/>
          </p:nvSpPr>
          <p:spPr>
            <a:xfrm>
              <a:off x="7378714" y="5743987"/>
              <a:ext cx="485775" cy="24468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>
                <a:lnSpc>
                  <a:spcPct val="90000"/>
                </a:lnSpc>
              </a:pPr>
              <a:r>
                <a:rPr lang="en-US" sz="1100" b="1" dirty="0">
                  <a:solidFill>
                    <a:srgbClr val="58595B"/>
                  </a:solidFill>
                  <a:latin typeface="Calibri"/>
                </a:rPr>
                <a:t>. . . </a:t>
              </a:r>
            </a:p>
          </p:txBody>
        </p: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09168D11-73A1-446C-872C-F5BBDB04041C}"/>
              </a:ext>
            </a:extLst>
          </p:cNvPr>
          <p:cNvSpPr txBox="1"/>
          <p:nvPr/>
        </p:nvSpPr>
        <p:spPr>
          <a:xfrm>
            <a:off x="7744408" y="5271794"/>
            <a:ext cx="3533340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Period of a month</a:t>
            </a:r>
          </a:p>
          <a:p>
            <a:r>
              <a:rPr lang="en-US" dirty="0"/>
              <a:t>=3600 KB/</a:t>
            </a:r>
            <a:r>
              <a:rPr lang="en-US" dirty="0" err="1"/>
              <a:t>Hr</a:t>
            </a:r>
            <a:r>
              <a:rPr lang="en-US" dirty="0"/>
              <a:t>*744 </a:t>
            </a:r>
            <a:r>
              <a:rPr lang="en-US" dirty="0" err="1"/>
              <a:t>Hr</a:t>
            </a:r>
            <a:endParaRPr lang="en-US" dirty="0"/>
          </a:p>
          <a:p>
            <a:r>
              <a:rPr lang="en-US" dirty="0"/>
              <a:t>=2.67 million (writes/reads) KBs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608703" y="6372462"/>
            <a:ext cx="578563" cy="365125"/>
          </a:xfrm>
        </p:spPr>
        <p:txBody>
          <a:bodyPr/>
          <a:lstStyle/>
          <a:p>
            <a:fld id="{D440507A-669E-A943-A4A7-E531D638091A}" type="slidenum">
              <a:rPr lang="en-US" smtClean="0">
                <a:solidFill>
                  <a:srgbClr val="4E3629">
                    <a:tint val="75000"/>
                  </a:srgbClr>
                </a:solidFill>
              </a:rPr>
              <a:pPr/>
              <a:t>52</a:t>
            </a:fld>
            <a:endParaRPr lang="en-US" dirty="0">
              <a:solidFill>
                <a:srgbClr val="4E3629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774613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12558032" y="711201"/>
            <a:ext cx="116114" cy="16660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90000"/>
              </a:lnSpc>
              <a:defRPr/>
            </a:pPr>
            <a:endParaRPr lang="en-US" dirty="0">
              <a:solidFill>
                <a:srgbClr val="4E3629"/>
              </a:solidFill>
              <a:latin typeface="Calibri" panose="020F0502020204030204"/>
            </a:endParaRP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0D732F92-73E1-4D6E-A1B0-404A5CEE644F}"/>
              </a:ext>
            </a:extLst>
          </p:cNvPr>
          <p:cNvSpPr txBox="1">
            <a:spLocks/>
          </p:cNvSpPr>
          <p:nvPr/>
        </p:nvSpPr>
        <p:spPr>
          <a:xfrm>
            <a:off x="608703" y="298825"/>
            <a:ext cx="11125200" cy="475727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defPPr>
              <a:defRPr lang="en-US"/>
            </a:defPPr>
            <a:lvl1pPr>
              <a:lnSpc>
                <a:spcPct val="80000"/>
              </a:lnSpc>
              <a:spcBef>
                <a:spcPct val="0"/>
              </a:spcBef>
              <a:buNone/>
              <a:defRPr sz="2400" b="1" i="0" baseline="0">
                <a:cs typeface="Arial" charset="0"/>
              </a:defRPr>
            </a:lvl1pPr>
          </a:lstStyle>
          <a:p>
            <a:r>
              <a:rPr lang="en-US" dirty="0"/>
              <a:t>Oracle NoSQL Database Cloud Service – Capacity  </a:t>
            </a:r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75B65E-8071-4268-AB37-8C73D1F364A4}"/>
              </a:ext>
            </a:extLst>
          </p:cNvPr>
          <p:cNvSpPr txBox="1">
            <a:spLocks/>
          </p:cNvSpPr>
          <p:nvPr/>
        </p:nvSpPr>
        <p:spPr>
          <a:xfrm>
            <a:off x="617974" y="774552"/>
            <a:ext cx="11125199" cy="343299"/>
          </a:xfrm>
          <a:prstGeom prst="rect">
            <a:avLst/>
          </a:prstGeom>
          <a:noFill/>
        </p:spPr>
        <p:txBody>
          <a:bodyPr vert="horz" lIns="0" tIns="0" rIns="0" bIns="0" rtlCol="0">
            <a:noAutofit/>
          </a:bodyPr>
          <a:lstStyle>
            <a:defPPr>
              <a:defRPr lang="en-US"/>
            </a:defPPr>
            <a:lvl1pPr marR="0" indent="0" fontAlgn="auto">
              <a:lnSpc>
                <a:spcPct val="95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 sz="2000" b="0" i="0">
                <a:latin typeface="Oracle Sans Tab" panose="020B0503020204020204" pitchFamily="34" charset="0"/>
                <a:cs typeface="Oracle Sans Tab" panose="020B0503020204020204" pitchFamily="34" charset="0"/>
              </a:defRPr>
            </a:lvl1pPr>
            <a:lvl2pPr marL="365760" marR="0" indent="-182880" fontAlgn="auto">
              <a:lnSpc>
                <a:spcPct val="95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 b="0" i="0">
                <a:cs typeface="Oracle Sans Tab" panose="020B0503020204020204" pitchFamily="34" charset="0"/>
              </a:defRPr>
            </a:lvl2pPr>
            <a:lvl3pPr marL="547688" marR="0" indent="-182563" fontAlgn="auto">
              <a:lnSpc>
                <a:spcPct val="95000"/>
              </a:lnSpc>
              <a:spcBef>
                <a:spcPts val="4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 sz="1600">
                <a:latin typeface="Oracle Sans Tab Light" panose="020B0403020204020204" pitchFamily="34" charset="0"/>
                <a:cs typeface="Oracle Sans Tab Light" panose="020B0403020204020204" pitchFamily="34" charset="0"/>
              </a:defRPr>
            </a:lvl3pPr>
            <a:lvl4pPr marL="730250" marR="0" indent="-182563" fontAlgn="auto">
              <a:lnSpc>
                <a:spcPct val="95000"/>
              </a:lnSpc>
              <a:spcBef>
                <a:spcPts val="4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 sz="1400">
                <a:latin typeface="Oracle Sans Tab Light" panose="020B0403020204020204" pitchFamily="34" charset="0"/>
                <a:cs typeface="Oracle Sans Tab Light" panose="020B0403020204020204" pitchFamily="34" charset="0"/>
              </a:defRPr>
            </a:lvl4pPr>
            <a:lvl5pPr marL="914400" marR="0" indent="-182880" fontAlgn="auto">
              <a:lnSpc>
                <a:spcPct val="95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 typeface="System Font Regular"/>
              <a:buChar char="•"/>
              <a:tabLst/>
              <a:defRPr sz="1200">
                <a:latin typeface="Oracle Sans Tab Light" panose="020B0403020204020204" pitchFamily="34" charset="0"/>
                <a:cs typeface="Oracle Sans Tab Light" panose="020B0403020204020204" pitchFamily="34" charset="0"/>
              </a:defRPr>
            </a:lvl5pPr>
            <a:lvl6pPr marL="1097280" indent="-182880">
              <a:lnSpc>
                <a:spcPct val="95000"/>
              </a:lnSpc>
              <a:spcBef>
                <a:spcPts val="40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200" b="0" i="0">
                <a:latin typeface="Oracle Sans Light" panose="020B0403020204020204" pitchFamily="34" charset="0"/>
                <a:cs typeface="Oracle Sans Light" panose="020B0403020204020204" pitchFamily="34" charset="0"/>
              </a:defRPr>
            </a:lvl6pPr>
            <a:lvl7pPr marL="1280160" indent="-182880">
              <a:lnSpc>
                <a:spcPct val="95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b="0" i="0">
                <a:latin typeface="Oracle Sans Light" panose="020B0403020204020204" pitchFamily="34" charset="0"/>
                <a:cs typeface="Oracle Sans Light" panose="020B0403020204020204" pitchFamily="34" charset="0"/>
              </a:defRPr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r>
              <a:rPr lang="en-US" altLang="ja-JP" dirty="0"/>
              <a:t>Provisioned capacity vs. on-demand capacity</a:t>
            </a:r>
          </a:p>
          <a:p>
            <a:endParaRPr lang="en-US" dirty="0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4BD3F1B2-A166-4D7B-89A4-067473A3492B}"/>
              </a:ext>
            </a:extLst>
          </p:cNvPr>
          <p:cNvCxnSpPr/>
          <p:nvPr/>
        </p:nvCxnSpPr>
        <p:spPr>
          <a:xfrm>
            <a:off x="6107508" y="2130061"/>
            <a:ext cx="4" cy="3383280"/>
          </a:xfrm>
          <a:prstGeom prst="line">
            <a:avLst/>
          </a:prstGeom>
          <a:ln w="6350">
            <a:solidFill>
              <a:srgbClr val="2C5967"/>
            </a:solidFill>
            <a:prstDash val="solid"/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Content Placeholder 5">
            <a:extLst>
              <a:ext uri="{FF2B5EF4-FFF2-40B4-BE49-F238E27FC236}">
                <a16:creationId xmlns:a16="http://schemas.microsoft.com/office/drawing/2014/main" id="{4602ECA5-17C3-4C05-A267-D892C1049F87}"/>
              </a:ext>
            </a:extLst>
          </p:cNvPr>
          <p:cNvSpPr txBox="1">
            <a:spLocks/>
          </p:cNvSpPr>
          <p:nvPr/>
        </p:nvSpPr>
        <p:spPr>
          <a:xfrm>
            <a:off x="6948185" y="1669366"/>
            <a:ext cx="3657600" cy="38503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defPPr>
              <a:defRPr lang="en-US"/>
            </a:defPPr>
            <a:lvl1pPr indent="0">
              <a:lnSpc>
                <a:spcPct val="90000"/>
              </a:lnSpc>
              <a:spcBef>
                <a:spcPts val="1200"/>
              </a:spcBef>
              <a:buClr>
                <a:srgbClr val="4E3629">
                  <a:lumMod val="60000"/>
                  <a:lumOff val="40000"/>
                </a:srgbClr>
              </a:buClr>
              <a:buFont typeface="Arial" panose="020B0604020202020204" pitchFamily="34" charset="0"/>
              <a:buNone/>
              <a:defRPr sz="2800">
                <a:solidFill>
                  <a:schemeClr val="bg2">
                    <a:lumMod val="50000"/>
                  </a:schemeClr>
                </a:solidFill>
              </a:defRPr>
            </a:lvl1pPr>
            <a:lvl2pPr marL="502920" indent="-228600">
              <a:lnSpc>
                <a:spcPct val="90000"/>
              </a:lnSpc>
              <a:spcBef>
                <a:spcPts val="800"/>
              </a:spcBef>
              <a:buClr>
                <a:schemeClr val="tx1">
                  <a:lumMod val="60000"/>
                  <a:lumOff val="40000"/>
                </a:schemeClr>
              </a:buClr>
              <a:buFont typeface="Arial" panose="020B0604020202020204" pitchFamily="34" charset="0"/>
              <a:buChar char="–"/>
              <a:defRPr sz="2400"/>
            </a:lvl2pPr>
            <a:lvl3pPr marL="731520" indent="-182880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Font typeface="Arial" panose="020B0604020202020204" pitchFamily="34" charset="0"/>
              <a:buChar char="•"/>
              <a:defRPr sz="2000"/>
            </a:lvl3pPr>
            <a:lvl4pPr marL="960120" indent="-182880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Font typeface="Arial" panose="020B0604020202020204" pitchFamily="34" charset="0"/>
              <a:buChar char="–"/>
            </a:lvl4pPr>
            <a:lvl5pPr marL="1188720" indent="-182880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Font typeface="Arial" panose="020B0604020202020204" pitchFamily="34" charset="0"/>
              <a:buChar char="•"/>
              <a:defRPr sz="1600"/>
            </a:lvl5pPr>
            <a:lvl6pPr marL="1417320" indent="-182880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Font typeface="Arial" panose="020B0604020202020204" pitchFamily="34" charset="0"/>
              <a:buChar char="–"/>
              <a:defRPr sz="1600"/>
            </a:lvl6pPr>
            <a:lvl7pPr marL="1645920" indent="-182880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Font typeface="Arial" panose="020B0604020202020204" pitchFamily="34" charset="0"/>
              <a:buChar char="•"/>
              <a:defRPr sz="1600"/>
            </a:lvl7pPr>
            <a:lvl8pPr marL="1874520" indent="-182880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Font typeface="Arial" panose="020B0604020202020204" pitchFamily="34" charset="0"/>
              <a:buChar char="–"/>
              <a:defRPr sz="1600"/>
            </a:lvl8pPr>
            <a:lvl9pPr marL="2103120" indent="-182880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Font typeface="Arial" panose="020B0604020202020204" pitchFamily="34" charset="0"/>
              <a:buChar char="•"/>
              <a:defRPr sz="1600"/>
            </a:lvl9pPr>
          </a:lstStyle>
          <a:p>
            <a:r>
              <a:rPr lang="en-US" sz="2400" b="1" dirty="0">
                <a:solidFill>
                  <a:srgbClr val="2C5967"/>
                </a:solidFill>
              </a:rPr>
              <a:t>On-Demand Capacity</a:t>
            </a:r>
          </a:p>
        </p:txBody>
      </p:sp>
      <p:sp>
        <p:nvSpPr>
          <p:cNvPr id="11" name="Content Placeholder 5">
            <a:extLst>
              <a:ext uri="{FF2B5EF4-FFF2-40B4-BE49-F238E27FC236}">
                <a16:creationId xmlns:a16="http://schemas.microsoft.com/office/drawing/2014/main" id="{94DA9E0A-00F7-43E6-A4B9-572945BD0141}"/>
              </a:ext>
            </a:extLst>
          </p:cNvPr>
          <p:cNvSpPr txBox="1">
            <a:spLocks/>
          </p:cNvSpPr>
          <p:nvPr/>
        </p:nvSpPr>
        <p:spPr>
          <a:xfrm>
            <a:off x="1102001" y="1584877"/>
            <a:ext cx="3792354" cy="38503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Clr>
                <a:schemeClr val="tx1">
                  <a:lumMod val="60000"/>
                  <a:lumOff val="40000"/>
                </a:schemeClr>
              </a:buClr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2920" indent="-22860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tx1">
                  <a:lumMod val="60000"/>
                  <a:lumOff val="40000"/>
                </a:schemeClr>
              </a:buClr>
              <a:buFont typeface="Arial" panose="020B0604020202020204" pitchFamily="34" charset="0"/>
              <a:buChar char="–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315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601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887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4173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6459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8745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1031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Clr>
                <a:srgbClr val="4E3629">
                  <a:lumMod val="60000"/>
                  <a:lumOff val="40000"/>
                </a:srgbClr>
              </a:buClr>
              <a:buNone/>
              <a:defRPr/>
            </a:pPr>
            <a:r>
              <a:rPr lang="en-US" sz="2400" b="1" dirty="0">
                <a:solidFill>
                  <a:srgbClr val="2C5967"/>
                </a:solidFill>
              </a:rPr>
              <a:t>Provisioned Capacity</a:t>
            </a:r>
          </a:p>
        </p:txBody>
      </p:sp>
      <p:sp>
        <p:nvSpPr>
          <p:cNvPr id="14" name="Content Placeholder 5">
            <a:extLst>
              <a:ext uri="{FF2B5EF4-FFF2-40B4-BE49-F238E27FC236}">
                <a16:creationId xmlns:a16="http://schemas.microsoft.com/office/drawing/2014/main" id="{D336476F-FCB5-4D13-A5C8-0E93A0C31CE1}"/>
              </a:ext>
            </a:extLst>
          </p:cNvPr>
          <p:cNvSpPr txBox="1">
            <a:spLocks/>
          </p:cNvSpPr>
          <p:nvPr/>
        </p:nvSpPr>
        <p:spPr>
          <a:xfrm>
            <a:off x="532043" y="2560504"/>
            <a:ext cx="5250379" cy="279974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Clr>
                <a:schemeClr val="tx1">
                  <a:lumMod val="60000"/>
                  <a:lumOff val="40000"/>
                </a:schemeClr>
              </a:buClr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2920" indent="-22860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tx1">
                  <a:lumMod val="60000"/>
                  <a:lumOff val="40000"/>
                </a:schemeClr>
              </a:buClr>
              <a:buFont typeface="Arial" panose="020B0604020202020204" pitchFamily="34" charset="0"/>
              <a:buChar char="–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315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601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887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4173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6459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8745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1031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rgbClr val="4E3629">
                  <a:lumMod val="60000"/>
                  <a:lumOff val="40000"/>
                </a:srgbClr>
              </a:buClr>
              <a:defRPr/>
            </a:pPr>
            <a:r>
              <a:rPr lang="en-US" sz="2000" dirty="0">
                <a:latin typeface="Oracle Sans" panose="020B0503020204020204" pitchFamily="34" charset="0"/>
                <a:cs typeface="Oracle Sans" panose="020B0503020204020204" pitchFamily="34" charset="0"/>
              </a:rPr>
              <a:t>Must determine read/write units in advance</a:t>
            </a:r>
          </a:p>
          <a:p>
            <a:pPr>
              <a:buClr>
                <a:srgbClr val="4E3629">
                  <a:lumMod val="60000"/>
                  <a:lumOff val="40000"/>
                </a:srgbClr>
              </a:buClr>
              <a:defRPr/>
            </a:pPr>
            <a:r>
              <a:rPr lang="en-US" sz="2000" dirty="0">
                <a:latin typeface="Oracle Sans" panose="020B0503020204020204" pitchFamily="34" charset="0"/>
                <a:cs typeface="Oracle Sans" panose="020B0503020204020204" pitchFamily="34" charset="0"/>
              </a:rPr>
              <a:t>Adjustments done via API or console</a:t>
            </a:r>
          </a:p>
          <a:p>
            <a:pPr>
              <a:buClr>
                <a:srgbClr val="4E3629">
                  <a:lumMod val="60000"/>
                  <a:lumOff val="40000"/>
                </a:srgbClr>
              </a:buClr>
              <a:defRPr/>
            </a:pPr>
            <a:r>
              <a:rPr lang="en-US" sz="2000" dirty="0">
                <a:latin typeface="Oracle Sans" panose="020B0503020204020204" pitchFamily="34" charset="0"/>
                <a:cs typeface="Oracle Sans" panose="020B0503020204020204" pitchFamily="34" charset="0"/>
              </a:rPr>
              <a:t>Increasing unlimited</a:t>
            </a:r>
          </a:p>
          <a:p>
            <a:pPr>
              <a:buClr>
                <a:srgbClr val="4E3629">
                  <a:lumMod val="60000"/>
                  <a:lumOff val="40000"/>
                </a:srgbClr>
              </a:buClr>
              <a:defRPr/>
            </a:pPr>
            <a:r>
              <a:rPr lang="en-US" sz="2000" dirty="0">
                <a:latin typeface="Oracle Sans" panose="020B0503020204020204" pitchFamily="34" charset="0"/>
                <a:cs typeface="Oracle Sans" panose="020B0503020204020204" pitchFamily="34" charset="0"/>
              </a:rPr>
              <a:t>Decreases limited to 4 per day</a:t>
            </a:r>
          </a:p>
          <a:p>
            <a:pPr>
              <a:buClr>
                <a:srgbClr val="4E3629">
                  <a:lumMod val="60000"/>
                  <a:lumOff val="40000"/>
                </a:srgbClr>
              </a:buClr>
              <a:defRPr/>
            </a:pPr>
            <a:r>
              <a:rPr lang="en-US" sz="2000" dirty="0">
                <a:latin typeface="Oracle Sans" panose="020B0503020204020204" pitchFamily="34" charset="0"/>
                <a:cs typeface="Oracle Sans" panose="020B0503020204020204" pitchFamily="34" charset="0"/>
              </a:rPr>
              <a:t>Pay for what you provision</a:t>
            </a:r>
          </a:p>
          <a:p>
            <a:pPr>
              <a:buClr>
                <a:srgbClr val="4E3629">
                  <a:lumMod val="60000"/>
                  <a:lumOff val="40000"/>
                </a:srgbClr>
              </a:buClr>
              <a:defRPr/>
            </a:pPr>
            <a:r>
              <a:rPr lang="en-US" sz="2000" dirty="0">
                <a:latin typeface="Oracle Sans" panose="020B0503020204020204" pitchFamily="34" charset="0"/>
                <a:cs typeface="Oracle Sans" panose="020B0503020204020204" pitchFamily="34" charset="0"/>
              </a:rPr>
              <a:t>Deep understanding of workload needed</a:t>
            </a:r>
          </a:p>
          <a:p>
            <a:pPr marL="548640" lvl="2" indent="0">
              <a:buClr>
                <a:srgbClr val="4E3629">
                  <a:lumMod val="60000"/>
                  <a:lumOff val="40000"/>
                </a:srgbClr>
              </a:buClr>
              <a:buNone/>
              <a:defRPr/>
            </a:pPr>
            <a:endParaRPr lang="en-US" dirty="0">
              <a:solidFill>
                <a:srgbClr val="4E3629"/>
              </a:solidFill>
              <a:latin typeface="Calibri" panose="020F0502020204030204"/>
            </a:endParaRPr>
          </a:p>
        </p:txBody>
      </p:sp>
      <p:sp>
        <p:nvSpPr>
          <p:cNvPr id="15" name="Content Placeholder 5">
            <a:extLst>
              <a:ext uri="{FF2B5EF4-FFF2-40B4-BE49-F238E27FC236}">
                <a16:creationId xmlns:a16="http://schemas.microsoft.com/office/drawing/2014/main" id="{E2DA1899-0ED7-42A3-BFE0-FCE42866334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432598" y="2560504"/>
            <a:ext cx="5215681" cy="2799748"/>
          </a:xfrm>
        </p:spPr>
        <p:txBody>
          <a:bodyPr vert="horz" lIns="0" tIns="0" rIns="0" bIns="0" rtlCol="0">
            <a:noAutofit/>
          </a:bodyPr>
          <a:lstStyle/>
          <a:p>
            <a:pPr marL="228600" indent="-228600">
              <a:spcBef>
                <a:spcPts val="1200"/>
              </a:spcBef>
              <a:buClr>
                <a:schemeClr val="tx1">
                  <a:lumMod val="60000"/>
                  <a:lumOff val="40000"/>
                </a:schemeClr>
              </a:buClr>
            </a:pPr>
            <a:r>
              <a:rPr lang="en-US" sz="2000" dirty="0">
                <a:latin typeface="Oracle Sans" panose="020B0503020204020204" pitchFamily="34" charset="0"/>
                <a:cs typeface="Oracle Sans" panose="020B0503020204020204" pitchFamily="34" charset="0"/>
              </a:rPr>
              <a:t>Automatic scaling</a:t>
            </a:r>
          </a:p>
          <a:p>
            <a:pPr marL="228600" indent="-228600">
              <a:spcBef>
                <a:spcPts val="1200"/>
              </a:spcBef>
              <a:buClr>
                <a:schemeClr val="tx1">
                  <a:lumMod val="60000"/>
                  <a:lumOff val="40000"/>
                </a:schemeClr>
              </a:buClr>
            </a:pPr>
            <a:r>
              <a:rPr lang="en-US" sz="2000" dirty="0">
                <a:latin typeface="Oracle Sans" panose="020B0503020204020204" pitchFamily="34" charset="0"/>
                <a:cs typeface="Oracle Sans" panose="020B0503020204020204" pitchFamily="34" charset="0"/>
              </a:rPr>
              <a:t>No rate limiting in your application</a:t>
            </a:r>
          </a:p>
          <a:p>
            <a:pPr marL="228600" indent="-228600">
              <a:spcBef>
                <a:spcPts val="1200"/>
              </a:spcBef>
              <a:buClr>
                <a:schemeClr val="tx1">
                  <a:lumMod val="60000"/>
                  <a:lumOff val="40000"/>
                </a:schemeClr>
              </a:buClr>
            </a:pPr>
            <a:r>
              <a:rPr lang="en-US" sz="2000" dirty="0">
                <a:latin typeface="Oracle Sans" panose="020B0503020204020204" pitchFamily="34" charset="0"/>
                <a:cs typeface="Oracle Sans" panose="020B0503020204020204" pitchFamily="34" charset="0"/>
              </a:rPr>
              <a:t>No workload characterization</a:t>
            </a:r>
          </a:p>
          <a:p>
            <a:pPr marL="228600" indent="-228600">
              <a:spcBef>
                <a:spcPts val="1200"/>
              </a:spcBef>
              <a:buClr>
                <a:schemeClr val="tx1">
                  <a:lumMod val="60000"/>
                  <a:lumOff val="40000"/>
                </a:schemeClr>
              </a:buClr>
            </a:pPr>
            <a:r>
              <a:rPr lang="en-US" sz="2000" dirty="0">
                <a:latin typeface="Oracle Sans" panose="020B0503020204020204" pitchFamily="34" charset="0"/>
                <a:cs typeface="Oracle Sans" panose="020B0503020204020204" pitchFamily="34" charset="0"/>
              </a:rPr>
              <a:t>Simple to use</a:t>
            </a:r>
          </a:p>
          <a:p>
            <a:pPr marL="228600" indent="-228600">
              <a:spcBef>
                <a:spcPts val="1200"/>
              </a:spcBef>
              <a:buClr>
                <a:schemeClr val="tx1">
                  <a:lumMod val="60000"/>
                  <a:lumOff val="40000"/>
                </a:schemeClr>
              </a:buClr>
            </a:pPr>
            <a:r>
              <a:rPr lang="en-US" sz="2000" dirty="0">
                <a:latin typeface="Oracle Sans" panose="020B0503020204020204" pitchFamily="34" charset="0"/>
                <a:cs typeface="Oracle Sans" panose="020B0503020204020204" pitchFamily="34" charset="0"/>
              </a:rPr>
              <a:t>Pay for what consumed</a:t>
            </a:r>
          </a:p>
          <a:p>
            <a:pPr marL="0" indent="0">
              <a:spcBef>
                <a:spcPts val="1200"/>
              </a:spcBef>
              <a:buClr>
                <a:schemeClr val="tx1">
                  <a:lumMod val="60000"/>
                  <a:lumOff val="40000"/>
                </a:schemeClr>
              </a:buClr>
              <a:buNone/>
            </a:pPr>
            <a:endParaRPr lang="en-US" sz="2000" dirty="0">
              <a:latin typeface="Oracle Sans" panose="020B0503020204020204" pitchFamily="34" charset="0"/>
              <a:cs typeface="Oracle Sans" panose="020B0503020204020204" pitchFamily="34" charset="0"/>
            </a:endParaRPr>
          </a:p>
          <a:p>
            <a:pPr marL="228600" indent="-228600">
              <a:spcBef>
                <a:spcPts val="1200"/>
              </a:spcBef>
              <a:buClr>
                <a:schemeClr val="tx1">
                  <a:lumMod val="60000"/>
                  <a:lumOff val="40000"/>
                </a:schemeClr>
              </a:buClr>
            </a:pPr>
            <a:endParaRPr lang="en-US" sz="2000" dirty="0">
              <a:latin typeface="Oracle Sans" panose="020B0503020204020204" pitchFamily="34" charset="0"/>
              <a:cs typeface="Oracle Sans" panose="020B0503020204020204" pitchFamily="34" charset="0"/>
            </a:endParaRPr>
          </a:p>
          <a:p>
            <a:pPr marL="548640" lvl="2" indent="0"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None/>
            </a:pPr>
            <a:endParaRPr lang="en-US" sz="2000" dirty="0">
              <a:latin typeface="+mn-lt"/>
              <a:cs typeface="+mn-cs"/>
            </a:endParaRPr>
          </a:p>
        </p:txBody>
      </p:sp>
      <p:sp>
        <p:nvSpPr>
          <p:cNvPr id="17" name="Footer Placeholder 2">
            <a:extLst>
              <a:ext uri="{FF2B5EF4-FFF2-40B4-BE49-F238E27FC236}">
                <a16:creationId xmlns:a16="http://schemas.microsoft.com/office/drawing/2014/main" id="{08138A38-57C3-423F-A61A-208A2466EE3F}"/>
              </a:ext>
            </a:extLst>
          </p:cNvPr>
          <p:cNvSpPr txBox="1">
            <a:spLocks/>
          </p:cNvSpPr>
          <p:nvPr/>
        </p:nvSpPr>
        <p:spPr>
          <a:xfrm>
            <a:off x="1102001" y="6372462"/>
            <a:ext cx="5745379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l" defTabSz="914400" rtl="0" eaLnBrk="1" latinLnBrk="0" hangingPunct="1">
              <a:defRPr sz="900" kern="1200">
                <a:solidFill>
                  <a:srgbClr val="8B8580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Copyright © </a:t>
            </a:r>
            <a:r>
              <a:rPr lang="en-US" dirty="0" smtClean="0"/>
              <a:t>2024, </a:t>
            </a:r>
            <a:r>
              <a:rPr lang="en-US" dirty="0"/>
              <a:t>Oracle and/or its affiliates. All rights reserved 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17974" y="6372461"/>
            <a:ext cx="578563" cy="365125"/>
          </a:xfrm>
        </p:spPr>
        <p:txBody>
          <a:bodyPr/>
          <a:lstStyle/>
          <a:p>
            <a:fld id="{D440507A-669E-A943-A4A7-E531D638091A}" type="slidenum">
              <a:rPr lang="en-US" smtClean="0">
                <a:solidFill>
                  <a:srgbClr val="4E3629">
                    <a:tint val="75000"/>
                  </a:srgbClr>
                </a:solidFill>
              </a:rPr>
              <a:pPr/>
              <a:t>53</a:t>
            </a:fld>
            <a:endParaRPr lang="en-US" dirty="0">
              <a:solidFill>
                <a:srgbClr val="4E3629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948246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Rectangle 20">
            <a:extLst>
              <a:ext uri="{FF2B5EF4-FFF2-40B4-BE49-F238E27FC236}">
                <a16:creationId xmlns:a16="http://schemas.microsoft.com/office/drawing/2014/main" id="{FD803946-EA50-4092-AE9F-7ACE1BFEA64C}"/>
              </a:ext>
            </a:extLst>
          </p:cNvPr>
          <p:cNvSpPr/>
          <p:nvPr/>
        </p:nvSpPr>
        <p:spPr bwMode="gray">
          <a:xfrm>
            <a:off x="1114108" y="5132831"/>
            <a:ext cx="8641080" cy="505968"/>
          </a:xfrm>
          <a:prstGeom prst="rect">
            <a:avLst/>
          </a:prstGeom>
          <a:solidFill>
            <a:schemeClr val="bg1">
              <a:lumMod val="85000"/>
            </a:schemeClr>
          </a:solidFill>
          <a:ln w="15875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E98B067-3B78-4967-9C7B-5181E732048C}"/>
              </a:ext>
            </a:extLst>
          </p:cNvPr>
          <p:cNvSpPr/>
          <p:nvPr/>
        </p:nvSpPr>
        <p:spPr bwMode="gray">
          <a:xfrm>
            <a:off x="1108012" y="2765135"/>
            <a:ext cx="8641080" cy="1755648"/>
          </a:xfrm>
          <a:prstGeom prst="rect">
            <a:avLst/>
          </a:prstGeom>
          <a:solidFill>
            <a:schemeClr val="bg1">
              <a:lumMod val="85000"/>
            </a:schemeClr>
          </a:solidFill>
          <a:ln w="15875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Content Placeholder 5"/>
          <p:cNvSpPr>
            <a:spLocks noGrp="1"/>
          </p:cNvSpPr>
          <p:nvPr>
            <p:ph idx="1"/>
          </p:nvPr>
        </p:nvSpPr>
        <p:spPr>
          <a:xfrm>
            <a:off x="402150" y="1503878"/>
            <a:ext cx="10512862" cy="4351338"/>
          </a:xfrm>
        </p:spPr>
        <p:txBody>
          <a:bodyPr>
            <a:normAutofit/>
          </a:bodyPr>
          <a:lstStyle/>
          <a:p>
            <a:r>
              <a:rPr lang="en-US" sz="2400" dirty="0"/>
              <a:t>Provision reads/sec, writes/sec, GB storage at table creation time</a:t>
            </a:r>
          </a:p>
          <a:p>
            <a:pPr lvl="1"/>
            <a:r>
              <a:rPr lang="en-US" sz="2000" dirty="0"/>
              <a:t>Dynamically increase</a:t>
            </a:r>
          </a:p>
          <a:p>
            <a:pPr lvl="1"/>
            <a:r>
              <a:rPr lang="en-US" sz="2000" dirty="0"/>
              <a:t>Dynamically decreas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4294967295"/>
          </p:nvPr>
        </p:nvSpPr>
        <p:spPr>
          <a:xfrm>
            <a:off x="630463" y="702764"/>
            <a:ext cx="11125200" cy="344487"/>
          </a:xfrm>
          <a:noFill/>
        </p:spPr>
        <p:txBody>
          <a:bodyPr vert="horz" lIns="0" tIns="0" rIns="0" bIns="0" rtlCol="0">
            <a:noAutofit/>
          </a:bodyPr>
          <a:lstStyle/>
          <a:p>
            <a:r>
              <a:rPr lang="en-US" sz="2000" dirty="0">
                <a:latin typeface="Oracle Sans Tab" panose="020B0503020204020204" pitchFamily="34" charset="0"/>
              </a:rPr>
              <a:t>Provisioned throughput</a:t>
            </a:r>
          </a:p>
          <a:p>
            <a:endParaRPr lang="en-US" sz="2000" dirty="0">
              <a:latin typeface="Oracle Sans Tab" panose="020B0503020204020204" pitchFamily="34" charset="0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1249514" y="2882044"/>
            <a:ext cx="8757652" cy="1360684"/>
          </a:xfrm>
          <a:prstGeom prst="rect">
            <a:avLst/>
          </a:prstGeom>
          <a:noFill/>
          <a:ln w="25400">
            <a:noFill/>
          </a:ln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ourier New" charset="0"/>
                <a:ea typeface="Courier New" charset="0"/>
                <a:cs typeface="Courier New" charset="0"/>
              </a:rPr>
              <a:t>JAVA code sample: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ourier New" charset="0"/>
                <a:ea typeface="Courier New" charset="0"/>
                <a:cs typeface="Courier New" charset="0"/>
              </a:rPr>
              <a:t>TableRequest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ourier New" charset="0"/>
                <a:ea typeface="Courier New" charset="0"/>
                <a:cs typeface="Courier New" charset="0"/>
              </a:rPr>
              <a:t> </a:t>
            </a:r>
            <a:r>
              <a: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ourier New" charset="0"/>
                <a:ea typeface="Courier New" charset="0"/>
                <a:cs typeface="Courier New" charset="0"/>
              </a:rPr>
              <a:t>tableRequest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ourier New" charset="0"/>
                <a:ea typeface="Courier New" charset="0"/>
                <a:cs typeface="Courier New" charset="0"/>
              </a:rPr>
              <a:t> = new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ourier New" charset="0"/>
                <a:ea typeface="Courier New" charset="0"/>
                <a:cs typeface="Courier New" charset="0"/>
              </a:rPr>
              <a:t>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ourier New" charset="0"/>
                <a:ea typeface="Courier New" charset="0"/>
                <a:cs typeface="Courier New" charset="0"/>
              </a:rPr>
              <a:t>TableRequest()</a:t>
            </a:r>
            <a:b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ourier New" charset="0"/>
                <a:ea typeface="Courier New" charset="0"/>
                <a:cs typeface="Courier New" charset="0"/>
              </a:rPr>
            </a:b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ourier New" charset="0"/>
                <a:ea typeface="Courier New" charset="0"/>
                <a:cs typeface="Courier New" charset="0"/>
              </a:rPr>
              <a:t>        .</a:t>
            </a:r>
            <a:r>
              <a: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ourier New" charset="0"/>
                <a:ea typeface="Courier New" charset="0"/>
                <a:cs typeface="Courier New" charset="0"/>
              </a:rPr>
              <a:t>setStatement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ourier New" charset="0"/>
                <a:ea typeface="Courier New" charset="0"/>
                <a:cs typeface="Courier New" charset="0"/>
              </a:rPr>
              <a:t>(“create table if not exists foo (id integer, value JSON)”)</a:t>
            </a:r>
            <a:b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ourier New" charset="0"/>
                <a:ea typeface="Courier New" charset="0"/>
                <a:cs typeface="Courier New" charset="0"/>
              </a:rPr>
            </a:b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ourier New" charset="0"/>
                <a:ea typeface="Courier New" charset="0"/>
                <a:cs typeface="Courier New" charset="0"/>
              </a:rPr>
              <a:t>        .</a:t>
            </a:r>
            <a:r>
              <a: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ourier New" charset="0"/>
                <a:ea typeface="Courier New" charset="0"/>
                <a:cs typeface="Courier New" charset="0"/>
              </a:rPr>
              <a:t>setTableLimits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ourier New" charset="0"/>
                <a:ea typeface="Courier New" charset="0"/>
                <a:cs typeface="Courier New" charset="0"/>
              </a:rPr>
              <a:t>(new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ourier New" charset="0"/>
                <a:ea typeface="Courier New" charset="0"/>
                <a:cs typeface="Courier New" charset="0"/>
              </a:rPr>
              <a:t> TableLimits(2000, 100, 500)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ourier New" charset="0"/>
                <a:ea typeface="Courier New" charset="0"/>
                <a:cs typeface="Courier New" charset="0"/>
              </a:rPr>
              <a:t>)</a:t>
            </a:r>
            <a:b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ourier New" charset="0"/>
                <a:ea typeface="Courier New" charset="0"/>
                <a:cs typeface="Courier New" charset="0"/>
              </a:rPr>
            </a:b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ourier New" charset="0"/>
                <a:ea typeface="Courier New" charset="0"/>
                <a:cs typeface="Courier New" charset="0"/>
              </a:rPr>
              <a:t>        .</a:t>
            </a:r>
            <a:r>
              <a: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ourier New" charset="0"/>
                <a:ea typeface="Courier New" charset="0"/>
                <a:cs typeface="Courier New" charset="0"/>
              </a:rPr>
              <a:t>setTimeout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ourier New" charset="0"/>
                <a:ea typeface="Courier New" charset="0"/>
                <a:cs typeface="Courier New" charset="0"/>
              </a:rPr>
              <a:t>(1000);</a:t>
            </a:r>
            <a:b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ourier New" charset="0"/>
                <a:ea typeface="Courier New" charset="0"/>
                <a:cs typeface="Courier New" charset="0"/>
              </a:rPr>
            </a:b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ourier New" charset="0"/>
                <a:ea typeface="Courier New" charset="0"/>
                <a:cs typeface="Courier New" charset="0"/>
              </a:rPr>
              <a:t>TableResult res = </a:t>
            </a:r>
            <a:r>
              <a: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ourier New" charset="0"/>
                <a:ea typeface="Courier New" charset="0"/>
                <a:cs typeface="Courier New" charset="0"/>
              </a:rPr>
              <a:t>NoSQLHandle.tableRequest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ourier New" charset="0"/>
                <a:ea typeface="Courier New" charset="0"/>
                <a:cs typeface="Courier New" charset="0"/>
              </a:rPr>
              <a:t>(tableRequest);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4E3629"/>
              </a:solidFill>
              <a:effectLst/>
              <a:uLnTx/>
              <a:uFillTx/>
              <a:latin typeface="Courier New" charset="0"/>
              <a:ea typeface="Courier New" charset="0"/>
              <a:cs typeface="Courier New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4E3629"/>
                </a:solidFill>
                <a:effectLst/>
                <a:uLnTx/>
                <a:uFillTx/>
                <a:latin typeface="Courier New" charset="0"/>
                <a:ea typeface="Courier New" charset="0"/>
                <a:cs typeface="Courier New" charset="0"/>
              </a:rPr>
              <a:t> 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4E3629"/>
              </a:solidFill>
              <a:effectLst/>
              <a:uLnTx/>
              <a:uFillTx/>
              <a:latin typeface="Courier New" charset="0"/>
              <a:ea typeface="Courier New" charset="0"/>
              <a:cs typeface="Courier New" charset="0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1233179" y="5291627"/>
            <a:ext cx="8850807" cy="405939"/>
          </a:xfrm>
          <a:prstGeom prst="rect">
            <a:avLst/>
          </a:prstGeom>
          <a:noFill/>
          <a:ln w="25400"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ourier New" charset="0"/>
                <a:ea typeface="Courier New" charset="0"/>
                <a:cs typeface="Courier New" charset="0"/>
              </a:rPr>
              <a:t>tableRequest.setTableLimits(new 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ourier New" charset="0"/>
                <a:ea typeface="Courier New" charset="0"/>
                <a:cs typeface="Courier New" charset="0"/>
              </a:rPr>
              <a:t>TableLimits(1000, 100, 500)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ourier New" charset="0"/>
                <a:ea typeface="Courier New" charset="0"/>
                <a:cs typeface="Courier New" charset="0"/>
              </a:rPr>
              <a:t>)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4E3629"/>
                </a:solidFill>
                <a:effectLst/>
                <a:uLnTx/>
                <a:uFillTx/>
                <a:latin typeface="Courier New" charset="0"/>
                <a:ea typeface="Courier New" charset="0"/>
                <a:cs typeface="Courier New" charset="0"/>
              </a:rPr>
              <a:t/>
            </a:r>
            <a:b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4E3629"/>
                </a:solidFill>
                <a:effectLst/>
                <a:uLnTx/>
                <a:uFillTx/>
                <a:latin typeface="Courier New" charset="0"/>
                <a:ea typeface="Courier New" charset="0"/>
                <a:cs typeface="Courier New" charset="0"/>
              </a:rPr>
            </a:b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4E3629"/>
              </a:solidFill>
              <a:effectLst/>
              <a:uLnTx/>
              <a:uFillTx/>
              <a:latin typeface="Courier New" charset="0"/>
              <a:ea typeface="Courier New" charset="0"/>
              <a:cs typeface="Courier New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4E3629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802513" y="4764940"/>
            <a:ext cx="8534400" cy="40442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Modify the table lowering the read units to 1000</a:t>
            </a:r>
          </a:p>
        </p:txBody>
      </p:sp>
      <p:grpSp>
        <p:nvGrpSpPr>
          <p:cNvPr id="12" name="Group 11"/>
          <p:cNvGrpSpPr/>
          <p:nvPr/>
        </p:nvGrpSpPr>
        <p:grpSpPr>
          <a:xfrm>
            <a:off x="5936294" y="2215974"/>
            <a:ext cx="1566606" cy="421640"/>
            <a:chOff x="7234989" y="2540685"/>
            <a:chExt cx="1566606" cy="421640"/>
          </a:xfrm>
        </p:grpSpPr>
        <p:sp>
          <p:nvSpPr>
            <p:cNvPr id="2" name="Rectangular Callout 1"/>
            <p:cNvSpPr/>
            <p:nvPr/>
          </p:nvSpPr>
          <p:spPr bwMode="gray">
            <a:xfrm>
              <a:off x="7234989" y="2540685"/>
              <a:ext cx="1203158" cy="421640"/>
            </a:xfrm>
            <a:prstGeom prst="wedgeRectCallout">
              <a:avLst>
                <a:gd name="adj1" fmla="val -16316"/>
                <a:gd name="adj2" fmla="val 312862"/>
              </a:avLst>
            </a:prstGeom>
            <a:solidFill>
              <a:schemeClr val="bg1">
                <a:lumMod val="25000"/>
              </a:schemeClr>
            </a:solidFill>
            <a:ln w="9525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" name="TextBox 2"/>
            <p:cNvSpPr txBox="1"/>
            <p:nvPr/>
          </p:nvSpPr>
          <p:spPr>
            <a:xfrm>
              <a:off x="7267073" y="2638929"/>
              <a:ext cx="1534522" cy="297171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2000 read units</a:t>
              </a:r>
            </a:p>
          </p:txBody>
        </p:sp>
      </p:grpSp>
      <p:sp>
        <p:nvSpPr>
          <p:cNvPr id="20" name="Title 1">
            <a:extLst>
              <a:ext uri="{FF2B5EF4-FFF2-40B4-BE49-F238E27FC236}">
                <a16:creationId xmlns:a16="http://schemas.microsoft.com/office/drawing/2014/main" id="{103A9E54-31D0-4B44-A7CA-D4B8B06AEC7E}"/>
              </a:ext>
            </a:extLst>
          </p:cNvPr>
          <p:cNvSpPr txBox="1">
            <a:spLocks/>
          </p:cNvSpPr>
          <p:nvPr/>
        </p:nvSpPr>
        <p:spPr>
          <a:xfrm>
            <a:off x="552334" y="333130"/>
            <a:ext cx="9772766" cy="39077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defPPr>
              <a:defRPr lang="en-US"/>
            </a:defPPr>
            <a:lvl1pPr>
              <a:lnSpc>
                <a:spcPct val="80000"/>
              </a:lnSpc>
              <a:spcBef>
                <a:spcPct val="0"/>
              </a:spcBef>
              <a:buNone/>
              <a:defRPr sz="2400" b="1" i="0" baseline="0">
                <a:cs typeface="Arial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312D2A"/>
                </a:solidFill>
                <a:effectLst/>
                <a:uLnTx/>
                <a:uFillTx/>
                <a:latin typeface="Oracle Sans Tab"/>
                <a:ea typeface="+mn-ea"/>
                <a:cs typeface="Arial" charset="0"/>
              </a:rPr>
              <a:t> Oracle NoSQL Database Cloud Service – Provisioned Capacity </a:t>
            </a:r>
            <a:endParaRPr kumimoji="0" lang="ja-JP" altLang="en-US" sz="2400" b="1" i="0" u="none" strike="noStrike" kern="1200" cap="none" spc="0" normalizeH="0" baseline="0" noProof="0" dirty="0">
              <a:ln>
                <a:noFill/>
              </a:ln>
              <a:solidFill>
                <a:srgbClr val="312D2A"/>
              </a:solidFill>
              <a:effectLst/>
              <a:uLnTx/>
              <a:uFillTx/>
              <a:latin typeface="Oracle Sans Tab"/>
              <a:ea typeface="+mn-ea"/>
              <a:cs typeface="Arial" charset="0"/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35AECFB8-464F-49DC-B33A-406991251C48}"/>
              </a:ext>
            </a:extLst>
          </p:cNvPr>
          <p:cNvSpPr txBox="1"/>
          <p:nvPr/>
        </p:nvSpPr>
        <p:spPr>
          <a:xfrm>
            <a:off x="762677" y="5925209"/>
            <a:ext cx="1007724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4E3629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ote: Every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4E3629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ableRequest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4E3629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is a DDL call to the NoSQL store and may be performed 4 times within a minute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4E3629"/>
                </a:solidFill>
                <a:effectLst/>
                <a:highlight>
                  <a:srgbClr val="FFFF00"/>
                </a:highlight>
                <a:uLnTx/>
                <a:uFillTx/>
                <a:latin typeface="Oracle Sans Light" panose="020B0403020204020204" pitchFamily="34" charset="0"/>
                <a:ea typeface="+mn-ea"/>
                <a:cs typeface="Oracle Sans Light" panose="020B0403020204020204" pitchFamily="34" charset="0"/>
              </a:rPr>
              <a:t>.</a:t>
            </a:r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9695AD6E-1539-43DA-81AA-8B04BCD7A029}"/>
              </a:ext>
            </a:extLst>
          </p:cNvPr>
          <p:cNvGrpSpPr/>
          <p:nvPr/>
        </p:nvGrpSpPr>
        <p:grpSpPr>
          <a:xfrm>
            <a:off x="7193594" y="2228674"/>
            <a:ext cx="1566606" cy="421640"/>
            <a:chOff x="7234989" y="2540685"/>
            <a:chExt cx="1566606" cy="421640"/>
          </a:xfrm>
        </p:grpSpPr>
        <p:sp>
          <p:nvSpPr>
            <p:cNvPr id="23" name="Rectangular Callout 1">
              <a:extLst>
                <a:ext uri="{FF2B5EF4-FFF2-40B4-BE49-F238E27FC236}">
                  <a16:creationId xmlns:a16="http://schemas.microsoft.com/office/drawing/2014/main" id="{A50166AA-CDDE-457D-B037-9E41C64FD11A}"/>
                </a:ext>
              </a:extLst>
            </p:cNvPr>
            <p:cNvSpPr/>
            <p:nvPr/>
          </p:nvSpPr>
          <p:spPr bwMode="gray">
            <a:xfrm>
              <a:off x="7234989" y="2540685"/>
              <a:ext cx="1203158" cy="421640"/>
            </a:xfrm>
            <a:prstGeom prst="wedgeRectCallout">
              <a:avLst>
                <a:gd name="adj1" fmla="val -61704"/>
                <a:gd name="adj2" fmla="val 294790"/>
              </a:avLst>
            </a:prstGeom>
            <a:solidFill>
              <a:schemeClr val="bg1">
                <a:lumMod val="25000"/>
              </a:schemeClr>
            </a:solidFill>
            <a:ln w="9525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F0A467D8-2E7F-4805-8B5E-9267F865F11A}"/>
                </a:ext>
              </a:extLst>
            </p:cNvPr>
            <p:cNvSpPr txBox="1"/>
            <p:nvPr/>
          </p:nvSpPr>
          <p:spPr>
            <a:xfrm>
              <a:off x="7267073" y="2638929"/>
              <a:ext cx="1534522" cy="297171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400" b="1" dirty="0">
                  <a:solidFill>
                    <a:schemeClr val="bg1"/>
                  </a:solidFill>
                  <a:latin typeface="Calibri" panose="020F0502020204030204"/>
                </a:rPr>
                <a:t>100</a:t>
              </a: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 write units</a:t>
              </a:r>
            </a:p>
          </p:txBody>
        </p:sp>
      </p:grpSp>
      <p:grpSp>
        <p:nvGrpSpPr>
          <p:cNvPr id="26" name="Group 25">
            <a:extLst>
              <a:ext uri="{FF2B5EF4-FFF2-40B4-BE49-F238E27FC236}">
                <a16:creationId xmlns:a16="http://schemas.microsoft.com/office/drawing/2014/main" id="{7EBAF3E7-D258-4A3B-88E9-8094C81941C4}"/>
              </a:ext>
            </a:extLst>
          </p:cNvPr>
          <p:cNvGrpSpPr/>
          <p:nvPr/>
        </p:nvGrpSpPr>
        <p:grpSpPr>
          <a:xfrm>
            <a:off x="8438194" y="2215974"/>
            <a:ext cx="1566606" cy="421640"/>
            <a:chOff x="7234989" y="2540685"/>
            <a:chExt cx="1566606" cy="421640"/>
          </a:xfrm>
        </p:grpSpPr>
        <p:sp>
          <p:nvSpPr>
            <p:cNvPr id="27" name="Rectangular Callout 1">
              <a:extLst>
                <a:ext uri="{FF2B5EF4-FFF2-40B4-BE49-F238E27FC236}">
                  <a16:creationId xmlns:a16="http://schemas.microsoft.com/office/drawing/2014/main" id="{DCA016FA-CC38-40F5-B8EF-99A5CAEC53BD}"/>
                </a:ext>
              </a:extLst>
            </p:cNvPr>
            <p:cNvSpPr/>
            <p:nvPr/>
          </p:nvSpPr>
          <p:spPr bwMode="gray">
            <a:xfrm>
              <a:off x="7234989" y="2540685"/>
              <a:ext cx="1203158" cy="421640"/>
            </a:xfrm>
            <a:prstGeom prst="wedgeRectCallout">
              <a:avLst>
                <a:gd name="adj1" fmla="val -113426"/>
                <a:gd name="adj2" fmla="val 291778"/>
              </a:avLst>
            </a:prstGeom>
            <a:solidFill>
              <a:schemeClr val="bg1">
                <a:lumMod val="25000"/>
              </a:schemeClr>
            </a:solidFill>
            <a:ln w="9525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8" name="TextBox 27">
              <a:extLst>
                <a:ext uri="{FF2B5EF4-FFF2-40B4-BE49-F238E27FC236}">
                  <a16:creationId xmlns:a16="http://schemas.microsoft.com/office/drawing/2014/main" id="{449C1409-D780-4A7C-99DE-2EA2C3302D28}"/>
                </a:ext>
              </a:extLst>
            </p:cNvPr>
            <p:cNvSpPr txBox="1"/>
            <p:nvPr/>
          </p:nvSpPr>
          <p:spPr>
            <a:xfrm>
              <a:off x="7267073" y="2638929"/>
              <a:ext cx="1534522" cy="297171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400" b="1" dirty="0">
                  <a:solidFill>
                    <a:schemeClr val="bg1"/>
                  </a:solidFill>
                  <a:latin typeface="Calibri" panose="020F0502020204030204"/>
                </a:rPr>
                <a:t>500</a:t>
              </a: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 GB Storage</a:t>
              </a:r>
            </a:p>
          </p:txBody>
        </p:sp>
      </p:grpSp>
      <p:sp>
        <p:nvSpPr>
          <p:cNvPr id="31" name="Footer Placeholder 2">
            <a:extLst>
              <a:ext uri="{FF2B5EF4-FFF2-40B4-BE49-F238E27FC236}">
                <a16:creationId xmlns:a16="http://schemas.microsoft.com/office/drawing/2014/main" id="{3D21C27C-E089-4067-804C-FF371C394BE0}"/>
              </a:ext>
            </a:extLst>
          </p:cNvPr>
          <p:cNvSpPr txBox="1">
            <a:spLocks/>
          </p:cNvSpPr>
          <p:nvPr/>
        </p:nvSpPr>
        <p:spPr>
          <a:xfrm>
            <a:off x="1108012" y="6409643"/>
            <a:ext cx="5745379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l" defTabSz="914400" rtl="0" eaLnBrk="1" latinLnBrk="0" hangingPunct="1">
              <a:defRPr sz="900" kern="1200">
                <a:solidFill>
                  <a:srgbClr val="8B8580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Copyright © </a:t>
            </a:r>
            <a:r>
              <a:rPr lang="en-US" dirty="0" smtClean="0"/>
              <a:t>2024 </a:t>
            </a:r>
            <a:r>
              <a:rPr lang="en-US" dirty="0"/>
              <a:t>Oracle and/or its affiliates. All rights reserved</a:t>
            </a:r>
          </a:p>
        </p:txBody>
      </p:sp>
      <p:sp>
        <p:nvSpPr>
          <p:cNvPr id="14" name="Slide Number Placeholder 13"/>
          <p:cNvSpPr>
            <a:spLocks noGrp="1"/>
          </p:cNvSpPr>
          <p:nvPr>
            <p:ph type="sldNum" sz="quarter" idx="4"/>
          </p:nvPr>
        </p:nvSpPr>
        <p:spPr>
          <a:xfrm>
            <a:off x="670951" y="6409643"/>
            <a:ext cx="578563" cy="365125"/>
          </a:xfrm>
        </p:spPr>
        <p:txBody>
          <a:bodyPr/>
          <a:lstStyle/>
          <a:p>
            <a:fld id="{D440507A-669E-A943-A4A7-E531D638091A}" type="slidenum">
              <a:rPr lang="en-US" smtClean="0">
                <a:solidFill>
                  <a:srgbClr val="4E3629">
                    <a:tint val="75000"/>
                  </a:srgbClr>
                </a:solidFill>
              </a:rPr>
              <a:pPr/>
              <a:t>54</a:t>
            </a:fld>
            <a:endParaRPr lang="en-US" dirty="0">
              <a:solidFill>
                <a:srgbClr val="4E3629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740493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4294967295"/>
          </p:nvPr>
        </p:nvSpPr>
        <p:spPr>
          <a:xfrm>
            <a:off x="630463" y="702764"/>
            <a:ext cx="11125200" cy="344487"/>
          </a:xfrm>
          <a:noFill/>
        </p:spPr>
        <p:txBody>
          <a:bodyPr vert="horz" lIns="0" tIns="0" rIns="0" bIns="0" rtlCol="0">
            <a:noAutofit/>
          </a:bodyPr>
          <a:lstStyle/>
          <a:p>
            <a:r>
              <a:rPr lang="en-US" sz="2000" dirty="0">
                <a:latin typeface="Oracle Sans Tab" panose="020B0503020204020204" pitchFamily="34" charset="0"/>
              </a:rPr>
              <a:t>Auto-scaling throughput</a:t>
            </a:r>
          </a:p>
          <a:p>
            <a:endParaRPr lang="en-US" sz="2000" dirty="0">
              <a:latin typeface="Oracle Sans Tab" panose="020B0503020204020204" pitchFamily="34" charset="0"/>
            </a:endParaRPr>
          </a:p>
        </p:txBody>
      </p:sp>
      <p:sp>
        <p:nvSpPr>
          <p:cNvPr id="20" name="Title 1">
            <a:extLst>
              <a:ext uri="{FF2B5EF4-FFF2-40B4-BE49-F238E27FC236}">
                <a16:creationId xmlns:a16="http://schemas.microsoft.com/office/drawing/2014/main" id="{103A9E54-31D0-4B44-A7CA-D4B8B06AEC7E}"/>
              </a:ext>
            </a:extLst>
          </p:cNvPr>
          <p:cNvSpPr txBox="1">
            <a:spLocks/>
          </p:cNvSpPr>
          <p:nvPr/>
        </p:nvSpPr>
        <p:spPr>
          <a:xfrm>
            <a:off x="552334" y="333130"/>
            <a:ext cx="9772766" cy="39077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defPPr>
              <a:defRPr lang="en-US"/>
            </a:defPPr>
            <a:lvl1pPr>
              <a:lnSpc>
                <a:spcPct val="80000"/>
              </a:lnSpc>
              <a:spcBef>
                <a:spcPct val="0"/>
              </a:spcBef>
              <a:buNone/>
              <a:defRPr sz="2400" b="1" i="0" baseline="0">
                <a:cs typeface="Arial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312D2A"/>
                </a:solidFill>
                <a:effectLst/>
                <a:uLnTx/>
                <a:uFillTx/>
                <a:latin typeface="Oracle Sans Tab"/>
                <a:ea typeface="+mn-ea"/>
                <a:cs typeface="Arial" charset="0"/>
              </a:rPr>
              <a:t> Oracle NoSQL Database Cloud Service – On-Demand Capacity </a:t>
            </a:r>
            <a:endParaRPr kumimoji="0" lang="ja-JP" altLang="en-US" sz="2400" b="1" i="0" u="none" strike="noStrike" kern="1200" cap="none" spc="0" normalizeH="0" baseline="0" noProof="0" dirty="0">
              <a:ln>
                <a:noFill/>
              </a:ln>
              <a:solidFill>
                <a:srgbClr val="312D2A"/>
              </a:solidFill>
              <a:effectLst/>
              <a:uLnTx/>
              <a:uFillTx/>
              <a:latin typeface="Oracle Sans Tab"/>
              <a:ea typeface="+mn-ea"/>
              <a:cs typeface="Arial" charset="0"/>
            </a:endParaRPr>
          </a:p>
        </p:txBody>
      </p:sp>
      <p:sp>
        <p:nvSpPr>
          <p:cNvPr id="31" name="Footer Placeholder 2">
            <a:extLst>
              <a:ext uri="{FF2B5EF4-FFF2-40B4-BE49-F238E27FC236}">
                <a16:creationId xmlns:a16="http://schemas.microsoft.com/office/drawing/2014/main" id="{3D21C27C-E089-4067-804C-FF371C394BE0}"/>
              </a:ext>
            </a:extLst>
          </p:cNvPr>
          <p:cNvSpPr txBox="1">
            <a:spLocks/>
          </p:cNvSpPr>
          <p:nvPr/>
        </p:nvSpPr>
        <p:spPr>
          <a:xfrm>
            <a:off x="1102001" y="6372462"/>
            <a:ext cx="5745379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l" defTabSz="914400" rtl="0" eaLnBrk="1" latinLnBrk="0" hangingPunct="1">
              <a:defRPr sz="900" kern="1200">
                <a:solidFill>
                  <a:srgbClr val="8B8580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Copyright © </a:t>
            </a:r>
            <a:r>
              <a:rPr lang="en-US" dirty="0" smtClean="0"/>
              <a:t>2024, </a:t>
            </a:r>
            <a:r>
              <a:rPr lang="en-US" dirty="0"/>
              <a:t>Oracle and/or its affiliates. All rights reserved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89EC583F-B86A-4470-BB8C-FFCF8216CB5D}"/>
              </a:ext>
            </a:extLst>
          </p:cNvPr>
          <p:cNvSpPr/>
          <p:nvPr/>
        </p:nvSpPr>
        <p:spPr>
          <a:xfrm>
            <a:off x="1461838" y="2640379"/>
            <a:ext cx="9124595" cy="1692771"/>
          </a:xfrm>
          <a:prstGeom prst="rect">
            <a:avLst/>
          </a:prstGeom>
          <a:solidFill>
            <a:schemeClr val="bg1">
              <a:lumMod val="90000"/>
            </a:schemeClr>
          </a:solidFill>
        </p:spPr>
        <p:txBody>
          <a:bodyPr wrap="square" lIns="91440" tIns="45720" rIns="91440" bIns="45720">
            <a:spAutoFit/>
          </a:bodyPr>
          <a:lstStyle/>
          <a:p>
            <a:r>
              <a:rPr lang="en-US" dirty="0"/>
              <a:t>Python Code Sample</a:t>
            </a:r>
          </a:p>
          <a:p>
            <a:pPr algn="just"/>
            <a:endParaRPr lang="en-US" sz="2000" dirty="0"/>
          </a:p>
          <a:p>
            <a:r>
              <a:rPr lang="en-US" sz="1600" dirty="0">
                <a:solidFill>
                  <a:srgbClr val="00206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equest=</a:t>
            </a:r>
            <a:r>
              <a:rPr lang="en-US" sz="1600" dirty="0" err="1">
                <a:solidFill>
                  <a:srgbClr val="00206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Request</a:t>
            </a:r>
            <a:r>
              <a:rPr lang="en-US" sz="1600" dirty="0">
                <a:solidFill>
                  <a:srgbClr val="00206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).</a:t>
            </a:r>
            <a:r>
              <a:rPr lang="en-US" sz="1600" dirty="0" err="1">
                <a:solidFill>
                  <a:srgbClr val="00206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et_statement</a:t>
            </a:r>
            <a:r>
              <a:rPr lang="en-US" sz="1600" dirty="0">
                <a:solidFill>
                  <a:srgbClr val="00206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statement).</a:t>
            </a:r>
            <a:r>
              <a:rPr lang="en-US" sz="1600" dirty="0" err="1">
                <a:solidFill>
                  <a:srgbClr val="00206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et_table_limits</a:t>
            </a:r>
            <a:r>
              <a:rPr lang="en-US" sz="1600" dirty="0">
                <a:solidFill>
                  <a:srgbClr val="00206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br>
              <a:rPr lang="en-US" sz="1600" dirty="0">
                <a:solidFill>
                  <a:srgbClr val="00206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en-US" sz="1600" dirty="0">
                <a:solidFill>
                  <a:srgbClr val="00206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       </a:t>
            </a:r>
            <a:r>
              <a:rPr lang="en-US" sz="1600" dirty="0" err="1">
                <a:solidFill>
                  <a:srgbClr val="00206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Limits</a:t>
            </a:r>
            <a:r>
              <a:rPr lang="en-US" sz="1600" dirty="0">
                <a:solidFill>
                  <a:srgbClr val="00206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600" b="1" dirty="0">
                <a:solidFill>
                  <a:srgbClr val="00206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0,0,500,TableLimits.CAPACITY_MODE.ON_DEMAND</a:t>
            </a:r>
            <a:r>
              <a:rPr lang="en-US" sz="1600" dirty="0">
                <a:solidFill>
                  <a:srgbClr val="00206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)</a:t>
            </a:r>
          </a:p>
          <a:p>
            <a:endParaRPr lang="en-US" sz="1600" dirty="0">
              <a:solidFill>
                <a:srgbClr val="00206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600" dirty="0" err="1">
                <a:solidFill>
                  <a:srgbClr val="00206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handle.do_table_request</a:t>
            </a:r>
            <a:r>
              <a:rPr lang="en-US" sz="1600" dirty="0">
                <a:solidFill>
                  <a:srgbClr val="00206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request, 50000, 3000)</a:t>
            </a:r>
            <a:endParaRPr lang="en-US" sz="1600" b="0" cap="none" spc="0" dirty="0">
              <a:ln w="0"/>
              <a:solidFill>
                <a:srgbClr val="002060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2E0ABB09-33D0-4967-ACBD-EBDD2BEEF73E}"/>
              </a:ext>
            </a:extLst>
          </p:cNvPr>
          <p:cNvGrpSpPr/>
          <p:nvPr/>
        </p:nvGrpSpPr>
        <p:grpSpPr>
          <a:xfrm>
            <a:off x="3463549" y="1984154"/>
            <a:ext cx="902389" cy="421640"/>
            <a:chOff x="7234989" y="2540685"/>
            <a:chExt cx="1566606" cy="421640"/>
          </a:xfrm>
        </p:grpSpPr>
        <p:sp>
          <p:nvSpPr>
            <p:cNvPr id="11" name="Rectangular Callout 1">
              <a:extLst>
                <a:ext uri="{FF2B5EF4-FFF2-40B4-BE49-F238E27FC236}">
                  <a16:creationId xmlns:a16="http://schemas.microsoft.com/office/drawing/2014/main" id="{CE012386-CD5F-4A7F-B822-BF7C324AC3DA}"/>
                </a:ext>
              </a:extLst>
            </p:cNvPr>
            <p:cNvSpPr/>
            <p:nvPr/>
          </p:nvSpPr>
          <p:spPr bwMode="gray">
            <a:xfrm>
              <a:off x="7234989" y="2540685"/>
              <a:ext cx="1203158" cy="421640"/>
            </a:xfrm>
            <a:prstGeom prst="wedgeRectCallout">
              <a:avLst>
                <a:gd name="adj1" fmla="val 13417"/>
                <a:gd name="adj2" fmla="val 300644"/>
              </a:avLst>
            </a:prstGeom>
            <a:solidFill>
              <a:schemeClr val="bg1">
                <a:lumMod val="25000"/>
              </a:schemeClr>
            </a:solidFill>
            <a:ln w="9525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0DC2EF05-705F-40DD-83F2-57CAC94CBA2D}"/>
                </a:ext>
              </a:extLst>
            </p:cNvPr>
            <p:cNvSpPr txBox="1"/>
            <p:nvPr/>
          </p:nvSpPr>
          <p:spPr>
            <a:xfrm>
              <a:off x="7267073" y="2638929"/>
              <a:ext cx="1534522" cy="297171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Set to 0</a:t>
              </a:r>
            </a:p>
          </p:txBody>
        </p:sp>
      </p:grpSp>
      <p:grpSp>
        <p:nvGrpSpPr>
          <p:cNvPr id="17" name="Group 16">
            <a:extLst>
              <a:ext uri="{FF2B5EF4-FFF2-40B4-BE49-F238E27FC236}">
                <a16:creationId xmlns:a16="http://schemas.microsoft.com/office/drawing/2014/main" id="{FF83567B-95CD-4F2D-BE74-BC7B257E64CF}"/>
              </a:ext>
            </a:extLst>
          </p:cNvPr>
          <p:cNvGrpSpPr/>
          <p:nvPr/>
        </p:nvGrpSpPr>
        <p:grpSpPr>
          <a:xfrm>
            <a:off x="4948018" y="1984154"/>
            <a:ext cx="1566606" cy="421640"/>
            <a:chOff x="7234989" y="2540685"/>
            <a:chExt cx="1566606" cy="421640"/>
          </a:xfrm>
        </p:grpSpPr>
        <p:sp>
          <p:nvSpPr>
            <p:cNvPr id="18" name="Rectangular Callout 1">
              <a:extLst>
                <a:ext uri="{FF2B5EF4-FFF2-40B4-BE49-F238E27FC236}">
                  <a16:creationId xmlns:a16="http://schemas.microsoft.com/office/drawing/2014/main" id="{DA195AC1-25D9-4081-BD6C-8DDF9709504C}"/>
                </a:ext>
              </a:extLst>
            </p:cNvPr>
            <p:cNvSpPr/>
            <p:nvPr/>
          </p:nvSpPr>
          <p:spPr bwMode="gray">
            <a:xfrm>
              <a:off x="7234989" y="2540685"/>
              <a:ext cx="1203158" cy="421640"/>
            </a:xfrm>
            <a:prstGeom prst="wedgeRectCallout">
              <a:avLst>
                <a:gd name="adj1" fmla="val -82384"/>
                <a:gd name="adj2" fmla="val 307050"/>
              </a:avLst>
            </a:prstGeom>
            <a:solidFill>
              <a:schemeClr val="bg1">
                <a:lumMod val="25000"/>
              </a:schemeClr>
            </a:solidFill>
            <a:ln w="9525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06E7A7B3-AEEF-4108-B9A3-C3627BFD1C03}"/>
                </a:ext>
              </a:extLst>
            </p:cNvPr>
            <p:cNvSpPr txBox="1"/>
            <p:nvPr/>
          </p:nvSpPr>
          <p:spPr>
            <a:xfrm>
              <a:off x="7267073" y="2638929"/>
              <a:ext cx="1534522" cy="297171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400" b="1" dirty="0">
                  <a:solidFill>
                    <a:schemeClr val="bg1"/>
                  </a:solidFill>
                  <a:latin typeface="Calibri" panose="020F0502020204030204"/>
                </a:rPr>
                <a:t>500</a:t>
              </a: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 GB Storage</a:t>
              </a:r>
            </a:p>
          </p:txBody>
        </p:sp>
      </p:grpSp>
      <p:grpSp>
        <p:nvGrpSpPr>
          <p:cNvPr id="21" name="Group 20">
            <a:extLst>
              <a:ext uri="{FF2B5EF4-FFF2-40B4-BE49-F238E27FC236}">
                <a16:creationId xmlns:a16="http://schemas.microsoft.com/office/drawing/2014/main" id="{582A43CE-9673-4984-AE61-B1A09D3C8385}"/>
              </a:ext>
            </a:extLst>
          </p:cNvPr>
          <p:cNvGrpSpPr/>
          <p:nvPr/>
        </p:nvGrpSpPr>
        <p:grpSpPr>
          <a:xfrm>
            <a:off x="4195499" y="1982008"/>
            <a:ext cx="902389" cy="421640"/>
            <a:chOff x="7234989" y="2540685"/>
            <a:chExt cx="1566606" cy="421640"/>
          </a:xfrm>
        </p:grpSpPr>
        <p:sp>
          <p:nvSpPr>
            <p:cNvPr id="22" name="Rectangular Callout 1">
              <a:extLst>
                <a:ext uri="{FF2B5EF4-FFF2-40B4-BE49-F238E27FC236}">
                  <a16:creationId xmlns:a16="http://schemas.microsoft.com/office/drawing/2014/main" id="{31ED6C98-B31E-4EC1-87A8-FCF0B30E0650}"/>
                </a:ext>
              </a:extLst>
            </p:cNvPr>
            <p:cNvSpPr/>
            <p:nvPr/>
          </p:nvSpPr>
          <p:spPr bwMode="gray">
            <a:xfrm>
              <a:off x="7234989" y="2540685"/>
              <a:ext cx="1203158" cy="421640"/>
            </a:xfrm>
            <a:prstGeom prst="wedgeRectCallout">
              <a:avLst>
                <a:gd name="adj1" fmla="val -59058"/>
                <a:gd name="adj2" fmla="val 300644"/>
              </a:avLst>
            </a:prstGeom>
            <a:solidFill>
              <a:schemeClr val="bg1">
                <a:lumMod val="25000"/>
              </a:schemeClr>
            </a:solidFill>
            <a:ln w="9525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E439D220-FC04-4858-9F0E-4F4C139CE3CD}"/>
                </a:ext>
              </a:extLst>
            </p:cNvPr>
            <p:cNvSpPr txBox="1"/>
            <p:nvPr/>
          </p:nvSpPr>
          <p:spPr>
            <a:xfrm>
              <a:off x="7267073" y="2638929"/>
              <a:ext cx="1534522" cy="297171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Set to 0</a:t>
              </a:r>
            </a:p>
          </p:txBody>
        </p:sp>
      </p:grpSp>
      <p:grpSp>
        <p:nvGrpSpPr>
          <p:cNvPr id="24" name="Group 23">
            <a:extLst>
              <a:ext uri="{FF2B5EF4-FFF2-40B4-BE49-F238E27FC236}">
                <a16:creationId xmlns:a16="http://schemas.microsoft.com/office/drawing/2014/main" id="{AA3610C0-6589-4F55-8469-98B60381DEAF}"/>
              </a:ext>
            </a:extLst>
          </p:cNvPr>
          <p:cNvGrpSpPr/>
          <p:nvPr/>
        </p:nvGrpSpPr>
        <p:grpSpPr>
          <a:xfrm>
            <a:off x="7083763" y="1994886"/>
            <a:ext cx="1566607" cy="421640"/>
            <a:chOff x="7234988" y="2540685"/>
            <a:chExt cx="1566607" cy="421640"/>
          </a:xfrm>
        </p:grpSpPr>
        <p:sp>
          <p:nvSpPr>
            <p:cNvPr id="25" name="Rectangular Callout 1">
              <a:extLst>
                <a:ext uri="{FF2B5EF4-FFF2-40B4-BE49-F238E27FC236}">
                  <a16:creationId xmlns:a16="http://schemas.microsoft.com/office/drawing/2014/main" id="{3E7C903D-AB96-4CA8-8525-94EB8D9B0DBF}"/>
                </a:ext>
              </a:extLst>
            </p:cNvPr>
            <p:cNvSpPr/>
            <p:nvPr/>
          </p:nvSpPr>
          <p:spPr bwMode="gray">
            <a:xfrm>
              <a:off x="7234988" y="2540685"/>
              <a:ext cx="1480687" cy="421640"/>
            </a:xfrm>
            <a:prstGeom prst="wedgeRectCallout">
              <a:avLst>
                <a:gd name="adj1" fmla="val -82384"/>
                <a:gd name="adj2" fmla="val 307050"/>
              </a:avLst>
            </a:prstGeom>
            <a:solidFill>
              <a:schemeClr val="bg1">
                <a:lumMod val="25000"/>
              </a:schemeClr>
            </a:solidFill>
            <a:ln w="9525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6" name="TextBox 25">
              <a:extLst>
                <a:ext uri="{FF2B5EF4-FFF2-40B4-BE49-F238E27FC236}">
                  <a16:creationId xmlns:a16="http://schemas.microsoft.com/office/drawing/2014/main" id="{E2840C68-79CD-4B55-A512-B85D3AC0D6E9}"/>
                </a:ext>
              </a:extLst>
            </p:cNvPr>
            <p:cNvSpPr txBox="1"/>
            <p:nvPr/>
          </p:nvSpPr>
          <p:spPr>
            <a:xfrm>
              <a:off x="7267073" y="2638929"/>
              <a:ext cx="1534522" cy="297171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On-demand mode</a:t>
              </a:r>
            </a:p>
          </p:txBody>
        </p:sp>
      </p:grp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630463" y="6372462"/>
            <a:ext cx="578563" cy="365125"/>
          </a:xfrm>
        </p:spPr>
        <p:txBody>
          <a:bodyPr/>
          <a:lstStyle/>
          <a:p>
            <a:fld id="{D440507A-669E-A943-A4A7-E531D638091A}" type="slidenum">
              <a:rPr lang="en-US" smtClean="0">
                <a:solidFill>
                  <a:srgbClr val="4E3629">
                    <a:tint val="75000"/>
                  </a:srgbClr>
                </a:solidFill>
              </a:rPr>
              <a:pPr/>
              <a:t>55</a:t>
            </a:fld>
            <a:endParaRPr lang="en-US" dirty="0">
              <a:solidFill>
                <a:srgbClr val="4E3629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796882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smtClean="0"/>
              <a:t>Copyright © 2024, Oracle and/or its affiliates. All rights reserved   </a:t>
            </a:r>
            <a:endParaRPr lang="en-US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4876800" cy="6863137"/>
          </a:xfrm>
          <a:prstGeom prst="rect">
            <a:avLst/>
          </a:prstGeom>
        </p:spPr>
      </p:pic>
      <p:sp>
        <p:nvSpPr>
          <p:cNvPr id="2" name="Rectangle 1"/>
          <p:cNvSpPr/>
          <p:nvPr/>
        </p:nvSpPr>
        <p:spPr>
          <a:xfrm>
            <a:off x="5040351" y="983507"/>
            <a:ext cx="4451994" cy="14773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b="1" dirty="0" smtClean="0">
                <a:latin typeface="Oracle Sans" panose="020B0503020204020204" pitchFamily="34" charset="0"/>
                <a:cs typeface="Oracle Sans" panose="020B0503020204020204" pitchFamily="34" charset="0"/>
              </a:rPr>
              <a:t>Demo 1 – OCI NoSQL Services</a:t>
            </a:r>
          </a:p>
          <a:p>
            <a:endParaRPr lang="en-US" b="1" dirty="0" smtClean="0">
              <a:latin typeface="Oracle Sans" panose="020B0503020204020204" pitchFamily="34" charset="0"/>
              <a:cs typeface="Oracle Sans" panose="020B0503020204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>
                <a:cs typeface="Oracle Sans" panose="020B0503020204020204" pitchFamily="34" charset="0"/>
              </a:rPr>
              <a:t>NoSQL Table provisioning</a:t>
            </a:r>
            <a:endParaRPr lang="en-US" dirty="0">
              <a:cs typeface="Oracle Sans" panose="020B0503020204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>
                <a:cs typeface="Oracle Sans" panose="020B0503020204020204" pitchFamily="34" charset="0"/>
              </a:rPr>
              <a:t>NoSQL Table Insert using OCI Console</a:t>
            </a:r>
            <a:endParaRPr lang="en-US" dirty="0">
              <a:cs typeface="Oracle Sans" panose="020B0503020204020204" pitchFamily="34" charset="0"/>
            </a:endParaRPr>
          </a:p>
          <a:p>
            <a:endParaRPr lang="en-US" b="1" dirty="0">
              <a:latin typeface="Oracle Sans" panose="020B0503020204020204" pitchFamily="34" charset="0"/>
              <a:cs typeface="Oracle Sans" panose="020B0503020204020204" pitchFamily="34" charset="0"/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618724" y="1229963"/>
            <a:ext cx="2064036" cy="769206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152400" dist="12000" dir="900000" sy="98000" kx="110000" ky="200000" algn="tl" rotWithShape="0">
              <a:srgbClr val="000000">
                <a:alpha val="30000"/>
              </a:srgbClr>
            </a:outerShdw>
          </a:effectLst>
          <a:scene3d>
            <a:camera prst="perspectiveRelaxed">
              <a:rot lat="19800000" lon="1200000" rev="20820000"/>
            </a:camera>
            <a:lightRig rig="threePt" dir="t"/>
          </a:scene3d>
          <a:sp3d contourW="6350" prstMaterial="matte">
            <a:bevelT w="101600" h="101600"/>
            <a:contourClr>
              <a:srgbClr val="969696"/>
            </a:contourClr>
          </a:sp3d>
        </p:spPr>
      </p:pic>
      <p:sp>
        <p:nvSpPr>
          <p:cNvPr id="7" name="Rectangle 6"/>
          <p:cNvSpPr/>
          <p:nvPr/>
        </p:nvSpPr>
        <p:spPr>
          <a:xfrm>
            <a:off x="5040351" y="2944709"/>
            <a:ext cx="5683405" cy="17543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b="1" dirty="0">
                <a:cs typeface="Oracle Sans" panose="020B0503020204020204" pitchFamily="34" charset="0"/>
              </a:rPr>
              <a:t>Demo </a:t>
            </a:r>
            <a:r>
              <a:rPr lang="en-US" b="1" dirty="0" smtClean="0">
                <a:cs typeface="Oracle Sans" panose="020B0503020204020204" pitchFamily="34" charset="0"/>
              </a:rPr>
              <a:t>2 </a:t>
            </a:r>
            <a:r>
              <a:rPr lang="en-US" b="1" dirty="0">
                <a:cs typeface="Oracle Sans" panose="020B0503020204020204" pitchFamily="34" charset="0"/>
              </a:rPr>
              <a:t>– </a:t>
            </a:r>
            <a:r>
              <a:rPr lang="en-US" b="1" dirty="0" err="1">
                <a:cs typeface="Oracle Sans" panose="020B0503020204020204" pitchFamily="34" charset="0"/>
              </a:rPr>
              <a:t>Exadata</a:t>
            </a:r>
            <a:r>
              <a:rPr lang="en-US" b="1" dirty="0">
                <a:cs typeface="Oracle Sans" panose="020B0503020204020204" pitchFamily="34" charset="0"/>
              </a:rPr>
              <a:t> Smart Scan</a:t>
            </a:r>
          </a:p>
          <a:p>
            <a:endParaRPr lang="en-US" b="1" dirty="0">
              <a:cs typeface="Oracle Sans" panose="020B0503020204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cs typeface="Oracle Sans" panose="020B0503020204020204" pitchFamily="34" charset="0"/>
              </a:rPr>
              <a:t>Changing Table execution plan using Index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cs typeface="Oracle Sans" panose="020B0503020204020204" pitchFamily="34" charset="0"/>
              </a:rPr>
              <a:t>Change index to invisible and enable  Smart Scan</a:t>
            </a:r>
          </a:p>
          <a:p>
            <a:endParaRPr lang="en-US" b="1" dirty="0" smtClean="0">
              <a:latin typeface="Oracle Sans" panose="020B0503020204020204" pitchFamily="34" charset="0"/>
              <a:cs typeface="Oracle Sans" panose="020B0503020204020204" pitchFamily="34" charset="0"/>
            </a:endParaRPr>
          </a:p>
          <a:p>
            <a:endParaRPr lang="en-US" dirty="0">
              <a:cs typeface="Oracle Sans" panose="020B0503020204020204" pitchFamily="34" charset="0"/>
            </a:endParaRP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887307" y="2989711"/>
            <a:ext cx="960203" cy="1310754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152400" dist="12000" dir="900000" sy="98000" kx="110000" ky="200000" algn="tl" rotWithShape="0">
              <a:srgbClr val="000000">
                <a:alpha val="30000"/>
              </a:srgbClr>
            </a:outerShdw>
          </a:effectLst>
          <a:scene3d>
            <a:camera prst="perspectiveRelaxed">
              <a:rot lat="19800000" lon="1200000" rev="20820000"/>
            </a:camera>
            <a:lightRig rig="threePt" dir="t"/>
          </a:scene3d>
          <a:sp3d contourW="6350" prstMaterial="matte">
            <a:bevelT w="101600" h="101600"/>
            <a:contourClr>
              <a:srgbClr val="969696"/>
            </a:contourClr>
          </a:sp3d>
        </p:spPr>
      </p:pic>
    </p:spTree>
    <p:extLst>
      <p:ext uri="{BB962C8B-B14F-4D97-AF65-F5344CB8AC3E}">
        <p14:creationId xmlns:p14="http://schemas.microsoft.com/office/powerpoint/2010/main" val="16214088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31535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C38B6F3C-673A-2C4F-BDD8-A174DA9D4B4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12" r="91391"/>
          <a:stretch/>
        </p:blipFill>
        <p:spPr>
          <a:xfrm>
            <a:off x="-1" y="0"/>
            <a:ext cx="1083365" cy="6858000"/>
          </a:xfrm>
          <a:prstGeom prst="rect">
            <a:avLst/>
          </a:prstGeom>
        </p:spPr>
      </p:pic>
      <p:sp>
        <p:nvSpPr>
          <p:cNvPr id="10" name="Title 6"/>
          <p:cNvSpPr txBox="1">
            <a:spLocks/>
          </p:cNvSpPr>
          <p:nvPr/>
        </p:nvSpPr>
        <p:spPr>
          <a:xfrm>
            <a:off x="4601016" y="3017520"/>
            <a:ext cx="5642916" cy="822960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noAutofit/>
          </a:bodyPr>
          <a:lstStyle>
            <a:lvl1pPr algn="l" defTabSz="914400" rtl="0" eaLnBrk="1" latinLnBrk="0" hangingPunct="1">
              <a:lnSpc>
                <a:spcPct val="95000"/>
              </a:lnSpc>
              <a:spcBef>
                <a:spcPct val="0"/>
              </a:spcBef>
              <a:buNone/>
              <a:defRPr lang="en-US" sz="4000" b="0" i="0" kern="1200" baseline="0" dirty="0">
                <a:solidFill>
                  <a:schemeClr val="tx1"/>
                </a:solidFill>
                <a:latin typeface="+mj-lt"/>
                <a:ea typeface="+mn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5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noProof="0" dirty="0" smtClean="0">
                <a:solidFill>
                  <a:srgbClr val="FCFBFA"/>
                </a:solidFill>
                <a:latin typeface="Georgia"/>
              </a:rPr>
              <a:t>Resources</a:t>
            </a:r>
            <a:endParaRPr kumimoji="0" lang="en-US" sz="4000" b="0" i="0" u="none" strike="noStrike" kern="1200" cap="none" spc="0" normalizeH="0" baseline="0" noProof="0" dirty="0">
              <a:ln>
                <a:noFill/>
              </a:ln>
              <a:solidFill>
                <a:srgbClr val="FCFBFA"/>
              </a:solidFill>
              <a:effectLst/>
              <a:uLnTx/>
              <a:uFillTx/>
              <a:latin typeface="Georgia"/>
              <a:ea typeface="+mn-ea"/>
              <a:cs typeface="+mj-cs"/>
            </a:endParaRP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Copyright © 2024, Oracle and/or its affiliates. All rights reserved   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5D60D9-5372-5F40-9443-0F9AE5BDC3C8}" type="slidenum">
              <a:rPr lang="en-US" smtClean="0"/>
              <a:pPr/>
              <a:t>5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286561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00CD8F2-B0F7-441D-B4BE-88868207F4A7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>
          <a:xfrm>
            <a:off x="1127760" y="6424295"/>
            <a:ext cx="5745379" cy="365125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8B8580"/>
                </a:solidFill>
                <a:effectLst/>
                <a:uLnTx/>
                <a:uFillTx/>
                <a:latin typeface="Oracle Sans Tab"/>
                <a:ea typeface="+mn-ea"/>
                <a:cs typeface="+mn-cs"/>
              </a:rPr>
              <a:t>Copyright © 2024, Oracle and/or its affiliates. All rights reserved   </a:t>
            </a: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8B8580"/>
              </a:solidFill>
              <a:effectLst/>
              <a:uLnTx/>
              <a:uFillTx/>
              <a:latin typeface="Oracle Sans Tab"/>
              <a:ea typeface="+mn-ea"/>
              <a:cs typeface="+mn-cs"/>
            </a:endParaRP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1915"/>
          <a:stretch/>
        </p:blipFill>
        <p:spPr>
          <a:xfrm rot="16200000">
            <a:off x="7947573" y="2612270"/>
            <a:ext cx="6856703" cy="1632154"/>
          </a:xfrm>
          <a:prstGeom prst="rect">
            <a:avLst/>
          </a:prstGeom>
        </p:spPr>
      </p:pic>
      <p:pic>
        <p:nvPicPr>
          <p:cNvPr id="8" name="OTag">
            <a:extLst>
              <a:ext uri="{FF2B5EF4-FFF2-40B4-BE49-F238E27FC236}">
                <a16:creationId xmlns:a16="http://schemas.microsoft.com/office/drawing/2014/main" id="{000C5F04-372F-427E-81C5-11434B35699B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689080" y="6355080"/>
            <a:ext cx="502920" cy="502920"/>
          </a:xfrm>
          <a:prstGeom prst="rect">
            <a:avLst/>
          </a:prstGeom>
        </p:spPr>
      </p:pic>
      <p:sp>
        <p:nvSpPr>
          <p:cNvPr id="13" name="Rectangle 12"/>
          <p:cNvSpPr/>
          <p:nvPr/>
        </p:nvSpPr>
        <p:spPr>
          <a:xfrm>
            <a:off x="378552" y="641746"/>
            <a:ext cx="12216912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400" b="1" dirty="0" smtClean="0"/>
              <a:t>Oracle Database Backup Cloud Services   </a:t>
            </a:r>
          </a:p>
          <a:p>
            <a:endParaRPr lang="pt-BR" sz="800" dirty="0"/>
          </a:p>
          <a:p>
            <a:r>
              <a:rPr lang="pt-BR" sz="1400" dirty="0" smtClean="0"/>
              <a:t> </a:t>
            </a:r>
            <a:r>
              <a:rPr lang="pt-BR" sz="1400" dirty="0"/>
              <a:t>   </a:t>
            </a:r>
            <a:r>
              <a:rPr lang="pt-BR" sz="1400" dirty="0">
                <a:hlinkClick r:id="rId5"/>
              </a:rPr>
              <a:t>https://docs.oracle.com/en/cloud/paas/db-backup-cloud</a:t>
            </a:r>
            <a:r>
              <a:rPr lang="pt-BR" sz="1400" dirty="0" smtClean="0">
                <a:hlinkClick r:id="rId5"/>
              </a:rPr>
              <a:t>/</a:t>
            </a:r>
            <a:r>
              <a:rPr lang="pt-BR" sz="1400" dirty="0" smtClean="0"/>
              <a:t> </a:t>
            </a:r>
            <a:endParaRPr lang="pt-BR" sz="1400" dirty="0"/>
          </a:p>
        </p:txBody>
      </p:sp>
      <p:sp>
        <p:nvSpPr>
          <p:cNvPr id="17" name="Rectangle 16"/>
          <p:cNvSpPr/>
          <p:nvPr/>
        </p:nvSpPr>
        <p:spPr>
          <a:xfrm>
            <a:off x="378552" y="1496512"/>
            <a:ext cx="12216912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400" b="1" dirty="0"/>
              <a:t>Oracle NoSQL Database Cloud Service   </a:t>
            </a:r>
            <a:endParaRPr lang="pt-BR" sz="1400" b="1" dirty="0" smtClean="0"/>
          </a:p>
          <a:p>
            <a:endParaRPr lang="pt-BR" sz="800" dirty="0"/>
          </a:p>
          <a:p>
            <a:r>
              <a:rPr lang="pt-BR" sz="1400" dirty="0" smtClean="0"/>
              <a:t> </a:t>
            </a:r>
            <a:r>
              <a:rPr lang="pt-BR" sz="1400" dirty="0"/>
              <a:t>   </a:t>
            </a:r>
            <a:r>
              <a:rPr lang="pt-BR" sz="1400" dirty="0">
                <a:hlinkClick r:id="rId6"/>
              </a:rPr>
              <a:t>https://docs.oracle.com/en/cloud/paas/nosql-cloud</a:t>
            </a:r>
            <a:r>
              <a:rPr lang="pt-BR" sz="1400" dirty="0" smtClean="0">
                <a:hlinkClick r:id="rId6"/>
              </a:rPr>
              <a:t>/</a:t>
            </a:r>
            <a:r>
              <a:rPr lang="pt-BR" sz="1400" dirty="0" smtClean="0"/>
              <a:t>  </a:t>
            </a:r>
            <a:endParaRPr lang="pt-BR" sz="1400" dirty="0"/>
          </a:p>
        </p:txBody>
      </p:sp>
      <p:sp>
        <p:nvSpPr>
          <p:cNvPr id="18" name="Rectangle 17"/>
          <p:cNvSpPr/>
          <p:nvPr/>
        </p:nvSpPr>
        <p:spPr>
          <a:xfrm>
            <a:off x="378552" y="2352344"/>
            <a:ext cx="9454561" cy="8617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400" b="1" dirty="0" smtClean="0"/>
              <a:t>Exadata X9M </a:t>
            </a:r>
            <a:r>
              <a:rPr lang="pt-BR" sz="1400" b="1" dirty="0"/>
              <a:t>Datasheet </a:t>
            </a:r>
            <a:endParaRPr lang="pt-BR" sz="1400" b="1" dirty="0" smtClean="0"/>
          </a:p>
          <a:p>
            <a:endParaRPr lang="pt-BR" sz="800" dirty="0"/>
          </a:p>
          <a:p>
            <a:r>
              <a:rPr lang="pt-BR" sz="1400" dirty="0" smtClean="0"/>
              <a:t> </a:t>
            </a:r>
            <a:r>
              <a:rPr lang="pt-BR" sz="1400" dirty="0"/>
              <a:t>   </a:t>
            </a:r>
            <a:r>
              <a:rPr lang="pt-BR" sz="1400" dirty="0">
                <a:hlinkClick r:id="rId7"/>
              </a:rPr>
              <a:t>https://</a:t>
            </a:r>
            <a:r>
              <a:rPr lang="pt-BR" sz="1400" dirty="0" smtClean="0">
                <a:hlinkClick r:id="rId7"/>
              </a:rPr>
              <a:t>www.oracle.com/a/ocom/docs/engineered-systems/exadata/exadata-cloud-infrastructure-x9m-ds.pdf</a:t>
            </a:r>
            <a:r>
              <a:rPr lang="pt-BR" sz="1400" dirty="0" smtClean="0"/>
              <a:t>  </a:t>
            </a:r>
            <a:endParaRPr lang="pt-BR" sz="1400" dirty="0"/>
          </a:p>
          <a:p>
            <a:r>
              <a:rPr lang="pt-BR" sz="1400" dirty="0" smtClean="0"/>
              <a:t>   </a:t>
            </a:r>
            <a:endParaRPr lang="pt-BR" sz="1400" dirty="0"/>
          </a:p>
        </p:txBody>
      </p:sp>
      <p:sp>
        <p:nvSpPr>
          <p:cNvPr id="9" name="Rectangle 8"/>
          <p:cNvSpPr/>
          <p:nvPr/>
        </p:nvSpPr>
        <p:spPr>
          <a:xfrm>
            <a:off x="378551" y="3288694"/>
            <a:ext cx="9777834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400" b="1" dirty="0" smtClean="0"/>
              <a:t>Exadata Cloud Dbaascli commande reference   </a:t>
            </a:r>
          </a:p>
          <a:p>
            <a:endParaRPr lang="pt-BR" sz="800" dirty="0"/>
          </a:p>
          <a:p>
            <a:r>
              <a:rPr lang="pt-BR" sz="1400" dirty="0" smtClean="0"/>
              <a:t> </a:t>
            </a:r>
            <a:r>
              <a:rPr lang="pt-BR" sz="1400" dirty="0"/>
              <a:t>     </a:t>
            </a:r>
            <a:r>
              <a:rPr lang="pt-BR" sz="1400" dirty="0">
                <a:hlinkClick r:id="rId8"/>
              </a:rPr>
              <a:t>https://</a:t>
            </a:r>
            <a:r>
              <a:rPr lang="pt-BR" sz="1400" dirty="0" smtClean="0">
                <a:hlinkClick r:id="rId8"/>
              </a:rPr>
              <a:t>docs.oracle.com/pt-br/iaas/exadata/doc/ecc-using-dbaascli.html</a:t>
            </a:r>
            <a:r>
              <a:rPr lang="pt-BR" sz="1400" dirty="0" smtClean="0"/>
              <a:t>    </a:t>
            </a:r>
            <a:endParaRPr lang="pt-BR" sz="1400" dirty="0"/>
          </a:p>
        </p:txBody>
      </p:sp>
      <p:sp>
        <p:nvSpPr>
          <p:cNvPr id="12" name="Rectangle 11"/>
          <p:cNvSpPr/>
          <p:nvPr/>
        </p:nvSpPr>
        <p:spPr>
          <a:xfrm>
            <a:off x="378551" y="4190909"/>
            <a:ext cx="9777834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400" b="1" dirty="0" smtClean="0"/>
              <a:t>Exadata X10M Cloud at Customer </a:t>
            </a:r>
            <a:r>
              <a:rPr lang="pt-BR" sz="1400" b="1" dirty="0"/>
              <a:t>Datasheet   </a:t>
            </a:r>
            <a:endParaRPr lang="pt-BR" sz="1400" b="1" dirty="0" smtClean="0"/>
          </a:p>
          <a:p>
            <a:endParaRPr lang="pt-BR" sz="800" dirty="0"/>
          </a:p>
          <a:p>
            <a:r>
              <a:rPr lang="pt-BR" sz="1400" dirty="0" smtClean="0"/>
              <a:t> </a:t>
            </a:r>
            <a:r>
              <a:rPr lang="pt-BR" sz="1400" dirty="0"/>
              <a:t>     </a:t>
            </a:r>
            <a:r>
              <a:rPr lang="pt-BR" sz="1400" dirty="0">
                <a:hlinkClick r:id="rId9"/>
              </a:rPr>
              <a:t>https://</a:t>
            </a:r>
            <a:r>
              <a:rPr lang="pt-BR" sz="1400" dirty="0" smtClean="0">
                <a:hlinkClick r:id="rId9"/>
              </a:rPr>
              <a:t>www.oracle.com/a/ocom/docs/engineered-systems/exadata/exadb-cc-x10m-ds.pdf</a:t>
            </a:r>
            <a:r>
              <a:rPr lang="pt-BR" sz="1400" dirty="0" smtClean="0"/>
              <a:t>    </a:t>
            </a:r>
            <a:endParaRPr lang="pt-BR" sz="1400" dirty="0"/>
          </a:p>
        </p:txBody>
      </p:sp>
      <p:sp>
        <p:nvSpPr>
          <p:cNvPr id="14" name="Rectangle 13"/>
          <p:cNvSpPr/>
          <p:nvPr/>
        </p:nvSpPr>
        <p:spPr>
          <a:xfrm>
            <a:off x="378551" y="5234982"/>
            <a:ext cx="9777834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b="1" dirty="0"/>
              <a:t>Zero Data Loss Autonomous Recovery </a:t>
            </a:r>
            <a:r>
              <a:rPr lang="en-US" sz="1400" b="1" dirty="0" smtClean="0"/>
              <a:t>Service</a:t>
            </a:r>
            <a:endParaRPr lang="pt-BR" sz="1400" b="1" dirty="0" smtClean="0"/>
          </a:p>
          <a:p>
            <a:endParaRPr lang="pt-BR" sz="800" dirty="0"/>
          </a:p>
          <a:p>
            <a:r>
              <a:rPr lang="pt-BR" sz="1400" dirty="0" smtClean="0"/>
              <a:t> </a:t>
            </a:r>
            <a:r>
              <a:rPr lang="pt-BR" sz="1400" dirty="0"/>
              <a:t>     </a:t>
            </a:r>
            <a:r>
              <a:rPr lang="pt-BR" sz="1400" dirty="0">
                <a:hlinkClick r:id="rId10"/>
              </a:rPr>
              <a:t>https://</a:t>
            </a:r>
            <a:r>
              <a:rPr lang="pt-BR" sz="1400" dirty="0" smtClean="0">
                <a:hlinkClick r:id="rId10"/>
              </a:rPr>
              <a:t>www.oracle.com/database/zero-data-loss-autonomous-recovery-service</a:t>
            </a:r>
            <a:r>
              <a:rPr lang="pt-BR" sz="1400" dirty="0" smtClean="0"/>
              <a:t>     </a:t>
            </a:r>
            <a:endParaRPr lang="pt-BR" sz="140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345D60D9-5372-5F40-9443-0F9AE5BDC3C8}" type="slidenum">
              <a:rPr lang="en-US" smtClean="0"/>
              <a:pPr/>
              <a:t>5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039673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00CD8F2-B0F7-441D-B4BE-88868207F4A7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>
          <a:xfrm>
            <a:off x="1125352" y="6423660"/>
            <a:ext cx="5745379" cy="365125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8B8580"/>
                </a:solidFill>
                <a:effectLst/>
                <a:uLnTx/>
                <a:uFillTx/>
                <a:latin typeface="Oracle Sans Tab"/>
                <a:ea typeface="+mn-ea"/>
                <a:cs typeface="+mn-cs"/>
              </a:rPr>
              <a:t>Copyright © 2024, Oracle and/or its affiliates. All rights reserved   </a:t>
            </a: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8B8580"/>
              </a:solidFill>
              <a:effectLst/>
              <a:uLnTx/>
              <a:uFillTx/>
              <a:latin typeface="Oracle Sans Tab"/>
              <a:ea typeface="+mn-ea"/>
              <a:cs typeface="+mn-cs"/>
            </a:endParaRP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1915"/>
          <a:stretch/>
        </p:blipFill>
        <p:spPr>
          <a:xfrm rot="16200000">
            <a:off x="7947573" y="2612270"/>
            <a:ext cx="6856703" cy="1632154"/>
          </a:xfrm>
          <a:prstGeom prst="rect">
            <a:avLst/>
          </a:prstGeom>
        </p:spPr>
      </p:pic>
      <p:pic>
        <p:nvPicPr>
          <p:cNvPr id="8" name="OTag">
            <a:extLst>
              <a:ext uri="{FF2B5EF4-FFF2-40B4-BE49-F238E27FC236}">
                <a16:creationId xmlns:a16="http://schemas.microsoft.com/office/drawing/2014/main" id="{000C5F04-372F-427E-81C5-11434B35699B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689080" y="6355080"/>
            <a:ext cx="502920" cy="502920"/>
          </a:xfrm>
          <a:prstGeom prst="rect">
            <a:avLst/>
          </a:prstGeom>
        </p:spPr>
      </p:pic>
      <p:sp>
        <p:nvSpPr>
          <p:cNvPr id="6" name="Rectangle 5"/>
          <p:cNvSpPr/>
          <p:nvPr/>
        </p:nvSpPr>
        <p:spPr>
          <a:xfrm>
            <a:off x="378552" y="561143"/>
            <a:ext cx="8548441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400" b="1" dirty="0"/>
              <a:t>Oracle </a:t>
            </a:r>
            <a:r>
              <a:rPr lang="pt-BR" sz="1400" b="1" dirty="0" smtClean="0"/>
              <a:t> oci License </a:t>
            </a:r>
            <a:r>
              <a:rPr lang="pt-BR" sz="1400" b="1" dirty="0"/>
              <a:t>Management Services</a:t>
            </a:r>
          </a:p>
          <a:p>
            <a:endParaRPr lang="pt-BR" sz="800" dirty="0" smtClean="0"/>
          </a:p>
          <a:p>
            <a:r>
              <a:rPr lang="pt-BR" sz="1400" dirty="0">
                <a:hlinkClick r:id="rId5"/>
              </a:rPr>
              <a:t>https://</a:t>
            </a:r>
            <a:r>
              <a:rPr lang="pt-BR" sz="1400" dirty="0" smtClean="0">
                <a:hlinkClick r:id="rId5"/>
              </a:rPr>
              <a:t>www.oracle.com/corporate/license-management-services/</a:t>
            </a:r>
            <a:endParaRPr lang="pt-BR" sz="1400" dirty="0"/>
          </a:p>
        </p:txBody>
      </p:sp>
      <p:sp>
        <p:nvSpPr>
          <p:cNvPr id="5" name="Rectangle 4"/>
          <p:cNvSpPr/>
          <p:nvPr/>
        </p:nvSpPr>
        <p:spPr>
          <a:xfrm>
            <a:off x="378550" y="1494395"/>
            <a:ext cx="10296939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400" b="1" dirty="0" smtClean="0"/>
              <a:t>Exadata Cloud at Customer Documentation </a:t>
            </a:r>
            <a:endParaRPr lang="pt-BR" sz="1400" b="1" dirty="0"/>
          </a:p>
          <a:p>
            <a:endParaRPr lang="pt-BR" sz="800" dirty="0" smtClean="0"/>
          </a:p>
          <a:p>
            <a:r>
              <a:rPr lang="pt-BR" sz="1400" dirty="0" smtClean="0">
                <a:hlinkClick r:id="rId6"/>
              </a:rPr>
              <a:t>https</a:t>
            </a:r>
            <a:r>
              <a:rPr lang="pt-BR" sz="1400" dirty="0">
                <a:hlinkClick r:id="rId6"/>
              </a:rPr>
              <a:t>://docs.oracle.com/en/engineered-systems/exadata-cloud-at-customer</a:t>
            </a:r>
            <a:r>
              <a:rPr lang="pt-BR" sz="1400" dirty="0" smtClean="0">
                <a:hlinkClick r:id="rId6"/>
              </a:rPr>
              <a:t>/</a:t>
            </a:r>
            <a:r>
              <a:rPr lang="pt-BR" sz="1400" dirty="0" smtClean="0"/>
              <a:t> </a:t>
            </a:r>
            <a:endParaRPr lang="pt-BR" sz="1400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345D60D9-5372-5F40-9443-0F9AE5BDC3C8}" type="slidenum">
              <a:rPr lang="en-US" smtClean="0"/>
              <a:pPr/>
              <a:t>59</a:t>
            </a:fld>
            <a:endParaRPr lang="en-US" dirty="0"/>
          </a:p>
        </p:txBody>
      </p:sp>
      <p:sp>
        <p:nvSpPr>
          <p:cNvPr id="10" name="Rectangle 9"/>
          <p:cNvSpPr/>
          <p:nvPr/>
        </p:nvSpPr>
        <p:spPr>
          <a:xfrm>
            <a:off x="378550" y="2427647"/>
            <a:ext cx="10296939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400" b="1" dirty="0" smtClean="0"/>
              <a:t>Exadata Cloud Services documentation</a:t>
            </a:r>
            <a:endParaRPr lang="pt-BR" sz="1400" b="1" dirty="0"/>
          </a:p>
          <a:p>
            <a:endParaRPr lang="pt-BR" sz="800" dirty="0" smtClean="0"/>
          </a:p>
          <a:p>
            <a:r>
              <a:rPr lang="pt-BR" sz="1400" dirty="0">
                <a:hlinkClick r:id="rId7"/>
              </a:rPr>
              <a:t>https://</a:t>
            </a:r>
            <a:r>
              <a:rPr lang="pt-BR" sz="1400" dirty="0" smtClean="0">
                <a:hlinkClick r:id="rId7"/>
              </a:rPr>
              <a:t>docs.oracle.com/en-us/iaas/exadatacloud/exacs/exadata-cloud-infrastructure-overview.html</a:t>
            </a:r>
            <a:r>
              <a:rPr lang="pt-BR" sz="1400" dirty="0" smtClean="0"/>
              <a:t>  </a:t>
            </a:r>
            <a:endParaRPr lang="pt-BR" sz="1400" dirty="0"/>
          </a:p>
        </p:txBody>
      </p:sp>
      <p:sp>
        <p:nvSpPr>
          <p:cNvPr id="11" name="Rectangle 10"/>
          <p:cNvSpPr/>
          <p:nvPr/>
        </p:nvSpPr>
        <p:spPr>
          <a:xfrm>
            <a:off x="378550" y="3360899"/>
            <a:ext cx="10037659" cy="8617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400" b="1" dirty="0" smtClean="0"/>
              <a:t>Exadata Cloud Dedicated on Azure</a:t>
            </a:r>
            <a:endParaRPr lang="pt-BR" sz="1400" b="1" dirty="0"/>
          </a:p>
          <a:p>
            <a:endParaRPr lang="pt-BR" sz="800" dirty="0" smtClean="0"/>
          </a:p>
          <a:p>
            <a:r>
              <a:rPr lang="pt-BR" sz="1400" dirty="0">
                <a:hlinkClick r:id="rId8"/>
              </a:rPr>
              <a:t>https://</a:t>
            </a:r>
            <a:r>
              <a:rPr lang="pt-BR" sz="1400" dirty="0" smtClean="0">
                <a:hlinkClick r:id="rId8"/>
              </a:rPr>
              <a:t>docs.oracle.com/en/solutions/deploy-exadata-on-oracle-db-azure/index.html#GUID-5EBF9A57-D710-48C4-BDDA-7E71A10AC62B</a:t>
            </a:r>
            <a:r>
              <a:rPr lang="pt-BR" sz="1400" dirty="0" smtClean="0"/>
              <a:t>   </a:t>
            </a:r>
            <a:endParaRPr lang="pt-BR" sz="1400" dirty="0"/>
          </a:p>
        </p:txBody>
      </p:sp>
      <p:sp>
        <p:nvSpPr>
          <p:cNvPr id="12" name="Rectangle 11"/>
          <p:cNvSpPr/>
          <p:nvPr/>
        </p:nvSpPr>
        <p:spPr>
          <a:xfrm>
            <a:off x="450369" y="4401871"/>
            <a:ext cx="10037659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400" b="1" dirty="0" smtClean="0"/>
              <a:t>Oracle Live Labs</a:t>
            </a:r>
            <a:endParaRPr lang="pt-BR" sz="1400" b="1" dirty="0"/>
          </a:p>
          <a:p>
            <a:endParaRPr lang="pt-BR" sz="800" dirty="0" smtClean="0"/>
          </a:p>
          <a:p>
            <a:r>
              <a:rPr lang="pt-BR" sz="1400" dirty="0">
                <a:hlinkClick r:id="rId9"/>
              </a:rPr>
              <a:t>https://</a:t>
            </a:r>
            <a:r>
              <a:rPr lang="pt-BR" sz="1400" dirty="0" smtClean="0">
                <a:hlinkClick r:id="rId9"/>
              </a:rPr>
              <a:t>apexapps.oracle.com/pls/apex/r/dbpm/livelabs/home</a:t>
            </a:r>
            <a:r>
              <a:rPr lang="pt-BR" sz="1400" dirty="0" smtClean="0"/>
              <a:t>   </a:t>
            </a:r>
            <a:endParaRPr lang="pt-BR" sz="1400" dirty="0"/>
          </a:p>
        </p:txBody>
      </p:sp>
      <p:sp>
        <p:nvSpPr>
          <p:cNvPr id="13" name="Rectangle 12"/>
          <p:cNvSpPr/>
          <p:nvPr/>
        </p:nvSpPr>
        <p:spPr>
          <a:xfrm>
            <a:off x="450368" y="5274965"/>
            <a:ext cx="10037659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400" b="1" dirty="0" smtClean="0"/>
              <a:t>Live Labs - Oracle </a:t>
            </a:r>
            <a:r>
              <a:rPr lang="pt-BR" sz="1400" b="1" dirty="0"/>
              <a:t>NoSQL powers Video On-Demand applications</a:t>
            </a:r>
            <a:endParaRPr lang="pt-BR" sz="1400" b="1" dirty="0"/>
          </a:p>
          <a:p>
            <a:endParaRPr lang="pt-BR" sz="800" dirty="0" smtClean="0"/>
          </a:p>
          <a:p>
            <a:r>
              <a:rPr lang="pt-BR" sz="1400" dirty="0"/>
              <a:t>   </a:t>
            </a:r>
            <a:r>
              <a:rPr lang="pt-BR" sz="1400" dirty="0">
                <a:hlinkClick r:id="rId10"/>
              </a:rPr>
              <a:t>https://apexapps.oracle.com/pls/apex/f?p=133:180:17361911969675::::</a:t>
            </a:r>
            <a:r>
              <a:rPr lang="pt-BR" sz="1400" dirty="0" smtClean="0">
                <a:hlinkClick r:id="rId10"/>
              </a:rPr>
              <a:t>wid:3694</a:t>
            </a:r>
            <a:r>
              <a:rPr lang="pt-BR" sz="1400" dirty="0" smtClean="0"/>
              <a:t> </a:t>
            </a:r>
            <a:endParaRPr lang="pt-BR" sz="1400" dirty="0"/>
          </a:p>
        </p:txBody>
      </p:sp>
    </p:spTree>
    <p:extLst>
      <p:ext uri="{BB962C8B-B14F-4D97-AF65-F5344CB8AC3E}">
        <p14:creationId xmlns:p14="http://schemas.microsoft.com/office/powerpoint/2010/main" val="33307396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31535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C38B6F3C-673A-2C4F-BDD8-A174DA9D4B4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12" r="91391"/>
          <a:stretch/>
        </p:blipFill>
        <p:spPr>
          <a:xfrm>
            <a:off x="-1" y="0"/>
            <a:ext cx="1083365" cy="6858000"/>
          </a:xfrm>
          <a:prstGeom prst="rect">
            <a:avLst/>
          </a:prstGeom>
        </p:spPr>
      </p:pic>
      <p:sp>
        <p:nvSpPr>
          <p:cNvPr id="10" name="Title 6"/>
          <p:cNvSpPr txBox="1">
            <a:spLocks/>
          </p:cNvSpPr>
          <p:nvPr/>
        </p:nvSpPr>
        <p:spPr>
          <a:xfrm>
            <a:off x="2493920" y="3111287"/>
            <a:ext cx="8187332" cy="822960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noAutofit/>
          </a:bodyPr>
          <a:lstStyle>
            <a:lvl1pPr algn="l" defTabSz="914400" rtl="0" eaLnBrk="1" latinLnBrk="0" hangingPunct="1">
              <a:lnSpc>
                <a:spcPct val="95000"/>
              </a:lnSpc>
              <a:spcBef>
                <a:spcPct val="0"/>
              </a:spcBef>
              <a:buNone/>
              <a:defRPr lang="en-US" sz="4000" b="0" i="0" kern="1200" baseline="0" dirty="0">
                <a:solidFill>
                  <a:schemeClr val="tx1"/>
                </a:solidFill>
                <a:latin typeface="+mj-lt"/>
                <a:ea typeface="+mn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5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>
                <a:solidFill>
                  <a:srgbClr val="FCFBFA"/>
                </a:solidFill>
                <a:latin typeface="Georgia"/>
              </a:rPr>
              <a:t>Oracle Database deploy options </a:t>
            </a:r>
            <a:endParaRPr kumimoji="0" lang="en-US" sz="4000" b="0" i="0" u="none" strike="noStrike" kern="1200" cap="none" spc="0" normalizeH="0" baseline="0" noProof="0" dirty="0">
              <a:ln>
                <a:noFill/>
              </a:ln>
              <a:solidFill>
                <a:srgbClr val="FCFBFA"/>
              </a:solidFill>
              <a:effectLst/>
              <a:uLnTx/>
              <a:uFillTx/>
              <a:latin typeface="Georgia"/>
              <a:ea typeface="+mn-ea"/>
              <a:cs typeface="+mj-cs"/>
            </a:endParaRP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Copyright © 2024, Oracle and/or its affiliates. All rights reserved   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5D60D9-5372-5F40-9443-0F9AE5BDC3C8}" type="slidenum">
              <a:rPr lang="en-US" smtClean="0"/>
              <a:pPr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082423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00CD8F2-B0F7-441D-B4BE-88868207F4A7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>
          <a:xfrm>
            <a:off x="1125352" y="6423660"/>
            <a:ext cx="5745379" cy="365125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8B8580"/>
                </a:solidFill>
                <a:effectLst/>
                <a:uLnTx/>
                <a:uFillTx/>
                <a:latin typeface="Oracle Sans Tab"/>
                <a:ea typeface="+mn-ea"/>
                <a:cs typeface="+mn-cs"/>
              </a:rPr>
              <a:t>Copyright © 2024, Oracle and/or its affiliates. All rights reserved   </a:t>
            </a: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8B8580"/>
              </a:solidFill>
              <a:effectLst/>
              <a:uLnTx/>
              <a:uFillTx/>
              <a:latin typeface="Oracle Sans Tab"/>
              <a:ea typeface="+mn-ea"/>
              <a:cs typeface="+mn-cs"/>
            </a:endParaRP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1915"/>
          <a:stretch/>
        </p:blipFill>
        <p:spPr>
          <a:xfrm rot="16200000">
            <a:off x="8001650" y="2666347"/>
            <a:ext cx="6856703" cy="1524000"/>
          </a:xfrm>
          <a:prstGeom prst="rect">
            <a:avLst/>
          </a:prstGeom>
        </p:spPr>
      </p:pic>
      <p:pic>
        <p:nvPicPr>
          <p:cNvPr id="8" name="OTag">
            <a:extLst>
              <a:ext uri="{FF2B5EF4-FFF2-40B4-BE49-F238E27FC236}">
                <a16:creationId xmlns:a16="http://schemas.microsoft.com/office/drawing/2014/main" id="{000C5F04-372F-427E-81C5-11434B35699B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689080" y="6355080"/>
            <a:ext cx="502920" cy="502920"/>
          </a:xfrm>
          <a:prstGeom prst="rect">
            <a:avLst/>
          </a:prstGeom>
        </p:spPr>
      </p:pic>
      <p:sp>
        <p:nvSpPr>
          <p:cNvPr id="9" name="Slide Number Placeholder 8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345D60D9-5372-5F40-9443-0F9AE5BDC3C8}" type="slidenum">
              <a:rPr lang="en-US" smtClean="0"/>
              <a:pPr/>
              <a:t>60</a:t>
            </a:fld>
            <a:endParaRPr lang="en-US" dirty="0"/>
          </a:p>
        </p:txBody>
      </p:sp>
      <p:sp>
        <p:nvSpPr>
          <p:cNvPr id="14" name="Rectangle 13"/>
          <p:cNvSpPr/>
          <p:nvPr/>
        </p:nvSpPr>
        <p:spPr>
          <a:xfrm>
            <a:off x="211829" y="636705"/>
            <a:ext cx="10456171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400" b="1" dirty="0" smtClean="0"/>
              <a:t>Live Labs - </a:t>
            </a:r>
            <a:r>
              <a:rPr lang="en-US" sz="1400" b="1" dirty="0"/>
              <a:t>Discover </a:t>
            </a:r>
            <a:r>
              <a:rPr lang="en-US" sz="1400" b="1" dirty="0" err="1"/>
              <a:t>Serverless</a:t>
            </a:r>
            <a:r>
              <a:rPr lang="en-US" sz="1400" b="1" dirty="0"/>
              <a:t> Apps Using NoSQL Cloud </a:t>
            </a:r>
            <a:r>
              <a:rPr lang="en-US" sz="1400" b="1" dirty="0" smtClean="0"/>
              <a:t>Service </a:t>
            </a:r>
            <a:endParaRPr lang="pt-BR" sz="1400" b="1" dirty="0"/>
          </a:p>
          <a:p>
            <a:endParaRPr lang="pt-BR" sz="800" dirty="0" smtClean="0"/>
          </a:p>
          <a:p>
            <a:r>
              <a:rPr lang="pt-BR" sz="1400" dirty="0"/>
              <a:t>   </a:t>
            </a:r>
            <a:r>
              <a:rPr lang="pt-BR" sz="1400" dirty="0">
                <a:hlinkClick r:id="rId5"/>
              </a:rPr>
              <a:t>https://</a:t>
            </a:r>
            <a:r>
              <a:rPr lang="pt-BR" sz="1400" dirty="0" smtClean="0">
                <a:hlinkClick r:id="rId5"/>
              </a:rPr>
              <a:t>apexapps.oracle.com/pls/apex/r/dbpm/livelabs/view-workshop?wid=879&amp;clear=RR,180&amp;session=17361911969675</a:t>
            </a:r>
            <a:r>
              <a:rPr lang="pt-BR" sz="1400" dirty="0" smtClean="0"/>
              <a:t>  </a:t>
            </a:r>
            <a:endParaRPr lang="pt-BR" sz="1400" dirty="0"/>
          </a:p>
        </p:txBody>
      </p:sp>
      <p:sp>
        <p:nvSpPr>
          <p:cNvPr id="15" name="Rectangle 14"/>
          <p:cNvSpPr/>
          <p:nvPr/>
        </p:nvSpPr>
        <p:spPr>
          <a:xfrm>
            <a:off x="211829" y="1548684"/>
            <a:ext cx="10456171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400" b="1" dirty="0" smtClean="0"/>
              <a:t>Live Labs - </a:t>
            </a:r>
            <a:r>
              <a:rPr lang="en-US" sz="1400" b="1" dirty="0"/>
              <a:t> NoSQL Cloud Service</a:t>
            </a:r>
            <a:endParaRPr lang="pt-BR" sz="1400" b="1" dirty="0"/>
          </a:p>
          <a:p>
            <a:endParaRPr lang="pt-BR" sz="800" dirty="0" smtClean="0"/>
          </a:p>
          <a:p>
            <a:r>
              <a:rPr lang="pt-BR" sz="1400" dirty="0"/>
              <a:t>   </a:t>
            </a:r>
            <a:r>
              <a:rPr lang="pt-BR" sz="1400" dirty="0">
                <a:hlinkClick r:id="rId6"/>
              </a:rPr>
              <a:t>https://apexapps.oracle.com/pls/apex/f?p=133:180:17361911969675::::</a:t>
            </a:r>
            <a:r>
              <a:rPr lang="pt-BR" sz="1400" dirty="0" smtClean="0">
                <a:hlinkClick r:id="rId6"/>
              </a:rPr>
              <a:t>wid:642</a:t>
            </a:r>
            <a:r>
              <a:rPr lang="pt-BR" sz="1400" dirty="0" smtClean="0"/>
              <a:t>   </a:t>
            </a:r>
            <a:endParaRPr lang="pt-BR" sz="1400" dirty="0"/>
          </a:p>
        </p:txBody>
      </p:sp>
      <p:sp>
        <p:nvSpPr>
          <p:cNvPr id="16" name="Rectangle 15"/>
          <p:cNvSpPr/>
          <p:nvPr/>
        </p:nvSpPr>
        <p:spPr>
          <a:xfrm>
            <a:off x="211829" y="2460663"/>
            <a:ext cx="10456171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400" b="1" dirty="0"/>
              <a:t>Oracle NoSQL Database Cloud Service: Most flexible NoSQL Database</a:t>
            </a:r>
            <a:endParaRPr lang="pt-BR" sz="1400" b="1" dirty="0"/>
          </a:p>
          <a:p>
            <a:endParaRPr lang="pt-BR" sz="800" dirty="0" smtClean="0"/>
          </a:p>
          <a:p>
            <a:r>
              <a:rPr lang="pt-BR" sz="1400" dirty="0"/>
              <a:t>   </a:t>
            </a:r>
            <a:r>
              <a:rPr lang="pt-BR" sz="1400" dirty="0">
                <a:hlinkClick r:id="rId7"/>
              </a:rPr>
              <a:t>https://</a:t>
            </a:r>
            <a:r>
              <a:rPr lang="pt-BR" sz="1400" dirty="0" smtClean="0">
                <a:hlinkClick r:id="rId7"/>
              </a:rPr>
              <a:t>www.youtube.com/watch?v=TtZOy_NRouc</a:t>
            </a:r>
            <a:r>
              <a:rPr lang="pt-BR" sz="1400" dirty="0" smtClean="0"/>
              <a:t>    </a:t>
            </a:r>
            <a:endParaRPr lang="pt-BR" sz="1400" dirty="0"/>
          </a:p>
        </p:txBody>
      </p:sp>
    </p:spTree>
    <p:extLst>
      <p:ext uri="{BB962C8B-B14F-4D97-AF65-F5344CB8AC3E}">
        <p14:creationId xmlns:p14="http://schemas.microsoft.com/office/powerpoint/2010/main" val="34437450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DECF718-0DB4-4FB6-90B9-39F449AB1A8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ank you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BD2AE35-378D-4EA0-9A97-70973497B109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/>
        <p:txBody>
          <a:bodyPr/>
          <a:lstStyle/>
          <a:p>
            <a:r>
              <a:rPr lang="en-US" dirty="0" smtClean="0"/>
              <a:t>Marcel Lamarca</a:t>
            </a:r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BE90CFF-9BB4-4CBE-955B-22099F84A4CF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/>
        <p:txBody>
          <a:bodyPr/>
          <a:lstStyle/>
          <a:p>
            <a:r>
              <a:rPr lang="en-US" dirty="0" smtClean="0"/>
              <a:t>marcel.lamarca@oracle.com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580713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4048407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" name="Text Placeholder 64">
            <a:extLst>
              <a:ext uri="{FF2B5EF4-FFF2-40B4-BE49-F238E27FC236}">
                <a16:creationId xmlns:a16="http://schemas.microsoft.com/office/drawing/2014/main" id="{BAB0BDCA-A6FE-3343-903F-A4293CFCFC2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801099" y="1004659"/>
            <a:ext cx="10671048" cy="330540"/>
          </a:xfrm>
        </p:spPr>
        <p:txBody>
          <a:bodyPr/>
          <a:lstStyle/>
          <a:p>
            <a:r>
              <a:rPr lang="en-US" dirty="0">
                <a:latin typeface="Oracle Sans" panose="020B0503020204020204" pitchFamily="34" charset="0"/>
                <a:cs typeface="Oracle Sans" panose="020B0503020204020204" pitchFamily="34" charset="0"/>
              </a:rPr>
              <a:t>Use a single database for all deployments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92B673FF-1B14-B04A-82E6-D8B2AFFE63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800" dirty="0">
                <a:latin typeface="Oracle Sans" panose="020B0503020204020204" pitchFamily="34" charset="0"/>
                <a:cs typeface="Oracle Sans" panose="020B0503020204020204" pitchFamily="34" charset="0"/>
              </a:rPr>
              <a:t>Choice of control and hybrid strategies 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0BD7DBB8-0CAA-2E45-AB28-C758288459C2}"/>
              </a:ext>
            </a:extLst>
          </p:cNvPr>
          <p:cNvSpPr/>
          <p:nvPr/>
        </p:nvSpPr>
        <p:spPr bwMode="gray">
          <a:xfrm>
            <a:off x="762000" y="2116509"/>
            <a:ext cx="10241280" cy="2856119"/>
          </a:xfrm>
          <a:prstGeom prst="rect">
            <a:avLst/>
          </a:prstGeom>
          <a:solidFill>
            <a:srgbClr val="41727E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274249" tIns="45683" rIns="365570" bIns="4568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Tx/>
              <a:buFontTx/>
              <a:buNone/>
              <a:defRPr/>
            </a:pPr>
            <a:endParaRPr kumimoji="0" lang="en-US" sz="1400" u="none" strike="noStrike" kern="0" cap="none" spc="-50" normalizeH="0" baseline="0" noProof="0">
              <a:ln>
                <a:noFill/>
              </a:ln>
              <a:solidFill>
                <a:srgbClr val="DCE3E4"/>
              </a:solidFill>
              <a:effectLst/>
              <a:uLnTx/>
              <a:uFillTx/>
              <a:latin typeface="Oracle Sans" panose="020B0503020204020204" pitchFamily="34" charset="0"/>
              <a:cs typeface="Oracle Sans" panose="020B0503020204020204" pitchFamily="34" charset="0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8EC647E2-45FE-B440-9899-52E079FD398F}"/>
              </a:ext>
            </a:extLst>
          </p:cNvPr>
          <p:cNvSpPr/>
          <p:nvPr/>
        </p:nvSpPr>
        <p:spPr>
          <a:xfrm>
            <a:off x="9747290" y="3930846"/>
            <a:ext cx="1019534" cy="764651"/>
          </a:xfrm>
          <a:prstGeom prst="rect">
            <a:avLst/>
          </a:prstGeom>
          <a:noFill/>
          <a:ln w="19050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n-US" sz="90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racle Sans" panose="020B0503020204020204" pitchFamily="34" charset="0"/>
                <a:cs typeface="Oracle Sans" panose="020B0503020204020204" pitchFamily="34" charset="0"/>
              </a:rPr>
              <a:t>Customer- managed  workloads running on commodity h/w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6E2BFC56-1D3A-3644-9AD5-9D5309078E01}"/>
              </a:ext>
            </a:extLst>
          </p:cNvPr>
          <p:cNvSpPr txBox="1"/>
          <p:nvPr/>
        </p:nvSpPr>
        <p:spPr>
          <a:xfrm>
            <a:off x="9701990" y="3080690"/>
            <a:ext cx="1110133" cy="44471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>
              <a:defRPr/>
            </a:pPr>
            <a:r>
              <a:rPr lang="en-US" sz="1100">
                <a:solidFill>
                  <a:srgbClr val="DCE3E4"/>
                </a:solidFill>
                <a:latin typeface="Oracle Sans" panose="020B0503020204020204" pitchFamily="34" charset="0"/>
                <a:cs typeface="Oracle Sans" panose="020B0503020204020204" pitchFamily="34" charset="0"/>
              </a:rPr>
              <a:t>Commodity HW, On-site</a:t>
            </a:r>
          </a:p>
          <a:p>
            <a:pPr algn="ctr">
              <a:defRPr/>
            </a:pPr>
            <a:endParaRPr lang="en-US" sz="1100">
              <a:solidFill>
                <a:srgbClr val="DCE3E4"/>
              </a:solidFill>
              <a:latin typeface="Oracle Sans" panose="020B0503020204020204" pitchFamily="34" charset="0"/>
              <a:cs typeface="Oracle Sans" panose="020B0503020204020204" pitchFamily="34" charset="0"/>
            </a:endParaRPr>
          </a:p>
        </p:txBody>
      </p:sp>
      <p:pic>
        <p:nvPicPr>
          <p:cNvPr id="29" name="Picture 28">
            <a:extLst>
              <a:ext uri="{FF2B5EF4-FFF2-40B4-BE49-F238E27FC236}">
                <a16:creationId xmlns:a16="http://schemas.microsoft.com/office/drawing/2014/main" id="{47A62BC3-1F02-4544-8ADE-2C33AB8E8645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85261" y="2372317"/>
            <a:ext cx="543592" cy="581873"/>
          </a:xfrm>
          <a:prstGeom prst="rect">
            <a:avLst/>
          </a:prstGeom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51460405-2AD1-3B46-8597-B056D33D4910}"/>
              </a:ext>
            </a:extLst>
          </p:cNvPr>
          <p:cNvSpPr/>
          <p:nvPr/>
        </p:nvSpPr>
        <p:spPr>
          <a:xfrm>
            <a:off x="8451116" y="3930846"/>
            <a:ext cx="1019533" cy="764651"/>
          </a:xfrm>
          <a:prstGeom prst="rect">
            <a:avLst/>
          </a:prstGeom>
          <a:noFill/>
          <a:ln w="19050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n-US" sz="90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racle Sans" panose="020B0503020204020204" pitchFamily="34" charset="0"/>
                <a:cs typeface="Oracle Sans" panose="020B0503020204020204" pitchFamily="34" charset="0"/>
              </a:rPr>
              <a:t>For sensitive data with higher availability, perf needs 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52334DE0-A4AC-AF46-AB5B-ABF9DBF228A0}"/>
              </a:ext>
            </a:extLst>
          </p:cNvPr>
          <p:cNvSpPr/>
          <p:nvPr/>
        </p:nvSpPr>
        <p:spPr>
          <a:xfrm>
            <a:off x="8330546" y="3080690"/>
            <a:ext cx="1308680" cy="384721"/>
          </a:xfrm>
          <a:prstGeom prst="rect">
            <a:avLst/>
          </a:prstGeom>
        </p:spPr>
        <p:txBody>
          <a:bodyPr wrap="square" tIns="0">
            <a:spAutoFit/>
          </a:bodyPr>
          <a:lstStyle/>
          <a:p>
            <a:pPr algn="ctr">
              <a:defRPr/>
            </a:pPr>
            <a:r>
              <a:rPr lang="en-US" sz="1100">
                <a:solidFill>
                  <a:srgbClr val="DCE3E4"/>
                </a:solidFill>
                <a:latin typeface="Oracle Sans" panose="020B0503020204020204" pitchFamily="34" charset="0"/>
                <a:cs typeface="Oracle Sans" panose="020B0503020204020204" pitchFamily="34" charset="0"/>
              </a:rPr>
              <a:t>Oracle Exadata </a:t>
            </a:r>
            <a:br>
              <a:rPr lang="en-US" sz="1100">
                <a:solidFill>
                  <a:srgbClr val="DCE3E4"/>
                </a:solidFill>
                <a:latin typeface="Oracle Sans" panose="020B0503020204020204" pitchFamily="34" charset="0"/>
                <a:cs typeface="Oracle Sans" panose="020B0503020204020204" pitchFamily="34" charset="0"/>
              </a:rPr>
            </a:br>
            <a:r>
              <a:rPr lang="en-US" sz="1100">
                <a:solidFill>
                  <a:srgbClr val="DCE3E4"/>
                </a:solidFill>
                <a:latin typeface="Oracle Sans" panose="020B0503020204020204" pitchFamily="34" charset="0"/>
                <a:cs typeface="Oracle Sans" panose="020B0503020204020204" pitchFamily="34" charset="0"/>
              </a:rPr>
              <a:t>On-Premises</a:t>
            </a:r>
          </a:p>
        </p:txBody>
      </p:sp>
      <p:sp>
        <p:nvSpPr>
          <p:cNvPr id="30" name="Freeform 10">
            <a:extLst>
              <a:ext uri="{FF2B5EF4-FFF2-40B4-BE49-F238E27FC236}">
                <a16:creationId xmlns:a16="http://schemas.microsoft.com/office/drawing/2014/main" id="{12565BEB-7DCF-1B44-8F91-22F269DC43FF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8809693" y="2466550"/>
            <a:ext cx="362103" cy="487640"/>
          </a:xfrm>
          <a:custGeom>
            <a:avLst/>
            <a:gdLst>
              <a:gd name="T0" fmla="*/ 325 w 2201"/>
              <a:gd name="T1" fmla="*/ 602 h 2964"/>
              <a:gd name="T2" fmla="*/ 741 w 2201"/>
              <a:gd name="T3" fmla="*/ 625 h 2964"/>
              <a:gd name="T4" fmla="*/ 788 w 2201"/>
              <a:gd name="T5" fmla="*/ 637 h 2964"/>
              <a:gd name="T6" fmla="*/ 927 w 2201"/>
              <a:gd name="T7" fmla="*/ 672 h 2964"/>
              <a:gd name="T8" fmla="*/ 1251 w 2201"/>
              <a:gd name="T9" fmla="*/ 787 h 2964"/>
              <a:gd name="T10" fmla="*/ 1309 w 2201"/>
              <a:gd name="T11" fmla="*/ 811 h 2964"/>
              <a:gd name="T12" fmla="*/ 1552 w 2201"/>
              <a:gd name="T13" fmla="*/ 915 h 2964"/>
              <a:gd name="T14" fmla="*/ 1621 w 2201"/>
              <a:gd name="T15" fmla="*/ 949 h 2964"/>
              <a:gd name="T16" fmla="*/ 1818 w 2201"/>
              <a:gd name="T17" fmla="*/ 1077 h 2964"/>
              <a:gd name="T18" fmla="*/ 1934 w 2201"/>
              <a:gd name="T19" fmla="*/ 1169 h 2964"/>
              <a:gd name="T20" fmla="*/ 1969 w 2201"/>
              <a:gd name="T21" fmla="*/ 1135 h 2964"/>
              <a:gd name="T22" fmla="*/ 1853 w 2201"/>
              <a:gd name="T23" fmla="*/ 336 h 2964"/>
              <a:gd name="T24" fmla="*/ 325 w 2201"/>
              <a:gd name="T25" fmla="*/ 533 h 2964"/>
              <a:gd name="T26" fmla="*/ 1251 w 2201"/>
              <a:gd name="T27" fmla="*/ 602 h 2964"/>
              <a:gd name="T28" fmla="*/ 892 w 2201"/>
              <a:gd name="T29" fmla="*/ 533 h 2964"/>
              <a:gd name="T30" fmla="*/ 463 w 2201"/>
              <a:gd name="T31" fmla="*/ 463 h 2964"/>
              <a:gd name="T32" fmla="*/ 950 w 2201"/>
              <a:gd name="T33" fmla="*/ 857 h 2964"/>
              <a:gd name="T34" fmla="*/ 2096 w 2201"/>
              <a:gd name="T35" fmla="*/ 1922 h 2964"/>
              <a:gd name="T36" fmla="*/ 1853 w 2201"/>
              <a:gd name="T37" fmla="*/ 1748 h 2964"/>
              <a:gd name="T38" fmla="*/ 1575 w 2201"/>
              <a:gd name="T39" fmla="*/ 984 h 2964"/>
              <a:gd name="T40" fmla="*/ 973 w 2201"/>
              <a:gd name="T41" fmla="*/ 1297 h 2964"/>
              <a:gd name="T42" fmla="*/ 371 w 2201"/>
              <a:gd name="T43" fmla="*/ 683 h 2964"/>
              <a:gd name="T44" fmla="*/ 0 w 2201"/>
              <a:gd name="T45" fmla="*/ 1343 h 2964"/>
              <a:gd name="T46" fmla="*/ 163 w 2201"/>
              <a:gd name="T47" fmla="*/ 1389 h 2964"/>
              <a:gd name="T48" fmla="*/ 394 w 2201"/>
              <a:gd name="T49" fmla="*/ 1297 h 2964"/>
              <a:gd name="T50" fmla="*/ 452 w 2201"/>
              <a:gd name="T51" fmla="*/ 1308 h 2964"/>
              <a:gd name="T52" fmla="*/ 1204 w 2201"/>
              <a:gd name="T53" fmla="*/ 1505 h 2964"/>
              <a:gd name="T54" fmla="*/ 1494 w 2201"/>
              <a:gd name="T55" fmla="*/ 1621 h 2964"/>
              <a:gd name="T56" fmla="*/ 1540 w 2201"/>
              <a:gd name="T57" fmla="*/ 1644 h 2964"/>
              <a:gd name="T58" fmla="*/ 1610 w 2201"/>
              <a:gd name="T59" fmla="*/ 1667 h 2964"/>
              <a:gd name="T60" fmla="*/ 1645 w 2201"/>
              <a:gd name="T61" fmla="*/ 1690 h 2964"/>
              <a:gd name="T62" fmla="*/ 1691 w 2201"/>
              <a:gd name="T63" fmla="*/ 1713 h 2964"/>
              <a:gd name="T64" fmla="*/ 1737 w 2201"/>
              <a:gd name="T65" fmla="*/ 1737 h 2964"/>
              <a:gd name="T66" fmla="*/ 1795 w 2201"/>
              <a:gd name="T67" fmla="*/ 1771 h 2964"/>
              <a:gd name="T68" fmla="*/ 1806 w 2201"/>
              <a:gd name="T69" fmla="*/ 1899 h 2964"/>
              <a:gd name="T70" fmla="*/ 1899 w 2201"/>
              <a:gd name="T71" fmla="*/ 2095 h 2964"/>
              <a:gd name="T72" fmla="*/ 730 w 2201"/>
              <a:gd name="T73" fmla="*/ 2233 h 2964"/>
              <a:gd name="T74" fmla="*/ 1124 w 2201"/>
              <a:gd name="T75" fmla="*/ 2650 h 2964"/>
              <a:gd name="T76" fmla="*/ 1945 w 2201"/>
              <a:gd name="T77" fmla="*/ 2557 h 2964"/>
              <a:gd name="T78" fmla="*/ 1853 w 2201"/>
              <a:gd name="T79" fmla="*/ 1980 h 2964"/>
              <a:gd name="T80" fmla="*/ 1251 w 2201"/>
              <a:gd name="T81" fmla="*/ 1656 h 2964"/>
              <a:gd name="T82" fmla="*/ 1100 w 2201"/>
              <a:gd name="T83" fmla="*/ 1725 h 2964"/>
              <a:gd name="T84" fmla="*/ 753 w 2201"/>
              <a:gd name="T85" fmla="*/ 2142 h 2964"/>
              <a:gd name="T86" fmla="*/ 463 w 2201"/>
              <a:gd name="T87" fmla="*/ 1354 h 2964"/>
              <a:gd name="T88" fmla="*/ 186 w 2201"/>
              <a:gd name="T89" fmla="*/ 2165 h 2964"/>
              <a:gd name="T90" fmla="*/ 325 w 2201"/>
              <a:gd name="T91" fmla="*/ 2176 h 2964"/>
              <a:gd name="T92" fmla="*/ 1853 w 2201"/>
              <a:gd name="T93" fmla="*/ 2616 h 2964"/>
              <a:gd name="T94" fmla="*/ 1274 w 2201"/>
              <a:gd name="T95" fmla="*/ 2372 h 2964"/>
              <a:gd name="T96" fmla="*/ 487 w 2201"/>
              <a:gd name="T97" fmla="*/ 2223 h 2964"/>
              <a:gd name="T98" fmla="*/ 788 w 2201"/>
              <a:gd name="T99" fmla="*/ 2200 h 2964"/>
              <a:gd name="T100" fmla="*/ 869 w 2201"/>
              <a:gd name="T101" fmla="*/ 2211 h 2964"/>
              <a:gd name="T102" fmla="*/ 915 w 2201"/>
              <a:gd name="T103" fmla="*/ 2223 h 2964"/>
              <a:gd name="T104" fmla="*/ 1274 w 2201"/>
              <a:gd name="T105" fmla="*/ 2314 h 2964"/>
              <a:gd name="T106" fmla="*/ 1401 w 2201"/>
              <a:gd name="T107" fmla="*/ 2361 h 2964"/>
              <a:gd name="T108" fmla="*/ 1448 w 2201"/>
              <a:gd name="T109" fmla="*/ 2372 h 2964"/>
              <a:gd name="T110" fmla="*/ 1540 w 2201"/>
              <a:gd name="T111" fmla="*/ 2407 h 2964"/>
              <a:gd name="T112" fmla="*/ 1610 w 2201"/>
              <a:gd name="T113" fmla="*/ 2442 h 2964"/>
              <a:gd name="T114" fmla="*/ 1841 w 2201"/>
              <a:gd name="T115" fmla="*/ 2546 h 2964"/>
              <a:gd name="T116" fmla="*/ 1992 w 2201"/>
              <a:gd name="T117" fmla="*/ 2650 h 296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2201" h="2964">
                <a:moveTo>
                  <a:pt x="325" y="764"/>
                </a:moveTo>
                <a:cubicBezTo>
                  <a:pt x="325" y="706"/>
                  <a:pt x="325" y="706"/>
                  <a:pt x="325" y="706"/>
                </a:cubicBezTo>
                <a:cubicBezTo>
                  <a:pt x="267" y="672"/>
                  <a:pt x="255" y="637"/>
                  <a:pt x="255" y="613"/>
                </a:cubicBezTo>
                <a:cubicBezTo>
                  <a:pt x="255" y="602"/>
                  <a:pt x="278" y="590"/>
                  <a:pt x="325" y="579"/>
                </a:cubicBezTo>
                <a:cubicBezTo>
                  <a:pt x="325" y="602"/>
                  <a:pt x="325" y="602"/>
                  <a:pt x="325" y="602"/>
                </a:cubicBezTo>
                <a:cubicBezTo>
                  <a:pt x="325" y="625"/>
                  <a:pt x="394" y="648"/>
                  <a:pt x="487" y="648"/>
                </a:cubicBezTo>
                <a:cubicBezTo>
                  <a:pt x="568" y="648"/>
                  <a:pt x="637" y="625"/>
                  <a:pt x="649" y="602"/>
                </a:cubicBezTo>
                <a:cubicBezTo>
                  <a:pt x="661" y="613"/>
                  <a:pt x="672" y="613"/>
                  <a:pt x="684" y="613"/>
                </a:cubicBezTo>
                <a:cubicBezTo>
                  <a:pt x="695" y="613"/>
                  <a:pt x="707" y="613"/>
                  <a:pt x="718" y="625"/>
                </a:cubicBezTo>
                <a:cubicBezTo>
                  <a:pt x="730" y="625"/>
                  <a:pt x="730" y="625"/>
                  <a:pt x="741" y="625"/>
                </a:cubicBezTo>
                <a:lnTo>
                  <a:pt x="753" y="625"/>
                </a:lnTo>
                <a:lnTo>
                  <a:pt x="765" y="625"/>
                </a:lnTo>
                <a:cubicBezTo>
                  <a:pt x="765" y="637"/>
                  <a:pt x="765" y="637"/>
                  <a:pt x="765" y="637"/>
                </a:cubicBezTo>
                <a:lnTo>
                  <a:pt x="776" y="637"/>
                </a:lnTo>
                <a:cubicBezTo>
                  <a:pt x="788" y="637"/>
                  <a:pt x="788" y="637"/>
                  <a:pt x="788" y="637"/>
                </a:cubicBezTo>
                <a:cubicBezTo>
                  <a:pt x="799" y="637"/>
                  <a:pt x="799" y="637"/>
                  <a:pt x="799" y="637"/>
                </a:cubicBezTo>
                <a:cubicBezTo>
                  <a:pt x="811" y="637"/>
                  <a:pt x="811" y="648"/>
                  <a:pt x="811" y="648"/>
                </a:cubicBezTo>
                <a:cubicBezTo>
                  <a:pt x="822" y="648"/>
                  <a:pt x="822" y="648"/>
                  <a:pt x="822" y="648"/>
                </a:cubicBezTo>
                <a:cubicBezTo>
                  <a:pt x="834" y="648"/>
                  <a:pt x="834" y="648"/>
                  <a:pt x="834" y="648"/>
                </a:cubicBezTo>
                <a:cubicBezTo>
                  <a:pt x="869" y="660"/>
                  <a:pt x="892" y="660"/>
                  <a:pt x="927" y="672"/>
                </a:cubicBezTo>
                <a:cubicBezTo>
                  <a:pt x="927" y="672"/>
                  <a:pt x="938" y="683"/>
                  <a:pt x="950" y="683"/>
                </a:cubicBezTo>
                <a:cubicBezTo>
                  <a:pt x="973" y="683"/>
                  <a:pt x="996" y="695"/>
                  <a:pt x="1019" y="706"/>
                </a:cubicBezTo>
                <a:cubicBezTo>
                  <a:pt x="1019" y="741"/>
                  <a:pt x="1019" y="741"/>
                  <a:pt x="1019" y="741"/>
                </a:cubicBezTo>
                <a:cubicBezTo>
                  <a:pt x="1019" y="764"/>
                  <a:pt x="1089" y="787"/>
                  <a:pt x="1181" y="787"/>
                </a:cubicBezTo>
                <a:cubicBezTo>
                  <a:pt x="1204" y="787"/>
                  <a:pt x="1228" y="787"/>
                  <a:pt x="1251" y="787"/>
                </a:cubicBezTo>
                <a:lnTo>
                  <a:pt x="1263" y="787"/>
                </a:lnTo>
                <a:lnTo>
                  <a:pt x="1274" y="787"/>
                </a:lnTo>
                <a:cubicBezTo>
                  <a:pt x="1274" y="799"/>
                  <a:pt x="1274" y="799"/>
                  <a:pt x="1286" y="799"/>
                </a:cubicBezTo>
                <a:cubicBezTo>
                  <a:pt x="1297" y="799"/>
                  <a:pt x="1297" y="799"/>
                  <a:pt x="1297" y="799"/>
                </a:cubicBezTo>
                <a:cubicBezTo>
                  <a:pt x="1309" y="799"/>
                  <a:pt x="1309" y="811"/>
                  <a:pt x="1309" y="811"/>
                </a:cubicBezTo>
                <a:cubicBezTo>
                  <a:pt x="1332" y="811"/>
                  <a:pt x="1355" y="822"/>
                  <a:pt x="1367" y="833"/>
                </a:cubicBezTo>
                <a:cubicBezTo>
                  <a:pt x="1413" y="857"/>
                  <a:pt x="1471" y="868"/>
                  <a:pt x="1506" y="891"/>
                </a:cubicBezTo>
                <a:lnTo>
                  <a:pt x="1517" y="891"/>
                </a:lnTo>
                <a:cubicBezTo>
                  <a:pt x="1517" y="903"/>
                  <a:pt x="1529" y="903"/>
                  <a:pt x="1529" y="903"/>
                </a:cubicBezTo>
                <a:cubicBezTo>
                  <a:pt x="1540" y="915"/>
                  <a:pt x="1552" y="915"/>
                  <a:pt x="1552" y="915"/>
                </a:cubicBezTo>
                <a:cubicBezTo>
                  <a:pt x="1563" y="915"/>
                  <a:pt x="1563" y="926"/>
                  <a:pt x="1563" y="926"/>
                </a:cubicBezTo>
                <a:cubicBezTo>
                  <a:pt x="1575" y="926"/>
                  <a:pt x="1587" y="926"/>
                  <a:pt x="1587" y="938"/>
                </a:cubicBezTo>
                <a:cubicBezTo>
                  <a:pt x="1598" y="938"/>
                  <a:pt x="1598" y="938"/>
                  <a:pt x="1598" y="938"/>
                </a:cubicBezTo>
                <a:lnTo>
                  <a:pt x="1610" y="949"/>
                </a:lnTo>
                <a:lnTo>
                  <a:pt x="1621" y="949"/>
                </a:lnTo>
                <a:cubicBezTo>
                  <a:pt x="1621" y="1019"/>
                  <a:pt x="1621" y="1019"/>
                  <a:pt x="1621" y="1019"/>
                </a:cubicBezTo>
                <a:cubicBezTo>
                  <a:pt x="1621" y="1042"/>
                  <a:pt x="1691" y="1065"/>
                  <a:pt x="1783" y="1065"/>
                </a:cubicBezTo>
                <a:cubicBezTo>
                  <a:pt x="1795" y="1065"/>
                  <a:pt x="1795" y="1065"/>
                  <a:pt x="1806" y="1065"/>
                </a:cubicBezTo>
                <a:lnTo>
                  <a:pt x="1818" y="1065"/>
                </a:lnTo>
                <a:cubicBezTo>
                  <a:pt x="1818" y="1077"/>
                  <a:pt x="1818" y="1077"/>
                  <a:pt x="1818" y="1077"/>
                </a:cubicBezTo>
                <a:cubicBezTo>
                  <a:pt x="1830" y="1077"/>
                  <a:pt x="1830" y="1077"/>
                  <a:pt x="1830" y="1077"/>
                </a:cubicBezTo>
                <a:cubicBezTo>
                  <a:pt x="1830" y="1088"/>
                  <a:pt x="1830" y="1088"/>
                  <a:pt x="1841" y="1088"/>
                </a:cubicBezTo>
                <a:lnTo>
                  <a:pt x="1841" y="1100"/>
                </a:lnTo>
                <a:cubicBezTo>
                  <a:pt x="1853" y="1100"/>
                  <a:pt x="1853" y="1100"/>
                  <a:pt x="1853" y="1100"/>
                </a:cubicBezTo>
                <a:cubicBezTo>
                  <a:pt x="1888" y="1123"/>
                  <a:pt x="1911" y="1146"/>
                  <a:pt x="1934" y="1169"/>
                </a:cubicBezTo>
                <a:cubicBezTo>
                  <a:pt x="1969" y="1204"/>
                  <a:pt x="1980" y="1227"/>
                  <a:pt x="1969" y="1239"/>
                </a:cubicBezTo>
                <a:cubicBezTo>
                  <a:pt x="1957" y="1262"/>
                  <a:pt x="1934" y="1274"/>
                  <a:pt x="1899" y="1274"/>
                </a:cubicBezTo>
                <a:cubicBezTo>
                  <a:pt x="1899" y="1320"/>
                  <a:pt x="1899" y="1320"/>
                  <a:pt x="1899" y="1320"/>
                </a:cubicBezTo>
                <a:cubicBezTo>
                  <a:pt x="1945" y="1308"/>
                  <a:pt x="1992" y="1297"/>
                  <a:pt x="2004" y="1262"/>
                </a:cubicBezTo>
                <a:cubicBezTo>
                  <a:pt x="2015" y="1239"/>
                  <a:pt x="2026" y="1204"/>
                  <a:pt x="1969" y="1135"/>
                </a:cubicBezTo>
                <a:cubicBezTo>
                  <a:pt x="1945" y="1111"/>
                  <a:pt x="1911" y="1088"/>
                  <a:pt x="1876" y="1054"/>
                </a:cubicBezTo>
                <a:cubicBezTo>
                  <a:pt x="1922" y="1054"/>
                  <a:pt x="1945" y="1030"/>
                  <a:pt x="1945" y="1019"/>
                </a:cubicBezTo>
                <a:cubicBezTo>
                  <a:pt x="1945" y="926"/>
                  <a:pt x="1945" y="926"/>
                  <a:pt x="1945" y="926"/>
                </a:cubicBezTo>
                <a:cubicBezTo>
                  <a:pt x="1945" y="915"/>
                  <a:pt x="1911" y="891"/>
                  <a:pt x="1853" y="880"/>
                </a:cubicBezTo>
                <a:cubicBezTo>
                  <a:pt x="1853" y="336"/>
                  <a:pt x="1853" y="336"/>
                  <a:pt x="1853" y="336"/>
                </a:cubicBezTo>
                <a:cubicBezTo>
                  <a:pt x="1251" y="0"/>
                  <a:pt x="1251" y="0"/>
                  <a:pt x="1251" y="0"/>
                </a:cubicBezTo>
                <a:cubicBezTo>
                  <a:pt x="371" y="336"/>
                  <a:pt x="371" y="336"/>
                  <a:pt x="371" y="336"/>
                </a:cubicBezTo>
                <a:cubicBezTo>
                  <a:pt x="371" y="475"/>
                  <a:pt x="371" y="475"/>
                  <a:pt x="371" y="475"/>
                </a:cubicBezTo>
                <a:cubicBezTo>
                  <a:pt x="348" y="486"/>
                  <a:pt x="325" y="498"/>
                  <a:pt x="325" y="509"/>
                </a:cubicBezTo>
                <a:cubicBezTo>
                  <a:pt x="325" y="533"/>
                  <a:pt x="325" y="533"/>
                  <a:pt x="325" y="533"/>
                </a:cubicBezTo>
                <a:cubicBezTo>
                  <a:pt x="244" y="544"/>
                  <a:pt x="220" y="579"/>
                  <a:pt x="209" y="602"/>
                </a:cubicBezTo>
                <a:cubicBezTo>
                  <a:pt x="197" y="660"/>
                  <a:pt x="244" y="706"/>
                  <a:pt x="325" y="764"/>
                </a:cubicBezTo>
                <a:close/>
                <a:moveTo>
                  <a:pt x="463" y="405"/>
                </a:moveTo>
                <a:cubicBezTo>
                  <a:pt x="1251" y="127"/>
                  <a:pt x="1251" y="127"/>
                  <a:pt x="1251" y="127"/>
                </a:cubicBezTo>
                <a:cubicBezTo>
                  <a:pt x="1251" y="602"/>
                  <a:pt x="1251" y="602"/>
                  <a:pt x="1251" y="602"/>
                </a:cubicBezTo>
                <a:cubicBezTo>
                  <a:pt x="1228" y="602"/>
                  <a:pt x="1204" y="602"/>
                  <a:pt x="1181" y="602"/>
                </a:cubicBezTo>
                <a:cubicBezTo>
                  <a:pt x="1089" y="602"/>
                  <a:pt x="1019" y="625"/>
                  <a:pt x="1019" y="648"/>
                </a:cubicBezTo>
                <a:cubicBezTo>
                  <a:pt x="996" y="648"/>
                  <a:pt x="973" y="637"/>
                  <a:pt x="950" y="637"/>
                </a:cubicBezTo>
                <a:cubicBezTo>
                  <a:pt x="950" y="509"/>
                  <a:pt x="950" y="509"/>
                  <a:pt x="950" y="509"/>
                </a:cubicBezTo>
                <a:cubicBezTo>
                  <a:pt x="892" y="533"/>
                  <a:pt x="892" y="533"/>
                  <a:pt x="892" y="533"/>
                </a:cubicBezTo>
                <a:cubicBezTo>
                  <a:pt x="730" y="579"/>
                  <a:pt x="730" y="579"/>
                  <a:pt x="730" y="579"/>
                </a:cubicBezTo>
                <a:cubicBezTo>
                  <a:pt x="707" y="567"/>
                  <a:pt x="672" y="567"/>
                  <a:pt x="649" y="556"/>
                </a:cubicBezTo>
                <a:cubicBezTo>
                  <a:pt x="649" y="509"/>
                  <a:pt x="649" y="509"/>
                  <a:pt x="649" y="509"/>
                </a:cubicBezTo>
                <a:cubicBezTo>
                  <a:pt x="649" y="486"/>
                  <a:pt x="579" y="463"/>
                  <a:pt x="487" y="463"/>
                </a:cubicBezTo>
                <a:cubicBezTo>
                  <a:pt x="475" y="463"/>
                  <a:pt x="475" y="463"/>
                  <a:pt x="463" y="463"/>
                </a:cubicBezTo>
                <a:lnTo>
                  <a:pt x="463" y="405"/>
                </a:lnTo>
                <a:close/>
                <a:moveTo>
                  <a:pt x="684" y="926"/>
                </a:moveTo>
                <a:cubicBezTo>
                  <a:pt x="741" y="915"/>
                  <a:pt x="741" y="915"/>
                  <a:pt x="741" y="915"/>
                </a:cubicBezTo>
                <a:cubicBezTo>
                  <a:pt x="915" y="868"/>
                  <a:pt x="915" y="868"/>
                  <a:pt x="915" y="868"/>
                </a:cubicBezTo>
                <a:cubicBezTo>
                  <a:pt x="950" y="857"/>
                  <a:pt x="950" y="857"/>
                  <a:pt x="950" y="857"/>
                </a:cubicBezTo>
                <a:cubicBezTo>
                  <a:pt x="950" y="729"/>
                  <a:pt x="950" y="729"/>
                  <a:pt x="950" y="729"/>
                </a:cubicBezTo>
                <a:cubicBezTo>
                  <a:pt x="857" y="706"/>
                  <a:pt x="765" y="683"/>
                  <a:pt x="684" y="660"/>
                </a:cubicBezTo>
                <a:lnTo>
                  <a:pt x="684" y="926"/>
                </a:lnTo>
                <a:close/>
                <a:moveTo>
                  <a:pt x="2119" y="1956"/>
                </a:moveTo>
                <a:cubicBezTo>
                  <a:pt x="2119" y="1945"/>
                  <a:pt x="2108" y="1933"/>
                  <a:pt x="2096" y="1922"/>
                </a:cubicBezTo>
                <a:cubicBezTo>
                  <a:pt x="2119" y="1922"/>
                  <a:pt x="2131" y="1910"/>
                  <a:pt x="2131" y="1899"/>
                </a:cubicBezTo>
                <a:cubicBezTo>
                  <a:pt x="2131" y="1806"/>
                  <a:pt x="2131" y="1806"/>
                  <a:pt x="2131" y="1806"/>
                </a:cubicBezTo>
                <a:cubicBezTo>
                  <a:pt x="2131" y="1783"/>
                  <a:pt x="2061" y="1760"/>
                  <a:pt x="1969" y="1760"/>
                </a:cubicBezTo>
                <a:cubicBezTo>
                  <a:pt x="1934" y="1760"/>
                  <a:pt x="1911" y="1760"/>
                  <a:pt x="1876" y="1771"/>
                </a:cubicBezTo>
                <a:cubicBezTo>
                  <a:pt x="1876" y="1760"/>
                  <a:pt x="1865" y="1760"/>
                  <a:pt x="1853" y="1748"/>
                </a:cubicBezTo>
                <a:cubicBezTo>
                  <a:pt x="1853" y="1158"/>
                  <a:pt x="1853" y="1158"/>
                  <a:pt x="1853" y="1158"/>
                </a:cubicBezTo>
                <a:cubicBezTo>
                  <a:pt x="1830" y="1146"/>
                  <a:pt x="1818" y="1123"/>
                  <a:pt x="1795" y="1111"/>
                </a:cubicBezTo>
                <a:cubicBezTo>
                  <a:pt x="1783" y="1111"/>
                  <a:pt x="1783" y="1111"/>
                  <a:pt x="1783" y="1111"/>
                </a:cubicBezTo>
                <a:cubicBezTo>
                  <a:pt x="1679" y="1111"/>
                  <a:pt x="1575" y="1088"/>
                  <a:pt x="1575" y="1019"/>
                </a:cubicBezTo>
                <a:cubicBezTo>
                  <a:pt x="1575" y="984"/>
                  <a:pt x="1575" y="984"/>
                  <a:pt x="1575" y="984"/>
                </a:cubicBezTo>
                <a:cubicBezTo>
                  <a:pt x="1471" y="926"/>
                  <a:pt x="1367" y="880"/>
                  <a:pt x="1251" y="833"/>
                </a:cubicBezTo>
                <a:cubicBezTo>
                  <a:pt x="1251" y="1447"/>
                  <a:pt x="1251" y="1447"/>
                  <a:pt x="1251" y="1447"/>
                </a:cubicBezTo>
                <a:cubicBezTo>
                  <a:pt x="1239" y="1459"/>
                  <a:pt x="1239" y="1459"/>
                  <a:pt x="1228" y="1459"/>
                </a:cubicBezTo>
                <a:cubicBezTo>
                  <a:pt x="1147" y="1424"/>
                  <a:pt x="1054" y="1401"/>
                  <a:pt x="973" y="1378"/>
                </a:cubicBezTo>
                <a:cubicBezTo>
                  <a:pt x="973" y="1297"/>
                  <a:pt x="973" y="1297"/>
                  <a:pt x="973" y="1297"/>
                </a:cubicBezTo>
                <a:cubicBezTo>
                  <a:pt x="973" y="1274"/>
                  <a:pt x="904" y="1250"/>
                  <a:pt x="811" y="1250"/>
                </a:cubicBezTo>
                <a:cubicBezTo>
                  <a:pt x="730" y="1250"/>
                  <a:pt x="661" y="1274"/>
                  <a:pt x="649" y="1297"/>
                </a:cubicBezTo>
                <a:cubicBezTo>
                  <a:pt x="579" y="1285"/>
                  <a:pt x="522" y="1274"/>
                  <a:pt x="463" y="1262"/>
                </a:cubicBezTo>
                <a:cubicBezTo>
                  <a:pt x="463" y="695"/>
                  <a:pt x="463" y="695"/>
                  <a:pt x="463" y="695"/>
                </a:cubicBezTo>
                <a:cubicBezTo>
                  <a:pt x="429" y="695"/>
                  <a:pt x="394" y="695"/>
                  <a:pt x="371" y="683"/>
                </a:cubicBezTo>
                <a:cubicBezTo>
                  <a:pt x="371" y="1250"/>
                  <a:pt x="371" y="1250"/>
                  <a:pt x="371" y="1250"/>
                </a:cubicBezTo>
                <a:cubicBezTo>
                  <a:pt x="359" y="1250"/>
                  <a:pt x="336" y="1250"/>
                  <a:pt x="325" y="1250"/>
                </a:cubicBezTo>
                <a:cubicBezTo>
                  <a:pt x="325" y="1227"/>
                  <a:pt x="244" y="1204"/>
                  <a:pt x="163" y="1204"/>
                </a:cubicBezTo>
                <a:cubicBezTo>
                  <a:pt x="70" y="1204"/>
                  <a:pt x="0" y="1227"/>
                  <a:pt x="0" y="1250"/>
                </a:cubicBezTo>
                <a:cubicBezTo>
                  <a:pt x="0" y="1343"/>
                  <a:pt x="0" y="1343"/>
                  <a:pt x="0" y="1343"/>
                </a:cubicBezTo>
                <a:cubicBezTo>
                  <a:pt x="0" y="1354"/>
                  <a:pt x="47" y="1378"/>
                  <a:pt x="105" y="1389"/>
                </a:cubicBezTo>
                <a:cubicBezTo>
                  <a:pt x="116" y="1447"/>
                  <a:pt x="197" y="1517"/>
                  <a:pt x="325" y="1574"/>
                </a:cubicBezTo>
                <a:cubicBezTo>
                  <a:pt x="325" y="1517"/>
                  <a:pt x="325" y="1517"/>
                  <a:pt x="325" y="1517"/>
                </a:cubicBezTo>
                <a:cubicBezTo>
                  <a:pt x="232" y="1470"/>
                  <a:pt x="174" y="1424"/>
                  <a:pt x="151" y="1389"/>
                </a:cubicBezTo>
                <a:lnTo>
                  <a:pt x="163" y="1389"/>
                </a:lnTo>
                <a:cubicBezTo>
                  <a:pt x="255" y="1389"/>
                  <a:pt x="325" y="1366"/>
                  <a:pt x="325" y="1343"/>
                </a:cubicBezTo>
                <a:cubicBezTo>
                  <a:pt x="325" y="1297"/>
                  <a:pt x="325" y="1297"/>
                  <a:pt x="325" y="1297"/>
                </a:cubicBezTo>
                <a:cubicBezTo>
                  <a:pt x="336" y="1297"/>
                  <a:pt x="359" y="1297"/>
                  <a:pt x="371" y="1297"/>
                </a:cubicBezTo>
                <a:cubicBezTo>
                  <a:pt x="383" y="1297"/>
                  <a:pt x="383" y="1297"/>
                  <a:pt x="383" y="1297"/>
                </a:cubicBezTo>
                <a:cubicBezTo>
                  <a:pt x="394" y="1297"/>
                  <a:pt x="394" y="1297"/>
                  <a:pt x="394" y="1297"/>
                </a:cubicBezTo>
                <a:lnTo>
                  <a:pt x="394" y="1308"/>
                </a:lnTo>
                <a:lnTo>
                  <a:pt x="406" y="1308"/>
                </a:lnTo>
                <a:lnTo>
                  <a:pt x="417" y="1308"/>
                </a:lnTo>
                <a:lnTo>
                  <a:pt x="429" y="1308"/>
                </a:lnTo>
                <a:cubicBezTo>
                  <a:pt x="429" y="1308"/>
                  <a:pt x="440" y="1308"/>
                  <a:pt x="452" y="1308"/>
                </a:cubicBezTo>
                <a:cubicBezTo>
                  <a:pt x="510" y="1320"/>
                  <a:pt x="579" y="1331"/>
                  <a:pt x="649" y="1343"/>
                </a:cubicBezTo>
                <a:cubicBezTo>
                  <a:pt x="649" y="1389"/>
                  <a:pt x="649" y="1389"/>
                  <a:pt x="649" y="1389"/>
                </a:cubicBezTo>
                <a:cubicBezTo>
                  <a:pt x="649" y="1413"/>
                  <a:pt x="718" y="1436"/>
                  <a:pt x="811" y="1436"/>
                </a:cubicBezTo>
                <a:cubicBezTo>
                  <a:pt x="869" y="1436"/>
                  <a:pt x="915" y="1424"/>
                  <a:pt x="938" y="1413"/>
                </a:cubicBezTo>
                <a:cubicBezTo>
                  <a:pt x="1031" y="1447"/>
                  <a:pt x="1112" y="1470"/>
                  <a:pt x="1204" y="1505"/>
                </a:cubicBezTo>
                <a:cubicBezTo>
                  <a:pt x="1204" y="1574"/>
                  <a:pt x="1204" y="1574"/>
                  <a:pt x="1204" y="1574"/>
                </a:cubicBezTo>
                <a:cubicBezTo>
                  <a:pt x="1204" y="1598"/>
                  <a:pt x="1274" y="1621"/>
                  <a:pt x="1367" y="1621"/>
                </a:cubicBezTo>
                <a:cubicBezTo>
                  <a:pt x="1401" y="1621"/>
                  <a:pt x="1448" y="1621"/>
                  <a:pt x="1471" y="1609"/>
                </a:cubicBezTo>
                <a:cubicBezTo>
                  <a:pt x="1482" y="1609"/>
                  <a:pt x="1482" y="1609"/>
                  <a:pt x="1482" y="1621"/>
                </a:cubicBezTo>
                <a:cubicBezTo>
                  <a:pt x="1494" y="1621"/>
                  <a:pt x="1494" y="1621"/>
                  <a:pt x="1494" y="1621"/>
                </a:cubicBezTo>
                <a:lnTo>
                  <a:pt x="1506" y="1621"/>
                </a:lnTo>
                <a:lnTo>
                  <a:pt x="1517" y="1632"/>
                </a:lnTo>
                <a:lnTo>
                  <a:pt x="1529" y="1632"/>
                </a:lnTo>
                <a:lnTo>
                  <a:pt x="1540" y="1632"/>
                </a:lnTo>
                <a:cubicBezTo>
                  <a:pt x="1540" y="1644"/>
                  <a:pt x="1540" y="1644"/>
                  <a:pt x="1540" y="1644"/>
                </a:cubicBezTo>
                <a:cubicBezTo>
                  <a:pt x="1552" y="1644"/>
                  <a:pt x="1552" y="1644"/>
                  <a:pt x="1552" y="1644"/>
                </a:cubicBezTo>
                <a:cubicBezTo>
                  <a:pt x="1563" y="1644"/>
                  <a:pt x="1563" y="1656"/>
                  <a:pt x="1575" y="1656"/>
                </a:cubicBezTo>
                <a:lnTo>
                  <a:pt x="1587" y="1656"/>
                </a:lnTo>
                <a:cubicBezTo>
                  <a:pt x="1587" y="1656"/>
                  <a:pt x="1587" y="1667"/>
                  <a:pt x="1598" y="1667"/>
                </a:cubicBezTo>
                <a:cubicBezTo>
                  <a:pt x="1610" y="1667"/>
                  <a:pt x="1610" y="1667"/>
                  <a:pt x="1610" y="1667"/>
                </a:cubicBezTo>
                <a:lnTo>
                  <a:pt x="1610" y="1679"/>
                </a:lnTo>
                <a:lnTo>
                  <a:pt x="1621" y="1679"/>
                </a:lnTo>
                <a:lnTo>
                  <a:pt x="1633" y="1679"/>
                </a:lnTo>
                <a:lnTo>
                  <a:pt x="1633" y="1690"/>
                </a:lnTo>
                <a:lnTo>
                  <a:pt x="1645" y="1690"/>
                </a:lnTo>
                <a:lnTo>
                  <a:pt x="1656" y="1690"/>
                </a:lnTo>
                <a:lnTo>
                  <a:pt x="1656" y="1702"/>
                </a:lnTo>
                <a:lnTo>
                  <a:pt x="1667" y="1702"/>
                </a:lnTo>
                <a:lnTo>
                  <a:pt x="1679" y="1702"/>
                </a:lnTo>
                <a:cubicBezTo>
                  <a:pt x="1679" y="1713"/>
                  <a:pt x="1679" y="1713"/>
                  <a:pt x="1691" y="1713"/>
                </a:cubicBezTo>
                <a:lnTo>
                  <a:pt x="1702" y="1713"/>
                </a:lnTo>
                <a:cubicBezTo>
                  <a:pt x="1702" y="1725"/>
                  <a:pt x="1702" y="1725"/>
                  <a:pt x="1714" y="1725"/>
                </a:cubicBezTo>
                <a:lnTo>
                  <a:pt x="1726" y="1725"/>
                </a:lnTo>
                <a:cubicBezTo>
                  <a:pt x="1726" y="1737"/>
                  <a:pt x="1726" y="1737"/>
                  <a:pt x="1726" y="1737"/>
                </a:cubicBezTo>
                <a:lnTo>
                  <a:pt x="1737" y="1737"/>
                </a:lnTo>
                <a:cubicBezTo>
                  <a:pt x="1749" y="1748"/>
                  <a:pt x="1749" y="1748"/>
                  <a:pt x="1749" y="1748"/>
                </a:cubicBezTo>
                <a:cubicBezTo>
                  <a:pt x="1760" y="1748"/>
                  <a:pt x="1760" y="1748"/>
                  <a:pt x="1760" y="1748"/>
                </a:cubicBezTo>
                <a:cubicBezTo>
                  <a:pt x="1772" y="1760"/>
                  <a:pt x="1772" y="1760"/>
                  <a:pt x="1772" y="1760"/>
                </a:cubicBezTo>
                <a:lnTo>
                  <a:pt x="1783" y="1760"/>
                </a:lnTo>
                <a:cubicBezTo>
                  <a:pt x="1783" y="1771"/>
                  <a:pt x="1795" y="1771"/>
                  <a:pt x="1795" y="1771"/>
                </a:cubicBezTo>
                <a:lnTo>
                  <a:pt x="1806" y="1771"/>
                </a:lnTo>
                <a:cubicBezTo>
                  <a:pt x="1806" y="1783"/>
                  <a:pt x="1806" y="1783"/>
                  <a:pt x="1806" y="1783"/>
                </a:cubicBezTo>
                <a:cubicBezTo>
                  <a:pt x="1818" y="1783"/>
                  <a:pt x="1818" y="1783"/>
                  <a:pt x="1818" y="1783"/>
                </a:cubicBezTo>
                <a:cubicBezTo>
                  <a:pt x="1818" y="1794"/>
                  <a:pt x="1806" y="1806"/>
                  <a:pt x="1806" y="1806"/>
                </a:cubicBezTo>
                <a:cubicBezTo>
                  <a:pt x="1806" y="1899"/>
                  <a:pt x="1806" y="1899"/>
                  <a:pt x="1806" y="1899"/>
                </a:cubicBezTo>
                <a:cubicBezTo>
                  <a:pt x="1806" y="1922"/>
                  <a:pt x="1876" y="1945"/>
                  <a:pt x="1969" y="1945"/>
                </a:cubicBezTo>
                <a:cubicBezTo>
                  <a:pt x="1992" y="1945"/>
                  <a:pt x="2015" y="1945"/>
                  <a:pt x="2038" y="1945"/>
                </a:cubicBezTo>
                <a:cubicBezTo>
                  <a:pt x="2061" y="1956"/>
                  <a:pt x="2073" y="1968"/>
                  <a:pt x="2096" y="1991"/>
                </a:cubicBezTo>
                <a:cubicBezTo>
                  <a:pt x="2131" y="2026"/>
                  <a:pt x="2142" y="2061"/>
                  <a:pt x="2131" y="2072"/>
                </a:cubicBezTo>
                <a:cubicBezTo>
                  <a:pt x="2108" y="2107"/>
                  <a:pt x="2015" y="2130"/>
                  <a:pt x="1899" y="2095"/>
                </a:cubicBezTo>
                <a:cubicBezTo>
                  <a:pt x="1899" y="2142"/>
                  <a:pt x="1899" y="2142"/>
                  <a:pt x="1899" y="2142"/>
                </a:cubicBezTo>
                <a:cubicBezTo>
                  <a:pt x="1945" y="2153"/>
                  <a:pt x="1980" y="2153"/>
                  <a:pt x="2015" y="2153"/>
                </a:cubicBezTo>
                <a:cubicBezTo>
                  <a:pt x="2084" y="2153"/>
                  <a:pt x="2142" y="2142"/>
                  <a:pt x="2165" y="2095"/>
                </a:cubicBezTo>
                <a:cubicBezTo>
                  <a:pt x="2177" y="2084"/>
                  <a:pt x="2200" y="2026"/>
                  <a:pt x="2119" y="1956"/>
                </a:cubicBezTo>
                <a:close/>
                <a:moveTo>
                  <a:pt x="730" y="2233"/>
                </a:moveTo>
                <a:cubicBezTo>
                  <a:pt x="556" y="2616"/>
                  <a:pt x="556" y="2616"/>
                  <a:pt x="556" y="2616"/>
                </a:cubicBezTo>
                <a:cubicBezTo>
                  <a:pt x="684" y="2627"/>
                  <a:pt x="684" y="2627"/>
                  <a:pt x="684" y="2627"/>
                </a:cubicBezTo>
                <a:cubicBezTo>
                  <a:pt x="822" y="2280"/>
                  <a:pt x="822" y="2280"/>
                  <a:pt x="822" y="2280"/>
                </a:cubicBezTo>
                <a:cubicBezTo>
                  <a:pt x="985" y="2650"/>
                  <a:pt x="985" y="2650"/>
                  <a:pt x="985" y="2650"/>
                </a:cubicBezTo>
                <a:cubicBezTo>
                  <a:pt x="1124" y="2650"/>
                  <a:pt x="1124" y="2650"/>
                  <a:pt x="1124" y="2650"/>
                </a:cubicBezTo>
                <a:cubicBezTo>
                  <a:pt x="950" y="2280"/>
                  <a:pt x="950" y="2280"/>
                  <a:pt x="950" y="2280"/>
                </a:cubicBezTo>
                <a:cubicBezTo>
                  <a:pt x="880" y="2268"/>
                  <a:pt x="799" y="2245"/>
                  <a:pt x="730" y="2233"/>
                </a:cubicBezTo>
                <a:close/>
                <a:moveTo>
                  <a:pt x="510" y="706"/>
                </a:moveTo>
                <a:lnTo>
                  <a:pt x="510" y="706"/>
                </a:lnTo>
                <a:close/>
                <a:moveTo>
                  <a:pt x="1945" y="2557"/>
                </a:moveTo>
                <a:cubicBezTo>
                  <a:pt x="1934" y="2546"/>
                  <a:pt x="1911" y="2546"/>
                  <a:pt x="1899" y="2534"/>
                </a:cubicBezTo>
                <a:cubicBezTo>
                  <a:pt x="1934" y="2523"/>
                  <a:pt x="1945" y="2511"/>
                  <a:pt x="1945" y="2500"/>
                </a:cubicBezTo>
                <a:cubicBezTo>
                  <a:pt x="1945" y="2407"/>
                  <a:pt x="1945" y="2407"/>
                  <a:pt x="1945" y="2407"/>
                </a:cubicBezTo>
                <a:cubicBezTo>
                  <a:pt x="1945" y="2396"/>
                  <a:pt x="1911" y="2372"/>
                  <a:pt x="1853" y="2361"/>
                </a:cubicBezTo>
                <a:cubicBezTo>
                  <a:pt x="1853" y="1980"/>
                  <a:pt x="1853" y="1980"/>
                  <a:pt x="1853" y="1980"/>
                </a:cubicBezTo>
                <a:cubicBezTo>
                  <a:pt x="1795" y="1968"/>
                  <a:pt x="1760" y="1933"/>
                  <a:pt x="1760" y="1899"/>
                </a:cubicBezTo>
                <a:cubicBezTo>
                  <a:pt x="1760" y="1806"/>
                  <a:pt x="1760" y="1806"/>
                  <a:pt x="1760" y="1806"/>
                </a:cubicBezTo>
                <a:cubicBezTo>
                  <a:pt x="1667" y="1748"/>
                  <a:pt x="1575" y="1702"/>
                  <a:pt x="1471" y="1656"/>
                </a:cubicBezTo>
                <a:cubicBezTo>
                  <a:pt x="1436" y="1667"/>
                  <a:pt x="1401" y="1667"/>
                  <a:pt x="1367" y="1667"/>
                </a:cubicBezTo>
                <a:cubicBezTo>
                  <a:pt x="1332" y="1667"/>
                  <a:pt x="1286" y="1667"/>
                  <a:pt x="1251" y="1656"/>
                </a:cubicBezTo>
                <a:cubicBezTo>
                  <a:pt x="1251" y="2153"/>
                  <a:pt x="1251" y="2153"/>
                  <a:pt x="1251" y="2153"/>
                </a:cubicBezTo>
                <a:cubicBezTo>
                  <a:pt x="1228" y="2142"/>
                  <a:pt x="1204" y="2142"/>
                  <a:pt x="1181" y="2142"/>
                </a:cubicBezTo>
                <a:cubicBezTo>
                  <a:pt x="1089" y="2142"/>
                  <a:pt x="1019" y="2165"/>
                  <a:pt x="1019" y="2200"/>
                </a:cubicBezTo>
                <a:cubicBezTo>
                  <a:pt x="985" y="2188"/>
                  <a:pt x="938" y="2188"/>
                  <a:pt x="904" y="2176"/>
                </a:cubicBezTo>
                <a:cubicBezTo>
                  <a:pt x="1100" y="1725"/>
                  <a:pt x="1100" y="1725"/>
                  <a:pt x="1100" y="1725"/>
                </a:cubicBezTo>
                <a:cubicBezTo>
                  <a:pt x="973" y="1737"/>
                  <a:pt x="973" y="1737"/>
                  <a:pt x="973" y="1737"/>
                </a:cubicBezTo>
                <a:cubicBezTo>
                  <a:pt x="834" y="2061"/>
                  <a:pt x="834" y="2061"/>
                  <a:pt x="834" y="2061"/>
                </a:cubicBezTo>
                <a:cubicBezTo>
                  <a:pt x="695" y="1748"/>
                  <a:pt x="695" y="1748"/>
                  <a:pt x="695" y="1748"/>
                </a:cubicBezTo>
                <a:cubicBezTo>
                  <a:pt x="568" y="1748"/>
                  <a:pt x="568" y="1748"/>
                  <a:pt x="568" y="1748"/>
                </a:cubicBezTo>
                <a:cubicBezTo>
                  <a:pt x="753" y="2142"/>
                  <a:pt x="753" y="2142"/>
                  <a:pt x="753" y="2142"/>
                </a:cubicBezTo>
                <a:cubicBezTo>
                  <a:pt x="718" y="2142"/>
                  <a:pt x="684" y="2130"/>
                  <a:pt x="649" y="2130"/>
                </a:cubicBezTo>
                <a:cubicBezTo>
                  <a:pt x="649" y="2084"/>
                  <a:pt x="649" y="2084"/>
                  <a:pt x="649" y="2084"/>
                </a:cubicBezTo>
                <a:cubicBezTo>
                  <a:pt x="649" y="2061"/>
                  <a:pt x="579" y="2038"/>
                  <a:pt x="487" y="2038"/>
                </a:cubicBezTo>
                <a:cubicBezTo>
                  <a:pt x="475" y="2038"/>
                  <a:pt x="475" y="2038"/>
                  <a:pt x="463" y="2038"/>
                </a:cubicBezTo>
                <a:cubicBezTo>
                  <a:pt x="463" y="1354"/>
                  <a:pt x="463" y="1354"/>
                  <a:pt x="463" y="1354"/>
                </a:cubicBezTo>
                <a:cubicBezTo>
                  <a:pt x="429" y="1354"/>
                  <a:pt x="406" y="1354"/>
                  <a:pt x="371" y="1343"/>
                </a:cubicBezTo>
                <a:cubicBezTo>
                  <a:pt x="371" y="2049"/>
                  <a:pt x="371" y="2049"/>
                  <a:pt x="371" y="2049"/>
                </a:cubicBezTo>
                <a:cubicBezTo>
                  <a:pt x="348" y="2061"/>
                  <a:pt x="325" y="2072"/>
                  <a:pt x="325" y="2084"/>
                </a:cubicBezTo>
                <a:cubicBezTo>
                  <a:pt x="325" y="2107"/>
                  <a:pt x="325" y="2107"/>
                  <a:pt x="325" y="2107"/>
                </a:cubicBezTo>
                <a:cubicBezTo>
                  <a:pt x="220" y="2107"/>
                  <a:pt x="186" y="2142"/>
                  <a:pt x="186" y="2165"/>
                </a:cubicBezTo>
                <a:cubicBezTo>
                  <a:pt x="174" y="2223"/>
                  <a:pt x="255" y="2268"/>
                  <a:pt x="325" y="2303"/>
                </a:cubicBezTo>
                <a:cubicBezTo>
                  <a:pt x="325" y="2245"/>
                  <a:pt x="325" y="2245"/>
                  <a:pt x="325" y="2245"/>
                </a:cubicBezTo>
                <a:cubicBezTo>
                  <a:pt x="255" y="2211"/>
                  <a:pt x="232" y="2188"/>
                  <a:pt x="232" y="2176"/>
                </a:cubicBezTo>
                <a:cubicBezTo>
                  <a:pt x="232" y="2165"/>
                  <a:pt x="255" y="2153"/>
                  <a:pt x="325" y="2153"/>
                </a:cubicBezTo>
                <a:cubicBezTo>
                  <a:pt x="325" y="2176"/>
                  <a:pt x="325" y="2176"/>
                  <a:pt x="325" y="2176"/>
                </a:cubicBezTo>
                <a:cubicBezTo>
                  <a:pt x="325" y="2188"/>
                  <a:pt x="348" y="2200"/>
                  <a:pt x="371" y="2211"/>
                </a:cubicBezTo>
                <a:cubicBezTo>
                  <a:pt x="371" y="2847"/>
                  <a:pt x="371" y="2847"/>
                  <a:pt x="371" y="2847"/>
                </a:cubicBezTo>
                <a:cubicBezTo>
                  <a:pt x="1251" y="2963"/>
                  <a:pt x="1251" y="2963"/>
                  <a:pt x="1251" y="2963"/>
                </a:cubicBezTo>
                <a:cubicBezTo>
                  <a:pt x="1853" y="2847"/>
                  <a:pt x="1853" y="2847"/>
                  <a:pt x="1853" y="2847"/>
                </a:cubicBezTo>
                <a:cubicBezTo>
                  <a:pt x="1853" y="2616"/>
                  <a:pt x="1853" y="2616"/>
                  <a:pt x="1853" y="2616"/>
                </a:cubicBezTo>
                <a:cubicBezTo>
                  <a:pt x="1841" y="2604"/>
                  <a:pt x="1830" y="2592"/>
                  <a:pt x="1818" y="2592"/>
                </a:cubicBezTo>
                <a:cubicBezTo>
                  <a:pt x="1806" y="2592"/>
                  <a:pt x="1795" y="2592"/>
                  <a:pt x="1783" y="2592"/>
                </a:cubicBezTo>
                <a:cubicBezTo>
                  <a:pt x="1679" y="2592"/>
                  <a:pt x="1575" y="2569"/>
                  <a:pt x="1575" y="2500"/>
                </a:cubicBezTo>
                <a:cubicBezTo>
                  <a:pt x="1575" y="2465"/>
                  <a:pt x="1575" y="2465"/>
                  <a:pt x="1575" y="2465"/>
                </a:cubicBezTo>
                <a:cubicBezTo>
                  <a:pt x="1482" y="2430"/>
                  <a:pt x="1378" y="2396"/>
                  <a:pt x="1274" y="2372"/>
                </a:cubicBezTo>
                <a:cubicBezTo>
                  <a:pt x="1274" y="2372"/>
                  <a:pt x="1263" y="2372"/>
                  <a:pt x="1251" y="2372"/>
                </a:cubicBezTo>
                <a:cubicBezTo>
                  <a:pt x="1251" y="2835"/>
                  <a:pt x="1251" y="2835"/>
                  <a:pt x="1251" y="2835"/>
                </a:cubicBezTo>
                <a:cubicBezTo>
                  <a:pt x="463" y="2754"/>
                  <a:pt x="463" y="2754"/>
                  <a:pt x="463" y="2754"/>
                </a:cubicBezTo>
                <a:cubicBezTo>
                  <a:pt x="463" y="2223"/>
                  <a:pt x="463" y="2223"/>
                  <a:pt x="463" y="2223"/>
                </a:cubicBezTo>
                <a:cubicBezTo>
                  <a:pt x="475" y="2223"/>
                  <a:pt x="475" y="2223"/>
                  <a:pt x="487" y="2223"/>
                </a:cubicBezTo>
                <a:cubicBezTo>
                  <a:pt x="568" y="2223"/>
                  <a:pt x="637" y="2200"/>
                  <a:pt x="649" y="2176"/>
                </a:cubicBezTo>
                <a:cubicBezTo>
                  <a:pt x="684" y="2176"/>
                  <a:pt x="718" y="2188"/>
                  <a:pt x="753" y="2200"/>
                </a:cubicBezTo>
                <a:lnTo>
                  <a:pt x="765" y="2200"/>
                </a:lnTo>
                <a:lnTo>
                  <a:pt x="776" y="2200"/>
                </a:lnTo>
                <a:lnTo>
                  <a:pt x="788" y="2200"/>
                </a:lnTo>
                <a:cubicBezTo>
                  <a:pt x="799" y="2200"/>
                  <a:pt x="811" y="2211"/>
                  <a:pt x="822" y="2211"/>
                </a:cubicBezTo>
                <a:cubicBezTo>
                  <a:pt x="834" y="2211"/>
                  <a:pt x="834" y="2211"/>
                  <a:pt x="834" y="2211"/>
                </a:cubicBezTo>
                <a:cubicBezTo>
                  <a:pt x="846" y="2211"/>
                  <a:pt x="846" y="2211"/>
                  <a:pt x="846" y="2211"/>
                </a:cubicBezTo>
                <a:cubicBezTo>
                  <a:pt x="857" y="2211"/>
                  <a:pt x="857" y="2211"/>
                  <a:pt x="857" y="2211"/>
                </a:cubicBezTo>
                <a:cubicBezTo>
                  <a:pt x="869" y="2211"/>
                  <a:pt x="869" y="2211"/>
                  <a:pt x="869" y="2211"/>
                </a:cubicBezTo>
                <a:lnTo>
                  <a:pt x="869" y="2223"/>
                </a:lnTo>
                <a:cubicBezTo>
                  <a:pt x="880" y="2223"/>
                  <a:pt x="880" y="2223"/>
                  <a:pt x="880" y="2223"/>
                </a:cubicBezTo>
                <a:lnTo>
                  <a:pt x="892" y="2223"/>
                </a:lnTo>
                <a:lnTo>
                  <a:pt x="904" y="2223"/>
                </a:lnTo>
                <a:lnTo>
                  <a:pt x="915" y="2223"/>
                </a:lnTo>
                <a:cubicBezTo>
                  <a:pt x="915" y="2223"/>
                  <a:pt x="927" y="2223"/>
                  <a:pt x="927" y="2233"/>
                </a:cubicBezTo>
                <a:cubicBezTo>
                  <a:pt x="950" y="2233"/>
                  <a:pt x="985" y="2245"/>
                  <a:pt x="1019" y="2245"/>
                </a:cubicBezTo>
                <a:cubicBezTo>
                  <a:pt x="1019" y="2280"/>
                  <a:pt x="1019" y="2280"/>
                  <a:pt x="1019" y="2280"/>
                </a:cubicBezTo>
                <a:cubicBezTo>
                  <a:pt x="1019" y="2303"/>
                  <a:pt x="1089" y="2326"/>
                  <a:pt x="1181" y="2326"/>
                </a:cubicBezTo>
                <a:cubicBezTo>
                  <a:pt x="1216" y="2326"/>
                  <a:pt x="1251" y="2326"/>
                  <a:pt x="1274" y="2314"/>
                </a:cubicBezTo>
                <a:cubicBezTo>
                  <a:pt x="1309" y="2326"/>
                  <a:pt x="1332" y="2338"/>
                  <a:pt x="1367" y="2349"/>
                </a:cubicBezTo>
                <a:lnTo>
                  <a:pt x="1378" y="2349"/>
                </a:lnTo>
                <a:lnTo>
                  <a:pt x="1390" y="2349"/>
                </a:lnTo>
                <a:cubicBezTo>
                  <a:pt x="1390" y="2361"/>
                  <a:pt x="1390" y="2361"/>
                  <a:pt x="1390" y="2361"/>
                </a:cubicBezTo>
                <a:cubicBezTo>
                  <a:pt x="1401" y="2361"/>
                  <a:pt x="1401" y="2361"/>
                  <a:pt x="1401" y="2361"/>
                </a:cubicBezTo>
                <a:lnTo>
                  <a:pt x="1413" y="2361"/>
                </a:lnTo>
                <a:lnTo>
                  <a:pt x="1424" y="2361"/>
                </a:lnTo>
                <a:lnTo>
                  <a:pt x="1424" y="2372"/>
                </a:lnTo>
                <a:lnTo>
                  <a:pt x="1436" y="2372"/>
                </a:lnTo>
                <a:lnTo>
                  <a:pt x="1448" y="2372"/>
                </a:lnTo>
                <a:lnTo>
                  <a:pt x="1459" y="2372"/>
                </a:lnTo>
                <a:cubicBezTo>
                  <a:pt x="1471" y="2384"/>
                  <a:pt x="1494" y="2396"/>
                  <a:pt x="1506" y="2396"/>
                </a:cubicBezTo>
                <a:cubicBezTo>
                  <a:pt x="1517" y="2396"/>
                  <a:pt x="1517" y="2396"/>
                  <a:pt x="1517" y="2396"/>
                </a:cubicBezTo>
                <a:cubicBezTo>
                  <a:pt x="1529" y="2407"/>
                  <a:pt x="1529" y="2407"/>
                  <a:pt x="1529" y="2407"/>
                </a:cubicBezTo>
                <a:lnTo>
                  <a:pt x="1540" y="2407"/>
                </a:lnTo>
                <a:lnTo>
                  <a:pt x="1552" y="2407"/>
                </a:lnTo>
                <a:cubicBezTo>
                  <a:pt x="1552" y="2418"/>
                  <a:pt x="1563" y="2418"/>
                  <a:pt x="1563" y="2418"/>
                </a:cubicBezTo>
                <a:lnTo>
                  <a:pt x="1575" y="2418"/>
                </a:lnTo>
                <a:cubicBezTo>
                  <a:pt x="1587" y="2418"/>
                  <a:pt x="1587" y="2430"/>
                  <a:pt x="1598" y="2430"/>
                </a:cubicBezTo>
                <a:cubicBezTo>
                  <a:pt x="1610" y="2430"/>
                  <a:pt x="1610" y="2430"/>
                  <a:pt x="1610" y="2442"/>
                </a:cubicBezTo>
                <a:lnTo>
                  <a:pt x="1621" y="2442"/>
                </a:lnTo>
                <a:cubicBezTo>
                  <a:pt x="1621" y="2500"/>
                  <a:pt x="1621" y="2500"/>
                  <a:pt x="1621" y="2500"/>
                </a:cubicBezTo>
                <a:cubicBezTo>
                  <a:pt x="1621" y="2523"/>
                  <a:pt x="1691" y="2546"/>
                  <a:pt x="1783" y="2546"/>
                </a:cubicBezTo>
                <a:cubicBezTo>
                  <a:pt x="1806" y="2546"/>
                  <a:pt x="1818" y="2546"/>
                  <a:pt x="1830" y="2546"/>
                </a:cubicBezTo>
                <a:lnTo>
                  <a:pt x="1841" y="2546"/>
                </a:lnTo>
                <a:cubicBezTo>
                  <a:pt x="1865" y="2569"/>
                  <a:pt x="1888" y="2581"/>
                  <a:pt x="1911" y="2592"/>
                </a:cubicBezTo>
                <a:cubicBezTo>
                  <a:pt x="1934" y="2616"/>
                  <a:pt x="1945" y="2627"/>
                  <a:pt x="1945" y="2639"/>
                </a:cubicBezTo>
                <a:cubicBezTo>
                  <a:pt x="1945" y="2639"/>
                  <a:pt x="1922" y="2650"/>
                  <a:pt x="1899" y="2662"/>
                </a:cubicBezTo>
                <a:cubicBezTo>
                  <a:pt x="1899" y="2708"/>
                  <a:pt x="1899" y="2708"/>
                  <a:pt x="1899" y="2708"/>
                </a:cubicBezTo>
                <a:cubicBezTo>
                  <a:pt x="1945" y="2696"/>
                  <a:pt x="1980" y="2685"/>
                  <a:pt x="1992" y="2650"/>
                </a:cubicBezTo>
                <a:cubicBezTo>
                  <a:pt x="1992" y="2639"/>
                  <a:pt x="2004" y="2604"/>
                  <a:pt x="1945" y="2557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ffectLst/>
        </p:spPr>
        <p:txBody>
          <a:bodyPr wrap="none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en-US" sz="1100" u="none" strike="noStrike" kern="0" cap="none" spc="0" normalizeH="0" baseline="0" noProof="0">
              <a:ln>
                <a:noFill/>
              </a:ln>
              <a:solidFill>
                <a:schemeClr val="bg1">
                  <a:lumMod val="50000"/>
                </a:schemeClr>
              </a:solidFill>
              <a:effectLst/>
              <a:uLnTx/>
              <a:uFillTx/>
              <a:latin typeface="Oracle Sans" panose="020B0503020204020204" pitchFamily="34" charset="0"/>
              <a:cs typeface="Oracle Sans" panose="020B0503020204020204" pitchFamily="34" charset="0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069845C5-7863-704D-BC58-6F5F7C1A6ABB}"/>
              </a:ext>
            </a:extLst>
          </p:cNvPr>
          <p:cNvSpPr/>
          <p:nvPr/>
        </p:nvSpPr>
        <p:spPr>
          <a:xfrm>
            <a:off x="4639804" y="3930846"/>
            <a:ext cx="1019534" cy="764650"/>
          </a:xfrm>
          <a:prstGeom prst="rect">
            <a:avLst/>
          </a:prstGeom>
          <a:noFill/>
          <a:ln w="19050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n-US" sz="90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racle Sans" panose="020B0503020204020204" pitchFamily="34" charset="0"/>
                <a:cs typeface="Oracle Sans" panose="020B0503020204020204" pitchFamily="34" charset="0"/>
              </a:rPr>
              <a:t>Customer deployed and managed DB Workloads on OCI compute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7FBFAE6B-A23D-A24B-A217-A6AF2C68E828}"/>
              </a:ext>
            </a:extLst>
          </p:cNvPr>
          <p:cNvSpPr txBox="1"/>
          <p:nvPr/>
        </p:nvSpPr>
        <p:spPr>
          <a:xfrm>
            <a:off x="4487640" y="3080690"/>
            <a:ext cx="1323862" cy="37307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>
              <a:defRPr/>
            </a:pPr>
            <a:r>
              <a:rPr lang="en-US" sz="1100">
                <a:solidFill>
                  <a:srgbClr val="DCE3E4"/>
                </a:solidFill>
                <a:latin typeface="Oracle Sans" panose="020B0503020204020204" pitchFamily="34" charset="0"/>
                <a:cs typeface="Oracle Sans" panose="020B0503020204020204" pitchFamily="34" charset="0"/>
              </a:rPr>
              <a:t>Oracle Database Service  on OCI Compute (BM/VM)</a:t>
            </a:r>
          </a:p>
        </p:txBody>
      </p:sp>
      <p:pic>
        <p:nvPicPr>
          <p:cNvPr id="31" name="Picture 16" descr="https://cloud.oracle.com/opc/paas/images/kafka_w_72.png">
            <a:extLst>
              <a:ext uri="{FF2B5EF4-FFF2-40B4-BE49-F238E27FC236}">
                <a16:creationId xmlns:a16="http://schemas.microsoft.com/office/drawing/2014/main" id="{1B60C8CF-C03E-2F49-8AFD-541F2224DC2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contrast="-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4953237" y="2446345"/>
            <a:ext cx="492396" cy="5078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AF385EDE-2FD7-0C4B-B3D4-5273656EA727}"/>
              </a:ext>
            </a:extLst>
          </p:cNvPr>
          <p:cNvSpPr/>
          <p:nvPr/>
        </p:nvSpPr>
        <p:spPr>
          <a:xfrm>
            <a:off x="3307752" y="3930846"/>
            <a:ext cx="1166305" cy="764650"/>
          </a:xfrm>
          <a:prstGeom prst="rect">
            <a:avLst/>
          </a:prstGeom>
          <a:noFill/>
          <a:ln w="19050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n-US" sz="90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racle Sans" panose="020B0503020204020204" pitchFamily="34" charset="0"/>
                <a:cs typeface="Oracle Sans" panose="020B0503020204020204" pitchFamily="34" charset="0"/>
              </a:rPr>
              <a:t>Database control, sovereignty, privacy req. of mission critical workloads managed by Oracle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768D46D1-7705-0947-A2ED-0E58F6DC33C7}"/>
              </a:ext>
            </a:extLst>
          </p:cNvPr>
          <p:cNvSpPr txBox="1"/>
          <p:nvPr/>
        </p:nvSpPr>
        <p:spPr>
          <a:xfrm>
            <a:off x="3321247" y="3080690"/>
            <a:ext cx="1124531" cy="45273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>
              <a:defRPr/>
            </a:pPr>
            <a:r>
              <a:rPr lang="en-US" sz="1100" dirty="0">
                <a:solidFill>
                  <a:srgbClr val="DCE3E4"/>
                </a:solidFill>
                <a:latin typeface="Oracle Sans" panose="020B0503020204020204" pitchFamily="34" charset="0"/>
                <a:cs typeface="Oracle Sans" panose="020B0503020204020204" pitchFamily="34" charset="0"/>
              </a:rPr>
              <a:t>Exadata Cloud@ Customer</a:t>
            </a:r>
          </a:p>
        </p:txBody>
      </p:sp>
      <p:grpSp>
        <p:nvGrpSpPr>
          <p:cNvPr id="32" name="Group 31">
            <a:extLst>
              <a:ext uri="{FF2B5EF4-FFF2-40B4-BE49-F238E27FC236}">
                <a16:creationId xmlns:a16="http://schemas.microsoft.com/office/drawing/2014/main" id="{E2E9AC83-F660-1243-B1E7-7FD8C3378210}"/>
              </a:ext>
            </a:extLst>
          </p:cNvPr>
          <p:cNvGrpSpPr>
            <a:grpSpLocks noChangeAspect="1"/>
          </p:cNvGrpSpPr>
          <p:nvPr/>
        </p:nvGrpSpPr>
        <p:grpSpPr>
          <a:xfrm>
            <a:off x="3599478" y="2540257"/>
            <a:ext cx="611399" cy="413933"/>
            <a:chOff x="5536486" y="2264212"/>
            <a:chExt cx="2313618" cy="1613458"/>
          </a:xfrm>
          <a:solidFill>
            <a:srgbClr val="5F5F5F"/>
          </a:solidFill>
        </p:grpSpPr>
        <p:sp>
          <p:nvSpPr>
            <p:cNvPr id="33" name="Freeform 3">
              <a:extLst>
                <a:ext uri="{FF2B5EF4-FFF2-40B4-BE49-F238E27FC236}">
                  <a16:creationId xmlns:a16="http://schemas.microsoft.com/office/drawing/2014/main" id="{C555376D-45A0-FF44-A1DC-B1C37B966809}"/>
                </a:ext>
              </a:extLst>
            </p:cNvPr>
            <p:cNvSpPr>
              <a:spLocks noChangeAspect="1" noChangeArrowheads="1"/>
            </p:cNvSpPr>
            <p:nvPr/>
          </p:nvSpPr>
          <p:spPr bwMode="auto">
            <a:xfrm>
              <a:off x="6358104" y="2600227"/>
              <a:ext cx="638721" cy="1277443"/>
            </a:xfrm>
            <a:custGeom>
              <a:avLst/>
              <a:gdLst>
                <a:gd name="T0" fmla="*/ 776 w 1483"/>
                <a:gd name="T1" fmla="*/ 660 h 2964"/>
                <a:gd name="T2" fmla="*/ 602 w 1483"/>
                <a:gd name="T3" fmla="*/ 648 h 2964"/>
                <a:gd name="T4" fmla="*/ 150 w 1483"/>
                <a:gd name="T5" fmla="*/ 1713 h 2964"/>
                <a:gd name="T6" fmla="*/ 776 w 1483"/>
                <a:gd name="T7" fmla="*/ 1586 h 2964"/>
                <a:gd name="T8" fmla="*/ 150 w 1483"/>
                <a:gd name="T9" fmla="*/ 1713 h 2964"/>
                <a:gd name="T10" fmla="*/ 776 w 1483"/>
                <a:gd name="T11" fmla="*/ 1899 h 2964"/>
                <a:gd name="T12" fmla="*/ 150 w 1483"/>
                <a:gd name="T13" fmla="*/ 1876 h 2964"/>
                <a:gd name="T14" fmla="*/ 625 w 1483"/>
                <a:gd name="T15" fmla="*/ 2049 h 2964"/>
                <a:gd name="T16" fmla="*/ 440 w 1483"/>
                <a:gd name="T17" fmla="*/ 2268 h 2964"/>
                <a:gd name="T18" fmla="*/ 266 w 1483"/>
                <a:gd name="T19" fmla="*/ 2061 h 2964"/>
                <a:gd name="T20" fmla="*/ 266 w 1483"/>
                <a:gd name="T21" fmla="*/ 2639 h 2964"/>
                <a:gd name="T22" fmla="*/ 440 w 1483"/>
                <a:gd name="T23" fmla="*/ 2407 h 2964"/>
                <a:gd name="T24" fmla="*/ 637 w 1483"/>
                <a:gd name="T25" fmla="*/ 2662 h 2964"/>
                <a:gd name="T26" fmla="*/ 625 w 1483"/>
                <a:gd name="T27" fmla="*/ 2049 h 2964"/>
                <a:gd name="T28" fmla="*/ 150 w 1483"/>
                <a:gd name="T29" fmla="*/ 556 h 2964"/>
                <a:gd name="T30" fmla="*/ 776 w 1483"/>
                <a:gd name="T31" fmla="*/ 417 h 2964"/>
                <a:gd name="T32" fmla="*/ 880 w 1483"/>
                <a:gd name="T33" fmla="*/ 0 h 2964"/>
                <a:gd name="T34" fmla="*/ 0 w 1483"/>
                <a:gd name="T35" fmla="*/ 2847 h 2964"/>
                <a:gd name="T36" fmla="*/ 1482 w 1483"/>
                <a:gd name="T37" fmla="*/ 2847 h 2964"/>
                <a:gd name="T38" fmla="*/ 880 w 1483"/>
                <a:gd name="T39" fmla="*/ 0 h 2964"/>
                <a:gd name="T40" fmla="*/ 92 w 1483"/>
                <a:gd name="T41" fmla="*/ 2754 h 2964"/>
                <a:gd name="T42" fmla="*/ 880 w 1483"/>
                <a:gd name="T43" fmla="*/ 127 h 2964"/>
                <a:gd name="T44" fmla="*/ 776 w 1483"/>
                <a:gd name="T45" fmla="*/ 845 h 2964"/>
                <a:gd name="T46" fmla="*/ 150 w 1483"/>
                <a:gd name="T47" fmla="*/ 1054 h 2964"/>
                <a:gd name="T48" fmla="*/ 776 w 1483"/>
                <a:gd name="T49" fmla="*/ 845 h 2964"/>
                <a:gd name="T50" fmla="*/ 150 w 1483"/>
                <a:gd name="T51" fmla="*/ 1215 h 2964"/>
                <a:gd name="T52" fmla="*/ 776 w 1483"/>
                <a:gd name="T53" fmla="*/ 1401 h 2964"/>
                <a:gd name="T54" fmla="*/ 301 w 1483"/>
                <a:gd name="T55" fmla="*/ 729 h 2964"/>
                <a:gd name="T56" fmla="*/ 150 w 1483"/>
                <a:gd name="T57" fmla="*/ 833 h 2964"/>
                <a:gd name="T58" fmla="*/ 301 w 1483"/>
                <a:gd name="T59" fmla="*/ 729 h 2964"/>
                <a:gd name="T60" fmla="*/ 533 w 1483"/>
                <a:gd name="T61" fmla="*/ 579 h 2964"/>
                <a:gd name="T62" fmla="*/ 359 w 1483"/>
                <a:gd name="T63" fmla="*/ 868 h 29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483" h="2964">
                  <a:moveTo>
                    <a:pt x="602" y="706"/>
                  </a:moveTo>
                  <a:lnTo>
                    <a:pt x="776" y="660"/>
                  </a:lnTo>
                  <a:lnTo>
                    <a:pt x="776" y="602"/>
                  </a:lnTo>
                  <a:lnTo>
                    <a:pt x="602" y="648"/>
                  </a:lnTo>
                  <a:lnTo>
                    <a:pt x="602" y="706"/>
                  </a:lnTo>
                  <a:close/>
                  <a:moveTo>
                    <a:pt x="150" y="1713"/>
                  </a:moveTo>
                  <a:lnTo>
                    <a:pt x="776" y="1656"/>
                  </a:lnTo>
                  <a:lnTo>
                    <a:pt x="776" y="1586"/>
                  </a:lnTo>
                  <a:lnTo>
                    <a:pt x="150" y="1656"/>
                  </a:lnTo>
                  <a:lnTo>
                    <a:pt x="150" y="1713"/>
                  </a:lnTo>
                  <a:close/>
                  <a:moveTo>
                    <a:pt x="150" y="1933"/>
                  </a:moveTo>
                  <a:lnTo>
                    <a:pt x="776" y="1899"/>
                  </a:lnTo>
                  <a:lnTo>
                    <a:pt x="776" y="1829"/>
                  </a:lnTo>
                  <a:lnTo>
                    <a:pt x="150" y="1876"/>
                  </a:lnTo>
                  <a:lnTo>
                    <a:pt x="150" y="1933"/>
                  </a:lnTo>
                  <a:close/>
                  <a:moveTo>
                    <a:pt x="625" y="2049"/>
                  </a:moveTo>
                  <a:lnTo>
                    <a:pt x="544" y="2049"/>
                  </a:lnTo>
                  <a:lnTo>
                    <a:pt x="440" y="2268"/>
                  </a:lnTo>
                  <a:lnTo>
                    <a:pt x="359" y="2061"/>
                  </a:lnTo>
                  <a:lnTo>
                    <a:pt x="266" y="2061"/>
                  </a:lnTo>
                  <a:lnTo>
                    <a:pt x="394" y="2338"/>
                  </a:lnTo>
                  <a:lnTo>
                    <a:pt x="266" y="2639"/>
                  </a:lnTo>
                  <a:lnTo>
                    <a:pt x="347" y="2639"/>
                  </a:lnTo>
                  <a:lnTo>
                    <a:pt x="440" y="2407"/>
                  </a:lnTo>
                  <a:lnTo>
                    <a:pt x="544" y="2650"/>
                  </a:lnTo>
                  <a:lnTo>
                    <a:pt x="637" y="2662"/>
                  </a:lnTo>
                  <a:lnTo>
                    <a:pt x="486" y="2338"/>
                  </a:lnTo>
                  <a:lnTo>
                    <a:pt x="625" y="2049"/>
                  </a:lnTo>
                  <a:close/>
                  <a:moveTo>
                    <a:pt x="776" y="347"/>
                  </a:moveTo>
                  <a:lnTo>
                    <a:pt x="150" y="556"/>
                  </a:lnTo>
                  <a:lnTo>
                    <a:pt x="150" y="613"/>
                  </a:lnTo>
                  <a:lnTo>
                    <a:pt x="776" y="417"/>
                  </a:lnTo>
                  <a:lnTo>
                    <a:pt x="776" y="347"/>
                  </a:lnTo>
                  <a:close/>
                  <a:moveTo>
                    <a:pt x="880" y="0"/>
                  </a:moveTo>
                  <a:lnTo>
                    <a:pt x="0" y="336"/>
                  </a:lnTo>
                  <a:lnTo>
                    <a:pt x="0" y="2847"/>
                  </a:lnTo>
                  <a:lnTo>
                    <a:pt x="880" y="2963"/>
                  </a:lnTo>
                  <a:lnTo>
                    <a:pt x="1482" y="2847"/>
                  </a:lnTo>
                  <a:lnTo>
                    <a:pt x="1482" y="336"/>
                  </a:lnTo>
                  <a:lnTo>
                    <a:pt x="880" y="0"/>
                  </a:lnTo>
                  <a:close/>
                  <a:moveTo>
                    <a:pt x="880" y="2835"/>
                  </a:moveTo>
                  <a:lnTo>
                    <a:pt x="92" y="2754"/>
                  </a:lnTo>
                  <a:lnTo>
                    <a:pt x="92" y="405"/>
                  </a:lnTo>
                  <a:lnTo>
                    <a:pt x="880" y="127"/>
                  </a:lnTo>
                  <a:lnTo>
                    <a:pt x="880" y="2835"/>
                  </a:lnTo>
                  <a:close/>
                  <a:moveTo>
                    <a:pt x="776" y="845"/>
                  </a:moveTo>
                  <a:lnTo>
                    <a:pt x="150" y="996"/>
                  </a:lnTo>
                  <a:lnTo>
                    <a:pt x="150" y="1054"/>
                  </a:lnTo>
                  <a:lnTo>
                    <a:pt x="776" y="915"/>
                  </a:lnTo>
                  <a:lnTo>
                    <a:pt x="776" y="845"/>
                  </a:lnTo>
                  <a:close/>
                  <a:moveTo>
                    <a:pt x="776" y="1088"/>
                  </a:moveTo>
                  <a:lnTo>
                    <a:pt x="150" y="1215"/>
                  </a:lnTo>
                  <a:lnTo>
                    <a:pt x="150" y="1493"/>
                  </a:lnTo>
                  <a:lnTo>
                    <a:pt x="776" y="1401"/>
                  </a:lnTo>
                  <a:lnTo>
                    <a:pt x="776" y="1088"/>
                  </a:lnTo>
                  <a:close/>
                  <a:moveTo>
                    <a:pt x="301" y="729"/>
                  </a:moveTo>
                  <a:lnTo>
                    <a:pt x="150" y="776"/>
                  </a:lnTo>
                  <a:lnTo>
                    <a:pt x="150" y="833"/>
                  </a:lnTo>
                  <a:lnTo>
                    <a:pt x="301" y="787"/>
                  </a:lnTo>
                  <a:lnTo>
                    <a:pt x="301" y="729"/>
                  </a:lnTo>
                  <a:close/>
                  <a:moveTo>
                    <a:pt x="533" y="822"/>
                  </a:moveTo>
                  <a:lnTo>
                    <a:pt x="533" y="579"/>
                  </a:lnTo>
                  <a:lnTo>
                    <a:pt x="359" y="625"/>
                  </a:lnTo>
                  <a:lnTo>
                    <a:pt x="359" y="868"/>
                  </a:lnTo>
                  <a:lnTo>
                    <a:pt x="533" y="82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0" lang="en-US" sz="1200" u="none" strike="noStrike" kern="0" cap="none" spc="0" normalizeH="0" baseline="0" noProof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Oracle Sans" panose="020B0503020204020204" pitchFamily="34" charset="0"/>
                <a:cs typeface="Oracle Sans" panose="020B0503020204020204" pitchFamily="34" charset="0"/>
              </a:endParaRPr>
            </a:p>
          </p:txBody>
        </p:sp>
        <p:sp>
          <p:nvSpPr>
            <p:cNvPr id="34" name="Freeform 33">
              <a:extLst>
                <a:ext uri="{FF2B5EF4-FFF2-40B4-BE49-F238E27FC236}">
                  <a16:creationId xmlns:a16="http://schemas.microsoft.com/office/drawing/2014/main" id="{B18CA90A-E70F-C245-9A8B-B27D945FC43E}"/>
                </a:ext>
              </a:extLst>
            </p:cNvPr>
            <p:cNvSpPr>
              <a:spLocks noChangeAspect="1" noChangeArrowheads="1"/>
            </p:cNvSpPr>
            <p:nvPr/>
          </p:nvSpPr>
          <p:spPr bwMode="auto">
            <a:xfrm>
              <a:off x="5536486" y="2264212"/>
              <a:ext cx="2313618" cy="1305180"/>
            </a:xfrm>
            <a:custGeom>
              <a:avLst/>
              <a:gdLst>
                <a:gd name="connsiteX0" fmla="*/ 1932525 w 4761574"/>
                <a:gd name="connsiteY0" fmla="*/ 0 h 2686149"/>
                <a:gd name="connsiteX1" fmla="*/ 2732535 w 4761574"/>
                <a:gd name="connsiteY1" fmla="*/ 421590 h 2686149"/>
                <a:gd name="connsiteX2" fmla="*/ 3011207 w 4761574"/>
                <a:gd name="connsiteY2" fmla="*/ 375506 h 2686149"/>
                <a:gd name="connsiteX3" fmla="*/ 3829219 w 4761574"/>
                <a:gd name="connsiteY3" fmla="*/ 971708 h 2686149"/>
                <a:gd name="connsiteX4" fmla="*/ 3904107 w 4761574"/>
                <a:gd name="connsiteY4" fmla="*/ 968108 h 2686149"/>
                <a:gd name="connsiteX5" fmla="*/ 4761363 w 4761574"/>
                <a:gd name="connsiteY5" fmla="*/ 1807687 h 2686149"/>
                <a:gd name="connsiteX6" fmla="*/ 3889706 w 4761574"/>
                <a:gd name="connsiteY6" fmla="*/ 2678948 h 2686149"/>
                <a:gd name="connsiteX7" fmla="*/ 3264675 w 4761574"/>
                <a:gd name="connsiteY7" fmla="*/ 2678948 h 2686149"/>
                <a:gd name="connsiteX8" fmla="*/ 3264675 w 4761574"/>
                <a:gd name="connsiteY8" fmla="*/ 2457533 h 2686149"/>
                <a:gd name="connsiteX9" fmla="*/ 3904107 w 4761574"/>
                <a:gd name="connsiteY9" fmla="*/ 2457533 h 2686149"/>
                <a:gd name="connsiteX10" fmla="*/ 4536699 w 4761574"/>
                <a:gd name="connsiteY10" fmla="*/ 1779245 h 2686149"/>
                <a:gd name="connsiteX11" fmla="*/ 3950553 w 4761574"/>
                <a:gd name="connsiteY11" fmla="*/ 1193124 h 2686149"/>
                <a:gd name="connsiteX12" fmla="*/ 3850821 w 4761574"/>
                <a:gd name="connsiteY12" fmla="*/ 1193124 h 2686149"/>
                <a:gd name="connsiteX13" fmla="*/ 3750730 w 4761574"/>
                <a:gd name="connsiteY13" fmla="*/ 1203924 h 2686149"/>
                <a:gd name="connsiteX14" fmla="*/ 3647039 w 4761574"/>
                <a:gd name="connsiteY14" fmla="*/ 1136240 h 2686149"/>
                <a:gd name="connsiteX15" fmla="*/ 3614995 w 4761574"/>
                <a:gd name="connsiteY15" fmla="*/ 1039753 h 2686149"/>
                <a:gd name="connsiteX16" fmla="*/ 2932358 w 4761574"/>
                <a:gd name="connsiteY16" fmla="*/ 600162 h 2686149"/>
                <a:gd name="connsiteX17" fmla="*/ 2796983 w 4761574"/>
                <a:gd name="connsiteY17" fmla="*/ 632564 h 2686149"/>
                <a:gd name="connsiteX18" fmla="*/ 2714533 w 4761574"/>
                <a:gd name="connsiteY18" fmla="*/ 664607 h 2686149"/>
                <a:gd name="connsiteX19" fmla="*/ 2600401 w 4761574"/>
                <a:gd name="connsiteY19" fmla="*/ 625364 h 2686149"/>
                <a:gd name="connsiteX20" fmla="*/ 2546755 w 4761574"/>
                <a:gd name="connsiteY20" fmla="*/ 546878 h 2686149"/>
                <a:gd name="connsiteX21" fmla="*/ 1932525 w 4761574"/>
                <a:gd name="connsiteY21" fmla="*/ 225376 h 2686149"/>
                <a:gd name="connsiteX22" fmla="*/ 1211004 w 4761574"/>
                <a:gd name="connsiteY22" fmla="*/ 796736 h 2686149"/>
                <a:gd name="connsiteX23" fmla="*/ 1186161 w 4761574"/>
                <a:gd name="connsiteY23" fmla="*/ 896823 h 2686149"/>
                <a:gd name="connsiteX24" fmla="*/ 1086070 w 4761574"/>
                <a:gd name="connsiteY24" fmla="*/ 971708 h 2686149"/>
                <a:gd name="connsiteX25" fmla="*/ 985979 w 4761574"/>
                <a:gd name="connsiteY25" fmla="*/ 968108 h 2686149"/>
                <a:gd name="connsiteX26" fmla="*/ 975178 w 4761574"/>
                <a:gd name="connsiteY26" fmla="*/ 968108 h 2686149"/>
                <a:gd name="connsiteX27" fmla="*/ 964736 w 4761574"/>
                <a:gd name="connsiteY27" fmla="*/ 968108 h 2686149"/>
                <a:gd name="connsiteX28" fmla="*/ 221613 w 4761574"/>
                <a:gd name="connsiteY28" fmla="*/ 1736402 h 2686149"/>
                <a:gd name="connsiteX29" fmla="*/ 982378 w 4761574"/>
                <a:gd name="connsiteY29" fmla="*/ 2457533 h 2686149"/>
                <a:gd name="connsiteX30" fmla="*/ 1693459 w 4761574"/>
                <a:gd name="connsiteY30" fmla="*/ 2457533 h 2686149"/>
                <a:gd name="connsiteX31" fmla="*/ 1693459 w 4761574"/>
                <a:gd name="connsiteY31" fmla="*/ 2686149 h 2686149"/>
                <a:gd name="connsiteX32" fmla="*/ 1693459 w 4761574"/>
                <a:gd name="connsiteY32" fmla="*/ 2678948 h 2686149"/>
                <a:gd name="connsiteX33" fmla="*/ 985979 w 4761574"/>
                <a:gd name="connsiteY33" fmla="*/ 2678948 h 2686149"/>
                <a:gd name="connsiteX34" fmla="*/ 188 w 4761574"/>
                <a:gd name="connsiteY34" fmla="*/ 1693559 h 2686149"/>
                <a:gd name="connsiteX35" fmla="*/ 964736 w 4761574"/>
                <a:gd name="connsiteY35" fmla="*/ 746692 h 2686149"/>
                <a:gd name="connsiteX36" fmla="*/ 993180 w 4761574"/>
                <a:gd name="connsiteY36" fmla="*/ 746692 h 2686149"/>
                <a:gd name="connsiteX37" fmla="*/ 1932525 w 4761574"/>
                <a:gd name="connsiteY37" fmla="*/ 0 h 2686149"/>
                <a:gd name="connsiteX38" fmla="*/ 1932525 w 4761574"/>
                <a:gd name="connsiteY38" fmla="*/ 0 h 2686149"/>
                <a:gd name="connsiteX39" fmla="*/ 1932525 w 4761574"/>
                <a:gd name="connsiteY39" fmla="*/ 0 h 2686149"/>
                <a:gd name="connsiteX40" fmla="*/ 964736 w 4761574"/>
                <a:gd name="connsiteY40" fmla="*/ 746692 h 2686149"/>
                <a:gd name="connsiteX41" fmla="*/ 993180 w 4761574"/>
                <a:gd name="connsiteY41" fmla="*/ 746692 h 2686149"/>
                <a:gd name="connsiteX42" fmla="*/ 1932525 w 4761574"/>
                <a:gd name="connsiteY42" fmla="*/ 0 h 2686149"/>
                <a:gd name="connsiteX43" fmla="*/ 964736 w 4761574"/>
                <a:gd name="connsiteY43" fmla="*/ 746692 h 2686149"/>
                <a:gd name="connsiteX44" fmla="*/ 993180 w 4761574"/>
                <a:gd name="connsiteY44" fmla="*/ 746692 h 2686149"/>
                <a:gd name="connsiteX45" fmla="*/ 1932525 w 4761574"/>
                <a:gd name="connsiteY45" fmla="*/ 0 h 2686149"/>
                <a:gd name="connsiteX46" fmla="*/ 1932525 w 4761574"/>
                <a:gd name="connsiteY46" fmla="*/ 0 h 2686149"/>
                <a:gd name="connsiteX47" fmla="*/ 964736 w 4761574"/>
                <a:gd name="connsiteY47" fmla="*/ 746692 h 2686149"/>
                <a:gd name="connsiteX48" fmla="*/ 993180 w 4761574"/>
                <a:gd name="connsiteY48" fmla="*/ 746692 h 2686149"/>
                <a:gd name="connsiteX49" fmla="*/ 1932525 w 4761574"/>
                <a:gd name="connsiteY49" fmla="*/ 0 h 2686149"/>
                <a:gd name="connsiteX50" fmla="*/ 1932525 w 4761574"/>
                <a:gd name="connsiteY50" fmla="*/ 0 h 2686149"/>
                <a:gd name="connsiteX51" fmla="*/ 1932525 w 4761574"/>
                <a:gd name="connsiteY51" fmla="*/ 0 h 2686149"/>
                <a:gd name="connsiteX52" fmla="*/ 964736 w 4761574"/>
                <a:gd name="connsiteY52" fmla="*/ 746692 h 2686149"/>
                <a:gd name="connsiteX53" fmla="*/ 993180 w 4761574"/>
                <a:gd name="connsiteY53" fmla="*/ 746692 h 2686149"/>
                <a:gd name="connsiteX54" fmla="*/ 1932525 w 4761574"/>
                <a:gd name="connsiteY54" fmla="*/ 0 h 2686149"/>
                <a:gd name="connsiteX55" fmla="*/ 1932525 w 4761574"/>
                <a:gd name="connsiteY55" fmla="*/ 0 h 2686149"/>
                <a:gd name="connsiteX56" fmla="*/ 1932525 w 4761574"/>
                <a:gd name="connsiteY56" fmla="*/ 0 h 2686149"/>
                <a:gd name="connsiteX57" fmla="*/ 964736 w 4761574"/>
                <a:gd name="connsiteY57" fmla="*/ 746692 h 2686149"/>
                <a:gd name="connsiteX58" fmla="*/ 993180 w 4761574"/>
                <a:gd name="connsiteY58" fmla="*/ 746692 h 2686149"/>
                <a:gd name="connsiteX59" fmla="*/ 1932525 w 4761574"/>
                <a:gd name="connsiteY59" fmla="*/ 0 h 2686149"/>
                <a:gd name="connsiteX60" fmla="*/ 1932525 w 4761574"/>
                <a:gd name="connsiteY60" fmla="*/ 0 h 2686149"/>
                <a:gd name="connsiteX61" fmla="*/ 1932525 w 4761574"/>
                <a:gd name="connsiteY61" fmla="*/ 0 h 2686149"/>
                <a:gd name="connsiteX62" fmla="*/ 1932525 w 4761574"/>
                <a:gd name="connsiteY62" fmla="*/ 0 h 2686149"/>
                <a:gd name="connsiteX63" fmla="*/ 964736 w 4761574"/>
                <a:gd name="connsiteY63" fmla="*/ 746692 h 2686149"/>
                <a:gd name="connsiteX64" fmla="*/ 993180 w 4761574"/>
                <a:gd name="connsiteY64" fmla="*/ 746692 h 2686149"/>
                <a:gd name="connsiteX65" fmla="*/ 1932525 w 4761574"/>
                <a:gd name="connsiteY65" fmla="*/ 0 h 2686149"/>
                <a:gd name="connsiteX66" fmla="*/ 1932525 w 4761574"/>
                <a:gd name="connsiteY66" fmla="*/ 0 h 2686149"/>
                <a:gd name="connsiteX67" fmla="*/ 1932525 w 4761574"/>
                <a:gd name="connsiteY67" fmla="*/ 0 h 2686149"/>
                <a:gd name="connsiteX68" fmla="*/ 964736 w 4761574"/>
                <a:gd name="connsiteY68" fmla="*/ 746692 h 2686149"/>
                <a:gd name="connsiteX69" fmla="*/ 993180 w 4761574"/>
                <a:gd name="connsiteY69" fmla="*/ 746692 h 2686149"/>
                <a:gd name="connsiteX70" fmla="*/ 1932525 w 4761574"/>
                <a:gd name="connsiteY70" fmla="*/ 0 h 2686149"/>
                <a:gd name="connsiteX71" fmla="*/ 964736 w 4761574"/>
                <a:gd name="connsiteY71" fmla="*/ 746692 h 2686149"/>
                <a:gd name="connsiteX72" fmla="*/ 993180 w 4761574"/>
                <a:gd name="connsiteY72" fmla="*/ 746692 h 2686149"/>
                <a:gd name="connsiteX73" fmla="*/ 1932525 w 4761574"/>
                <a:gd name="connsiteY73" fmla="*/ 0 h 2686149"/>
                <a:gd name="connsiteX74" fmla="*/ 1932525 w 4761574"/>
                <a:gd name="connsiteY74" fmla="*/ 0 h 2686149"/>
                <a:gd name="connsiteX75" fmla="*/ 1932525 w 4761574"/>
                <a:gd name="connsiteY75" fmla="*/ 0 h 2686149"/>
                <a:gd name="connsiteX76" fmla="*/ 1932525 w 4761574"/>
                <a:gd name="connsiteY76" fmla="*/ 0 h 2686149"/>
                <a:gd name="connsiteX77" fmla="*/ 1932525 w 4761574"/>
                <a:gd name="connsiteY77" fmla="*/ 0 h 2686149"/>
                <a:gd name="connsiteX78" fmla="*/ 964736 w 4761574"/>
                <a:gd name="connsiteY78" fmla="*/ 746692 h 2860315"/>
                <a:gd name="connsiteX79" fmla="*/ 993180 w 4761574"/>
                <a:gd name="connsiteY79" fmla="*/ 746692 h 2860315"/>
                <a:gd name="connsiteX80" fmla="*/ 1932525 w 4761574"/>
                <a:gd name="connsiteY80" fmla="*/ 0 h 2860315"/>
                <a:gd name="connsiteX81" fmla="*/ 1932525 w 4761574"/>
                <a:gd name="connsiteY81" fmla="*/ 0 h 2860315"/>
                <a:gd name="connsiteX82" fmla="*/ 964736 w 4761574"/>
                <a:gd name="connsiteY82" fmla="*/ 746692 h 3307323"/>
                <a:gd name="connsiteX83" fmla="*/ 993180 w 4761574"/>
                <a:gd name="connsiteY83" fmla="*/ 746692 h 3307323"/>
                <a:gd name="connsiteX84" fmla="*/ 1932525 w 4761574"/>
                <a:gd name="connsiteY84" fmla="*/ 0 h 3307323"/>
                <a:gd name="connsiteX85" fmla="*/ 1932525 w 4761574"/>
                <a:gd name="connsiteY85" fmla="*/ 0 h 3312832"/>
                <a:gd name="connsiteX86" fmla="*/ 1932525 w 4761574"/>
                <a:gd name="connsiteY86" fmla="*/ 0 h 3375722"/>
                <a:gd name="connsiteX87" fmla="*/ 1932525 w 4761574"/>
                <a:gd name="connsiteY87" fmla="*/ 0 h 3471179"/>
                <a:gd name="connsiteX88" fmla="*/ 1932525 w 4761574"/>
                <a:gd name="connsiteY88" fmla="*/ 0 h 3470642"/>
                <a:gd name="connsiteX89" fmla="*/ 1932525 w 4761574"/>
                <a:gd name="connsiteY89" fmla="*/ 0 h 3491505"/>
                <a:gd name="connsiteX90" fmla="*/ 1932525 w 4761574"/>
                <a:gd name="connsiteY90" fmla="*/ 0 h 3528653"/>
                <a:gd name="connsiteX91" fmla="*/ 1932525 w 4761574"/>
                <a:gd name="connsiteY91" fmla="*/ 0 h 3528653"/>
                <a:gd name="connsiteX92" fmla="*/ 1932525 w 4761574"/>
                <a:gd name="connsiteY92" fmla="*/ 0 h 3528653"/>
                <a:gd name="connsiteX93" fmla="*/ 1932525 w 4761574"/>
                <a:gd name="connsiteY93" fmla="*/ 0 h 3528653"/>
                <a:gd name="connsiteX94" fmla="*/ 1932525 w 4761574"/>
                <a:gd name="connsiteY94" fmla="*/ 0 h 3528653"/>
                <a:gd name="connsiteX95" fmla="*/ 1932525 w 4761574"/>
                <a:gd name="connsiteY95" fmla="*/ 0 h 3528653"/>
                <a:gd name="connsiteX96" fmla="*/ 1932525 w 4761574"/>
                <a:gd name="connsiteY96" fmla="*/ 0 h 3528653"/>
                <a:gd name="connsiteX97" fmla="*/ 1932525 w 4761574"/>
                <a:gd name="connsiteY97" fmla="*/ 0 h 3528653"/>
                <a:gd name="connsiteX98" fmla="*/ 1932525 w 4761574"/>
                <a:gd name="connsiteY98" fmla="*/ 0 h 3528653"/>
                <a:gd name="connsiteX99" fmla="*/ 1932525 w 4761574"/>
                <a:gd name="connsiteY99" fmla="*/ 0 h 3528653"/>
                <a:gd name="connsiteX100" fmla="*/ 1932525 w 4761574"/>
                <a:gd name="connsiteY100" fmla="*/ 0 h 3528653"/>
                <a:gd name="connsiteX101" fmla="*/ 1932525 w 4761574"/>
                <a:gd name="connsiteY101" fmla="*/ 0 h 3528653"/>
                <a:gd name="connsiteX102" fmla="*/ 1932525 w 4761574"/>
                <a:gd name="connsiteY102" fmla="*/ 0 h 3528653"/>
                <a:gd name="connsiteX103" fmla="*/ 1932525 w 4761574"/>
                <a:gd name="connsiteY103" fmla="*/ 0 h 3528653"/>
                <a:gd name="connsiteX104" fmla="*/ 1932525 w 4761574"/>
                <a:gd name="connsiteY104" fmla="*/ 0 h 3528653"/>
                <a:gd name="connsiteX105" fmla="*/ 1932525 w 4761574"/>
                <a:gd name="connsiteY105" fmla="*/ 0 h 3621855"/>
                <a:gd name="connsiteX106" fmla="*/ 1932525 w 4761574"/>
                <a:gd name="connsiteY106" fmla="*/ 0 h 3621855"/>
                <a:gd name="connsiteX107" fmla="*/ 1932525 w 4761574"/>
                <a:gd name="connsiteY107" fmla="*/ 0 h 3621855"/>
                <a:gd name="connsiteX108" fmla="*/ 1932525 w 4761574"/>
                <a:gd name="connsiteY108" fmla="*/ 0 h 3697100"/>
                <a:gd name="connsiteX109" fmla="*/ 1932525 w 4761574"/>
                <a:gd name="connsiteY109" fmla="*/ 0 h 3707541"/>
                <a:gd name="connsiteX110" fmla="*/ 1932525 w 4761574"/>
                <a:gd name="connsiteY110" fmla="*/ 0 h 3811228"/>
                <a:gd name="connsiteX111" fmla="*/ 1932525 w 4761574"/>
                <a:gd name="connsiteY111" fmla="*/ 0 h 38112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4761574" h="2686149">
                  <a:moveTo>
                    <a:pt x="1932525" y="0"/>
                  </a:moveTo>
                  <a:cubicBezTo>
                    <a:pt x="2264843" y="0"/>
                    <a:pt x="2557556" y="168132"/>
                    <a:pt x="2732535" y="421590"/>
                  </a:cubicBezTo>
                  <a:cubicBezTo>
                    <a:pt x="2818225" y="389547"/>
                    <a:pt x="2914716" y="375506"/>
                    <a:pt x="3011207" y="375506"/>
                  </a:cubicBezTo>
                  <a:cubicBezTo>
                    <a:pt x="3396810" y="375506"/>
                    <a:pt x="3718327" y="625364"/>
                    <a:pt x="3829219" y="971708"/>
                  </a:cubicBezTo>
                  <a:cubicBezTo>
                    <a:pt x="3854062" y="971708"/>
                    <a:pt x="3879265" y="968108"/>
                    <a:pt x="3904107" y="968108"/>
                  </a:cubicBezTo>
                  <a:cubicBezTo>
                    <a:pt x="4372160" y="968108"/>
                    <a:pt x="4750923" y="1343254"/>
                    <a:pt x="4761363" y="1807687"/>
                  </a:cubicBezTo>
                  <a:cubicBezTo>
                    <a:pt x="4772165" y="2285801"/>
                    <a:pt x="4368559" y="2678948"/>
                    <a:pt x="3889706" y="2678948"/>
                  </a:cubicBezTo>
                  <a:lnTo>
                    <a:pt x="3264675" y="2678948"/>
                  </a:lnTo>
                  <a:lnTo>
                    <a:pt x="3264675" y="2457533"/>
                  </a:lnTo>
                  <a:lnTo>
                    <a:pt x="3904107" y="2457533"/>
                  </a:lnTo>
                  <a:cubicBezTo>
                    <a:pt x="4268469" y="2457533"/>
                    <a:pt x="4565141" y="2146831"/>
                    <a:pt x="4536699" y="1779245"/>
                  </a:cubicBezTo>
                  <a:cubicBezTo>
                    <a:pt x="4515096" y="1468183"/>
                    <a:pt x="4261267" y="1221926"/>
                    <a:pt x="3950553" y="1193124"/>
                  </a:cubicBezTo>
                  <a:cubicBezTo>
                    <a:pt x="3918509" y="1189883"/>
                    <a:pt x="3886465" y="1189883"/>
                    <a:pt x="3850821" y="1193124"/>
                  </a:cubicBezTo>
                  <a:lnTo>
                    <a:pt x="3750730" y="1203924"/>
                  </a:lnTo>
                  <a:cubicBezTo>
                    <a:pt x="3704285" y="1207525"/>
                    <a:pt x="3661080" y="1179083"/>
                    <a:pt x="3647039" y="1136240"/>
                  </a:cubicBezTo>
                  <a:lnTo>
                    <a:pt x="3614995" y="1039753"/>
                  </a:lnTo>
                  <a:cubicBezTo>
                    <a:pt x="3525705" y="750293"/>
                    <a:pt x="3243433" y="564520"/>
                    <a:pt x="2932358" y="600162"/>
                  </a:cubicBezTo>
                  <a:cubicBezTo>
                    <a:pt x="2886273" y="607363"/>
                    <a:pt x="2843428" y="618163"/>
                    <a:pt x="2796983" y="632564"/>
                  </a:cubicBezTo>
                  <a:lnTo>
                    <a:pt x="2714533" y="664607"/>
                  </a:lnTo>
                  <a:cubicBezTo>
                    <a:pt x="2671689" y="679008"/>
                    <a:pt x="2625243" y="661006"/>
                    <a:pt x="2600401" y="625364"/>
                  </a:cubicBezTo>
                  <a:lnTo>
                    <a:pt x="2546755" y="546878"/>
                  </a:lnTo>
                  <a:cubicBezTo>
                    <a:pt x="2407419" y="346704"/>
                    <a:pt x="2179153" y="225376"/>
                    <a:pt x="1932525" y="225376"/>
                  </a:cubicBezTo>
                  <a:cubicBezTo>
                    <a:pt x="1586166" y="225376"/>
                    <a:pt x="1289493" y="461192"/>
                    <a:pt x="1211004" y="796736"/>
                  </a:cubicBezTo>
                  <a:lnTo>
                    <a:pt x="1186161" y="896823"/>
                  </a:lnTo>
                  <a:cubicBezTo>
                    <a:pt x="1175360" y="939666"/>
                    <a:pt x="1136116" y="971708"/>
                    <a:pt x="1086070" y="971708"/>
                  </a:cubicBezTo>
                  <a:lnTo>
                    <a:pt x="985979" y="968108"/>
                  </a:lnTo>
                  <a:lnTo>
                    <a:pt x="975178" y="968108"/>
                  </a:lnTo>
                  <a:lnTo>
                    <a:pt x="964736" y="968108"/>
                  </a:lnTo>
                  <a:cubicBezTo>
                    <a:pt x="550330" y="968108"/>
                    <a:pt x="210812" y="1314812"/>
                    <a:pt x="221613" y="1736402"/>
                  </a:cubicBezTo>
                  <a:cubicBezTo>
                    <a:pt x="236014" y="2139631"/>
                    <a:pt x="578773" y="2457533"/>
                    <a:pt x="982378" y="2457533"/>
                  </a:cubicBezTo>
                  <a:lnTo>
                    <a:pt x="1693459" y="2457533"/>
                  </a:lnTo>
                  <a:lnTo>
                    <a:pt x="1693459" y="2686149"/>
                  </a:lnTo>
                  <a:lnTo>
                    <a:pt x="1693459" y="2678948"/>
                  </a:lnTo>
                  <a:lnTo>
                    <a:pt x="985979" y="2678948"/>
                  </a:lnTo>
                  <a:cubicBezTo>
                    <a:pt x="443038" y="2678948"/>
                    <a:pt x="-10613" y="2236117"/>
                    <a:pt x="188" y="1693559"/>
                  </a:cubicBezTo>
                  <a:cubicBezTo>
                    <a:pt x="10989" y="1168282"/>
                    <a:pt x="439437" y="746692"/>
                    <a:pt x="964736" y="746692"/>
                  </a:cubicBezTo>
                  <a:lnTo>
                    <a:pt x="993180" y="746692"/>
                  </a:lnTo>
                  <a:cubicBezTo>
                    <a:pt x="1093271" y="318262"/>
                    <a:pt x="1475274" y="0"/>
                    <a:pt x="1932525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square" anchor="ctr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0" lang="en-US" sz="1200" u="none" strike="noStrike" kern="0" cap="none" spc="0" normalizeH="0" baseline="0" noProof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Oracle Sans" panose="020B0503020204020204" pitchFamily="34" charset="0"/>
                <a:cs typeface="Oracle Sans" panose="020B0503020204020204" pitchFamily="34" charset="0"/>
              </a:endParaRPr>
            </a:p>
          </p:txBody>
        </p:sp>
      </p:grpSp>
      <p:sp>
        <p:nvSpPr>
          <p:cNvPr id="8" name="Rectangle 7">
            <a:extLst>
              <a:ext uri="{FF2B5EF4-FFF2-40B4-BE49-F238E27FC236}">
                <a16:creationId xmlns:a16="http://schemas.microsoft.com/office/drawing/2014/main" id="{F24269F9-BA28-894D-9B24-26EA6F2DDD37}"/>
              </a:ext>
            </a:extLst>
          </p:cNvPr>
          <p:cNvSpPr/>
          <p:nvPr/>
        </p:nvSpPr>
        <p:spPr>
          <a:xfrm>
            <a:off x="7173310" y="3930846"/>
            <a:ext cx="1019533" cy="764651"/>
          </a:xfrm>
          <a:prstGeom prst="rect">
            <a:avLst/>
          </a:prstGeom>
          <a:noFill/>
          <a:ln w="19050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n-US" sz="90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racle Sans" panose="020B0503020204020204" pitchFamily="34" charset="0"/>
                <a:cs typeface="Oracle Sans" panose="020B0503020204020204" pitchFamily="34" charset="0"/>
              </a:rPr>
              <a:t>High performance DB workloads </a:t>
            </a:r>
            <a:r>
              <a:rPr lang="en-US" sz="900" kern="0" dirty="0">
                <a:solidFill>
                  <a:srgbClr val="FFFFFF"/>
                </a:solidFill>
                <a:latin typeface="Oracle Sans" panose="020B0503020204020204" pitchFamily="34" charset="0"/>
                <a:cs typeface="Oracle Sans" panose="020B0503020204020204" pitchFamily="34" charset="0"/>
              </a:rPr>
              <a:t>on Exadata in </a:t>
            </a:r>
            <a:r>
              <a:rPr kumimoji="0" lang="en-US" sz="90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racle Sans" panose="020B0503020204020204" pitchFamily="34" charset="0"/>
                <a:cs typeface="Oracle Sans" panose="020B0503020204020204" pitchFamily="34" charset="0"/>
              </a:rPr>
              <a:t>public cloud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8E3259B9-CFC7-9E4D-B54A-7DA3FB2D11A3}"/>
              </a:ext>
            </a:extLst>
          </p:cNvPr>
          <p:cNvSpPr txBox="1"/>
          <p:nvPr/>
        </p:nvSpPr>
        <p:spPr>
          <a:xfrm>
            <a:off x="7140199" y="3080690"/>
            <a:ext cx="1145036" cy="37307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>
              <a:defRPr/>
            </a:pPr>
            <a:r>
              <a:rPr lang="en-US" sz="1100">
                <a:solidFill>
                  <a:srgbClr val="DCE3E4"/>
                </a:solidFill>
                <a:latin typeface="Oracle Sans" panose="020B0503020204020204" pitchFamily="34" charset="0"/>
                <a:cs typeface="Oracle Sans" panose="020B0503020204020204" pitchFamily="34" charset="0"/>
              </a:rPr>
              <a:t>Exadata Cloud Service</a:t>
            </a:r>
          </a:p>
        </p:txBody>
      </p:sp>
      <p:grpSp>
        <p:nvGrpSpPr>
          <p:cNvPr id="35" name="Group 34">
            <a:extLst>
              <a:ext uri="{FF2B5EF4-FFF2-40B4-BE49-F238E27FC236}">
                <a16:creationId xmlns:a16="http://schemas.microsoft.com/office/drawing/2014/main" id="{1E60442A-66D4-A442-8B6A-3DA60109B976}"/>
              </a:ext>
            </a:extLst>
          </p:cNvPr>
          <p:cNvGrpSpPr>
            <a:grpSpLocks noChangeAspect="1"/>
          </p:cNvGrpSpPr>
          <p:nvPr/>
        </p:nvGrpSpPr>
        <p:grpSpPr>
          <a:xfrm>
            <a:off x="7427893" y="2530258"/>
            <a:ext cx="626168" cy="423932"/>
            <a:chOff x="5536486" y="2264212"/>
            <a:chExt cx="2313618" cy="1613458"/>
          </a:xfrm>
          <a:solidFill>
            <a:srgbClr val="5F5F5F"/>
          </a:solidFill>
        </p:grpSpPr>
        <p:sp>
          <p:nvSpPr>
            <p:cNvPr id="36" name="Freeform 3">
              <a:extLst>
                <a:ext uri="{FF2B5EF4-FFF2-40B4-BE49-F238E27FC236}">
                  <a16:creationId xmlns:a16="http://schemas.microsoft.com/office/drawing/2014/main" id="{C668C4BB-2A62-6C4A-BEDB-03C94317639A}"/>
                </a:ext>
              </a:extLst>
            </p:cNvPr>
            <p:cNvSpPr>
              <a:spLocks noChangeAspect="1" noChangeArrowheads="1"/>
            </p:cNvSpPr>
            <p:nvPr/>
          </p:nvSpPr>
          <p:spPr bwMode="auto">
            <a:xfrm>
              <a:off x="6358104" y="2600227"/>
              <a:ext cx="638721" cy="1277443"/>
            </a:xfrm>
            <a:custGeom>
              <a:avLst/>
              <a:gdLst>
                <a:gd name="T0" fmla="*/ 776 w 1483"/>
                <a:gd name="T1" fmla="*/ 660 h 2964"/>
                <a:gd name="T2" fmla="*/ 602 w 1483"/>
                <a:gd name="T3" fmla="*/ 648 h 2964"/>
                <a:gd name="T4" fmla="*/ 150 w 1483"/>
                <a:gd name="T5" fmla="*/ 1713 h 2964"/>
                <a:gd name="T6" fmla="*/ 776 w 1483"/>
                <a:gd name="T7" fmla="*/ 1586 h 2964"/>
                <a:gd name="T8" fmla="*/ 150 w 1483"/>
                <a:gd name="T9" fmla="*/ 1713 h 2964"/>
                <a:gd name="T10" fmla="*/ 776 w 1483"/>
                <a:gd name="T11" fmla="*/ 1899 h 2964"/>
                <a:gd name="T12" fmla="*/ 150 w 1483"/>
                <a:gd name="T13" fmla="*/ 1876 h 2964"/>
                <a:gd name="T14" fmla="*/ 625 w 1483"/>
                <a:gd name="T15" fmla="*/ 2049 h 2964"/>
                <a:gd name="T16" fmla="*/ 440 w 1483"/>
                <a:gd name="T17" fmla="*/ 2268 h 2964"/>
                <a:gd name="T18" fmla="*/ 266 w 1483"/>
                <a:gd name="T19" fmla="*/ 2061 h 2964"/>
                <a:gd name="T20" fmla="*/ 266 w 1483"/>
                <a:gd name="T21" fmla="*/ 2639 h 2964"/>
                <a:gd name="T22" fmla="*/ 440 w 1483"/>
                <a:gd name="T23" fmla="*/ 2407 h 2964"/>
                <a:gd name="T24" fmla="*/ 637 w 1483"/>
                <a:gd name="T25" fmla="*/ 2662 h 2964"/>
                <a:gd name="T26" fmla="*/ 625 w 1483"/>
                <a:gd name="T27" fmla="*/ 2049 h 2964"/>
                <a:gd name="T28" fmla="*/ 150 w 1483"/>
                <a:gd name="T29" fmla="*/ 556 h 2964"/>
                <a:gd name="T30" fmla="*/ 776 w 1483"/>
                <a:gd name="T31" fmla="*/ 417 h 2964"/>
                <a:gd name="T32" fmla="*/ 880 w 1483"/>
                <a:gd name="T33" fmla="*/ 0 h 2964"/>
                <a:gd name="T34" fmla="*/ 0 w 1483"/>
                <a:gd name="T35" fmla="*/ 2847 h 2964"/>
                <a:gd name="T36" fmla="*/ 1482 w 1483"/>
                <a:gd name="T37" fmla="*/ 2847 h 2964"/>
                <a:gd name="T38" fmla="*/ 880 w 1483"/>
                <a:gd name="T39" fmla="*/ 0 h 2964"/>
                <a:gd name="T40" fmla="*/ 92 w 1483"/>
                <a:gd name="T41" fmla="*/ 2754 h 2964"/>
                <a:gd name="T42" fmla="*/ 880 w 1483"/>
                <a:gd name="T43" fmla="*/ 127 h 2964"/>
                <a:gd name="T44" fmla="*/ 776 w 1483"/>
                <a:gd name="T45" fmla="*/ 845 h 2964"/>
                <a:gd name="T46" fmla="*/ 150 w 1483"/>
                <a:gd name="T47" fmla="*/ 1054 h 2964"/>
                <a:gd name="T48" fmla="*/ 776 w 1483"/>
                <a:gd name="T49" fmla="*/ 845 h 2964"/>
                <a:gd name="T50" fmla="*/ 150 w 1483"/>
                <a:gd name="T51" fmla="*/ 1215 h 2964"/>
                <a:gd name="T52" fmla="*/ 776 w 1483"/>
                <a:gd name="T53" fmla="*/ 1401 h 2964"/>
                <a:gd name="T54" fmla="*/ 301 w 1483"/>
                <a:gd name="T55" fmla="*/ 729 h 2964"/>
                <a:gd name="T56" fmla="*/ 150 w 1483"/>
                <a:gd name="T57" fmla="*/ 833 h 2964"/>
                <a:gd name="T58" fmla="*/ 301 w 1483"/>
                <a:gd name="T59" fmla="*/ 729 h 2964"/>
                <a:gd name="T60" fmla="*/ 533 w 1483"/>
                <a:gd name="T61" fmla="*/ 579 h 2964"/>
                <a:gd name="T62" fmla="*/ 359 w 1483"/>
                <a:gd name="T63" fmla="*/ 868 h 29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483" h="2964">
                  <a:moveTo>
                    <a:pt x="602" y="706"/>
                  </a:moveTo>
                  <a:lnTo>
                    <a:pt x="776" y="660"/>
                  </a:lnTo>
                  <a:lnTo>
                    <a:pt x="776" y="602"/>
                  </a:lnTo>
                  <a:lnTo>
                    <a:pt x="602" y="648"/>
                  </a:lnTo>
                  <a:lnTo>
                    <a:pt x="602" y="706"/>
                  </a:lnTo>
                  <a:close/>
                  <a:moveTo>
                    <a:pt x="150" y="1713"/>
                  </a:moveTo>
                  <a:lnTo>
                    <a:pt x="776" y="1656"/>
                  </a:lnTo>
                  <a:lnTo>
                    <a:pt x="776" y="1586"/>
                  </a:lnTo>
                  <a:lnTo>
                    <a:pt x="150" y="1656"/>
                  </a:lnTo>
                  <a:lnTo>
                    <a:pt x="150" y="1713"/>
                  </a:lnTo>
                  <a:close/>
                  <a:moveTo>
                    <a:pt x="150" y="1933"/>
                  </a:moveTo>
                  <a:lnTo>
                    <a:pt x="776" y="1899"/>
                  </a:lnTo>
                  <a:lnTo>
                    <a:pt x="776" y="1829"/>
                  </a:lnTo>
                  <a:lnTo>
                    <a:pt x="150" y="1876"/>
                  </a:lnTo>
                  <a:lnTo>
                    <a:pt x="150" y="1933"/>
                  </a:lnTo>
                  <a:close/>
                  <a:moveTo>
                    <a:pt x="625" y="2049"/>
                  </a:moveTo>
                  <a:lnTo>
                    <a:pt x="544" y="2049"/>
                  </a:lnTo>
                  <a:lnTo>
                    <a:pt x="440" y="2268"/>
                  </a:lnTo>
                  <a:lnTo>
                    <a:pt x="359" y="2061"/>
                  </a:lnTo>
                  <a:lnTo>
                    <a:pt x="266" y="2061"/>
                  </a:lnTo>
                  <a:lnTo>
                    <a:pt x="394" y="2338"/>
                  </a:lnTo>
                  <a:lnTo>
                    <a:pt x="266" y="2639"/>
                  </a:lnTo>
                  <a:lnTo>
                    <a:pt x="347" y="2639"/>
                  </a:lnTo>
                  <a:lnTo>
                    <a:pt x="440" y="2407"/>
                  </a:lnTo>
                  <a:lnTo>
                    <a:pt x="544" y="2650"/>
                  </a:lnTo>
                  <a:lnTo>
                    <a:pt x="637" y="2662"/>
                  </a:lnTo>
                  <a:lnTo>
                    <a:pt x="486" y="2338"/>
                  </a:lnTo>
                  <a:lnTo>
                    <a:pt x="625" y="2049"/>
                  </a:lnTo>
                  <a:close/>
                  <a:moveTo>
                    <a:pt x="776" y="347"/>
                  </a:moveTo>
                  <a:lnTo>
                    <a:pt x="150" y="556"/>
                  </a:lnTo>
                  <a:lnTo>
                    <a:pt x="150" y="613"/>
                  </a:lnTo>
                  <a:lnTo>
                    <a:pt x="776" y="417"/>
                  </a:lnTo>
                  <a:lnTo>
                    <a:pt x="776" y="347"/>
                  </a:lnTo>
                  <a:close/>
                  <a:moveTo>
                    <a:pt x="880" y="0"/>
                  </a:moveTo>
                  <a:lnTo>
                    <a:pt x="0" y="336"/>
                  </a:lnTo>
                  <a:lnTo>
                    <a:pt x="0" y="2847"/>
                  </a:lnTo>
                  <a:lnTo>
                    <a:pt x="880" y="2963"/>
                  </a:lnTo>
                  <a:lnTo>
                    <a:pt x="1482" y="2847"/>
                  </a:lnTo>
                  <a:lnTo>
                    <a:pt x="1482" y="336"/>
                  </a:lnTo>
                  <a:lnTo>
                    <a:pt x="880" y="0"/>
                  </a:lnTo>
                  <a:close/>
                  <a:moveTo>
                    <a:pt x="880" y="2835"/>
                  </a:moveTo>
                  <a:lnTo>
                    <a:pt x="92" y="2754"/>
                  </a:lnTo>
                  <a:lnTo>
                    <a:pt x="92" y="405"/>
                  </a:lnTo>
                  <a:lnTo>
                    <a:pt x="880" y="127"/>
                  </a:lnTo>
                  <a:lnTo>
                    <a:pt x="880" y="2835"/>
                  </a:lnTo>
                  <a:close/>
                  <a:moveTo>
                    <a:pt x="776" y="845"/>
                  </a:moveTo>
                  <a:lnTo>
                    <a:pt x="150" y="996"/>
                  </a:lnTo>
                  <a:lnTo>
                    <a:pt x="150" y="1054"/>
                  </a:lnTo>
                  <a:lnTo>
                    <a:pt x="776" y="915"/>
                  </a:lnTo>
                  <a:lnTo>
                    <a:pt x="776" y="845"/>
                  </a:lnTo>
                  <a:close/>
                  <a:moveTo>
                    <a:pt x="776" y="1088"/>
                  </a:moveTo>
                  <a:lnTo>
                    <a:pt x="150" y="1215"/>
                  </a:lnTo>
                  <a:lnTo>
                    <a:pt x="150" y="1493"/>
                  </a:lnTo>
                  <a:lnTo>
                    <a:pt x="776" y="1401"/>
                  </a:lnTo>
                  <a:lnTo>
                    <a:pt x="776" y="1088"/>
                  </a:lnTo>
                  <a:close/>
                  <a:moveTo>
                    <a:pt x="301" y="729"/>
                  </a:moveTo>
                  <a:lnTo>
                    <a:pt x="150" y="776"/>
                  </a:lnTo>
                  <a:lnTo>
                    <a:pt x="150" y="833"/>
                  </a:lnTo>
                  <a:lnTo>
                    <a:pt x="301" y="787"/>
                  </a:lnTo>
                  <a:lnTo>
                    <a:pt x="301" y="729"/>
                  </a:lnTo>
                  <a:close/>
                  <a:moveTo>
                    <a:pt x="533" y="822"/>
                  </a:moveTo>
                  <a:lnTo>
                    <a:pt x="533" y="579"/>
                  </a:lnTo>
                  <a:lnTo>
                    <a:pt x="359" y="625"/>
                  </a:lnTo>
                  <a:lnTo>
                    <a:pt x="359" y="868"/>
                  </a:lnTo>
                  <a:lnTo>
                    <a:pt x="533" y="82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0" lang="en-US" sz="1200" u="none" strike="noStrike" kern="0" cap="none" spc="0" normalizeH="0" baseline="0" noProof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Oracle Sans" panose="020B0503020204020204" pitchFamily="34" charset="0"/>
                <a:cs typeface="Oracle Sans" panose="020B0503020204020204" pitchFamily="34" charset="0"/>
              </a:endParaRPr>
            </a:p>
          </p:txBody>
        </p:sp>
        <p:sp>
          <p:nvSpPr>
            <p:cNvPr id="37" name="Freeform 39">
              <a:extLst>
                <a:ext uri="{FF2B5EF4-FFF2-40B4-BE49-F238E27FC236}">
                  <a16:creationId xmlns:a16="http://schemas.microsoft.com/office/drawing/2014/main" id="{28F1B327-D985-2B4E-973B-474CD4641A4B}"/>
                </a:ext>
              </a:extLst>
            </p:cNvPr>
            <p:cNvSpPr>
              <a:spLocks noChangeAspect="1" noChangeArrowheads="1"/>
            </p:cNvSpPr>
            <p:nvPr/>
          </p:nvSpPr>
          <p:spPr bwMode="auto">
            <a:xfrm>
              <a:off x="5536486" y="2264212"/>
              <a:ext cx="2313618" cy="1305180"/>
            </a:xfrm>
            <a:custGeom>
              <a:avLst/>
              <a:gdLst>
                <a:gd name="connsiteX0" fmla="*/ 1932525 w 4761574"/>
                <a:gd name="connsiteY0" fmla="*/ 0 h 2686149"/>
                <a:gd name="connsiteX1" fmla="*/ 2732535 w 4761574"/>
                <a:gd name="connsiteY1" fmla="*/ 421590 h 2686149"/>
                <a:gd name="connsiteX2" fmla="*/ 3011207 w 4761574"/>
                <a:gd name="connsiteY2" fmla="*/ 375506 h 2686149"/>
                <a:gd name="connsiteX3" fmla="*/ 3829219 w 4761574"/>
                <a:gd name="connsiteY3" fmla="*/ 971708 h 2686149"/>
                <a:gd name="connsiteX4" fmla="*/ 3904107 w 4761574"/>
                <a:gd name="connsiteY4" fmla="*/ 968108 h 2686149"/>
                <a:gd name="connsiteX5" fmla="*/ 4761363 w 4761574"/>
                <a:gd name="connsiteY5" fmla="*/ 1807687 h 2686149"/>
                <a:gd name="connsiteX6" fmla="*/ 3889706 w 4761574"/>
                <a:gd name="connsiteY6" fmla="*/ 2678948 h 2686149"/>
                <a:gd name="connsiteX7" fmla="*/ 3264675 w 4761574"/>
                <a:gd name="connsiteY7" fmla="*/ 2678948 h 2686149"/>
                <a:gd name="connsiteX8" fmla="*/ 3264675 w 4761574"/>
                <a:gd name="connsiteY8" fmla="*/ 2457533 h 2686149"/>
                <a:gd name="connsiteX9" fmla="*/ 3904107 w 4761574"/>
                <a:gd name="connsiteY9" fmla="*/ 2457533 h 2686149"/>
                <a:gd name="connsiteX10" fmla="*/ 4536699 w 4761574"/>
                <a:gd name="connsiteY10" fmla="*/ 1779245 h 2686149"/>
                <a:gd name="connsiteX11" fmla="*/ 3950553 w 4761574"/>
                <a:gd name="connsiteY11" fmla="*/ 1193124 h 2686149"/>
                <a:gd name="connsiteX12" fmla="*/ 3850821 w 4761574"/>
                <a:gd name="connsiteY12" fmla="*/ 1193124 h 2686149"/>
                <a:gd name="connsiteX13" fmla="*/ 3750730 w 4761574"/>
                <a:gd name="connsiteY13" fmla="*/ 1203924 h 2686149"/>
                <a:gd name="connsiteX14" fmla="*/ 3647039 w 4761574"/>
                <a:gd name="connsiteY14" fmla="*/ 1136240 h 2686149"/>
                <a:gd name="connsiteX15" fmla="*/ 3614995 w 4761574"/>
                <a:gd name="connsiteY15" fmla="*/ 1039753 h 2686149"/>
                <a:gd name="connsiteX16" fmla="*/ 2932358 w 4761574"/>
                <a:gd name="connsiteY16" fmla="*/ 600162 h 2686149"/>
                <a:gd name="connsiteX17" fmla="*/ 2796983 w 4761574"/>
                <a:gd name="connsiteY17" fmla="*/ 632564 h 2686149"/>
                <a:gd name="connsiteX18" fmla="*/ 2714533 w 4761574"/>
                <a:gd name="connsiteY18" fmla="*/ 664607 h 2686149"/>
                <a:gd name="connsiteX19" fmla="*/ 2600401 w 4761574"/>
                <a:gd name="connsiteY19" fmla="*/ 625364 h 2686149"/>
                <a:gd name="connsiteX20" fmla="*/ 2546755 w 4761574"/>
                <a:gd name="connsiteY20" fmla="*/ 546878 h 2686149"/>
                <a:gd name="connsiteX21" fmla="*/ 1932525 w 4761574"/>
                <a:gd name="connsiteY21" fmla="*/ 225376 h 2686149"/>
                <a:gd name="connsiteX22" fmla="*/ 1211004 w 4761574"/>
                <a:gd name="connsiteY22" fmla="*/ 796736 h 2686149"/>
                <a:gd name="connsiteX23" fmla="*/ 1186161 w 4761574"/>
                <a:gd name="connsiteY23" fmla="*/ 896823 h 2686149"/>
                <a:gd name="connsiteX24" fmla="*/ 1086070 w 4761574"/>
                <a:gd name="connsiteY24" fmla="*/ 971708 h 2686149"/>
                <a:gd name="connsiteX25" fmla="*/ 985979 w 4761574"/>
                <a:gd name="connsiteY25" fmla="*/ 968108 h 2686149"/>
                <a:gd name="connsiteX26" fmla="*/ 975178 w 4761574"/>
                <a:gd name="connsiteY26" fmla="*/ 968108 h 2686149"/>
                <a:gd name="connsiteX27" fmla="*/ 964736 w 4761574"/>
                <a:gd name="connsiteY27" fmla="*/ 968108 h 2686149"/>
                <a:gd name="connsiteX28" fmla="*/ 221613 w 4761574"/>
                <a:gd name="connsiteY28" fmla="*/ 1736402 h 2686149"/>
                <a:gd name="connsiteX29" fmla="*/ 982378 w 4761574"/>
                <a:gd name="connsiteY29" fmla="*/ 2457533 h 2686149"/>
                <a:gd name="connsiteX30" fmla="*/ 1693459 w 4761574"/>
                <a:gd name="connsiteY30" fmla="*/ 2457533 h 2686149"/>
                <a:gd name="connsiteX31" fmla="*/ 1693459 w 4761574"/>
                <a:gd name="connsiteY31" fmla="*/ 2686149 h 2686149"/>
                <a:gd name="connsiteX32" fmla="*/ 1693459 w 4761574"/>
                <a:gd name="connsiteY32" fmla="*/ 2678948 h 2686149"/>
                <a:gd name="connsiteX33" fmla="*/ 985979 w 4761574"/>
                <a:gd name="connsiteY33" fmla="*/ 2678948 h 2686149"/>
                <a:gd name="connsiteX34" fmla="*/ 188 w 4761574"/>
                <a:gd name="connsiteY34" fmla="*/ 1693559 h 2686149"/>
                <a:gd name="connsiteX35" fmla="*/ 964736 w 4761574"/>
                <a:gd name="connsiteY35" fmla="*/ 746692 h 2686149"/>
                <a:gd name="connsiteX36" fmla="*/ 993180 w 4761574"/>
                <a:gd name="connsiteY36" fmla="*/ 746692 h 2686149"/>
                <a:gd name="connsiteX37" fmla="*/ 1932525 w 4761574"/>
                <a:gd name="connsiteY37" fmla="*/ 0 h 2686149"/>
                <a:gd name="connsiteX38" fmla="*/ 1932525 w 4761574"/>
                <a:gd name="connsiteY38" fmla="*/ 0 h 2686149"/>
                <a:gd name="connsiteX39" fmla="*/ 1932525 w 4761574"/>
                <a:gd name="connsiteY39" fmla="*/ 0 h 2686149"/>
                <a:gd name="connsiteX40" fmla="*/ 964736 w 4761574"/>
                <a:gd name="connsiteY40" fmla="*/ 746692 h 2686149"/>
                <a:gd name="connsiteX41" fmla="*/ 993180 w 4761574"/>
                <a:gd name="connsiteY41" fmla="*/ 746692 h 2686149"/>
                <a:gd name="connsiteX42" fmla="*/ 1932525 w 4761574"/>
                <a:gd name="connsiteY42" fmla="*/ 0 h 2686149"/>
                <a:gd name="connsiteX43" fmla="*/ 964736 w 4761574"/>
                <a:gd name="connsiteY43" fmla="*/ 746692 h 2686149"/>
                <a:gd name="connsiteX44" fmla="*/ 993180 w 4761574"/>
                <a:gd name="connsiteY44" fmla="*/ 746692 h 2686149"/>
                <a:gd name="connsiteX45" fmla="*/ 1932525 w 4761574"/>
                <a:gd name="connsiteY45" fmla="*/ 0 h 2686149"/>
                <a:gd name="connsiteX46" fmla="*/ 1932525 w 4761574"/>
                <a:gd name="connsiteY46" fmla="*/ 0 h 2686149"/>
                <a:gd name="connsiteX47" fmla="*/ 964736 w 4761574"/>
                <a:gd name="connsiteY47" fmla="*/ 746692 h 2686149"/>
                <a:gd name="connsiteX48" fmla="*/ 993180 w 4761574"/>
                <a:gd name="connsiteY48" fmla="*/ 746692 h 2686149"/>
                <a:gd name="connsiteX49" fmla="*/ 1932525 w 4761574"/>
                <a:gd name="connsiteY49" fmla="*/ 0 h 2686149"/>
                <a:gd name="connsiteX50" fmla="*/ 1932525 w 4761574"/>
                <a:gd name="connsiteY50" fmla="*/ 0 h 2686149"/>
                <a:gd name="connsiteX51" fmla="*/ 1932525 w 4761574"/>
                <a:gd name="connsiteY51" fmla="*/ 0 h 2686149"/>
                <a:gd name="connsiteX52" fmla="*/ 964736 w 4761574"/>
                <a:gd name="connsiteY52" fmla="*/ 746692 h 2686149"/>
                <a:gd name="connsiteX53" fmla="*/ 993180 w 4761574"/>
                <a:gd name="connsiteY53" fmla="*/ 746692 h 2686149"/>
                <a:gd name="connsiteX54" fmla="*/ 1932525 w 4761574"/>
                <a:gd name="connsiteY54" fmla="*/ 0 h 2686149"/>
                <a:gd name="connsiteX55" fmla="*/ 1932525 w 4761574"/>
                <a:gd name="connsiteY55" fmla="*/ 0 h 2686149"/>
                <a:gd name="connsiteX56" fmla="*/ 1932525 w 4761574"/>
                <a:gd name="connsiteY56" fmla="*/ 0 h 2686149"/>
                <a:gd name="connsiteX57" fmla="*/ 964736 w 4761574"/>
                <a:gd name="connsiteY57" fmla="*/ 746692 h 2686149"/>
                <a:gd name="connsiteX58" fmla="*/ 993180 w 4761574"/>
                <a:gd name="connsiteY58" fmla="*/ 746692 h 2686149"/>
                <a:gd name="connsiteX59" fmla="*/ 1932525 w 4761574"/>
                <a:gd name="connsiteY59" fmla="*/ 0 h 2686149"/>
                <a:gd name="connsiteX60" fmla="*/ 1932525 w 4761574"/>
                <a:gd name="connsiteY60" fmla="*/ 0 h 2686149"/>
                <a:gd name="connsiteX61" fmla="*/ 1932525 w 4761574"/>
                <a:gd name="connsiteY61" fmla="*/ 0 h 2686149"/>
                <a:gd name="connsiteX62" fmla="*/ 1932525 w 4761574"/>
                <a:gd name="connsiteY62" fmla="*/ 0 h 2686149"/>
                <a:gd name="connsiteX63" fmla="*/ 964736 w 4761574"/>
                <a:gd name="connsiteY63" fmla="*/ 746692 h 2686149"/>
                <a:gd name="connsiteX64" fmla="*/ 993180 w 4761574"/>
                <a:gd name="connsiteY64" fmla="*/ 746692 h 2686149"/>
                <a:gd name="connsiteX65" fmla="*/ 1932525 w 4761574"/>
                <a:gd name="connsiteY65" fmla="*/ 0 h 2686149"/>
                <a:gd name="connsiteX66" fmla="*/ 1932525 w 4761574"/>
                <a:gd name="connsiteY66" fmla="*/ 0 h 2686149"/>
                <a:gd name="connsiteX67" fmla="*/ 1932525 w 4761574"/>
                <a:gd name="connsiteY67" fmla="*/ 0 h 2686149"/>
                <a:gd name="connsiteX68" fmla="*/ 964736 w 4761574"/>
                <a:gd name="connsiteY68" fmla="*/ 746692 h 2686149"/>
                <a:gd name="connsiteX69" fmla="*/ 993180 w 4761574"/>
                <a:gd name="connsiteY69" fmla="*/ 746692 h 2686149"/>
                <a:gd name="connsiteX70" fmla="*/ 1932525 w 4761574"/>
                <a:gd name="connsiteY70" fmla="*/ 0 h 2686149"/>
                <a:gd name="connsiteX71" fmla="*/ 964736 w 4761574"/>
                <a:gd name="connsiteY71" fmla="*/ 746692 h 2686149"/>
                <a:gd name="connsiteX72" fmla="*/ 993180 w 4761574"/>
                <a:gd name="connsiteY72" fmla="*/ 746692 h 2686149"/>
                <a:gd name="connsiteX73" fmla="*/ 1932525 w 4761574"/>
                <a:gd name="connsiteY73" fmla="*/ 0 h 2686149"/>
                <a:gd name="connsiteX74" fmla="*/ 1932525 w 4761574"/>
                <a:gd name="connsiteY74" fmla="*/ 0 h 2686149"/>
                <a:gd name="connsiteX75" fmla="*/ 1932525 w 4761574"/>
                <a:gd name="connsiteY75" fmla="*/ 0 h 2686149"/>
                <a:gd name="connsiteX76" fmla="*/ 1932525 w 4761574"/>
                <a:gd name="connsiteY76" fmla="*/ 0 h 2686149"/>
                <a:gd name="connsiteX77" fmla="*/ 1932525 w 4761574"/>
                <a:gd name="connsiteY77" fmla="*/ 0 h 2686149"/>
                <a:gd name="connsiteX78" fmla="*/ 964736 w 4761574"/>
                <a:gd name="connsiteY78" fmla="*/ 746692 h 2860315"/>
                <a:gd name="connsiteX79" fmla="*/ 993180 w 4761574"/>
                <a:gd name="connsiteY79" fmla="*/ 746692 h 2860315"/>
                <a:gd name="connsiteX80" fmla="*/ 1932525 w 4761574"/>
                <a:gd name="connsiteY80" fmla="*/ 0 h 2860315"/>
                <a:gd name="connsiteX81" fmla="*/ 1932525 w 4761574"/>
                <a:gd name="connsiteY81" fmla="*/ 0 h 2860315"/>
                <a:gd name="connsiteX82" fmla="*/ 964736 w 4761574"/>
                <a:gd name="connsiteY82" fmla="*/ 746692 h 3307323"/>
                <a:gd name="connsiteX83" fmla="*/ 993180 w 4761574"/>
                <a:gd name="connsiteY83" fmla="*/ 746692 h 3307323"/>
                <a:gd name="connsiteX84" fmla="*/ 1932525 w 4761574"/>
                <a:gd name="connsiteY84" fmla="*/ 0 h 3307323"/>
                <a:gd name="connsiteX85" fmla="*/ 1932525 w 4761574"/>
                <a:gd name="connsiteY85" fmla="*/ 0 h 3312832"/>
                <a:gd name="connsiteX86" fmla="*/ 1932525 w 4761574"/>
                <a:gd name="connsiteY86" fmla="*/ 0 h 3375722"/>
                <a:gd name="connsiteX87" fmla="*/ 1932525 w 4761574"/>
                <a:gd name="connsiteY87" fmla="*/ 0 h 3471179"/>
                <a:gd name="connsiteX88" fmla="*/ 1932525 w 4761574"/>
                <a:gd name="connsiteY88" fmla="*/ 0 h 3470642"/>
                <a:gd name="connsiteX89" fmla="*/ 1932525 w 4761574"/>
                <a:gd name="connsiteY89" fmla="*/ 0 h 3491505"/>
                <a:gd name="connsiteX90" fmla="*/ 1932525 w 4761574"/>
                <a:gd name="connsiteY90" fmla="*/ 0 h 3528653"/>
                <a:gd name="connsiteX91" fmla="*/ 1932525 w 4761574"/>
                <a:gd name="connsiteY91" fmla="*/ 0 h 3528653"/>
                <a:gd name="connsiteX92" fmla="*/ 1932525 w 4761574"/>
                <a:gd name="connsiteY92" fmla="*/ 0 h 3528653"/>
                <a:gd name="connsiteX93" fmla="*/ 1932525 w 4761574"/>
                <a:gd name="connsiteY93" fmla="*/ 0 h 3528653"/>
                <a:gd name="connsiteX94" fmla="*/ 1932525 w 4761574"/>
                <a:gd name="connsiteY94" fmla="*/ 0 h 3528653"/>
                <a:gd name="connsiteX95" fmla="*/ 1932525 w 4761574"/>
                <a:gd name="connsiteY95" fmla="*/ 0 h 3528653"/>
                <a:gd name="connsiteX96" fmla="*/ 1932525 w 4761574"/>
                <a:gd name="connsiteY96" fmla="*/ 0 h 3528653"/>
                <a:gd name="connsiteX97" fmla="*/ 1932525 w 4761574"/>
                <a:gd name="connsiteY97" fmla="*/ 0 h 3528653"/>
                <a:gd name="connsiteX98" fmla="*/ 1932525 w 4761574"/>
                <a:gd name="connsiteY98" fmla="*/ 0 h 3528653"/>
                <a:gd name="connsiteX99" fmla="*/ 1932525 w 4761574"/>
                <a:gd name="connsiteY99" fmla="*/ 0 h 3528653"/>
                <a:gd name="connsiteX100" fmla="*/ 1932525 w 4761574"/>
                <a:gd name="connsiteY100" fmla="*/ 0 h 3528653"/>
                <a:gd name="connsiteX101" fmla="*/ 1932525 w 4761574"/>
                <a:gd name="connsiteY101" fmla="*/ 0 h 3528653"/>
                <a:gd name="connsiteX102" fmla="*/ 1932525 w 4761574"/>
                <a:gd name="connsiteY102" fmla="*/ 0 h 3528653"/>
                <a:gd name="connsiteX103" fmla="*/ 1932525 w 4761574"/>
                <a:gd name="connsiteY103" fmla="*/ 0 h 3528653"/>
                <a:gd name="connsiteX104" fmla="*/ 1932525 w 4761574"/>
                <a:gd name="connsiteY104" fmla="*/ 0 h 3528653"/>
                <a:gd name="connsiteX105" fmla="*/ 1932525 w 4761574"/>
                <a:gd name="connsiteY105" fmla="*/ 0 h 3621855"/>
                <a:gd name="connsiteX106" fmla="*/ 1932525 w 4761574"/>
                <a:gd name="connsiteY106" fmla="*/ 0 h 3621855"/>
                <a:gd name="connsiteX107" fmla="*/ 1932525 w 4761574"/>
                <a:gd name="connsiteY107" fmla="*/ 0 h 3621855"/>
                <a:gd name="connsiteX108" fmla="*/ 1932525 w 4761574"/>
                <a:gd name="connsiteY108" fmla="*/ 0 h 3697100"/>
                <a:gd name="connsiteX109" fmla="*/ 1932525 w 4761574"/>
                <a:gd name="connsiteY109" fmla="*/ 0 h 3707541"/>
                <a:gd name="connsiteX110" fmla="*/ 1932525 w 4761574"/>
                <a:gd name="connsiteY110" fmla="*/ 0 h 3811228"/>
                <a:gd name="connsiteX111" fmla="*/ 1932525 w 4761574"/>
                <a:gd name="connsiteY111" fmla="*/ 0 h 38112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4761574" h="2686149">
                  <a:moveTo>
                    <a:pt x="1932525" y="0"/>
                  </a:moveTo>
                  <a:cubicBezTo>
                    <a:pt x="2264843" y="0"/>
                    <a:pt x="2557556" y="168132"/>
                    <a:pt x="2732535" y="421590"/>
                  </a:cubicBezTo>
                  <a:cubicBezTo>
                    <a:pt x="2818225" y="389547"/>
                    <a:pt x="2914716" y="375506"/>
                    <a:pt x="3011207" y="375506"/>
                  </a:cubicBezTo>
                  <a:cubicBezTo>
                    <a:pt x="3396810" y="375506"/>
                    <a:pt x="3718327" y="625364"/>
                    <a:pt x="3829219" y="971708"/>
                  </a:cubicBezTo>
                  <a:cubicBezTo>
                    <a:pt x="3854062" y="971708"/>
                    <a:pt x="3879265" y="968108"/>
                    <a:pt x="3904107" y="968108"/>
                  </a:cubicBezTo>
                  <a:cubicBezTo>
                    <a:pt x="4372160" y="968108"/>
                    <a:pt x="4750923" y="1343254"/>
                    <a:pt x="4761363" y="1807687"/>
                  </a:cubicBezTo>
                  <a:cubicBezTo>
                    <a:pt x="4772165" y="2285801"/>
                    <a:pt x="4368559" y="2678948"/>
                    <a:pt x="3889706" y="2678948"/>
                  </a:cubicBezTo>
                  <a:lnTo>
                    <a:pt x="3264675" y="2678948"/>
                  </a:lnTo>
                  <a:lnTo>
                    <a:pt x="3264675" y="2457533"/>
                  </a:lnTo>
                  <a:lnTo>
                    <a:pt x="3904107" y="2457533"/>
                  </a:lnTo>
                  <a:cubicBezTo>
                    <a:pt x="4268469" y="2457533"/>
                    <a:pt x="4565141" y="2146831"/>
                    <a:pt x="4536699" y="1779245"/>
                  </a:cubicBezTo>
                  <a:cubicBezTo>
                    <a:pt x="4515096" y="1468183"/>
                    <a:pt x="4261267" y="1221926"/>
                    <a:pt x="3950553" y="1193124"/>
                  </a:cubicBezTo>
                  <a:cubicBezTo>
                    <a:pt x="3918509" y="1189883"/>
                    <a:pt x="3886465" y="1189883"/>
                    <a:pt x="3850821" y="1193124"/>
                  </a:cubicBezTo>
                  <a:lnTo>
                    <a:pt x="3750730" y="1203924"/>
                  </a:lnTo>
                  <a:cubicBezTo>
                    <a:pt x="3704285" y="1207525"/>
                    <a:pt x="3661080" y="1179083"/>
                    <a:pt x="3647039" y="1136240"/>
                  </a:cubicBezTo>
                  <a:lnTo>
                    <a:pt x="3614995" y="1039753"/>
                  </a:lnTo>
                  <a:cubicBezTo>
                    <a:pt x="3525705" y="750293"/>
                    <a:pt x="3243433" y="564520"/>
                    <a:pt x="2932358" y="600162"/>
                  </a:cubicBezTo>
                  <a:cubicBezTo>
                    <a:pt x="2886273" y="607363"/>
                    <a:pt x="2843428" y="618163"/>
                    <a:pt x="2796983" y="632564"/>
                  </a:cubicBezTo>
                  <a:lnTo>
                    <a:pt x="2714533" y="664607"/>
                  </a:lnTo>
                  <a:cubicBezTo>
                    <a:pt x="2671689" y="679008"/>
                    <a:pt x="2625243" y="661006"/>
                    <a:pt x="2600401" y="625364"/>
                  </a:cubicBezTo>
                  <a:lnTo>
                    <a:pt x="2546755" y="546878"/>
                  </a:lnTo>
                  <a:cubicBezTo>
                    <a:pt x="2407419" y="346704"/>
                    <a:pt x="2179153" y="225376"/>
                    <a:pt x="1932525" y="225376"/>
                  </a:cubicBezTo>
                  <a:cubicBezTo>
                    <a:pt x="1586166" y="225376"/>
                    <a:pt x="1289493" y="461192"/>
                    <a:pt x="1211004" y="796736"/>
                  </a:cubicBezTo>
                  <a:lnTo>
                    <a:pt x="1186161" y="896823"/>
                  </a:lnTo>
                  <a:cubicBezTo>
                    <a:pt x="1175360" y="939666"/>
                    <a:pt x="1136116" y="971708"/>
                    <a:pt x="1086070" y="971708"/>
                  </a:cubicBezTo>
                  <a:lnTo>
                    <a:pt x="985979" y="968108"/>
                  </a:lnTo>
                  <a:lnTo>
                    <a:pt x="975178" y="968108"/>
                  </a:lnTo>
                  <a:lnTo>
                    <a:pt x="964736" y="968108"/>
                  </a:lnTo>
                  <a:cubicBezTo>
                    <a:pt x="550330" y="968108"/>
                    <a:pt x="210812" y="1314812"/>
                    <a:pt x="221613" y="1736402"/>
                  </a:cubicBezTo>
                  <a:cubicBezTo>
                    <a:pt x="236014" y="2139631"/>
                    <a:pt x="578773" y="2457533"/>
                    <a:pt x="982378" y="2457533"/>
                  </a:cubicBezTo>
                  <a:lnTo>
                    <a:pt x="1693459" y="2457533"/>
                  </a:lnTo>
                  <a:lnTo>
                    <a:pt x="1693459" y="2686149"/>
                  </a:lnTo>
                  <a:lnTo>
                    <a:pt x="1693459" y="2678948"/>
                  </a:lnTo>
                  <a:lnTo>
                    <a:pt x="985979" y="2678948"/>
                  </a:lnTo>
                  <a:cubicBezTo>
                    <a:pt x="443038" y="2678948"/>
                    <a:pt x="-10613" y="2236117"/>
                    <a:pt x="188" y="1693559"/>
                  </a:cubicBezTo>
                  <a:cubicBezTo>
                    <a:pt x="10989" y="1168282"/>
                    <a:pt x="439437" y="746692"/>
                    <a:pt x="964736" y="746692"/>
                  </a:cubicBezTo>
                  <a:lnTo>
                    <a:pt x="993180" y="746692"/>
                  </a:lnTo>
                  <a:cubicBezTo>
                    <a:pt x="1093271" y="318262"/>
                    <a:pt x="1475274" y="0"/>
                    <a:pt x="1932525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square" anchor="ctr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0" lang="en-US" sz="1200" u="none" strike="noStrike" kern="0" cap="none" spc="0" normalizeH="0" baseline="0" noProof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Oracle Sans" panose="020B0503020204020204" pitchFamily="34" charset="0"/>
                <a:cs typeface="Oracle Sans" panose="020B0503020204020204" pitchFamily="34" charset="0"/>
              </a:endParaRPr>
            </a:p>
          </p:txBody>
        </p:sp>
      </p:grpSp>
      <p:sp>
        <p:nvSpPr>
          <p:cNvPr id="7" name="Rectangle 6">
            <a:extLst>
              <a:ext uri="{FF2B5EF4-FFF2-40B4-BE49-F238E27FC236}">
                <a16:creationId xmlns:a16="http://schemas.microsoft.com/office/drawing/2014/main" id="{034C4F03-292B-6145-9D08-B16CE6084737}"/>
              </a:ext>
            </a:extLst>
          </p:cNvPr>
          <p:cNvSpPr/>
          <p:nvPr/>
        </p:nvSpPr>
        <p:spPr>
          <a:xfrm>
            <a:off x="875964" y="3930846"/>
            <a:ext cx="1019534" cy="764651"/>
          </a:xfrm>
          <a:prstGeom prst="rect">
            <a:avLst/>
          </a:prstGeom>
          <a:noFill/>
          <a:ln w="19050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n-US" sz="900" u="none" strike="noStrike" kern="0" cap="none" spc="0" normalizeH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racle Sans" panose="020B0503020204020204" pitchFamily="34" charset="0"/>
                <a:cs typeface="Oracle Sans" panose="020B0503020204020204" pitchFamily="34" charset="0"/>
              </a:rPr>
              <a:t>Fully automated data management with no human intervention</a:t>
            </a:r>
            <a:endParaRPr kumimoji="0" lang="en-US" sz="90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racle Sans" panose="020B0503020204020204" pitchFamily="34" charset="0"/>
              <a:cs typeface="Oracle Sans" panose="020B0503020204020204" pitchFamily="34" charset="0"/>
            </a:endParaRP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CBFD1CB5-3DE9-3F4F-8718-FDD16B6AACA6}"/>
              </a:ext>
            </a:extLst>
          </p:cNvPr>
          <p:cNvSpPr txBox="1"/>
          <p:nvPr/>
        </p:nvSpPr>
        <p:spPr>
          <a:xfrm>
            <a:off x="801099" y="3080690"/>
            <a:ext cx="1185368" cy="37307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>
              <a:defRPr/>
            </a:pPr>
            <a:r>
              <a:rPr lang="en-US" sz="1100" dirty="0">
                <a:solidFill>
                  <a:srgbClr val="DCE3E4"/>
                </a:solidFill>
                <a:latin typeface="Oracle Sans" panose="020B0503020204020204" pitchFamily="34" charset="0"/>
                <a:cs typeface="Oracle Sans" panose="020B0503020204020204" pitchFamily="34" charset="0"/>
              </a:rPr>
              <a:t>Autonomous Database</a:t>
            </a:r>
          </a:p>
          <a:p>
            <a:pPr algn="ctr">
              <a:defRPr/>
            </a:pPr>
            <a:r>
              <a:rPr lang="en-US" sz="1100" dirty="0">
                <a:solidFill>
                  <a:srgbClr val="DCE3E4"/>
                </a:solidFill>
                <a:latin typeface="Oracle Sans" panose="020B0503020204020204" pitchFamily="34" charset="0"/>
                <a:cs typeface="Oracle Sans" panose="020B0503020204020204" pitchFamily="34" charset="0"/>
              </a:rPr>
              <a:t>Serverless </a:t>
            </a:r>
          </a:p>
        </p:txBody>
      </p:sp>
      <p:sp>
        <p:nvSpPr>
          <p:cNvPr id="40" name="Freeform 39">
            <a:extLst>
              <a:ext uri="{FF2B5EF4-FFF2-40B4-BE49-F238E27FC236}">
                <a16:creationId xmlns:a16="http://schemas.microsoft.com/office/drawing/2014/main" id="{8B0C8AF9-4781-B941-A44F-50C31D492908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1072119" y="2487652"/>
            <a:ext cx="627224" cy="466538"/>
          </a:xfrm>
          <a:custGeom>
            <a:avLst/>
            <a:gdLst>
              <a:gd name="T0" fmla="*/ 10664 w 13294"/>
              <a:gd name="T1" fmla="*/ 2695 h 10186"/>
              <a:gd name="T2" fmla="*/ 5407 w 13294"/>
              <a:gd name="T3" fmla="*/ 0 h 10186"/>
              <a:gd name="T4" fmla="*/ 32 w 13294"/>
              <a:gd name="T5" fmla="*/ 4696 h 10186"/>
              <a:gd name="T6" fmla="*/ 4117 w 13294"/>
              <a:gd name="T7" fmla="*/ 7986 h 10186"/>
              <a:gd name="T8" fmla="*/ 9193 w 13294"/>
              <a:gd name="T9" fmla="*/ 6778 h 10186"/>
              <a:gd name="T10" fmla="*/ 4117 w 13294"/>
              <a:gd name="T11" fmla="*/ 6811 h 10186"/>
              <a:gd name="T12" fmla="*/ 2711 w 13294"/>
              <a:gd name="T13" fmla="*/ 2678 h 10186"/>
              <a:gd name="T14" fmla="*/ 3059 w 13294"/>
              <a:gd name="T15" fmla="*/ 2695 h 10186"/>
              <a:gd name="T16" fmla="*/ 5407 w 13294"/>
              <a:gd name="T17" fmla="*/ 611 h 10186"/>
              <a:gd name="T18" fmla="*/ 7572 w 13294"/>
              <a:gd name="T19" fmla="*/ 1835 h 10186"/>
              <a:gd name="T20" fmla="*/ 10085 w 13294"/>
              <a:gd name="T21" fmla="*/ 2877 h 10186"/>
              <a:gd name="T22" fmla="*/ 10730 w 13294"/>
              <a:gd name="T23" fmla="*/ 3307 h 10186"/>
              <a:gd name="T24" fmla="*/ 10879 w 13294"/>
              <a:gd name="T25" fmla="*/ 6811 h 10186"/>
              <a:gd name="T26" fmla="*/ 10830 w 13294"/>
              <a:gd name="T27" fmla="*/ 7440 h 10186"/>
              <a:gd name="T28" fmla="*/ 9193 w 13294"/>
              <a:gd name="T29" fmla="*/ 6365 h 10186"/>
              <a:gd name="T30" fmla="*/ 6647 w 13294"/>
              <a:gd name="T31" fmla="*/ 6861 h 10186"/>
              <a:gd name="T32" fmla="*/ 6647 w 13294"/>
              <a:gd name="T33" fmla="*/ 4580 h 10186"/>
              <a:gd name="T34" fmla="*/ 7539 w 13294"/>
              <a:gd name="T35" fmla="*/ 4960 h 10186"/>
              <a:gd name="T36" fmla="*/ 4431 w 13294"/>
              <a:gd name="T37" fmla="*/ 5240 h 10186"/>
              <a:gd name="T38" fmla="*/ 9193 w 13294"/>
              <a:gd name="T39" fmla="*/ 6365 h 10186"/>
              <a:gd name="T40" fmla="*/ 4117 w 13294"/>
              <a:gd name="T41" fmla="*/ 8349 h 10186"/>
              <a:gd name="T42" fmla="*/ 9193 w 13294"/>
              <a:gd name="T43" fmla="*/ 9738 h 10186"/>
              <a:gd name="T44" fmla="*/ 7770 w 13294"/>
              <a:gd name="T45" fmla="*/ 4696 h 10186"/>
              <a:gd name="T46" fmla="*/ 10614 w 13294"/>
              <a:gd name="T47" fmla="*/ 4696 h 10186"/>
              <a:gd name="T48" fmla="*/ 10119 w 13294"/>
              <a:gd name="T49" fmla="*/ 5076 h 10186"/>
              <a:gd name="T50" fmla="*/ 9755 w 13294"/>
              <a:gd name="T51" fmla="*/ 4663 h 10186"/>
              <a:gd name="T52" fmla="*/ 9854 w 13294"/>
              <a:gd name="T53" fmla="*/ 4613 h 10186"/>
              <a:gd name="T54" fmla="*/ 10069 w 13294"/>
              <a:gd name="T55" fmla="*/ 4696 h 10186"/>
              <a:gd name="T56" fmla="*/ 8498 w 13294"/>
              <a:gd name="T57" fmla="*/ 4183 h 10186"/>
              <a:gd name="T58" fmla="*/ 10168 w 13294"/>
              <a:gd name="T59" fmla="*/ 4448 h 10186"/>
              <a:gd name="T60" fmla="*/ 10383 w 13294"/>
              <a:gd name="T61" fmla="*/ 4613 h 10186"/>
              <a:gd name="T62" fmla="*/ 10499 w 13294"/>
              <a:gd name="T63" fmla="*/ 4679 h 10186"/>
              <a:gd name="T64" fmla="*/ 9606 w 13294"/>
              <a:gd name="T65" fmla="*/ 5174 h 10186"/>
              <a:gd name="T66" fmla="*/ 9391 w 13294"/>
              <a:gd name="T67" fmla="*/ 5158 h 10186"/>
              <a:gd name="T68" fmla="*/ 8978 w 13294"/>
              <a:gd name="T69" fmla="*/ 5158 h 10186"/>
              <a:gd name="T70" fmla="*/ 8746 w 13294"/>
              <a:gd name="T71" fmla="*/ 5125 h 10186"/>
              <a:gd name="T72" fmla="*/ 9275 w 13294"/>
              <a:gd name="T73" fmla="*/ 4233 h 10186"/>
              <a:gd name="T74" fmla="*/ 9606 w 13294"/>
              <a:gd name="T75" fmla="*/ 5174 h 10186"/>
              <a:gd name="T76" fmla="*/ 7886 w 13294"/>
              <a:gd name="T77" fmla="*/ 4729 h 10186"/>
              <a:gd name="T78" fmla="*/ 8630 w 13294"/>
              <a:gd name="T79" fmla="*/ 4696 h 10186"/>
              <a:gd name="T80" fmla="*/ 8597 w 13294"/>
              <a:gd name="T81" fmla="*/ 4795 h 10186"/>
              <a:gd name="T82" fmla="*/ 8333 w 13294"/>
              <a:gd name="T83" fmla="*/ 4663 h 10186"/>
              <a:gd name="T84" fmla="*/ 9193 w 13294"/>
              <a:gd name="T85" fmla="*/ 5571 h 10186"/>
              <a:gd name="T86" fmla="*/ 9193 w 13294"/>
              <a:gd name="T87" fmla="*/ 5720 h 10186"/>
              <a:gd name="T88" fmla="*/ 8184 w 13294"/>
              <a:gd name="T89" fmla="*/ 4630 h 10186"/>
              <a:gd name="T90" fmla="*/ 7902 w 13294"/>
              <a:gd name="T91" fmla="*/ 4746 h 10186"/>
              <a:gd name="T92" fmla="*/ 9291 w 13294"/>
              <a:gd name="T93" fmla="*/ 4845 h 1018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13294" h="10186">
                <a:moveTo>
                  <a:pt x="10879" y="2678"/>
                </a:moveTo>
                <a:lnTo>
                  <a:pt x="10879" y="2678"/>
                </a:lnTo>
                <a:cubicBezTo>
                  <a:pt x="10813" y="2678"/>
                  <a:pt x="10747" y="2678"/>
                  <a:pt x="10664" y="2695"/>
                </a:cubicBezTo>
                <a:cubicBezTo>
                  <a:pt x="10367" y="1719"/>
                  <a:pt x="9474" y="1025"/>
                  <a:pt x="8399" y="1025"/>
                </a:cubicBezTo>
                <a:cubicBezTo>
                  <a:pt x="8134" y="1025"/>
                  <a:pt x="7870" y="1074"/>
                  <a:pt x="7621" y="1157"/>
                </a:cubicBezTo>
                <a:cubicBezTo>
                  <a:pt x="7142" y="463"/>
                  <a:pt x="6333" y="0"/>
                  <a:pt x="5407" y="0"/>
                </a:cubicBezTo>
                <a:cubicBezTo>
                  <a:pt x="4133" y="0"/>
                  <a:pt x="3075" y="876"/>
                  <a:pt x="2794" y="2067"/>
                </a:cubicBezTo>
                <a:cubicBezTo>
                  <a:pt x="2761" y="2067"/>
                  <a:pt x="2744" y="2067"/>
                  <a:pt x="2711" y="2067"/>
                </a:cubicBezTo>
                <a:cubicBezTo>
                  <a:pt x="1256" y="2067"/>
                  <a:pt x="66" y="3241"/>
                  <a:pt x="32" y="4696"/>
                </a:cubicBezTo>
                <a:cubicBezTo>
                  <a:pt x="0" y="6200"/>
                  <a:pt x="1273" y="7440"/>
                  <a:pt x="2778" y="7440"/>
                </a:cubicBezTo>
                <a:cubicBezTo>
                  <a:pt x="4117" y="7440"/>
                  <a:pt x="4117" y="7440"/>
                  <a:pt x="4117" y="7440"/>
                </a:cubicBezTo>
                <a:cubicBezTo>
                  <a:pt x="4117" y="7986"/>
                  <a:pt x="4117" y="7986"/>
                  <a:pt x="4117" y="7986"/>
                </a:cubicBezTo>
                <a:cubicBezTo>
                  <a:pt x="4117" y="8233"/>
                  <a:pt x="5258" y="8432"/>
                  <a:pt x="6647" y="8432"/>
                </a:cubicBezTo>
                <a:cubicBezTo>
                  <a:pt x="8052" y="8432"/>
                  <a:pt x="9193" y="8233"/>
                  <a:pt x="9193" y="7986"/>
                </a:cubicBezTo>
                <a:cubicBezTo>
                  <a:pt x="9193" y="6778"/>
                  <a:pt x="9193" y="6778"/>
                  <a:pt x="9193" y="6778"/>
                </a:cubicBezTo>
                <a:cubicBezTo>
                  <a:pt x="9193" y="7010"/>
                  <a:pt x="8052" y="7208"/>
                  <a:pt x="6647" y="7208"/>
                </a:cubicBezTo>
                <a:cubicBezTo>
                  <a:pt x="5258" y="7208"/>
                  <a:pt x="4117" y="7010"/>
                  <a:pt x="4117" y="6778"/>
                </a:cubicBezTo>
                <a:cubicBezTo>
                  <a:pt x="4117" y="6811"/>
                  <a:pt x="4117" y="6811"/>
                  <a:pt x="4117" y="6811"/>
                </a:cubicBezTo>
                <a:cubicBezTo>
                  <a:pt x="2761" y="6811"/>
                  <a:pt x="2761" y="6811"/>
                  <a:pt x="2761" y="6811"/>
                </a:cubicBezTo>
                <a:cubicBezTo>
                  <a:pt x="1637" y="6811"/>
                  <a:pt x="694" y="5935"/>
                  <a:pt x="661" y="4812"/>
                </a:cubicBezTo>
                <a:cubicBezTo>
                  <a:pt x="611" y="3638"/>
                  <a:pt x="1554" y="2678"/>
                  <a:pt x="2711" y="2678"/>
                </a:cubicBezTo>
                <a:cubicBezTo>
                  <a:pt x="2728" y="2678"/>
                  <a:pt x="2744" y="2678"/>
                  <a:pt x="2744" y="2678"/>
                </a:cubicBezTo>
                <a:cubicBezTo>
                  <a:pt x="2778" y="2678"/>
                  <a:pt x="2778" y="2678"/>
                  <a:pt x="2778" y="2678"/>
                </a:cubicBezTo>
                <a:cubicBezTo>
                  <a:pt x="3059" y="2695"/>
                  <a:pt x="3059" y="2695"/>
                  <a:pt x="3059" y="2695"/>
                </a:cubicBezTo>
                <a:cubicBezTo>
                  <a:pt x="3191" y="2695"/>
                  <a:pt x="3307" y="2612"/>
                  <a:pt x="3323" y="2480"/>
                </a:cubicBezTo>
                <a:cubicBezTo>
                  <a:pt x="3389" y="2199"/>
                  <a:pt x="3389" y="2199"/>
                  <a:pt x="3389" y="2199"/>
                </a:cubicBezTo>
                <a:cubicBezTo>
                  <a:pt x="3621" y="1273"/>
                  <a:pt x="4448" y="611"/>
                  <a:pt x="5407" y="611"/>
                </a:cubicBezTo>
                <a:cubicBezTo>
                  <a:pt x="6085" y="611"/>
                  <a:pt x="6729" y="942"/>
                  <a:pt x="7109" y="1505"/>
                </a:cubicBezTo>
                <a:cubicBezTo>
                  <a:pt x="7258" y="1736"/>
                  <a:pt x="7258" y="1736"/>
                  <a:pt x="7258" y="1736"/>
                </a:cubicBezTo>
                <a:cubicBezTo>
                  <a:pt x="7324" y="1835"/>
                  <a:pt x="7456" y="1868"/>
                  <a:pt x="7572" y="1835"/>
                </a:cubicBezTo>
                <a:cubicBezTo>
                  <a:pt x="7804" y="1752"/>
                  <a:pt x="7804" y="1752"/>
                  <a:pt x="7804" y="1752"/>
                </a:cubicBezTo>
                <a:cubicBezTo>
                  <a:pt x="7936" y="1703"/>
                  <a:pt x="8052" y="1670"/>
                  <a:pt x="8184" y="1670"/>
                </a:cubicBezTo>
                <a:cubicBezTo>
                  <a:pt x="9044" y="1554"/>
                  <a:pt x="9821" y="2067"/>
                  <a:pt x="10085" y="2877"/>
                </a:cubicBezTo>
                <a:cubicBezTo>
                  <a:pt x="10168" y="3141"/>
                  <a:pt x="10168" y="3141"/>
                  <a:pt x="10168" y="3141"/>
                </a:cubicBezTo>
                <a:cubicBezTo>
                  <a:pt x="10201" y="3257"/>
                  <a:pt x="10317" y="3340"/>
                  <a:pt x="10449" y="3340"/>
                </a:cubicBezTo>
                <a:cubicBezTo>
                  <a:pt x="10730" y="3307"/>
                  <a:pt x="10730" y="3307"/>
                  <a:pt x="10730" y="3307"/>
                </a:cubicBezTo>
                <a:cubicBezTo>
                  <a:pt x="10830" y="3307"/>
                  <a:pt x="10929" y="3307"/>
                  <a:pt x="11011" y="3307"/>
                </a:cubicBezTo>
                <a:cubicBezTo>
                  <a:pt x="11871" y="3389"/>
                  <a:pt x="12566" y="4067"/>
                  <a:pt x="12632" y="4927"/>
                </a:cubicBezTo>
                <a:cubicBezTo>
                  <a:pt x="12715" y="5952"/>
                  <a:pt x="11888" y="6811"/>
                  <a:pt x="10879" y="6811"/>
                </a:cubicBezTo>
                <a:cubicBezTo>
                  <a:pt x="9738" y="6811"/>
                  <a:pt x="9738" y="6811"/>
                  <a:pt x="9738" y="6811"/>
                </a:cubicBezTo>
                <a:cubicBezTo>
                  <a:pt x="9738" y="7440"/>
                  <a:pt x="9738" y="7440"/>
                  <a:pt x="9738" y="7440"/>
                </a:cubicBezTo>
                <a:cubicBezTo>
                  <a:pt x="10830" y="7440"/>
                  <a:pt x="10830" y="7440"/>
                  <a:pt x="10830" y="7440"/>
                </a:cubicBezTo>
                <a:cubicBezTo>
                  <a:pt x="12169" y="7440"/>
                  <a:pt x="13293" y="6348"/>
                  <a:pt x="13260" y="5010"/>
                </a:cubicBezTo>
                <a:cubicBezTo>
                  <a:pt x="13227" y="3720"/>
                  <a:pt x="12185" y="2678"/>
                  <a:pt x="10879" y="2678"/>
                </a:cubicBezTo>
                <a:close/>
                <a:moveTo>
                  <a:pt x="9193" y="6365"/>
                </a:moveTo>
                <a:lnTo>
                  <a:pt x="9193" y="6365"/>
                </a:lnTo>
                <a:cubicBezTo>
                  <a:pt x="9193" y="6415"/>
                  <a:pt x="9193" y="6415"/>
                  <a:pt x="9193" y="6415"/>
                </a:cubicBezTo>
                <a:cubicBezTo>
                  <a:pt x="9193" y="6663"/>
                  <a:pt x="8052" y="6861"/>
                  <a:pt x="6647" y="6861"/>
                </a:cubicBezTo>
                <a:cubicBezTo>
                  <a:pt x="5258" y="6861"/>
                  <a:pt x="4117" y="6663"/>
                  <a:pt x="4117" y="6415"/>
                </a:cubicBezTo>
                <a:cubicBezTo>
                  <a:pt x="4117" y="5027"/>
                  <a:pt x="4117" y="5027"/>
                  <a:pt x="4117" y="5027"/>
                </a:cubicBezTo>
                <a:cubicBezTo>
                  <a:pt x="4117" y="4778"/>
                  <a:pt x="5258" y="4580"/>
                  <a:pt x="6647" y="4580"/>
                </a:cubicBezTo>
                <a:cubicBezTo>
                  <a:pt x="6960" y="4580"/>
                  <a:pt x="7258" y="4596"/>
                  <a:pt x="7523" y="4613"/>
                </a:cubicBezTo>
                <a:cubicBezTo>
                  <a:pt x="7523" y="4646"/>
                  <a:pt x="7523" y="4679"/>
                  <a:pt x="7523" y="4696"/>
                </a:cubicBezTo>
                <a:cubicBezTo>
                  <a:pt x="7523" y="4795"/>
                  <a:pt x="7539" y="4878"/>
                  <a:pt x="7539" y="4960"/>
                </a:cubicBezTo>
                <a:cubicBezTo>
                  <a:pt x="7274" y="4944"/>
                  <a:pt x="6960" y="4927"/>
                  <a:pt x="6647" y="4927"/>
                </a:cubicBezTo>
                <a:cubicBezTo>
                  <a:pt x="5704" y="4927"/>
                  <a:pt x="4878" y="5027"/>
                  <a:pt x="4431" y="5158"/>
                </a:cubicBezTo>
                <a:cubicBezTo>
                  <a:pt x="4398" y="5174"/>
                  <a:pt x="4398" y="5224"/>
                  <a:pt x="4431" y="5240"/>
                </a:cubicBezTo>
                <a:cubicBezTo>
                  <a:pt x="4878" y="5373"/>
                  <a:pt x="5704" y="5455"/>
                  <a:pt x="6647" y="5455"/>
                </a:cubicBezTo>
                <a:cubicBezTo>
                  <a:pt x="7026" y="5455"/>
                  <a:pt x="7373" y="5439"/>
                  <a:pt x="7688" y="5422"/>
                </a:cubicBezTo>
                <a:cubicBezTo>
                  <a:pt x="8002" y="6034"/>
                  <a:pt x="8548" y="6365"/>
                  <a:pt x="9193" y="6365"/>
                </a:cubicBezTo>
                <a:close/>
                <a:moveTo>
                  <a:pt x="6647" y="8779"/>
                </a:moveTo>
                <a:lnTo>
                  <a:pt x="6647" y="8779"/>
                </a:lnTo>
                <a:cubicBezTo>
                  <a:pt x="5258" y="8779"/>
                  <a:pt x="4117" y="8581"/>
                  <a:pt x="4117" y="8349"/>
                </a:cubicBezTo>
                <a:cubicBezTo>
                  <a:pt x="4117" y="9738"/>
                  <a:pt x="4117" y="9738"/>
                  <a:pt x="4117" y="9738"/>
                </a:cubicBezTo>
                <a:cubicBezTo>
                  <a:pt x="4117" y="9986"/>
                  <a:pt x="5258" y="10185"/>
                  <a:pt x="6647" y="10185"/>
                </a:cubicBezTo>
                <a:cubicBezTo>
                  <a:pt x="8052" y="10185"/>
                  <a:pt x="9193" y="9986"/>
                  <a:pt x="9193" y="9738"/>
                </a:cubicBezTo>
                <a:cubicBezTo>
                  <a:pt x="9193" y="8349"/>
                  <a:pt x="9193" y="8349"/>
                  <a:pt x="9193" y="8349"/>
                </a:cubicBezTo>
                <a:cubicBezTo>
                  <a:pt x="9193" y="8581"/>
                  <a:pt x="8052" y="8779"/>
                  <a:pt x="6647" y="8779"/>
                </a:cubicBezTo>
                <a:close/>
                <a:moveTo>
                  <a:pt x="7770" y="4696"/>
                </a:moveTo>
                <a:lnTo>
                  <a:pt x="7770" y="4696"/>
                </a:lnTo>
                <a:cubicBezTo>
                  <a:pt x="7770" y="5489"/>
                  <a:pt x="8399" y="6134"/>
                  <a:pt x="9193" y="6134"/>
                </a:cubicBezTo>
                <a:cubicBezTo>
                  <a:pt x="9986" y="6134"/>
                  <a:pt x="10614" y="5489"/>
                  <a:pt x="10614" y="4696"/>
                </a:cubicBezTo>
                <a:cubicBezTo>
                  <a:pt x="10614" y="3919"/>
                  <a:pt x="9986" y="3274"/>
                  <a:pt x="9193" y="3274"/>
                </a:cubicBezTo>
                <a:cubicBezTo>
                  <a:pt x="8399" y="3274"/>
                  <a:pt x="7770" y="3919"/>
                  <a:pt x="7770" y="4696"/>
                </a:cubicBezTo>
                <a:close/>
                <a:moveTo>
                  <a:pt x="10119" y="5076"/>
                </a:moveTo>
                <a:lnTo>
                  <a:pt x="10119" y="5076"/>
                </a:lnTo>
                <a:cubicBezTo>
                  <a:pt x="9755" y="4712"/>
                  <a:pt x="9755" y="4712"/>
                  <a:pt x="9755" y="4712"/>
                </a:cubicBezTo>
                <a:cubicBezTo>
                  <a:pt x="9738" y="4696"/>
                  <a:pt x="9738" y="4663"/>
                  <a:pt x="9755" y="4663"/>
                </a:cubicBezTo>
                <a:cubicBezTo>
                  <a:pt x="9804" y="4613"/>
                  <a:pt x="9804" y="4613"/>
                  <a:pt x="9804" y="4613"/>
                </a:cubicBezTo>
                <a:cubicBezTo>
                  <a:pt x="9804" y="4596"/>
                  <a:pt x="9821" y="4596"/>
                  <a:pt x="9821" y="4596"/>
                </a:cubicBezTo>
                <a:cubicBezTo>
                  <a:pt x="9838" y="4596"/>
                  <a:pt x="9838" y="4596"/>
                  <a:pt x="9854" y="4613"/>
                </a:cubicBezTo>
                <a:cubicBezTo>
                  <a:pt x="10052" y="4812"/>
                  <a:pt x="10052" y="4812"/>
                  <a:pt x="10052" y="4812"/>
                </a:cubicBezTo>
                <a:cubicBezTo>
                  <a:pt x="10069" y="4746"/>
                  <a:pt x="10069" y="4746"/>
                  <a:pt x="10069" y="4746"/>
                </a:cubicBezTo>
                <a:cubicBezTo>
                  <a:pt x="10069" y="4729"/>
                  <a:pt x="10069" y="4712"/>
                  <a:pt x="10069" y="4696"/>
                </a:cubicBezTo>
                <a:cubicBezTo>
                  <a:pt x="10069" y="4580"/>
                  <a:pt x="10036" y="4481"/>
                  <a:pt x="9986" y="4365"/>
                </a:cubicBezTo>
                <a:cubicBezTo>
                  <a:pt x="9854" y="4051"/>
                  <a:pt x="9540" y="3836"/>
                  <a:pt x="9193" y="3836"/>
                </a:cubicBezTo>
                <a:cubicBezTo>
                  <a:pt x="8928" y="3836"/>
                  <a:pt x="8663" y="3968"/>
                  <a:pt x="8498" y="4183"/>
                </a:cubicBezTo>
                <a:cubicBezTo>
                  <a:pt x="8399" y="4067"/>
                  <a:pt x="8399" y="4067"/>
                  <a:pt x="8399" y="4067"/>
                </a:cubicBezTo>
                <a:cubicBezTo>
                  <a:pt x="8597" y="3836"/>
                  <a:pt x="8878" y="3687"/>
                  <a:pt x="9193" y="3687"/>
                </a:cubicBezTo>
                <a:cubicBezTo>
                  <a:pt x="9656" y="3687"/>
                  <a:pt x="10052" y="4001"/>
                  <a:pt x="10168" y="4448"/>
                </a:cubicBezTo>
                <a:cubicBezTo>
                  <a:pt x="10201" y="4530"/>
                  <a:pt x="10201" y="4613"/>
                  <a:pt x="10201" y="4696"/>
                </a:cubicBezTo>
                <a:cubicBezTo>
                  <a:pt x="10201" y="4778"/>
                  <a:pt x="10201" y="4778"/>
                  <a:pt x="10201" y="4778"/>
                </a:cubicBezTo>
                <a:cubicBezTo>
                  <a:pt x="10383" y="4613"/>
                  <a:pt x="10383" y="4613"/>
                  <a:pt x="10383" y="4613"/>
                </a:cubicBezTo>
                <a:cubicBezTo>
                  <a:pt x="10400" y="4596"/>
                  <a:pt x="10416" y="4596"/>
                  <a:pt x="10433" y="4613"/>
                </a:cubicBezTo>
                <a:cubicBezTo>
                  <a:pt x="10482" y="4663"/>
                  <a:pt x="10482" y="4663"/>
                  <a:pt x="10482" y="4663"/>
                </a:cubicBezTo>
                <a:cubicBezTo>
                  <a:pt x="10499" y="4663"/>
                  <a:pt x="10499" y="4679"/>
                  <a:pt x="10499" y="4679"/>
                </a:cubicBezTo>
                <a:cubicBezTo>
                  <a:pt x="10499" y="4696"/>
                  <a:pt x="10499" y="4696"/>
                  <a:pt x="10482" y="4712"/>
                </a:cubicBezTo>
                <a:lnTo>
                  <a:pt x="10119" y="5076"/>
                </a:lnTo>
                <a:close/>
                <a:moveTo>
                  <a:pt x="9606" y="5174"/>
                </a:moveTo>
                <a:lnTo>
                  <a:pt x="9606" y="5174"/>
                </a:lnTo>
                <a:cubicBezTo>
                  <a:pt x="9424" y="5174"/>
                  <a:pt x="9424" y="5174"/>
                  <a:pt x="9424" y="5174"/>
                </a:cubicBezTo>
                <a:cubicBezTo>
                  <a:pt x="9407" y="5174"/>
                  <a:pt x="9407" y="5174"/>
                  <a:pt x="9391" y="5158"/>
                </a:cubicBezTo>
                <a:cubicBezTo>
                  <a:pt x="9341" y="5010"/>
                  <a:pt x="9341" y="5010"/>
                  <a:pt x="9341" y="5010"/>
                </a:cubicBezTo>
                <a:cubicBezTo>
                  <a:pt x="9027" y="5010"/>
                  <a:pt x="9027" y="5010"/>
                  <a:pt x="9027" y="5010"/>
                </a:cubicBezTo>
                <a:cubicBezTo>
                  <a:pt x="8978" y="5158"/>
                  <a:pt x="8978" y="5158"/>
                  <a:pt x="8978" y="5158"/>
                </a:cubicBezTo>
                <a:cubicBezTo>
                  <a:pt x="8978" y="5174"/>
                  <a:pt x="8961" y="5174"/>
                  <a:pt x="8944" y="5174"/>
                </a:cubicBezTo>
                <a:cubicBezTo>
                  <a:pt x="8779" y="5174"/>
                  <a:pt x="8779" y="5174"/>
                  <a:pt x="8779" y="5174"/>
                </a:cubicBezTo>
                <a:cubicBezTo>
                  <a:pt x="8762" y="5174"/>
                  <a:pt x="8746" y="5158"/>
                  <a:pt x="8746" y="5125"/>
                </a:cubicBezTo>
                <a:cubicBezTo>
                  <a:pt x="9110" y="4249"/>
                  <a:pt x="9110" y="4249"/>
                  <a:pt x="9110" y="4249"/>
                </a:cubicBezTo>
                <a:cubicBezTo>
                  <a:pt x="9126" y="4233"/>
                  <a:pt x="9143" y="4233"/>
                  <a:pt x="9143" y="4233"/>
                </a:cubicBezTo>
                <a:cubicBezTo>
                  <a:pt x="9275" y="4233"/>
                  <a:pt x="9275" y="4233"/>
                  <a:pt x="9275" y="4233"/>
                </a:cubicBezTo>
                <a:cubicBezTo>
                  <a:pt x="9291" y="4233"/>
                  <a:pt x="9308" y="4233"/>
                  <a:pt x="9308" y="4249"/>
                </a:cubicBezTo>
                <a:cubicBezTo>
                  <a:pt x="9639" y="5125"/>
                  <a:pt x="9639" y="5125"/>
                  <a:pt x="9639" y="5125"/>
                </a:cubicBezTo>
                <a:cubicBezTo>
                  <a:pt x="9639" y="5158"/>
                  <a:pt x="9622" y="5174"/>
                  <a:pt x="9606" y="5174"/>
                </a:cubicBezTo>
                <a:close/>
                <a:moveTo>
                  <a:pt x="7902" y="4746"/>
                </a:moveTo>
                <a:lnTo>
                  <a:pt x="7902" y="4746"/>
                </a:lnTo>
                <a:lnTo>
                  <a:pt x="7886" y="4729"/>
                </a:lnTo>
                <a:cubicBezTo>
                  <a:pt x="7886" y="4712"/>
                  <a:pt x="7902" y="4712"/>
                  <a:pt x="7902" y="4696"/>
                </a:cubicBezTo>
                <a:cubicBezTo>
                  <a:pt x="8267" y="4332"/>
                  <a:pt x="8267" y="4332"/>
                  <a:pt x="8267" y="4332"/>
                </a:cubicBezTo>
                <a:cubicBezTo>
                  <a:pt x="8630" y="4696"/>
                  <a:pt x="8630" y="4696"/>
                  <a:pt x="8630" y="4696"/>
                </a:cubicBezTo>
                <a:cubicBezTo>
                  <a:pt x="8647" y="4712"/>
                  <a:pt x="8647" y="4712"/>
                  <a:pt x="8647" y="4729"/>
                </a:cubicBezTo>
                <a:cubicBezTo>
                  <a:pt x="8647" y="4729"/>
                  <a:pt x="8647" y="4746"/>
                  <a:pt x="8630" y="4746"/>
                </a:cubicBezTo>
                <a:cubicBezTo>
                  <a:pt x="8597" y="4795"/>
                  <a:pt x="8597" y="4795"/>
                  <a:pt x="8597" y="4795"/>
                </a:cubicBezTo>
                <a:cubicBezTo>
                  <a:pt x="8581" y="4812"/>
                  <a:pt x="8548" y="4812"/>
                  <a:pt x="8531" y="4795"/>
                </a:cubicBezTo>
                <a:cubicBezTo>
                  <a:pt x="8333" y="4596"/>
                  <a:pt x="8333" y="4596"/>
                  <a:pt x="8333" y="4596"/>
                </a:cubicBezTo>
                <a:cubicBezTo>
                  <a:pt x="8333" y="4663"/>
                  <a:pt x="8333" y="4663"/>
                  <a:pt x="8333" y="4663"/>
                </a:cubicBezTo>
                <a:cubicBezTo>
                  <a:pt x="8333" y="4679"/>
                  <a:pt x="8333" y="4696"/>
                  <a:pt x="8333" y="4696"/>
                </a:cubicBezTo>
                <a:cubicBezTo>
                  <a:pt x="8333" y="4828"/>
                  <a:pt x="8349" y="4927"/>
                  <a:pt x="8399" y="5043"/>
                </a:cubicBezTo>
                <a:cubicBezTo>
                  <a:pt x="8531" y="5356"/>
                  <a:pt x="8845" y="5571"/>
                  <a:pt x="9193" y="5571"/>
                </a:cubicBezTo>
                <a:cubicBezTo>
                  <a:pt x="9457" y="5571"/>
                  <a:pt x="9722" y="5439"/>
                  <a:pt x="9887" y="5224"/>
                </a:cubicBezTo>
                <a:cubicBezTo>
                  <a:pt x="9986" y="5340"/>
                  <a:pt x="9986" y="5340"/>
                  <a:pt x="9986" y="5340"/>
                </a:cubicBezTo>
                <a:cubicBezTo>
                  <a:pt x="9788" y="5571"/>
                  <a:pt x="9507" y="5720"/>
                  <a:pt x="9193" y="5720"/>
                </a:cubicBezTo>
                <a:cubicBezTo>
                  <a:pt x="8730" y="5720"/>
                  <a:pt x="8333" y="5406"/>
                  <a:pt x="8217" y="4960"/>
                </a:cubicBezTo>
                <a:cubicBezTo>
                  <a:pt x="8184" y="4878"/>
                  <a:pt x="8184" y="4795"/>
                  <a:pt x="8184" y="4696"/>
                </a:cubicBezTo>
                <a:cubicBezTo>
                  <a:pt x="8184" y="4630"/>
                  <a:pt x="8184" y="4630"/>
                  <a:pt x="8184" y="4630"/>
                </a:cubicBezTo>
                <a:cubicBezTo>
                  <a:pt x="8002" y="4795"/>
                  <a:pt x="8002" y="4795"/>
                  <a:pt x="8002" y="4795"/>
                </a:cubicBezTo>
                <a:cubicBezTo>
                  <a:pt x="7986" y="4812"/>
                  <a:pt x="7969" y="4812"/>
                  <a:pt x="7952" y="4795"/>
                </a:cubicBezTo>
                <a:lnTo>
                  <a:pt x="7902" y="4746"/>
                </a:lnTo>
                <a:close/>
                <a:moveTo>
                  <a:pt x="9193" y="4564"/>
                </a:moveTo>
                <a:lnTo>
                  <a:pt x="9193" y="4564"/>
                </a:lnTo>
                <a:cubicBezTo>
                  <a:pt x="9291" y="4845"/>
                  <a:pt x="9291" y="4845"/>
                  <a:pt x="9291" y="4845"/>
                </a:cubicBezTo>
                <a:cubicBezTo>
                  <a:pt x="9093" y="4845"/>
                  <a:pt x="9093" y="4845"/>
                  <a:pt x="9093" y="4845"/>
                </a:cubicBezTo>
                <a:cubicBezTo>
                  <a:pt x="9193" y="4564"/>
                  <a:pt x="9193" y="4564"/>
                  <a:pt x="9193" y="4564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>
                <a:solidFill>
                  <a:srgbClr val="808080"/>
                </a:solidFill>
                <a:bevel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en-US" sz="1100" u="none" strike="noStrike" kern="0" cap="none" spc="0" normalizeH="0" baseline="0" noProof="0">
              <a:ln>
                <a:noFill/>
              </a:ln>
              <a:solidFill>
                <a:schemeClr val="bg1">
                  <a:lumMod val="50000"/>
                </a:schemeClr>
              </a:solidFill>
              <a:effectLst/>
              <a:uLnTx/>
              <a:uFillTx/>
              <a:latin typeface="Oracle Sans" panose="020B0503020204020204" pitchFamily="34" charset="0"/>
              <a:cs typeface="Oracle Sans" panose="020B0503020204020204" pitchFamily="34" charset="0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905E60E9-9C41-4D4C-B378-617B6F012DDC}"/>
              </a:ext>
            </a:extLst>
          </p:cNvPr>
          <p:cNvSpPr/>
          <p:nvPr/>
        </p:nvSpPr>
        <p:spPr>
          <a:xfrm>
            <a:off x="5895764" y="3930846"/>
            <a:ext cx="1054666" cy="764651"/>
          </a:xfrm>
          <a:prstGeom prst="rect">
            <a:avLst/>
          </a:prstGeom>
          <a:noFill/>
          <a:ln w="19050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900" kern="0" dirty="0">
                <a:solidFill>
                  <a:srgbClr val="FFFFFF"/>
                </a:solidFill>
                <a:latin typeface="Oracle Sans" panose="020B0503020204020204" pitchFamily="34" charset="0"/>
                <a:cs typeface="Oracle Sans" panose="020B0503020204020204" pitchFamily="34" charset="0"/>
              </a:rPr>
              <a:t>DB Workloads running on BM/VM in public cloud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68621083-10CA-8749-A08A-F57A36E64258}"/>
              </a:ext>
            </a:extLst>
          </p:cNvPr>
          <p:cNvSpPr txBox="1"/>
          <p:nvPr/>
        </p:nvSpPr>
        <p:spPr>
          <a:xfrm>
            <a:off x="5799867" y="3080690"/>
            <a:ext cx="1273977" cy="37307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>
              <a:defRPr/>
            </a:pPr>
            <a:r>
              <a:rPr lang="en-US" sz="1100" dirty="0">
                <a:solidFill>
                  <a:srgbClr val="DCE3E4"/>
                </a:solidFill>
                <a:latin typeface="Oracle Sans" panose="020B0503020204020204" pitchFamily="34" charset="0"/>
                <a:cs typeface="Oracle Sans" panose="020B0503020204020204" pitchFamily="34" charset="0"/>
              </a:rPr>
              <a:t>Database Cloud Service </a:t>
            </a:r>
          </a:p>
          <a:p>
            <a:pPr algn="ctr">
              <a:defRPr/>
            </a:pPr>
            <a:r>
              <a:rPr lang="en-US" sz="1100" dirty="0">
                <a:solidFill>
                  <a:srgbClr val="DCE3E4"/>
                </a:solidFill>
                <a:latin typeface="Oracle Sans" panose="020B0503020204020204" pitchFamily="34" charset="0"/>
                <a:cs typeface="Oracle Sans" panose="020B0503020204020204" pitchFamily="34" charset="0"/>
              </a:rPr>
              <a:t>(on BM/VM)</a:t>
            </a:r>
            <a:br>
              <a:rPr lang="en-US" sz="1100" dirty="0">
                <a:solidFill>
                  <a:srgbClr val="DCE3E4"/>
                </a:solidFill>
                <a:latin typeface="Oracle Sans" panose="020B0503020204020204" pitchFamily="34" charset="0"/>
                <a:cs typeface="Oracle Sans" panose="020B0503020204020204" pitchFamily="34" charset="0"/>
              </a:rPr>
            </a:br>
            <a:endParaRPr lang="en-US" sz="1100" dirty="0">
              <a:solidFill>
                <a:srgbClr val="DCE3E4"/>
              </a:solidFill>
              <a:latin typeface="Oracle Sans" panose="020B0503020204020204" pitchFamily="34" charset="0"/>
              <a:cs typeface="Oracle Sans" panose="020B0503020204020204" pitchFamily="34" charset="0"/>
            </a:endParaRPr>
          </a:p>
        </p:txBody>
      </p:sp>
      <p:pic>
        <p:nvPicPr>
          <p:cNvPr id="42" name="Picture 41">
            <a:extLst>
              <a:ext uri="{FF2B5EF4-FFF2-40B4-BE49-F238E27FC236}">
                <a16:creationId xmlns:a16="http://schemas.microsoft.com/office/drawing/2014/main" id="{BE48D147-884A-E540-9B75-A9508871445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105544" y="2511921"/>
            <a:ext cx="516556" cy="442269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0C517B66-7690-EE43-9730-275C387555EA}"/>
              </a:ext>
            </a:extLst>
          </p:cNvPr>
          <p:cNvSpPr/>
          <p:nvPr/>
        </p:nvSpPr>
        <p:spPr>
          <a:xfrm>
            <a:off x="2119772" y="3930846"/>
            <a:ext cx="1019534" cy="764651"/>
          </a:xfrm>
          <a:prstGeom prst="rect">
            <a:avLst/>
          </a:prstGeom>
          <a:noFill/>
          <a:ln w="19050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en-US" sz="105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racle Sans" panose="020B0503020204020204" pitchFamily="34" charset="0"/>
              <a:cs typeface="Oracle Sans" panose="020B0503020204020204" pitchFamily="34" charset="0"/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542F653D-BFC2-F34C-86AE-4851F2B7E97E}"/>
              </a:ext>
            </a:extLst>
          </p:cNvPr>
          <p:cNvSpPr txBox="1"/>
          <p:nvPr/>
        </p:nvSpPr>
        <p:spPr>
          <a:xfrm>
            <a:off x="2029280" y="3080690"/>
            <a:ext cx="1110026" cy="37307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>
              <a:defRPr/>
            </a:pPr>
            <a:r>
              <a:rPr lang="en-US" sz="1100">
                <a:solidFill>
                  <a:srgbClr val="DCE3E4"/>
                </a:solidFill>
                <a:latin typeface="Oracle Sans" panose="020B0503020204020204" pitchFamily="34" charset="0"/>
                <a:cs typeface="Oracle Sans" panose="020B0503020204020204" pitchFamily="34" charset="0"/>
              </a:rPr>
              <a:t>Autonomous Database</a:t>
            </a:r>
            <a:br>
              <a:rPr lang="en-US" sz="1100">
                <a:solidFill>
                  <a:srgbClr val="DCE3E4"/>
                </a:solidFill>
                <a:latin typeface="Oracle Sans" panose="020B0503020204020204" pitchFamily="34" charset="0"/>
                <a:cs typeface="Oracle Sans" panose="020B0503020204020204" pitchFamily="34" charset="0"/>
              </a:rPr>
            </a:br>
            <a:r>
              <a:rPr lang="en-US" sz="1100">
                <a:solidFill>
                  <a:srgbClr val="DCE3E4"/>
                </a:solidFill>
                <a:latin typeface="Oracle Sans" panose="020B0503020204020204" pitchFamily="34" charset="0"/>
                <a:cs typeface="Oracle Sans" panose="020B0503020204020204" pitchFamily="34" charset="0"/>
              </a:rPr>
              <a:t>Dedicated </a:t>
            </a:r>
          </a:p>
        </p:txBody>
      </p:sp>
      <p:sp>
        <p:nvSpPr>
          <p:cNvPr id="38" name="Freeform 37">
            <a:extLst>
              <a:ext uri="{FF2B5EF4-FFF2-40B4-BE49-F238E27FC236}">
                <a16:creationId xmlns:a16="http://schemas.microsoft.com/office/drawing/2014/main" id="{2323748E-DCAB-9642-8AB0-B5BA8778B0B0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2251808" y="2487652"/>
            <a:ext cx="627224" cy="466538"/>
          </a:xfrm>
          <a:custGeom>
            <a:avLst/>
            <a:gdLst>
              <a:gd name="T0" fmla="*/ 10664 w 13294"/>
              <a:gd name="T1" fmla="*/ 2695 h 10186"/>
              <a:gd name="T2" fmla="*/ 5407 w 13294"/>
              <a:gd name="T3" fmla="*/ 0 h 10186"/>
              <a:gd name="T4" fmla="*/ 32 w 13294"/>
              <a:gd name="T5" fmla="*/ 4696 h 10186"/>
              <a:gd name="T6" fmla="*/ 4117 w 13294"/>
              <a:gd name="T7" fmla="*/ 7986 h 10186"/>
              <a:gd name="T8" fmla="*/ 9193 w 13294"/>
              <a:gd name="T9" fmla="*/ 6778 h 10186"/>
              <a:gd name="T10" fmla="*/ 4117 w 13294"/>
              <a:gd name="T11" fmla="*/ 6811 h 10186"/>
              <a:gd name="T12" fmla="*/ 2711 w 13294"/>
              <a:gd name="T13" fmla="*/ 2678 h 10186"/>
              <a:gd name="T14" fmla="*/ 3059 w 13294"/>
              <a:gd name="T15" fmla="*/ 2695 h 10186"/>
              <a:gd name="T16" fmla="*/ 5407 w 13294"/>
              <a:gd name="T17" fmla="*/ 611 h 10186"/>
              <a:gd name="T18" fmla="*/ 7572 w 13294"/>
              <a:gd name="T19" fmla="*/ 1835 h 10186"/>
              <a:gd name="T20" fmla="*/ 10085 w 13294"/>
              <a:gd name="T21" fmla="*/ 2877 h 10186"/>
              <a:gd name="T22" fmla="*/ 10730 w 13294"/>
              <a:gd name="T23" fmla="*/ 3307 h 10186"/>
              <a:gd name="T24" fmla="*/ 10879 w 13294"/>
              <a:gd name="T25" fmla="*/ 6811 h 10186"/>
              <a:gd name="T26" fmla="*/ 10830 w 13294"/>
              <a:gd name="T27" fmla="*/ 7440 h 10186"/>
              <a:gd name="T28" fmla="*/ 9193 w 13294"/>
              <a:gd name="T29" fmla="*/ 6365 h 10186"/>
              <a:gd name="T30" fmla="*/ 6647 w 13294"/>
              <a:gd name="T31" fmla="*/ 6861 h 10186"/>
              <a:gd name="T32" fmla="*/ 6647 w 13294"/>
              <a:gd name="T33" fmla="*/ 4580 h 10186"/>
              <a:gd name="T34" fmla="*/ 7539 w 13294"/>
              <a:gd name="T35" fmla="*/ 4960 h 10186"/>
              <a:gd name="T36" fmla="*/ 4431 w 13294"/>
              <a:gd name="T37" fmla="*/ 5240 h 10186"/>
              <a:gd name="T38" fmla="*/ 9193 w 13294"/>
              <a:gd name="T39" fmla="*/ 6365 h 10186"/>
              <a:gd name="T40" fmla="*/ 4117 w 13294"/>
              <a:gd name="T41" fmla="*/ 8349 h 10186"/>
              <a:gd name="T42" fmla="*/ 9193 w 13294"/>
              <a:gd name="T43" fmla="*/ 9738 h 10186"/>
              <a:gd name="T44" fmla="*/ 7770 w 13294"/>
              <a:gd name="T45" fmla="*/ 4696 h 10186"/>
              <a:gd name="T46" fmla="*/ 10614 w 13294"/>
              <a:gd name="T47" fmla="*/ 4696 h 10186"/>
              <a:gd name="T48" fmla="*/ 10119 w 13294"/>
              <a:gd name="T49" fmla="*/ 5076 h 10186"/>
              <a:gd name="T50" fmla="*/ 9755 w 13294"/>
              <a:gd name="T51" fmla="*/ 4663 h 10186"/>
              <a:gd name="T52" fmla="*/ 9854 w 13294"/>
              <a:gd name="T53" fmla="*/ 4613 h 10186"/>
              <a:gd name="T54" fmla="*/ 10069 w 13294"/>
              <a:gd name="T55" fmla="*/ 4696 h 10186"/>
              <a:gd name="T56" fmla="*/ 8498 w 13294"/>
              <a:gd name="T57" fmla="*/ 4183 h 10186"/>
              <a:gd name="T58" fmla="*/ 10168 w 13294"/>
              <a:gd name="T59" fmla="*/ 4448 h 10186"/>
              <a:gd name="T60" fmla="*/ 10383 w 13294"/>
              <a:gd name="T61" fmla="*/ 4613 h 10186"/>
              <a:gd name="T62" fmla="*/ 10499 w 13294"/>
              <a:gd name="T63" fmla="*/ 4679 h 10186"/>
              <a:gd name="T64" fmla="*/ 9606 w 13294"/>
              <a:gd name="T65" fmla="*/ 5174 h 10186"/>
              <a:gd name="T66" fmla="*/ 9391 w 13294"/>
              <a:gd name="T67" fmla="*/ 5158 h 10186"/>
              <a:gd name="T68" fmla="*/ 8978 w 13294"/>
              <a:gd name="T69" fmla="*/ 5158 h 10186"/>
              <a:gd name="T70" fmla="*/ 8746 w 13294"/>
              <a:gd name="T71" fmla="*/ 5125 h 10186"/>
              <a:gd name="T72" fmla="*/ 9275 w 13294"/>
              <a:gd name="T73" fmla="*/ 4233 h 10186"/>
              <a:gd name="T74" fmla="*/ 9606 w 13294"/>
              <a:gd name="T75" fmla="*/ 5174 h 10186"/>
              <a:gd name="T76" fmla="*/ 7886 w 13294"/>
              <a:gd name="T77" fmla="*/ 4729 h 10186"/>
              <a:gd name="T78" fmla="*/ 8630 w 13294"/>
              <a:gd name="T79" fmla="*/ 4696 h 10186"/>
              <a:gd name="T80" fmla="*/ 8597 w 13294"/>
              <a:gd name="T81" fmla="*/ 4795 h 10186"/>
              <a:gd name="T82" fmla="*/ 8333 w 13294"/>
              <a:gd name="T83" fmla="*/ 4663 h 10186"/>
              <a:gd name="T84" fmla="*/ 9193 w 13294"/>
              <a:gd name="T85" fmla="*/ 5571 h 10186"/>
              <a:gd name="T86" fmla="*/ 9193 w 13294"/>
              <a:gd name="T87" fmla="*/ 5720 h 10186"/>
              <a:gd name="T88" fmla="*/ 8184 w 13294"/>
              <a:gd name="T89" fmla="*/ 4630 h 10186"/>
              <a:gd name="T90" fmla="*/ 7902 w 13294"/>
              <a:gd name="T91" fmla="*/ 4746 h 10186"/>
              <a:gd name="T92" fmla="*/ 9291 w 13294"/>
              <a:gd name="T93" fmla="*/ 4845 h 1018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13294" h="10186">
                <a:moveTo>
                  <a:pt x="10879" y="2678"/>
                </a:moveTo>
                <a:lnTo>
                  <a:pt x="10879" y="2678"/>
                </a:lnTo>
                <a:cubicBezTo>
                  <a:pt x="10813" y="2678"/>
                  <a:pt x="10747" y="2678"/>
                  <a:pt x="10664" y="2695"/>
                </a:cubicBezTo>
                <a:cubicBezTo>
                  <a:pt x="10367" y="1719"/>
                  <a:pt x="9474" y="1025"/>
                  <a:pt x="8399" y="1025"/>
                </a:cubicBezTo>
                <a:cubicBezTo>
                  <a:pt x="8134" y="1025"/>
                  <a:pt x="7870" y="1074"/>
                  <a:pt x="7621" y="1157"/>
                </a:cubicBezTo>
                <a:cubicBezTo>
                  <a:pt x="7142" y="463"/>
                  <a:pt x="6333" y="0"/>
                  <a:pt x="5407" y="0"/>
                </a:cubicBezTo>
                <a:cubicBezTo>
                  <a:pt x="4133" y="0"/>
                  <a:pt x="3075" y="876"/>
                  <a:pt x="2794" y="2067"/>
                </a:cubicBezTo>
                <a:cubicBezTo>
                  <a:pt x="2761" y="2067"/>
                  <a:pt x="2744" y="2067"/>
                  <a:pt x="2711" y="2067"/>
                </a:cubicBezTo>
                <a:cubicBezTo>
                  <a:pt x="1256" y="2067"/>
                  <a:pt x="66" y="3241"/>
                  <a:pt x="32" y="4696"/>
                </a:cubicBezTo>
                <a:cubicBezTo>
                  <a:pt x="0" y="6200"/>
                  <a:pt x="1273" y="7440"/>
                  <a:pt x="2778" y="7440"/>
                </a:cubicBezTo>
                <a:cubicBezTo>
                  <a:pt x="4117" y="7440"/>
                  <a:pt x="4117" y="7440"/>
                  <a:pt x="4117" y="7440"/>
                </a:cubicBezTo>
                <a:cubicBezTo>
                  <a:pt x="4117" y="7986"/>
                  <a:pt x="4117" y="7986"/>
                  <a:pt x="4117" y="7986"/>
                </a:cubicBezTo>
                <a:cubicBezTo>
                  <a:pt x="4117" y="8233"/>
                  <a:pt x="5258" y="8432"/>
                  <a:pt x="6647" y="8432"/>
                </a:cubicBezTo>
                <a:cubicBezTo>
                  <a:pt x="8052" y="8432"/>
                  <a:pt x="9193" y="8233"/>
                  <a:pt x="9193" y="7986"/>
                </a:cubicBezTo>
                <a:cubicBezTo>
                  <a:pt x="9193" y="6778"/>
                  <a:pt x="9193" y="6778"/>
                  <a:pt x="9193" y="6778"/>
                </a:cubicBezTo>
                <a:cubicBezTo>
                  <a:pt x="9193" y="7010"/>
                  <a:pt x="8052" y="7208"/>
                  <a:pt x="6647" y="7208"/>
                </a:cubicBezTo>
                <a:cubicBezTo>
                  <a:pt x="5258" y="7208"/>
                  <a:pt x="4117" y="7010"/>
                  <a:pt x="4117" y="6778"/>
                </a:cubicBezTo>
                <a:cubicBezTo>
                  <a:pt x="4117" y="6811"/>
                  <a:pt x="4117" y="6811"/>
                  <a:pt x="4117" y="6811"/>
                </a:cubicBezTo>
                <a:cubicBezTo>
                  <a:pt x="2761" y="6811"/>
                  <a:pt x="2761" y="6811"/>
                  <a:pt x="2761" y="6811"/>
                </a:cubicBezTo>
                <a:cubicBezTo>
                  <a:pt x="1637" y="6811"/>
                  <a:pt x="694" y="5935"/>
                  <a:pt x="661" y="4812"/>
                </a:cubicBezTo>
                <a:cubicBezTo>
                  <a:pt x="611" y="3638"/>
                  <a:pt x="1554" y="2678"/>
                  <a:pt x="2711" y="2678"/>
                </a:cubicBezTo>
                <a:cubicBezTo>
                  <a:pt x="2728" y="2678"/>
                  <a:pt x="2744" y="2678"/>
                  <a:pt x="2744" y="2678"/>
                </a:cubicBezTo>
                <a:cubicBezTo>
                  <a:pt x="2778" y="2678"/>
                  <a:pt x="2778" y="2678"/>
                  <a:pt x="2778" y="2678"/>
                </a:cubicBezTo>
                <a:cubicBezTo>
                  <a:pt x="3059" y="2695"/>
                  <a:pt x="3059" y="2695"/>
                  <a:pt x="3059" y="2695"/>
                </a:cubicBezTo>
                <a:cubicBezTo>
                  <a:pt x="3191" y="2695"/>
                  <a:pt x="3307" y="2612"/>
                  <a:pt x="3323" y="2480"/>
                </a:cubicBezTo>
                <a:cubicBezTo>
                  <a:pt x="3389" y="2199"/>
                  <a:pt x="3389" y="2199"/>
                  <a:pt x="3389" y="2199"/>
                </a:cubicBezTo>
                <a:cubicBezTo>
                  <a:pt x="3621" y="1273"/>
                  <a:pt x="4448" y="611"/>
                  <a:pt x="5407" y="611"/>
                </a:cubicBezTo>
                <a:cubicBezTo>
                  <a:pt x="6085" y="611"/>
                  <a:pt x="6729" y="942"/>
                  <a:pt x="7109" y="1505"/>
                </a:cubicBezTo>
                <a:cubicBezTo>
                  <a:pt x="7258" y="1736"/>
                  <a:pt x="7258" y="1736"/>
                  <a:pt x="7258" y="1736"/>
                </a:cubicBezTo>
                <a:cubicBezTo>
                  <a:pt x="7324" y="1835"/>
                  <a:pt x="7456" y="1868"/>
                  <a:pt x="7572" y="1835"/>
                </a:cubicBezTo>
                <a:cubicBezTo>
                  <a:pt x="7804" y="1752"/>
                  <a:pt x="7804" y="1752"/>
                  <a:pt x="7804" y="1752"/>
                </a:cubicBezTo>
                <a:cubicBezTo>
                  <a:pt x="7936" y="1703"/>
                  <a:pt x="8052" y="1670"/>
                  <a:pt x="8184" y="1670"/>
                </a:cubicBezTo>
                <a:cubicBezTo>
                  <a:pt x="9044" y="1554"/>
                  <a:pt x="9821" y="2067"/>
                  <a:pt x="10085" y="2877"/>
                </a:cubicBezTo>
                <a:cubicBezTo>
                  <a:pt x="10168" y="3141"/>
                  <a:pt x="10168" y="3141"/>
                  <a:pt x="10168" y="3141"/>
                </a:cubicBezTo>
                <a:cubicBezTo>
                  <a:pt x="10201" y="3257"/>
                  <a:pt x="10317" y="3340"/>
                  <a:pt x="10449" y="3340"/>
                </a:cubicBezTo>
                <a:cubicBezTo>
                  <a:pt x="10730" y="3307"/>
                  <a:pt x="10730" y="3307"/>
                  <a:pt x="10730" y="3307"/>
                </a:cubicBezTo>
                <a:cubicBezTo>
                  <a:pt x="10830" y="3307"/>
                  <a:pt x="10929" y="3307"/>
                  <a:pt x="11011" y="3307"/>
                </a:cubicBezTo>
                <a:cubicBezTo>
                  <a:pt x="11871" y="3389"/>
                  <a:pt x="12566" y="4067"/>
                  <a:pt x="12632" y="4927"/>
                </a:cubicBezTo>
                <a:cubicBezTo>
                  <a:pt x="12715" y="5952"/>
                  <a:pt x="11888" y="6811"/>
                  <a:pt x="10879" y="6811"/>
                </a:cubicBezTo>
                <a:cubicBezTo>
                  <a:pt x="9738" y="6811"/>
                  <a:pt x="9738" y="6811"/>
                  <a:pt x="9738" y="6811"/>
                </a:cubicBezTo>
                <a:cubicBezTo>
                  <a:pt x="9738" y="7440"/>
                  <a:pt x="9738" y="7440"/>
                  <a:pt x="9738" y="7440"/>
                </a:cubicBezTo>
                <a:cubicBezTo>
                  <a:pt x="10830" y="7440"/>
                  <a:pt x="10830" y="7440"/>
                  <a:pt x="10830" y="7440"/>
                </a:cubicBezTo>
                <a:cubicBezTo>
                  <a:pt x="12169" y="7440"/>
                  <a:pt x="13293" y="6348"/>
                  <a:pt x="13260" y="5010"/>
                </a:cubicBezTo>
                <a:cubicBezTo>
                  <a:pt x="13227" y="3720"/>
                  <a:pt x="12185" y="2678"/>
                  <a:pt x="10879" y="2678"/>
                </a:cubicBezTo>
                <a:close/>
                <a:moveTo>
                  <a:pt x="9193" y="6365"/>
                </a:moveTo>
                <a:lnTo>
                  <a:pt x="9193" y="6365"/>
                </a:lnTo>
                <a:cubicBezTo>
                  <a:pt x="9193" y="6415"/>
                  <a:pt x="9193" y="6415"/>
                  <a:pt x="9193" y="6415"/>
                </a:cubicBezTo>
                <a:cubicBezTo>
                  <a:pt x="9193" y="6663"/>
                  <a:pt x="8052" y="6861"/>
                  <a:pt x="6647" y="6861"/>
                </a:cubicBezTo>
                <a:cubicBezTo>
                  <a:pt x="5258" y="6861"/>
                  <a:pt x="4117" y="6663"/>
                  <a:pt x="4117" y="6415"/>
                </a:cubicBezTo>
                <a:cubicBezTo>
                  <a:pt x="4117" y="5027"/>
                  <a:pt x="4117" y="5027"/>
                  <a:pt x="4117" y="5027"/>
                </a:cubicBezTo>
                <a:cubicBezTo>
                  <a:pt x="4117" y="4778"/>
                  <a:pt x="5258" y="4580"/>
                  <a:pt x="6647" y="4580"/>
                </a:cubicBezTo>
                <a:cubicBezTo>
                  <a:pt x="6960" y="4580"/>
                  <a:pt x="7258" y="4596"/>
                  <a:pt x="7523" y="4613"/>
                </a:cubicBezTo>
                <a:cubicBezTo>
                  <a:pt x="7523" y="4646"/>
                  <a:pt x="7523" y="4679"/>
                  <a:pt x="7523" y="4696"/>
                </a:cubicBezTo>
                <a:cubicBezTo>
                  <a:pt x="7523" y="4795"/>
                  <a:pt x="7539" y="4878"/>
                  <a:pt x="7539" y="4960"/>
                </a:cubicBezTo>
                <a:cubicBezTo>
                  <a:pt x="7274" y="4944"/>
                  <a:pt x="6960" y="4927"/>
                  <a:pt x="6647" y="4927"/>
                </a:cubicBezTo>
                <a:cubicBezTo>
                  <a:pt x="5704" y="4927"/>
                  <a:pt x="4878" y="5027"/>
                  <a:pt x="4431" y="5158"/>
                </a:cubicBezTo>
                <a:cubicBezTo>
                  <a:pt x="4398" y="5174"/>
                  <a:pt x="4398" y="5224"/>
                  <a:pt x="4431" y="5240"/>
                </a:cubicBezTo>
                <a:cubicBezTo>
                  <a:pt x="4878" y="5373"/>
                  <a:pt x="5704" y="5455"/>
                  <a:pt x="6647" y="5455"/>
                </a:cubicBezTo>
                <a:cubicBezTo>
                  <a:pt x="7026" y="5455"/>
                  <a:pt x="7373" y="5439"/>
                  <a:pt x="7688" y="5422"/>
                </a:cubicBezTo>
                <a:cubicBezTo>
                  <a:pt x="8002" y="6034"/>
                  <a:pt x="8548" y="6365"/>
                  <a:pt x="9193" y="6365"/>
                </a:cubicBezTo>
                <a:close/>
                <a:moveTo>
                  <a:pt x="6647" y="8779"/>
                </a:moveTo>
                <a:lnTo>
                  <a:pt x="6647" y="8779"/>
                </a:lnTo>
                <a:cubicBezTo>
                  <a:pt x="5258" y="8779"/>
                  <a:pt x="4117" y="8581"/>
                  <a:pt x="4117" y="8349"/>
                </a:cubicBezTo>
                <a:cubicBezTo>
                  <a:pt x="4117" y="9738"/>
                  <a:pt x="4117" y="9738"/>
                  <a:pt x="4117" y="9738"/>
                </a:cubicBezTo>
                <a:cubicBezTo>
                  <a:pt x="4117" y="9986"/>
                  <a:pt x="5258" y="10185"/>
                  <a:pt x="6647" y="10185"/>
                </a:cubicBezTo>
                <a:cubicBezTo>
                  <a:pt x="8052" y="10185"/>
                  <a:pt x="9193" y="9986"/>
                  <a:pt x="9193" y="9738"/>
                </a:cubicBezTo>
                <a:cubicBezTo>
                  <a:pt x="9193" y="8349"/>
                  <a:pt x="9193" y="8349"/>
                  <a:pt x="9193" y="8349"/>
                </a:cubicBezTo>
                <a:cubicBezTo>
                  <a:pt x="9193" y="8581"/>
                  <a:pt x="8052" y="8779"/>
                  <a:pt x="6647" y="8779"/>
                </a:cubicBezTo>
                <a:close/>
                <a:moveTo>
                  <a:pt x="7770" y="4696"/>
                </a:moveTo>
                <a:lnTo>
                  <a:pt x="7770" y="4696"/>
                </a:lnTo>
                <a:cubicBezTo>
                  <a:pt x="7770" y="5489"/>
                  <a:pt x="8399" y="6134"/>
                  <a:pt x="9193" y="6134"/>
                </a:cubicBezTo>
                <a:cubicBezTo>
                  <a:pt x="9986" y="6134"/>
                  <a:pt x="10614" y="5489"/>
                  <a:pt x="10614" y="4696"/>
                </a:cubicBezTo>
                <a:cubicBezTo>
                  <a:pt x="10614" y="3919"/>
                  <a:pt x="9986" y="3274"/>
                  <a:pt x="9193" y="3274"/>
                </a:cubicBezTo>
                <a:cubicBezTo>
                  <a:pt x="8399" y="3274"/>
                  <a:pt x="7770" y="3919"/>
                  <a:pt x="7770" y="4696"/>
                </a:cubicBezTo>
                <a:close/>
                <a:moveTo>
                  <a:pt x="10119" y="5076"/>
                </a:moveTo>
                <a:lnTo>
                  <a:pt x="10119" y="5076"/>
                </a:lnTo>
                <a:cubicBezTo>
                  <a:pt x="9755" y="4712"/>
                  <a:pt x="9755" y="4712"/>
                  <a:pt x="9755" y="4712"/>
                </a:cubicBezTo>
                <a:cubicBezTo>
                  <a:pt x="9738" y="4696"/>
                  <a:pt x="9738" y="4663"/>
                  <a:pt x="9755" y="4663"/>
                </a:cubicBezTo>
                <a:cubicBezTo>
                  <a:pt x="9804" y="4613"/>
                  <a:pt x="9804" y="4613"/>
                  <a:pt x="9804" y="4613"/>
                </a:cubicBezTo>
                <a:cubicBezTo>
                  <a:pt x="9804" y="4596"/>
                  <a:pt x="9821" y="4596"/>
                  <a:pt x="9821" y="4596"/>
                </a:cubicBezTo>
                <a:cubicBezTo>
                  <a:pt x="9838" y="4596"/>
                  <a:pt x="9838" y="4596"/>
                  <a:pt x="9854" y="4613"/>
                </a:cubicBezTo>
                <a:cubicBezTo>
                  <a:pt x="10052" y="4812"/>
                  <a:pt x="10052" y="4812"/>
                  <a:pt x="10052" y="4812"/>
                </a:cubicBezTo>
                <a:cubicBezTo>
                  <a:pt x="10069" y="4746"/>
                  <a:pt x="10069" y="4746"/>
                  <a:pt x="10069" y="4746"/>
                </a:cubicBezTo>
                <a:cubicBezTo>
                  <a:pt x="10069" y="4729"/>
                  <a:pt x="10069" y="4712"/>
                  <a:pt x="10069" y="4696"/>
                </a:cubicBezTo>
                <a:cubicBezTo>
                  <a:pt x="10069" y="4580"/>
                  <a:pt x="10036" y="4481"/>
                  <a:pt x="9986" y="4365"/>
                </a:cubicBezTo>
                <a:cubicBezTo>
                  <a:pt x="9854" y="4051"/>
                  <a:pt x="9540" y="3836"/>
                  <a:pt x="9193" y="3836"/>
                </a:cubicBezTo>
                <a:cubicBezTo>
                  <a:pt x="8928" y="3836"/>
                  <a:pt x="8663" y="3968"/>
                  <a:pt x="8498" y="4183"/>
                </a:cubicBezTo>
                <a:cubicBezTo>
                  <a:pt x="8399" y="4067"/>
                  <a:pt x="8399" y="4067"/>
                  <a:pt x="8399" y="4067"/>
                </a:cubicBezTo>
                <a:cubicBezTo>
                  <a:pt x="8597" y="3836"/>
                  <a:pt x="8878" y="3687"/>
                  <a:pt x="9193" y="3687"/>
                </a:cubicBezTo>
                <a:cubicBezTo>
                  <a:pt x="9656" y="3687"/>
                  <a:pt x="10052" y="4001"/>
                  <a:pt x="10168" y="4448"/>
                </a:cubicBezTo>
                <a:cubicBezTo>
                  <a:pt x="10201" y="4530"/>
                  <a:pt x="10201" y="4613"/>
                  <a:pt x="10201" y="4696"/>
                </a:cubicBezTo>
                <a:cubicBezTo>
                  <a:pt x="10201" y="4778"/>
                  <a:pt x="10201" y="4778"/>
                  <a:pt x="10201" y="4778"/>
                </a:cubicBezTo>
                <a:cubicBezTo>
                  <a:pt x="10383" y="4613"/>
                  <a:pt x="10383" y="4613"/>
                  <a:pt x="10383" y="4613"/>
                </a:cubicBezTo>
                <a:cubicBezTo>
                  <a:pt x="10400" y="4596"/>
                  <a:pt x="10416" y="4596"/>
                  <a:pt x="10433" y="4613"/>
                </a:cubicBezTo>
                <a:cubicBezTo>
                  <a:pt x="10482" y="4663"/>
                  <a:pt x="10482" y="4663"/>
                  <a:pt x="10482" y="4663"/>
                </a:cubicBezTo>
                <a:cubicBezTo>
                  <a:pt x="10499" y="4663"/>
                  <a:pt x="10499" y="4679"/>
                  <a:pt x="10499" y="4679"/>
                </a:cubicBezTo>
                <a:cubicBezTo>
                  <a:pt x="10499" y="4696"/>
                  <a:pt x="10499" y="4696"/>
                  <a:pt x="10482" y="4712"/>
                </a:cubicBezTo>
                <a:lnTo>
                  <a:pt x="10119" y="5076"/>
                </a:lnTo>
                <a:close/>
                <a:moveTo>
                  <a:pt x="9606" y="5174"/>
                </a:moveTo>
                <a:lnTo>
                  <a:pt x="9606" y="5174"/>
                </a:lnTo>
                <a:cubicBezTo>
                  <a:pt x="9424" y="5174"/>
                  <a:pt x="9424" y="5174"/>
                  <a:pt x="9424" y="5174"/>
                </a:cubicBezTo>
                <a:cubicBezTo>
                  <a:pt x="9407" y="5174"/>
                  <a:pt x="9407" y="5174"/>
                  <a:pt x="9391" y="5158"/>
                </a:cubicBezTo>
                <a:cubicBezTo>
                  <a:pt x="9341" y="5010"/>
                  <a:pt x="9341" y="5010"/>
                  <a:pt x="9341" y="5010"/>
                </a:cubicBezTo>
                <a:cubicBezTo>
                  <a:pt x="9027" y="5010"/>
                  <a:pt x="9027" y="5010"/>
                  <a:pt x="9027" y="5010"/>
                </a:cubicBezTo>
                <a:cubicBezTo>
                  <a:pt x="8978" y="5158"/>
                  <a:pt x="8978" y="5158"/>
                  <a:pt x="8978" y="5158"/>
                </a:cubicBezTo>
                <a:cubicBezTo>
                  <a:pt x="8978" y="5174"/>
                  <a:pt x="8961" y="5174"/>
                  <a:pt x="8944" y="5174"/>
                </a:cubicBezTo>
                <a:cubicBezTo>
                  <a:pt x="8779" y="5174"/>
                  <a:pt x="8779" y="5174"/>
                  <a:pt x="8779" y="5174"/>
                </a:cubicBezTo>
                <a:cubicBezTo>
                  <a:pt x="8762" y="5174"/>
                  <a:pt x="8746" y="5158"/>
                  <a:pt x="8746" y="5125"/>
                </a:cubicBezTo>
                <a:cubicBezTo>
                  <a:pt x="9110" y="4249"/>
                  <a:pt x="9110" y="4249"/>
                  <a:pt x="9110" y="4249"/>
                </a:cubicBezTo>
                <a:cubicBezTo>
                  <a:pt x="9126" y="4233"/>
                  <a:pt x="9143" y="4233"/>
                  <a:pt x="9143" y="4233"/>
                </a:cubicBezTo>
                <a:cubicBezTo>
                  <a:pt x="9275" y="4233"/>
                  <a:pt x="9275" y="4233"/>
                  <a:pt x="9275" y="4233"/>
                </a:cubicBezTo>
                <a:cubicBezTo>
                  <a:pt x="9291" y="4233"/>
                  <a:pt x="9308" y="4233"/>
                  <a:pt x="9308" y="4249"/>
                </a:cubicBezTo>
                <a:cubicBezTo>
                  <a:pt x="9639" y="5125"/>
                  <a:pt x="9639" y="5125"/>
                  <a:pt x="9639" y="5125"/>
                </a:cubicBezTo>
                <a:cubicBezTo>
                  <a:pt x="9639" y="5158"/>
                  <a:pt x="9622" y="5174"/>
                  <a:pt x="9606" y="5174"/>
                </a:cubicBezTo>
                <a:close/>
                <a:moveTo>
                  <a:pt x="7902" y="4746"/>
                </a:moveTo>
                <a:lnTo>
                  <a:pt x="7902" y="4746"/>
                </a:lnTo>
                <a:lnTo>
                  <a:pt x="7886" y="4729"/>
                </a:lnTo>
                <a:cubicBezTo>
                  <a:pt x="7886" y="4712"/>
                  <a:pt x="7902" y="4712"/>
                  <a:pt x="7902" y="4696"/>
                </a:cubicBezTo>
                <a:cubicBezTo>
                  <a:pt x="8267" y="4332"/>
                  <a:pt x="8267" y="4332"/>
                  <a:pt x="8267" y="4332"/>
                </a:cubicBezTo>
                <a:cubicBezTo>
                  <a:pt x="8630" y="4696"/>
                  <a:pt x="8630" y="4696"/>
                  <a:pt x="8630" y="4696"/>
                </a:cubicBezTo>
                <a:cubicBezTo>
                  <a:pt x="8647" y="4712"/>
                  <a:pt x="8647" y="4712"/>
                  <a:pt x="8647" y="4729"/>
                </a:cubicBezTo>
                <a:cubicBezTo>
                  <a:pt x="8647" y="4729"/>
                  <a:pt x="8647" y="4746"/>
                  <a:pt x="8630" y="4746"/>
                </a:cubicBezTo>
                <a:cubicBezTo>
                  <a:pt x="8597" y="4795"/>
                  <a:pt x="8597" y="4795"/>
                  <a:pt x="8597" y="4795"/>
                </a:cubicBezTo>
                <a:cubicBezTo>
                  <a:pt x="8581" y="4812"/>
                  <a:pt x="8548" y="4812"/>
                  <a:pt x="8531" y="4795"/>
                </a:cubicBezTo>
                <a:cubicBezTo>
                  <a:pt x="8333" y="4596"/>
                  <a:pt x="8333" y="4596"/>
                  <a:pt x="8333" y="4596"/>
                </a:cubicBezTo>
                <a:cubicBezTo>
                  <a:pt x="8333" y="4663"/>
                  <a:pt x="8333" y="4663"/>
                  <a:pt x="8333" y="4663"/>
                </a:cubicBezTo>
                <a:cubicBezTo>
                  <a:pt x="8333" y="4679"/>
                  <a:pt x="8333" y="4696"/>
                  <a:pt x="8333" y="4696"/>
                </a:cubicBezTo>
                <a:cubicBezTo>
                  <a:pt x="8333" y="4828"/>
                  <a:pt x="8349" y="4927"/>
                  <a:pt x="8399" y="5043"/>
                </a:cubicBezTo>
                <a:cubicBezTo>
                  <a:pt x="8531" y="5356"/>
                  <a:pt x="8845" y="5571"/>
                  <a:pt x="9193" y="5571"/>
                </a:cubicBezTo>
                <a:cubicBezTo>
                  <a:pt x="9457" y="5571"/>
                  <a:pt x="9722" y="5439"/>
                  <a:pt x="9887" y="5224"/>
                </a:cubicBezTo>
                <a:cubicBezTo>
                  <a:pt x="9986" y="5340"/>
                  <a:pt x="9986" y="5340"/>
                  <a:pt x="9986" y="5340"/>
                </a:cubicBezTo>
                <a:cubicBezTo>
                  <a:pt x="9788" y="5571"/>
                  <a:pt x="9507" y="5720"/>
                  <a:pt x="9193" y="5720"/>
                </a:cubicBezTo>
                <a:cubicBezTo>
                  <a:pt x="8730" y="5720"/>
                  <a:pt x="8333" y="5406"/>
                  <a:pt x="8217" y="4960"/>
                </a:cubicBezTo>
                <a:cubicBezTo>
                  <a:pt x="8184" y="4878"/>
                  <a:pt x="8184" y="4795"/>
                  <a:pt x="8184" y="4696"/>
                </a:cubicBezTo>
                <a:cubicBezTo>
                  <a:pt x="8184" y="4630"/>
                  <a:pt x="8184" y="4630"/>
                  <a:pt x="8184" y="4630"/>
                </a:cubicBezTo>
                <a:cubicBezTo>
                  <a:pt x="8002" y="4795"/>
                  <a:pt x="8002" y="4795"/>
                  <a:pt x="8002" y="4795"/>
                </a:cubicBezTo>
                <a:cubicBezTo>
                  <a:pt x="7986" y="4812"/>
                  <a:pt x="7969" y="4812"/>
                  <a:pt x="7952" y="4795"/>
                </a:cubicBezTo>
                <a:lnTo>
                  <a:pt x="7902" y="4746"/>
                </a:lnTo>
                <a:close/>
                <a:moveTo>
                  <a:pt x="9193" y="4564"/>
                </a:moveTo>
                <a:lnTo>
                  <a:pt x="9193" y="4564"/>
                </a:lnTo>
                <a:cubicBezTo>
                  <a:pt x="9291" y="4845"/>
                  <a:pt x="9291" y="4845"/>
                  <a:pt x="9291" y="4845"/>
                </a:cubicBezTo>
                <a:cubicBezTo>
                  <a:pt x="9093" y="4845"/>
                  <a:pt x="9093" y="4845"/>
                  <a:pt x="9093" y="4845"/>
                </a:cubicBezTo>
                <a:cubicBezTo>
                  <a:pt x="9193" y="4564"/>
                  <a:pt x="9193" y="4564"/>
                  <a:pt x="9193" y="4564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>
                <a:solidFill>
                  <a:srgbClr val="808080"/>
                </a:solidFill>
                <a:bevel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en-US" sz="1100" u="none" strike="noStrike" kern="0" cap="none" spc="0" normalizeH="0" baseline="0" noProof="0">
              <a:ln>
                <a:noFill/>
              </a:ln>
              <a:solidFill>
                <a:schemeClr val="bg1">
                  <a:lumMod val="50000"/>
                </a:schemeClr>
              </a:solidFill>
              <a:effectLst/>
              <a:uLnTx/>
              <a:uFillTx/>
              <a:latin typeface="Oracle Sans" panose="020B0503020204020204" pitchFamily="34" charset="0"/>
              <a:cs typeface="Oracle Sans" panose="020B0503020204020204" pitchFamily="34" charset="0"/>
            </a:endParaRP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3309892B-95CE-A747-B9F9-B548F07F25F7}"/>
              </a:ext>
            </a:extLst>
          </p:cNvPr>
          <p:cNvSpPr/>
          <p:nvPr/>
        </p:nvSpPr>
        <p:spPr>
          <a:xfrm>
            <a:off x="2095858" y="3930846"/>
            <a:ext cx="1019534" cy="764651"/>
          </a:xfrm>
          <a:prstGeom prst="rect">
            <a:avLst/>
          </a:prstGeom>
          <a:noFill/>
          <a:ln w="19050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lnSpc>
                <a:spcPct val="90000"/>
              </a:lnSpc>
              <a:defRPr/>
            </a:pPr>
            <a:r>
              <a:rPr lang="en-US" sz="900" kern="0">
                <a:solidFill>
                  <a:srgbClr val="FFFFFF"/>
                </a:solidFill>
                <a:latin typeface="Oracle Sans" panose="020B0503020204020204" pitchFamily="34" charset="0"/>
                <a:cs typeface="Oracle Sans" panose="020B0503020204020204" pitchFamily="34" charset="0"/>
              </a:rPr>
              <a:t>Fully automated, isolated data management with control</a:t>
            </a:r>
            <a:endParaRPr kumimoji="0" lang="en-US" sz="90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racle Sans" panose="020B0503020204020204" pitchFamily="34" charset="0"/>
              <a:cs typeface="Oracle Sans" panose="020B0503020204020204" pitchFamily="34" charset="0"/>
            </a:endParaRPr>
          </a:p>
        </p:txBody>
      </p:sp>
      <p:cxnSp>
        <p:nvCxnSpPr>
          <p:cNvPr id="58" name="Straight Connector 57">
            <a:extLst>
              <a:ext uri="{FF2B5EF4-FFF2-40B4-BE49-F238E27FC236}">
                <a16:creationId xmlns:a16="http://schemas.microsoft.com/office/drawing/2014/main" id="{79208FE5-80A8-6C44-9848-9EADA13B8294}"/>
              </a:ext>
            </a:extLst>
          </p:cNvPr>
          <p:cNvCxnSpPr/>
          <p:nvPr/>
        </p:nvCxnSpPr>
        <p:spPr>
          <a:xfrm flipH="1">
            <a:off x="1952719" y="2368475"/>
            <a:ext cx="0" cy="1580627"/>
          </a:xfrm>
          <a:prstGeom prst="line">
            <a:avLst/>
          </a:prstGeom>
          <a:ln>
            <a:solidFill>
              <a:srgbClr val="AEA8A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Straight Connector 58">
            <a:extLst>
              <a:ext uri="{FF2B5EF4-FFF2-40B4-BE49-F238E27FC236}">
                <a16:creationId xmlns:a16="http://schemas.microsoft.com/office/drawing/2014/main" id="{69C72C3F-FEB2-454E-A085-056C8415B244}"/>
              </a:ext>
            </a:extLst>
          </p:cNvPr>
          <p:cNvCxnSpPr/>
          <p:nvPr/>
        </p:nvCxnSpPr>
        <p:spPr>
          <a:xfrm flipH="1">
            <a:off x="3225427" y="2368475"/>
            <a:ext cx="0" cy="1580627"/>
          </a:xfrm>
          <a:prstGeom prst="line">
            <a:avLst/>
          </a:prstGeom>
          <a:ln>
            <a:solidFill>
              <a:srgbClr val="AEA8A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Straight Connector 59">
            <a:extLst>
              <a:ext uri="{FF2B5EF4-FFF2-40B4-BE49-F238E27FC236}">
                <a16:creationId xmlns:a16="http://schemas.microsoft.com/office/drawing/2014/main" id="{0F048895-7608-C14F-94EA-FDD2ED581360}"/>
              </a:ext>
            </a:extLst>
          </p:cNvPr>
          <p:cNvCxnSpPr/>
          <p:nvPr/>
        </p:nvCxnSpPr>
        <p:spPr>
          <a:xfrm flipH="1">
            <a:off x="4498134" y="2368475"/>
            <a:ext cx="0" cy="1580627"/>
          </a:xfrm>
          <a:prstGeom prst="line">
            <a:avLst/>
          </a:prstGeom>
          <a:ln>
            <a:solidFill>
              <a:srgbClr val="AEA8A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Straight Connector 60">
            <a:extLst>
              <a:ext uri="{FF2B5EF4-FFF2-40B4-BE49-F238E27FC236}">
                <a16:creationId xmlns:a16="http://schemas.microsoft.com/office/drawing/2014/main" id="{A2F205A0-14B8-5449-A5E0-20D5BEFC0E9F}"/>
              </a:ext>
            </a:extLst>
          </p:cNvPr>
          <p:cNvCxnSpPr/>
          <p:nvPr/>
        </p:nvCxnSpPr>
        <p:spPr>
          <a:xfrm flipH="1">
            <a:off x="5770842" y="2368475"/>
            <a:ext cx="0" cy="1580627"/>
          </a:xfrm>
          <a:prstGeom prst="line">
            <a:avLst/>
          </a:prstGeom>
          <a:ln>
            <a:solidFill>
              <a:srgbClr val="AEA8A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Straight Connector 61">
            <a:extLst>
              <a:ext uri="{FF2B5EF4-FFF2-40B4-BE49-F238E27FC236}">
                <a16:creationId xmlns:a16="http://schemas.microsoft.com/office/drawing/2014/main" id="{1017F3D0-44F7-2245-AB80-B8F1B4A2B01C}"/>
              </a:ext>
            </a:extLst>
          </p:cNvPr>
          <p:cNvCxnSpPr/>
          <p:nvPr/>
        </p:nvCxnSpPr>
        <p:spPr>
          <a:xfrm flipH="1">
            <a:off x="7043550" y="2368475"/>
            <a:ext cx="0" cy="1580627"/>
          </a:xfrm>
          <a:prstGeom prst="line">
            <a:avLst/>
          </a:prstGeom>
          <a:ln>
            <a:solidFill>
              <a:srgbClr val="AEA8A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97C9DE49-83D2-FB4B-A54F-2B7E61ED92FF}"/>
              </a:ext>
            </a:extLst>
          </p:cNvPr>
          <p:cNvCxnSpPr/>
          <p:nvPr/>
        </p:nvCxnSpPr>
        <p:spPr>
          <a:xfrm flipH="1">
            <a:off x="8316257" y="2368475"/>
            <a:ext cx="0" cy="1580627"/>
          </a:xfrm>
          <a:prstGeom prst="line">
            <a:avLst/>
          </a:prstGeom>
          <a:ln>
            <a:solidFill>
              <a:srgbClr val="AEA8A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Straight Connector 63">
            <a:extLst>
              <a:ext uri="{FF2B5EF4-FFF2-40B4-BE49-F238E27FC236}">
                <a16:creationId xmlns:a16="http://schemas.microsoft.com/office/drawing/2014/main" id="{277CB312-3F95-154E-9AD1-2F2963CA6DD2}"/>
              </a:ext>
            </a:extLst>
          </p:cNvPr>
          <p:cNvCxnSpPr/>
          <p:nvPr/>
        </p:nvCxnSpPr>
        <p:spPr>
          <a:xfrm flipH="1">
            <a:off x="9588965" y="2368475"/>
            <a:ext cx="0" cy="1580627"/>
          </a:xfrm>
          <a:prstGeom prst="line">
            <a:avLst/>
          </a:prstGeom>
          <a:ln>
            <a:solidFill>
              <a:srgbClr val="AEA8A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dirty="0" smtClean="0"/>
              <a:t>Copyright © 2024, Oracle and/or its affiliates. All rights reserved   </a:t>
            </a:r>
            <a:endParaRPr lang="en-US" dirty="0"/>
          </a:p>
        </p:txBody>
      </p:sp>
      <p:sp>
        <p:nvSpPr>
          <p:cNvPr id="15" name="Slide Number Placeholder 14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345D60D9-5372-5F40-9443-0F9AE5BDC3C8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47723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a14="http://schemas.microsoft.com/office/drawing/2010/main" xmlns:p15="http://schemas.microsoft.com/office/powerpoint/2012/main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31535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C38B6F3C-673A-2C4F-BDD8-A174DA9D4B4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12" r="91391"/>
          <a:stretch/>
        </p:blipFill>
        <p:spPr>
          <a:xfrm>
            <a:off x="-1" y="0"/>
            <a:ext cx="1083365" cy="6858000"/>
          </a:xfrm>
          <a:prstGeom prst="rect">
            <a:avLst/>
          </a:prstGeom>
        </p:spPr>
      </p:pic>
      <p:sp>
        <p:nvSpPr>
          <p:cNvPr id="10" name="Title 6"/>
          <p:cNvSpPr txBox="1">
            <a:spLocks/>
          </p:cNvSpPr>
          <p:nvPr/>
        </p:nvSpPr>
        <p:spPr>
          <a:xfrm>
            <a:off x="2493920" y="3111287"/>
            <a:ext cx="5642916" cy="822960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noAutofit/>
          </a:bodyPr>
          <a:lstStyle>
            <a:lvl1pPr algn="l" defTabSz="914400" rtl="0" eaLnBrk="1" latinLnBrk="0" hangingPunct="1">
              <a:lnSpc>
                <a:spcPct val="95000"/>
              </a:lnSpc>
              <a:spcBef>
                <a:spcPct val="0"/>
              </a:spcBef>
              <a:buNone/>
              <a:defRPr lang="en-US" sz="4000" b="0" i="0" kern="1200" baseline="0" dirty="0">
                <a:solidFill>
                  <a:schemeClr val="tx1"/>
                </a:solidFill>
                <a:latin typeface="+mj-lt"/>
                <a:ea typeface="+mn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5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>
                <a:solidFill>
                  <a:srgbClr val="FCFBFA"/>
                </a:solidFill>
                <a:latin typeface="Georgia"/>
              </a:rPr>
              <a:t>Oracle </a:t>
            </a:r>
            <a:r>
              <a:rPr lang="en-US" dirty="0" err="1" smtClean="0">
                <a:solidFill>
                  <a:srgbClr val="FCFBFA"/>
                </a:solidFill>
                <a:latin typeface="Georgia"/>
              </a:rPr>
              <a:t>Exadata</a:t>
            </a:r>
            <a:r>
              <a:rPr lang="en-US" dirty="0" smtClean="0">
                <a:solidFill>
                  <a:srgbClr val="FCFBFA"/>
                </a:solidFill>
                <a:latin typeface="Georgia"/>
              </a:rPr>
              <a:t> Cloud </a:t>
            </a:r>
            <a:endParaRPr kumimoji="0" lang="en-US" sz="4000" b="0" i="0" u="none" strike="noStrike" kern="1200" cap="none" spc="0" normalizeH="0" baseline="0" noProof="0" dirty="0">
              <a:ln>
                <a:noFill/>
              </a:ln>
              <a:solidFill>
                <a:srgbClr val="FCFBFA"/>
              </a:solidFill>
              <a:effectLst/>
              <a:uLnTx/>
              <a:uFillTx/>
              <a:latin typeface="Georgia"/>
              <a:ea typeface="+mn-ea"/>
              <a:cs typeface="+mj-cs"/>
            </a:endParaRP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Copyright © 2024, Oracle and/or its affiliates. All rights reserved   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5D60D9-5372-5F40-9443-0F9AE5BDC3C8}" type="slidenum">
              <a:rPr lang="en-US" smtClean="0"/>
              <a:pPr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233735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FED42A8-0902-E949-7FC3-7695868286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adata runs everywhere</a:t>
            </a:r>
          </a:p>
        </p:txBody>
      </p:sp>
      <p:sp>
        <p:nvSpPr>
          <p:cNvPr id="20" name="Text Placeholder 6">
            <a:extLst>
              <a:ext uri="{FF2B5EF4-FFF2-40B4-BE49-F238E27FC236}">
                <a16:creationId xmlns:a16="http://schemas.microsoft.com/office/drawing/2014/main" id="{FFFD0707-E825-484B-ACDB-938736CA5667}"/>
              </a:ext>
            </a:extLst>
          </p:cNvPr>
          <p:cNvSpPr txBox="1">
            <a:spLocks/>
          </p:cNvSpPr>
          <p:nvPr/>
        </p:nvSpPr>
        <p:spPr>
          <a:xfrm>
            <a:off x="766763" y="1014709"/>
            <a:ext cx="10671048" cy="33054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l" defTabSz="914400" rtl="0" eaLnBrk="1" latinLnBrk="0" hangingPunct="1">
              <a:defRPr sz="900" kern="1200">
                <a:solidFill>
                  <a:srgbClr val="8B8580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000" dirty="0">
                <a:solidFill>
                  <a:schemeClr val="tx1"/>
                </a:solidFill>
              </a:rPr>
              <a:t>Identicality across deployments improves IT agility and reduces costs</a:t>
            </a:r>
          </a:p>
        </p:txBody>
      </p:sp>
      <p:sp>
        <p:nvSpPr>
          <p:cNvPr id="22" name="Rounded Rectangle 5">
            <a:extLst>
              <a:ext uri="{FF2B5EF4-FFF2-40B4-BE49-F238E27FC236}">
                <a16:creationId xmlns:a16="http://schemas.microsoft.com/office/drawing/2014/main" id="{0E24B984-CBB2-4ED9-AC10-E70C6ACCF3C5}"/>
              </a:ext>
            </a:extLst>
          </p:cNvPr>
          <p:cNvSpPr/>
          <p:nvPr/>
        </p:nvSpPr>
        <p:spPr>
          <a:xfrm>
            <a:off x="692150" y="2128994"/>
            <a:ext cx="2377368" cy="3552131"/>
          </a:xfrm>
          <a:prstGeom prst="roundRect">
            <a:avLst>
              <a:gd name="adj" fmla="val 1338"/>
            </a:avLst>
          </a:prstGeom>
          <a:solidFill>
            <a:srgbClr val="2C526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rtlCol="0" anchor="t"/>
          <a:lstStyle/>
          <a:p>
            <a:pPr algn="ctr">
              <a:spcAft>
                <a:spcPts val="600"/>
              </a:spcAft>
            </a:pPr>
            <a:r>
              <a:rPr lang="en-US" dirty="0">
                <a:latin typeface="Oracle Sans" panose="020B0503020204020204" pitchFamily="34" charset="0"/>
                <a:cs typeface="Oracle Sans" panose="020B0503020204020204" pitchFamily="34" charset="0"/>
              </a:rPr>
              <a:t>On-premises</a:t>
            </a:r>
          </a:p>
          <a:p>
            <a:pPr algn="ctr">
              <a:spcAft>
                <a:spcPts val="600"/>
              </a:spcAft>
            </a:pPr>
            <a:endParaRPr lang="en-US" dirty="0">
              <a:latin typeface="Oracle Sans" panose="020B0503020204020204" pitchFamily="34" charset="0"/>
              <a:cs typeface="Oracle Sans" panose="020B0503020204020204" pitchFamily="34" charset="0"/>
            </a:endParaRPr>
          </a:p>
          <a:p>
            <a:pPr algn="ctr">
              <a:spcAft>
                <a:spcPts val="600"/>
              </a:spcAft>
            </a:pPr>
            <a:endParaRPr lang="en-US" dirty="0">
              <a:latin typeface="Oracle Sans" panose="020B0503020204020204" pitchFamily="34" charset="0"/>
              <a:cs typeface="Oracle Sans" panose="020B0503020204020204" pitchFamily="34" charset="0"/>
            </a:endParaRPr>
          </a:p>
          <a:p>
            <a:pPr algn="ctr">
              <a:spcAft>
                <a:spcPts val="600"/>
              </a:spcAft>
            </a:pPr>
            <a:endParaRPr lang="en-US" dirty="0">
              <a:latin typeface="Oracle Sans" panose="020B0503020204020204" pitchFamily="34" charset="0"/>
              <a:cs typeface="Oracle Sans" panose="020B0503020204020204" pitchFamily="34" charset="0"/>
            </a:endParaRPr>
          </a:p>
          <a:p>
            <a:pPr algn="ctr">
              <a:spcAft>
                <a:spcPts val="600"/>
              </a:spcAft>
            </a:pPr>
            <a:endParaRPr lang="en-US" dirty="0">
              <a:latin typeface="Oracle Sans" panose="020B0503020204020204" pitchFamily="34" charset="0"/>
              <a:cs typeface="Oracle Sans" panose="020B0503020204020204" pitchFamily="34" charset="0"/>
            </a:endParaRPr>
          </a:p>
          <a:p>
            <a:pPr algn="ctr">
              <a:spcAft>
                <a:spcPts val="600"/>
              </a:spcAft>
            </a:pPr>
            <a:endParaRPr lang="en-US" dirty="0">
              <a:latin typeface="Oracle Sans" panose="020B0503020204020204" pitchFamily="34" charset="0"/>
              <a:cs typeface="Oracle Sans" panose="020B0503020204020204" pitchFamily="34" charset="0"/>
            </a:endParaRPr>
          </a:p>
          <a:p>
            <a:pPr algn="ctr">
              <a:spcAft>
                <a:spcPts val="600"/>
              </a:spcAft>
            </a:pPr>
            <a:endParaRPr lang="en-US" dirty="0">
              <a:latin typeface="Oracle Sans" panose="020B0503020204020204" pitchFamily="34" charset="0"/>
              <a:cs typeface="Oracle Sans" panose="020B0503020204020204" pitchFamily="34" charset="0"/>
            </a:endParaRPr>
          </a:p>
          <a:p>
            <a:pPr algn="ctr">
              <a:spcAft>
                <a:spcPts val="600"/>
              </a:spcAft>
            </a:pPr>
            <a:r>
              <a:rPr lang="en-US" dirty="0">
                <a:latin typeface="Oracle Sans" panose="020B0503020204020204" pitchFamily="34" charset="0"/>
                <a:cs typeface="Oracle Sans" panose="020B0503020204020204" pitchFamily="34" charset="0"/>
              </a:rPr>
              <a:t>Exadata Database Machine</a:t>
            </a:r>
          </a:p>
        </p:txBody>
      </p:sp>
      <p:pic>
        <p:nvPicPr>
          <p:cNvPr id="23" name="Picture Placeholder 44">
            <a:extLst>
              <a:ext uri="{FF2B5EF4-FFF2-40B4-BE49-F238E27FC236}">
                <a16:creationId xmlns:a16="http://schemas.microsoft.com/office/drawing/2014/main" id="{0678B2CB-766C-419C-8283-AFB2DB9E88A0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rcRect/>
          <a:stretch/>
        </p:blipFill>
        <p:spPr>
          <a:xfrm>
            <a:off x="850547" y="2700114"/>
            <a:ext cx="2060575" cy="2060575"/>
          </a:xfrm>
          <a:prstGeom prst="rect">
            <a:avLst/>
          </a:prstGeom>
        </p:spPr>
      </p:pic>
      <p:sp>
        <p:nvSpPr>
          <p:cNvPr id="24" name="Rounded Rectangle 8">
            <a:extLst>
              <a:ext uri="{FF2B5EF4-FFF2-40B4-BE49-F238E27FC236}">
                <a16:creationId xmlns:a16="http://schemas.microsoft.com/office/drawing/2014/main" id="{C1B5AA41-2C29-41AC-87B4-067CC14A4E73}"/>
              </a:ext>
            </a:extLst>
          </p:cNvPr>
          <p:cNvSpPr/>
          <p:nvPr/>
        </p:nvSpPr>
        <p:spPr>
          <a:xfrm>
            <a:off x="3448288" y="2128996"/>
            <a:ext cx="2377368" cy="3552131"/>
          </a:xfrm>
          <a:prstGeom prst="roundRect">
            <a:avLst>
              <a:gd name="adj" fmla="val 1338"/>
            </a:avLst>
          </a:prstGeom>
          <a:solidFill>
            <a:srgbClr val="2C526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rtlCol="0" anchor="t"/>
          <a:lstStyle/>
          <a:p>
            <a:pPr algn="ctr">
              <a:spcAft>
                <a:spcPts val="600"/>
              </a:spcAft>
            </a:pPr>
            <a:r>
              <a:rPr lang="en-US" dirty="0">
                <a:latin typeface="Oracle Sans" panose="020B0503020204020204" pitchFamily="34" charset="0"/>
                <a:cs typeface="Oracle Sans" panose="020B0503020204020204" pitchFamily="34" charset="0"/>
              </a:rPr>
              <a:t>Public Cloud</a:t>
            </a:r>
          </a:p>
          <a:p>
            <a:pPr algn="ctr">
              <a:spcAft>
                <a:spcPts val="600"/>
              </a:spcAft>
            </a:pPr>
            <a:endParaRPr lang="en-US" dirty="0">
              <a:latin typeface="Oracle Sans" panose="020B0503020204020204" pitchFamily="34" charset="0"/>
              <a:cs typeface="Oracle Sans" panose="020B0503020204020204" pitchFamily="34" charset="0"/>
            </a:endParaRPr>
          </a:p>
          <a:p>
            <a:pPr algn="ctr">
              <a:spcAft>
                <a:spcPts val="600"/>
              </a:spcAft>
            </a:pPr>
            <a:endParaRPr lang="en-US" dirty="0">
              <a:latin typeface="Oracle Sans" panose="020B0503020204020204" pitchFamily="34" charset="0"/>
              <a:cs typeface="Oracle Sans" panose="020B0503020204020204" pitchFamily="34" charset="0"/>
            </a:endParaRPr>
          </a:p>
          <a:p>
            <a:pPr algn="ctr">
              <a:spcAft>
                <a:spcPts val="600"/>
              </a:spcAft>
            </a:pPr>
            <a:endParaRPr lang="en-US" dirty="0">
              <a:latin typeface="Oracle Sans" panose="020B0503020204020204" pitchFamily="34" charset="0"/>
              <a:cs typeface="Oracle Sans" panose="020B0503020204020204" pitchFamily="34" charset="0"/>
            </a:endParaRPr>
          </a:p>
          <a:p>
            <a:pPr algn="ctr">
              <a:spcAft>
                <a:spcPts val="600"/>
              </a:spcAft>
            </a:pPr>
            <a:endParaRPr lang="en-US" dirty="0">
              <a:latin typeface="Oracle Sans" panose="020B0503020204020204" pitchFamily="34" charset="0"/>
              <a:cs typeface="Oracle Sans" panose="020B0503020204020204" pitchFamily="34" charset="0"/>
            </a:endParaRPr>
          </a:p>
          <a:p>
            <a:pPr algn="ctr">
              <a:spcAft>
                <a:spcPts val="600"/>
              </a:spcAft>
            </a:pPr>
            <a:endParaRPr lang="en-US" dirty="0">
              <a:latin typeface="Oracle Sans" panose="020B0503020204020204" pitchFamily="34" charset="0"/>
              <a:cs typeface="Oracle Sans" panose="020B0503020204020204" pitchFamily="34" charset="0"/>
            </a:endParaRPr>
          </a:p>
          <a:p>
            <a:pPr algn="ctr">
              <a:spcAft>
                <a:spcPts val="600"/>
              </a:spcAft>
            </a:pPr>
            <a:endParaRPr lang="en-US" dirty="0">
              <a:latin typeface="Oracle Sans" panose="020B0503020204020204" pitchFamily="34" charset="0"/>
              <a:cs typeface="Oracle Sans" panose="020B0503020204020204" pitchFamily="34" charset="0"/>
            </a:endParaRPr>
          </a:p>
          <a:p>
            <a:pPr algn="ctr">
              <a:spcAft>
                <a:spcPts val="600"/>
              </a:spcAft>
            </a:pPr>
            <a:r>
              <a:rPr lang="en-US" dirty="0">
                <a:latin typeface="Oracle Sans" panose="020B0503020204020204" pitchFamily="34" charset="0"/>
                <a:cs typeface="Oracle Sans" panose="020B0503020204020204" pitchFamily="34" charset="0"/>
              </a:rPr>
              <a:t>Exadata in Oracle Cloud Infrastructure (OCI)</a:t>
            </a:r>
          </a:p>
        </p:txBody>
      </p:sp>
      <p:pic>
        <p:nvPicPr>
          <p:cNvPr id="25" name="Picture Placeholder 93">
            <a:extLst>
              <a:ext uri="{FF2B5EF4-FFF2-40B4-BE49-F238E27FC236}">
                <a16:creationId xmlns:a16="http://schemas.microsoft.com/office/drawing/2014/main" id="{FEDF8BC2-AC62-4182-87FD-9FA2DA8E3A1F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6"/>
              </a:ext>
            </a:extLst>
          </a:blip>
          <a:srcRect/>
          <a:stretch/>
        </p:blipFill>
        <p:spPr>
          <a:xfrm>
            <a:off x="3722572" y="2816001"/>
            <a:ext cx="1828800" cy="1828800"/>
          </a:xfrm>
          <a:prstGeom prst="rect">
            <a:avLst/>
          </a:prstGeom>
        </p:spPr>
      </p:pic>
      <p:sp>
        <p:nvSpPr>
          <p:cNvPr id="26" name="Rounded Rectangle 11">
            <a:extLst>
              <a:ext uri="{FF2B5EF4-FFF2-40B4-BE49-F238E27FC236}">
                <a16:creationId xmlns:a16="http://schemas.microsoft.com/office/drawing/2014/main" id="{08CDF614-77C9-4A08-967F-EB9760A94AFF}"/>
              </a:ext>
            </a:extLst>
          </p:cNvPr>
          <p:cNvSpPr/>
          <p:nvPr/>
        </p:nvSpPr>
        <p:spPr>
          <a:xfrm>
            <a:off x="6204426" y="2128995"/>
            <a:ext cx="2377368" cy="3552131"/>
          </a:xfrm>
          <a:prstGeom prst="roundRect">
            <a:avLst>
              <a:gd name="adj" fmla="val 1338"/>
            </a:avLst>
          </a:prstGeom>
          <a:solidFill>
            <a:srgbClr val="2C526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rtlCol="0" anchor="t"/>
          <a:lstStyle/>
          <a:p>
            <a:pPr algn="ctr"/>
            <a:r>
              <a:rPr lang="en-US" dirty="0">
                <a:latin typeface="Oracle Sans" panose="020B0503020204020204" pitchFamily="34" charset="0"/>
                <a:cs typeface="Oracle Sans" panose="020B0503020204020204" pitchFamily="34" charset="0"/>
              </a:rPr>
              <a:t>Hybrid Cloud</a:t>
            </a:r>
          </a:p>
          <a:p>
            <a:pPr algn="ctr"/>
            <a:endParaRPr lang="en-US" dirty="0">
              <a:latin typeface="Oracle Sans" panose="020B0503020204020204" pitchFamily="34" charset="0"/>
              <a:cs typeface="Oracle Sans" panose="020B0503020204020204" pitchFamily="34" charset="0"/>
            </a:endParaRPr>
          </a:p>
          <a:p>
            <a:pPr algn="ctr"/>
            <a:endParaRPr lang="en-US" dirty="0">
              <a:latin typeface="Oracle Sans" panose="020B0503020204020204" pitchFamily="34" charset="0"/>
              <a:cs typeface="Oracle Sans" panose="020B0503020204020204" pitchFamily="34" charset="0"/>
            </a:endParaRPr>
          </a:p>
          <a:p>
            <a:pPr algn="ctr"/>
            <a:endParaRPr lang="en-US" dirty="0">
              <a:latin typeface="Oracle Sans" panose="020B0503020204020204" pitchFamily="34" charset="0"/>
              <a:cs typeface="Oracle Sans" panose="020B0503020204020204" pitchFamily="34" charset="0"/>
            </a:endParaRPr>
          </a:p>
          <a:p>
            <a:pPr algn="ctr"/>
            <a:endParaRPr lang="en-US" dirty="0">
              <a:latin typeface="Oracle Sans" panose="020B0503020204020204" pitchFamily="34" charset="0"/>
              <a:cs typeface="Oracle Sans" panose="020B0503020204020204" pitchFamily="34" charset="0"/>
            </a:endParaRPr>
          </a:p>
          <a:p>
            <a:pPr algn="ctr"/>
            <a:endParaRPr lang="en-US" dirty="0">
              <a:latin typeface="Oracle Sans" panose="020B0503020204020204" pitchFamily="34" charset="0"/>
              <a:cs typeface="Oracle Sans" panose="020B0503020204020204" pitchFamily="34" charset="0"/>
            </a:endParaRPr>
          </a:p>
          <a:p>
            <a:pPr algn="ctr"/>
            <a:endParaRPr lang="en-US" dirty="0">
              <a:latin typeface="Oracle Sans" panose="020B0503020204020204" pitchFamily="34" charset="0"/>
              <a:cs typeface="Oracle Sans" panose="020B0503020204020204" pitchFamily="34" charset="0"/>
            </a:endParaRPr>
          </a:p>
          <a:p>
            <a:pPr algn="ctr"/>
            <a:endParaRPr lang="en-US" dirty="0">
              <a:latin typeface="Oracle Sans" panose="020B0503020204020204" pitchFamily="34" charset="0"/>
              <a:cs typeface="Oracle Sans" panose="020B0503020204020204" pitchFamily="34" charset="0"/>
            </a:endParaRPr>
          </a:p>
          <a:p>
            <a:pPr algn="ctr"/>
            <a:endParaRPr lang="en-US" dirty="0">
              <a:latin typeface="Oracle Sans" panose="020B0503020204020204" pitchFamily="34" charset="0"/>
              <a:cs typeface="Oracle Sans" panose="020B0503020204020204" pitchFamily="34" charset="0"/>
            </a:endParaRPr>
          </a:p>
          <a:p>
            <a:pPr algn="ctr"/>
            <a:r>
              <a:rPr lang="en-US" dirty="0">
                <a:latin typeface="Oracle Sans" panose="020B0503020204020204" pitchFamily="34" charset="0"/>
                <a:cs typeface="Oracle Sans" panose="020B0503020204020204" pitchFamily="34" charset="0"/>
              </a:rPr>
              <a:t>Exadata Cloud@Customer</a:t>
            </a:r>
          </a:p>
        </p:txBody>
      </p:sp>
      <p:pic>
        <p:nvPicPr>
          <p:cNvPr id="27" name="Picture Placeholder 94">
            <a:extLst>
              <a:ext uri="{FF2B5EF4-FFF2-40B4-BE49-F238E27FC236}">
                <a16:creationId xmlns:a16="http://schemas.microsoft.com/office/drawing/2014/main" id="{C1CD7760-62B6-46B3-9D26-B76FC1CA794C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8"/>
              </a:ext>
            </a:extLst>
          </a:blip>
          <a:srcRect/>
          <a:stretch/>
        </p:blipFill>
        <p:spPr>
          <a:xfrm>
            <a:off x="6478710" y="2816001"/>
            <a:ext cx="1828800" cy="1828800"/>
          </a:xfrm>
          <a:prstGeom prst="rect">
            <a:avLst/>
          </a:prstGeom>
        </p:spPr>
      </p:pic>
      <p:sp>
        <p:nvSpPr>
          <p:cNvPr id="28" name="Rounded Rectangle 14">
            <a:extLst>
              <a:ext uri="{FF2B5EF4-FFF2-40B4-BE49-F238E27FC236}">
                <a16:creationId xmlns:a16="http://schemas.microsoft.com/office/drawing/2014/main" id="{2125E521-1BE4-4F4E-8407-7C5CDAD17CE1}"/>
              </a:ext>
            </a:extLst>
          </p:cNvPr>
          <p:cNvSpPr/>
          <p:nvPr/>
        </p:nvSpPr>
        <p:spPr>
          <a:xfrm>
            <a:off x="8960563" y="2139268"/>
            <a:ext cx="2377368" cy="3552131"/>
          </a:xfrm>
          <a:prstGeom prst="roundRect">
            <a:avLst>
              <a:gd name="adj" fmla="val 1338"/>
            </a:avLst>
          </a:prstGeom>
          <a:solidFill>
            <a:srgbClr val="2C526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rtlCol="0" anchor="t"/>
          <a:lstStyle/>
          <a:p>
            <a:pPr algn="ctr"/>
            <a:r>
              <a:rPr lang="en-US" dirty="0">
                <a:latin typeface="Oracle Sans" panose="020B0503020204020204" pitchFamily="34" charset="0"/>
                <a:cs typeface="Oracle Sans" panose="020B0503020204020204" pitchFamily="34" charset="0"/>
              </a:rPr>
              <a:t>Multicloud</a:t>
            </a:r>
            <a:br>
              <a:rPr lang="en-US" dirty="0">
                <a:latin typeface="Oracle Sans" panose="020B0503020204020204" pitchFamily="34" charset="0"/>
                <a:cs typeface="Oracle Sans" panose="020B0503020204020204" pitchFamily="34" charset="0"/>
              </a:rPr>
            </a:br>
            <a:endParaRPr lang="en-US" dirty="0">
              <a:latin typeface="Oracle Sans" panose="020B0503020204020204" pitchFamily="34" charset="0"/>
              <a:cs typeface="Oracle Sans" panose="020B0503020204020204" pitchFamily="34" charset="0"/>
            </a:endParaRPr>
          </a:p>
          <a:p>
            <a:pPr algn="ctr"/>
            <a:endParaRPr lang="en-US" dirty="0">
              <a:latin typeface="Oracle Sans" panose="020B0503020204020204" pitchFamily="34" charset="0"/>
              <a:cs typeface="Oracle Sans" panose="020B0503020204020204" pitchFamily="34" charset="0"/>
            </a:endParaRPr>
          </a:p>
          <a:p>
            <a:pPr algn="ctr"/>
            <a:endParaRPr lang="en-US" dirty="0">
              <a:latin typeface="Oracle Sans" panose="020B0503020204020204" pitchFamily="34" charset="0"/>
              <a:cs typeface="Oracle Sans" panose="020B0503020204020204" pitchFamily="34" charset="0"/>
            </a:endParaRPr>
          </a:p>
          <a:p>
            <a:pPr algn="ctr"/>
            <a:endParaRPr lang="en-US" dirty="0">
              <a:latin typeface="Oracle Sans" panose="020B0503020204020204" pitchFamily="34" charset="0"/>
              <a:cs typeface="Oracle Sans" panose="020B0503020204020204" pitchFamily="34" charset="0"/>
            </a:endParaRPr>
          </a:p>
          <a:p>
            <a:pPr algn="ctr"/>
            <a:endParaRPr lang="en-US" dirty="0">
              <a:latin typeface="Oracle Sans" panose="020B0503020204020204" pitchFamily="34" charset="0"/>
              <a:cs typeface="Oracle Sans" panose="020B0503020204020204" pitchFamily="34" charset="0"/>
            </a:endParaRPr>
          </a:p>
          <a:p>
            <a:pPr algn="ctr"/>
            <a:endParaRPr lang="en-US" dirty="0">
              <a:latin typeface="Oracle Sans" panose="020B0503020204020204" pitchFamily="34" charset="0"/>
              <a:cs typeface="Oracle Sans" panose="020B0503020204020204" pitchFamily="34" charset="0"/>
            </a:endParaRPr>
          </a:p>
          <a:p>
            <a:pPr algn="ctr"/>
            <a:endParaRPr lang="en-US" dirty="0">
              <a:latin typeface="Oracle Sans" panose="020B0503020204020204" pitchFamily="34" charset="0"/>
              <a:cs typeface="Oracle Sans" panose="020B0503020204020204" pitchFamily="34" charset="0"/>
            </a:endParaRPr>
          </a:p>
          <a:p>
            <a:pPr algn="ctr"/>
            <a:endParaRPr lang="en-US" dirty="0">
              <a:latin typeface="Oracle Sans" panose="020B0503020204020204" pitchFamily="34" charset="0"/>
              <a:cs typeface="Oracle Sans" panose="020B0503020204020204" pitchFamily="34" charset="0"/>
            </a:endParaRPr>
          </a:p>
          <a:p>
            <a:pPr algn="ctr"/>
            <a:r>
              <a:rPr lang="en-US" dirty="0">
                <a:latin typeface="Oracle Sans" panose="020B0503020204020204" pitchFamily="34" charset="0"/>
                <a:cs typeface="Oracle Sans" panose="020B0503020204020204" pitchFamily="34" charset="0"/>
              </a:rPr>
              <a:t>Exadata through Oracle Database Service for Azure</a:t>
            </a:r>
          </a:p>
        </p:txBody>
      </p:sp>
      <p:grpSp>
        <p:nvGrpSpPr>
          <p:cNvPr id="29" name="Group 28">
            <a:extLst>
              <a:ext uri="{FF2B5EF4-FFF2-40B4-BE49-F238E27FC236}">
                <a16:creationId xmlns:a16="http://schemas.microsoft.com/office/drawing/2014/main" id="{96A3C56F-91F6-494D-8DD6-DC0C56EAB996}"/>
              </a:ext>
            </a:extLst>
          </p:cNvPr>
          <p:cNvGrpSpPr/>
          <p:nvPr/>
        </p:nvGrpSpPr>
        <p:grpSpPr>
          <a:xfrm>
            <a:off x="9131208" y="2935765"/>
            <a:ext cx="2026839" cy="1589273"/>
            <a:chOff x="8894138" y="2653748"/>
            <a:chExt cx="2026839" cy="1589273"/>
          </a:xfrm>
        </p:grpSpPr>
        <p:pic>
          <p:nvPicPr>
            <p:cNvPr id="30" name="Picture Placeholder 93">
              <a:extLst>
                <a:ext uri="{FF2B5EF4-FFF2-40B4-BE49-F238E27FC236}">
                  <a16:creationId xmlns:a16="http://schemas.microsoft.com/office/drawing/2014/main" id="{498C25AF-53E5-42A9-A4E0-4F9668830F8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xmlns="" r:embed="rId6"/>
                </a:ext>
              </a:extLst>
            </a:blip>
            <a:srcRect/>
            <a:stretch/>
          </p:blipFill>
          <p:spPr>
            <a:xfrm>
              <a:off x="8894138" y="2664770"/>
              <a:ext cx="1530436" cy="1528460"/>
            </a:xfrm>
            <a:prstGeom prst="rect">
              <a:avLst/>
            </a:prstGeom>
          </p:spPr>
        </p:pic>
        <p:pic>
          <p:nvPicPr>
            <p:cNvPr id="31" name="Picture Placeholder 42">
              <a:extLst>
                <a:ext uri="{FF2B5EF4-FFF2-40B4-BE49-F238E27FC236}">
                  <a16:creationId xmlns:a16="http://schemas.microsoft.com/office/drawing/2014/main" id="{E3F191A2-4FA3-4417-8559-1AFB84A2E27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9" cstate="hq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xmlns="" r:embed="rId10"/>
                </a:ext>
              </a:extLst>
            </a:blip>
            <a:srcRect l="46921"/>
            <a:stretch/>
          </p:blipFill>
          <p:spPr>
            <a:xfrm>
              <a:off x="10015847" y="2653748"/>
              <a:ext cx="905130" cy="1589273"/>
            </a:xfrm>
            <a:prstGeom prst="rect">
              <a:avLst/>
            </a:prstGeom>
          </p:spPr>
        </p:pic>
      </p:grpSp>
      <p:sp>
        <p:nvSpPr>
          <p:cNvPr id="17" name="Rectangle 16">
            <a:extLst>
              <a:ext uri="{FF2B5EF4-FFF2-40B4-BE49-F238E27FC236}">
                <a16:creationId xmlns:a16="http://schemas.microsoft.com/office/drawing/2014/main" id="{7FBAE1F8-25AF-49C2-87A8-41FEDA082BCF}"/>
              </a:ext>
            </a:extLst>
          </p:cNvPr>
          <p:cNvSpPr/>
          <p:nvPr/>
        </p:nvSpPr>
        <p:spPr>
          <a:xfrm>
            <a:off x="3298073" y="1970848"/>
            <a:ext cx="2604161" cy="3868421"/>
          </a:xfrm>
          <a:prstGeom prst="rect">
            <a:avLst/>
          </a:prstGeom>
          <a:noFill/>
          <a:ln w="12700">
            <a:solidFill>
              <a:srgbClr val="C74634"/>
            </a:solidFill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944880" y="6423660"/>
            <a:ext cx="5745379" cy="365125"/>
          </a:xfrm>
        </p:spPr>
        <p:txBody>
          <a:bodyPr/>
          <a:lstStyle/>
          <a:p>
            <a:r>
              <a:rPr lang="en-US" smtClean="0"/>
              <a:t>Copyright © 2024, Oracle and/or its affiliates. All rights reserved   </a:t>
            </a:r>
            <a:endParaRPr lang="en-US" dirty="0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7FBAE1F8-25AF-49C2-87A8-41FEDA082BCF}"/>
              </a:ext>
            </a:extLst>
          </p:cNvPr>
          <p:cNvSpPr/>
          <p:nvPr/>
        </p:nvSpPr>
        <p:spPr>
          <a:xfrm>
            <a:off x="6082118" y="1950244"/>
            <a:ext cx="2604161" cy="3868421"/>
          </a:xfrm>
          <a:prstGeom prst="rect">
            <a:avLst/>
          </a:prstGeom>
          <a:noFill/>
          <a:ln w="12700">
            <a:solidFill>
              <a:srgbClr val="C74634"/>
            </a:solidFill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5D60D9-5372-5F40-9443-0F9AE5BDC3C8}" type="slidenum">
              <a:rPr lang="en-US" smtClean="0"/>
              <a:pPr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747992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" grpId="0" animBg="1"/>
      <p:bldP spid="18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442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585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4329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546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547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548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551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549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550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602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4329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452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603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606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604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605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4329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581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582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583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584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585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459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420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421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4329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532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537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533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536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534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535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420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466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421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420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421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420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421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422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4329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494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423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424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476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4329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494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419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420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421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4329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503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504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507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505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484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506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4329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494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419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420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421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420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421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643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648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502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4329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649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650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651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644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645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646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647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653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660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509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4329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661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662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4315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654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657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658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659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655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656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516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634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639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4329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640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4315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641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635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636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637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638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524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4329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626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631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627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628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629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630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4329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619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624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417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531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620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621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622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623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610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615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4329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616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617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4315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538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611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612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613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614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602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607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4329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608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603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606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545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604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605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4329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595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600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596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597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598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599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4329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552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588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593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589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590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591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592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4329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581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582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583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559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584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585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4329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574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579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575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578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576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577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4329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566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567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572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568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571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569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570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4329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560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565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561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573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564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562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563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4329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553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554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557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555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556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4329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580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546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547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548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551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549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550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4329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539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540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543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587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541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542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4329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532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537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533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536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534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535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4329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594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525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526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529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527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528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4329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517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522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523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4315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413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601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518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521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519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520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4329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510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515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511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514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512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609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513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4329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503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508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504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507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505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506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4329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496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618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497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500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498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499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485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490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4329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491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492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493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625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4315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486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489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487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488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4329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477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482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478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479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632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480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481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4329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467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472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473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474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475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4315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468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633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469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470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471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4329"/>
</p:tagLst>
</file>

<file path=ppt/tags/tag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460"/>
</p:tagLst>
</file>

<file path=ppt/tags/tag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465"/>
</p:tagLst>
</file>

<file path=ppt/tags/tag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461"/>
</p:tagLst>
</file>

<file path=ppt/tags/tag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462"/>
</p:tagLst>
</file>

<file path=ppt/tags/tag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463"/>
</p:tagLst>
</file>

<file path=ppt/tags/tag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464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652"/>
</p:tagLst>
</file>

<file path=ppt/tags/tag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4329"/>
</p:tagLst>
</file>

<file path=ppt/tags/tag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453"/>
</p:tagLst>
</file>

<file path=ppt/tags/tag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458"/>
</p:tagLst>
</file>

<file path=ppt/tags/tag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454"/>
</p:tagLst>
</file>

<file path=ppt/tags/tag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455"/>
</p:tagLst>
</file>

<file path=ppt/tags/tag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456"/>
</p:tagLst>
</file>

<file path=ppt/tags/tag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457"/>
</p:tagLst>
</file>

<file path=ppt/tags/tag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4329"/>
</p:tagLst>
</file>

<file path=ppt/tags/tag3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443"/>
</p:tagLst>
</file>

<file path=ppt/tags/tag3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448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642"/>
</p:tagLst>
</file>

<file path=ppt/tags/tag3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449"/>
</p:tagLst>
</file>

<file path=ppt/tags/tag3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450"/>
</p:tagLst>
</file>

<file path=ppt/tags/tag3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451"/>
</p:tagLst>
</file>

<file path=ppt/tags/tag3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444"/>
</p:tagLst>
</file>

<file path=ppt/tags/tag3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447"/>
</p:tagLst>
</file>

<file path=ppt/tags/tag3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445"/>
</p:tagLst>
</file>

<file path=ppt/tags/tag3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446"/>
</p:tagLst>
</file>

<file path=ppt/tags/tag3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435"/>
</p:tagLst>
</file>

<file path=ppt/tags/tag3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436"/>
</p:tagLst>
</file>

<file path=ppt/tags/tag3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441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4402"/>
</p:tagLst>
</file>

<file path=ppt/tags/tag3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437"/>
</p:tagLst>
</file>

<file path=ppt/tags/tag3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438"/>
</p:tagLst>
</file>

<file path=ppt/tags/tag3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439"/>
</p:tagLst>
</file>

<file path=ppt/tags/tag3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440"/>
</p:tagLst>
</file>

<file path=ppt/tags/tag3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4329"/>
</p:tagLst>
</file>

<file path=ppt/tags/tag3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4315"/>
</p:tagLst>
</file>

<file path=ppt/tags/tag3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426"/>
</p:tagLst>
</file>

<file path=ppt/tags/tag3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431"/>
</p:tagLst>
</file>

<file path=ppt/tags/tag3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4329"/>
</p:tagLst>
</file>

<file path=ppt/tags/tag3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432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4411"/>
</p:tagLst>
</file>

<file path=ppt/tags/tag3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4315"/>
</p:tagLst>
</file>

<file path=ppt/tags/tag3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433"/>
</p:tagLst>
</file>

<file path=ppt/tags/tag3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427"/>
</p:tagLst>
</file>

<file path=ppt/tags/tag3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430"/>
</p:tagLst>
</file>

<file path=ppt/tags/tag3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428"/>
</p:tagLst>
</file>

<file path=ppt/tags/tag3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429"/>
</p:tagLst>
</file>

<file path=ppt/tags/tag3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420"/>
</p:tagLst>
</file>

<file path=ppt/tags/tag3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421"/>
</p:tagLst>
</file>

<file path=ppt/tags/tag3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409"/>
</p:tagLst>
</file>

<file path=ppt/tags/tag3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410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415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668"/>
</p:tagLst>
</file>

<file path=ppt/tags/tag4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411"/>
</p:tagLst>
</file>

<file path=ppt/tags/tag4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6.9|15.9"/>
</p:tagLst>
</file>

<file path=ppt/tags/tag4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576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419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502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537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413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4329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658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419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419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4329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416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4329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447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447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624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624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624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537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537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4315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4315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4329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515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4315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632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632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4315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665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4408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508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419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4329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419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447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632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632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515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531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4407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4408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664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665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4409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425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666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667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414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433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419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4329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447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632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580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483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434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508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601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458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632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632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545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483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4329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582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584"/>
</p:tagLst>
</file>

<file path=ppt/theme/theme1.xml><?xml version="1.0" encoding="utf-8"?>
<a:theme xmlns:a="http://schemas.openxmlformats.org/drawingml/2006/main" name="Parent Master Pillars">
  <a:themeElements>
    <a:clrScheme name="Sales Play Tech Pillar FY23">
      <a:dk1>
        <a:srgbClr val="312D2A"/>
      </a:dk1>
      <a:lt1>
        <a:srgbClr val="FCFBFA"/>
      </a:lt1>
      <a:dk2>
        <a:srgbClr val="312D2A"/>
      </a:dk2>
      <a:lt2>
        <a:srgbClr val="FCFBFA"/>
      </a:lt2>
      <a:accent1>
        <a:srgbClr val="99ADAE"/>
      </a:accent1>
      <a:accent2>
        <a:srgbClr val="67605B"/>
      </a:accent2>
      <a:accent3>
        <a:srgbClr val="315357"/>
      </a:accent3>
      <a:accent4>
        <a:srgbClr val="1E3133"/>
      </a:accent4>
      <a:accent5>
        <a:srgbClr val="AE562C"/>
      </a:accent5>
      <a:accent6>
        <a:srgbClr val="D39F5D"/>
      </a:accent6>
      <a:hlink>
        <a:srgbClr val="00688C"/>
      </a:hlink>
      <a:folHlink>
        <a:srgbClr val="00688C"/>
      </a:folHlink>
    </a:clrScheme>
    <a:fontScheme name="Oracle Sans Tabular">
      <a:majorFont>
        <a:latin typeface="Georgia"/>
        <a:ea typeface=""/>
        <a:cs typeface=""/>
      </a:majorFont>
      <a:minorFont>
        <a:latin typeface="Oracle Sans Tab"/>
        <a:ea typeface=""/>
        <a:cs typeface=""/>
      </a:minorFont>
    </a:fontScheme>
    <a:fmtScheme name="Flat">
      <a:fillStyleLst>
        <a:solidFill>
          <a:schemeClr val="phClr"/>
        </a:solidFill>
        <a:solidFill>
          <a:schemeClr val="phClr">
            <a:tint val="50000"/>
          </a:schemeClr>
        </a:solidFill>
        <a:solidFill>
          <a:schemeClr val="phClr">
            <a:shade val="65000"/>
          </a:schemeClr>
        </a:solidFill>
      </a:fillStyleLst>
      <a:lnStyleLst>
        <a:ln w="3175" cap="flat" cmpd="sng" algn="ctr">
          <a:solidFill>
            <a:schemeClr val="phClr">
              <a:shade val="65000"/>
            </a:schemeClr>
          </a:solidFill>
          <a:prstDash val="solid"/>
        </a:ln>
        <a:ln w="3175" cap="flat" cmpd="sng" algn="ctr">
          <a:solidFill>
            <a:schemeClr val="phClr"/>
          </a:solidFill>
          <a:prstDash val="solid"/>
        </a:ln>
        <a:ln w="0" cap="flat" cmpd="sng" algn="ctr">
          <a:noFill/>
        </a:ln>
      </a:lnStyleLst>
      <a:effectStyleLst>
        <a:effectStyle>
          <a:effectLst>
            <a:blur/>
          </a:effectLst>
        </a:effectStyle>
        <a:effectStyle>
          <a:effectLst>
            <a:blur/>
          </a:effectLst>
        </a:effectStyle>
        <a:effectStyle>
          <a:effectLst>
            <a:fillOverlay blend="darken">
              <a:solidFill>
                <a:schemeClr val="phClr">
                  <a:shade val="30000"/>
                </a:schemeClr>
              </a:solidFill>
            </a:fillOverlay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1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custClrLst>
    <a:custClr name="Ocean">
      <a:srgbClr val="2C5967"/>
    </a:custClr>
    <a:custClr name="Surf">
      <a:srgbClr val="41817E"/>
    </a:custClr>
    <a:custClr name="Sand">
      <a:srgbClr val="E5DBBE"/>
    </a:custClr>
    <a:custClr name="Pebble">
      <a:srgbClr val="8B8580"/>
    </a:custClr>
    <a:custClr name="Granite">
      <a:srgbClr val="67605B"/>
    </a:custClr>
    <a:custClr name="Position 6">
      <a:srgbClr val="FFFFFF"/>
    </a:custClr>
    <a:custClr name="Highlight/hyperlink dark theme">
      <a:srgbClr val="F0CC71"/>
    </a:custClr>
    <a:custClr name="Highlight/numbered list light theme">
      <a:srgbClr val="AE562C"/>
    </a:custClr>
    <a:custClr name="Hyperlink light theme (default)">
      <a:srgbClr val="00688C"/>
    </a:custClr>
    <a:custClr name="Numbered list dark theme">
      <a:srgbClr val="759C6C"/>
    </a:custClr>
    <a:custClr name="Brand: Neutral 30">
      <a:srgbClr val="F1EFED"/>
    </a:custClr>
    <a:custClr name="Developer: Pebble 30">
      <a:srgbClr val="E7F0FD"/>
    </a:custClr>
    <a:custClr name="Database: Slate 30">
      <a:srgbClr val="E7F2F2"/>
    </a:custClr>
    <a:custClr name="Cloud Platform: Pine 30">
      <a:srgbClr val="E0F5E7"/>
    </a:custClr>
    <a:custClr name="Finance / Operations: Teal 30">
      <a:srgbClr val="E8F1F0"/>
    </a:custClr>
    <a:custClr name="NetSuite: Ocean 30">
      <a:srgbClr val="E7F2F5"/>
    </a:custClr>
    <a:custClr name="GBU: Lilac 30">
      <a:srgbClr val="EBEFFE"/>
    </a:custClr>
    <a:custClr name="CX/Marketing: Plum 30">
      <a:srgbClr val="F5ECFB"/>
    </a:custClr>
    <a:custClr name="HCM/HR: Rose 30">
      <a:srgbClr val="FBECEF"/>
    </a:custClr>
    <a:custClr name="SCM: Sienna 30">
      <a:srgbClr val="FCEDD9"/>
    </a:custClr>
    <a:custClr name="Brand: Neutral 70">
      <a:srgbClr val="AEA8A2"/>
    </a:custClr>
    <a:custClr name="Developer: Pebble 70">
      <a:srgbClr val="A2AAB6"/>
    </a:custClr>
    <a:custClr name="Database: Slate 70">
      <a:srgbClr val="99ADAE"/>
    </a:custClr>
    <a:custClr name="Cloud Platform: Pine 70">
      <a:srgbClr val="86B596"/>
    </a:custClr>
    <a:custClr name="Finance / Operations: Teal 70">
      <a:srgbClr val="89B2B0"/>
    </a:custClr>
    <a:custClr name="NetSuite: Ocean 70">
      <a:srgbClr val="81B2C3"/>
    </a:custClr>
    <a:custClr name="GBU: Lilac 70">
      <a:srgbClr val="A0A9C5"/>
    </a:custClr>
    <a:custClr name="CX/Marketing: Plum 70">
      <a:srgbClr val="B7A1C4"/>
    </a:custClr>
    <a:custClr name="HCM/HR: Rose 70">
      <a:srgbClr val="CE9BA7"/>
    </a:custClr>
    <a:custClr name="SCM: Sienna 70">
      <a:srgbClr val="D39F5D"/>
    </a:custClr>
    <a:custClr name="Brand: Neutral 140">
      <a:srgbClr val="514C47"/>
    </a:custClr>
    <a:custClr name="Developer: Pebble 140">
      <a:srgbClr val="494D53"/>
    </a:custClr>
    <a:custClr name="Database: Slate 140">
      <a:srgbClr val="464F4F"/>
    </a:custClr>
    <a:custClr name="Cloud Platform: Pine 140">
      <a:srgbClr val="33553C"/>
    </a:custClr>
    <a:custClr name="Finance / Operations: Teal 140">
      <a:srgbClr val="315357"/>
    </a:custClr>
    <a:custClr name="NetSuite: Ocean 140">
      <a:srgbClr val="2C5266"/>
    </a:custClr>
    <a:custClr name="GBU: Lilac 140">
      <a:srgbClr val="464C68"/>
    </a:custClr>
    <a:custClr name="CX/Marketing: Plum 140">
      <a:srgbClr val="594564"/>
    </a:custClr>
    <a:custClr name="HCM/HR: Rose 140">
      <a:srgbClr val="6C3F49"/>
    </a:custClr>
    <a:custClr name="SCM: Sienna 140">
      <a:srgbClr val="713F25"/>
    </a:custClr>
    <a:custClr name="Brand: Neutral 170">
      <a:srgbClr val="312D2A"/>
    </a:custClr>
    <a:custClr name="Developer: Pebble 170">
      <a:srgbClr val="2B2E32"/>
    </a:custClr>
    <a:custClr name="Database: Slate 170">
      <a:srgbClr val="2A2F2F"/>
    </a:custClr>
    <a:custClr name="Cloud Platform: Pine 170">
      <a:srgbClr val="1E3224"/>
    </a:custClr>
    <a:custClr name="Finance / Operations: Teal 170">
      <a:srgbClr val="1E3133"/>
    </a:custClr>
    <a:custClr name="NetSuite: Ocean 170">
      <a:srgbClr val="1A2F3F"/>
    </a:custClr>
    <a:custClr name="GBU: Lilac 170">
      <a:srgbClr val="2A2D3F"/>
    </a:custClr>
    <a:custClr name="CX/Marketing: Plum 170">
      <a:srgbClr val="36293C"/>
    </a:custClr>
    <a:custClr name="HCM/HR: Rose 170">
      <a:srgbClr val="41242B"/>
    </a:custClr>
    <a:custClr name="SCM: Sienna 170">
      <a:srgbClr val="442616"/>
    </a:custClr>
  </a:custClrLst>
  <a:extLst>
    <a:ext uri="{05A4C25C-085E-4340-85A3-A5531E510DB2}">
      <thm15:themeFamily xmlns:thm15="http://schemas.microsoft.com/office/thememl/2012/main" name="Oracle_Redwood_Modern_v1.2-3.14.22" id="{AAE58655-58AB-1447-B2E8-D9A286F5C6FD}" vid="{E72CF9EB-9B29-F048-9125-D1B50B75B8FA}"/>
    </a:ext>
  </a:extLst>
</a:theme>
</file>

<file path=ppt/theme/theme2.xml><?xml version="1.0" encoding="utf-8"?>
<a:theme xmlns:a="http://schemas.openxmlformats.org/drawingml/2006/main" name="1_Parent Master Pillars">
  <a:themeElements>
    <a:clrScheme name="Sales Play Tech Pillar FY23">
      <a:dk1>
        <a:srgbClr val="312D2A"/>
      </a:dk1>
      <a:lt1>
        <a:srgbClr val="FCFBFA"/>
      </a:lt1>
      <a:dk2>
        <a:srgbClr val="312D2A"/>
      </a:dk2>
      <a:lt2>
        <a:srgbClr val="FCFBFA"/>
      </a:lt2>
      <a:accent1>
        <a:srgbClr val="99ADAE"/>
      </a:accent1>
      <a:accent2>
        <a:srgbClr val="67605B"/>
      </a:accent2>
      <a:accent3>
        <a:srgbClr val="315357"/>
      </a:accent3>
      <a:accent4>
        <a:srgbClr val="1E3133"/>
      </a:accent4>
      <a:accent5>
        <a:srgbClr val="AE562C"/>
      </a:accent5>
      <a:accent6>
        <a:srgbClr val="D39F5D"/>
      </a:accent6>
      <a:hlink>
        <a:srgbClr val="00688C"/>
      </a:hlink>
      <a:folHlink>
        <a:srgbClr val="00688C"/>
      </a:folHlink>
    </a:clrScheme>
    <a:fontScheme name="Oracle Sans Tabular">
      <a:majorFont>
        <a:latin typeface="Georgia"/>
        <a:ea typeface=""/>
        <a:cs typeface=""/>
      </a:majorFont>
      <a:minorFont>
        <a:latin typeface="Oracle Sans Tab"/>
        <a:ea typeface=""/>
        <a:cs typeface=""/>
      </a:minorFont>
    </a:fontScheme>
    <a:fmtScheme name="Flat">
      <a:fillStyleLst>
        <a:solidFill>
          <a:schemeClr val="phClr"/>
        </a:solidFill>
        <a:solidFill>
          <a:schemeClr val="phClr">
            <a:tint val="50000"/>
          </a:schemeClr>
        </a:solidFill>
        <a:solidFill>
          <a:schemeClr val="phClr">
            <a:shade val="65000"/>
          </a:schemeClr>
        </a:solidFill>
      </a:fillStyleLst>
      <a:lnStyleLst>
        <a:ln w="3175" cap="flat" cmpd="sng" algn="ctr">
          <a:solidFill>
            <a:schemeClr val="phClr">
              <a:shade val="65000"/>
            </a:schemeClr>
          </a:solidFill>
          <a:prstDash val="solid"/>
        </a:ln>
        <a:ln w="3175" cap="flat" cmpd="sng" algn="ctr">
          <a:solidFill>
            <a:schemeClr val="phClr"/>
          </a:solidFill>
          <a:prstDash val="solid"/>
        </a:ln>
        <a:ln w="0" cap="flat" cmpd="sng" algn="ctr">
          <a:noFill/>
        </a:ln>
      </a:lnStyleLst>
      <a:effectStyleLst>
        <a:effectStyle>
          <a:effectLst>
            <a:blur/>
          </a:effectLst>
        </a:effectStyle>
        <a:effectStyle>
          <a:effectLst>
            <a:blur/>
          </a:effectLst>
        </a:effectStyle>
        <a:effectStyle>
          <a:effectLst>
            <a:fillOverlay blend="darken">
              <a:solidFill>
                <a:schemeClr val="phClr">
                  <a:shade val="30000"/>
                </a:schemeClr>
              </a:solidFill>
            </a:fillOverlay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1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custClrLst>
    <a:custClr name="Ocean">
      <a:srgbClr val="2C5967"/>
    </a:custClr>
    <a:custClr name="Surf">
      <a:srgbClr val="41817E"/>
    </a:custClr>
    <a:custClr name="Sand">
      <a:srgbClr val="E5DBBE"/>
    </a:custClr>
    <a:custClr name="Pebble">
      <a:srgbClr val="8B8580"/>
    </a:custClr>
    <a:custClr name="Granite">
      <a:srgbClr val="67605B"/>
    </a:custClr>
    <a:custClr name="Position 6">
      <a:srgbClr val="FFFFFF"/>
    </a:custClr>
    <a:custClr name="Highlight/hyperlink dark theme">
      <a:srgbClr val="F0CC71"/>
    </a:custClr>
    <a:custClr name="Highlight/numbered list light theme">
      <a:srgbClr val="AE562C"/>
    </a:custClr>
    <a:custClr name="Hyperlink light theme (default)">
      <a:srgbClr val="00688C"/>
    </a:custClr>
    <a:custClr name="Numbered list dark theme">
      <a:srgbClr val="759C6C"/>
    </a:custClr>
    <a:custClr name="Brand: Neutral 30">
      <a:srgbClr val="F1EFED"/>
    </a:custClr>
    <a:custClr name="Developer: Pebble 30">
      <a:srgbClr val="E7F0FD"/>
    </a:custClr>
    <a:custClr name="Database: Slate 30">
      <a:srgbClr val="E7F2F2"/>
    </a:custClr>
    <a:custClr name="Cloud Platform: Pine 30">
      <a:srgbClr val="E0F5E7"/>
    </a:custClr>
    <a:custClr name="Finance / Operations: Teal 30">
      <a:srgbClr val="E8F1F0"/>
    </a:custClr>
    <a:custClr name="NetSuite: Ocean 30">
      <a:srgbClr val="E7F2F5"/>
    </a:custClr>
    <a:custClr name="GBU: Lilac 30">
      <a:srgbClr val="EBEFFE"/>
    </a:custClr>
    <a:custClr name="CX/Marketing: Plum 30">
      <a:srgbClr val="F5ECFB"/>
    </a:custClr>
    <a:custClr name="HCM/HR: Rose 30">
      <a:srgbClr val="FBECEF"/>
    </a:custClr>
    <a:custClr name="SCM: Sienna 30">
      <a:srgbClr val="FCEDD9"/>
    </a:custClr>
    <a:custClr name="Brand: Neutral 70">
      <a:srgbClr val="AEA8A2"/>
    </a:custClr>
    <a:custClr name="Developer: Pebble 70">
      <a:srgbClr val="A2AAB6"/>
    </a:custClr>
    <a:custClr name="Database: Slate 70">
      <a:srgbClr val="99ADAE"/>
    </a:custClr>
    <a:custClr name="Cloud Platform: Pine 70">
      <a:srgbClr val="86B596"/>
    </a:custClr>
    <a:custClr name="Finance / Operations: Teal 70">
      <a:srgbClr val="89B2B0"/>
    </a:custClr>
    <a:custClr name="NetSuite: Ocean 70">
      <a:srgbClr val="81B2C3"/>
    </a:custClr>
    <a:custClr name="GBU: Lilac 70">
      <a:srgbClr val="A0A9C5"/>
    </a:custClr>
    <a:custClr name="CX/Marketing: Plum 70">
      <a:srgbClr val="B7A1C4"/>
    </a:custClr>
    <a:custClr name="HCM/HR: Rose 70">
      <a:srgbClr val="CE9BA7"/>
    </a:custClr>
    <a:custClr name="SCM: Sienna 70">
      <a:srgbClr val="D39F5D"/>
    </a:custClr>
    <a:custClr name="Brand: Neutral 140">
      <a:srgbClr val="514C47"/>
    </a:custClr>
    <a:custClr name="Developer: Pebble 140">
      <a:srgbClr val="494D53"/>
    </a:custClr>
    <a:custClr name="Database: Slate 140">
      <a:srgbClr val="464F4F"/>
    </a:custClr>
    <a:custClr name="Cloud Platform: Pine 140">
      <a:srgbClr val="33553C"/>
    </a:custClr>
    <a:custClr name="Finance / Operations: Teal 140">
      <a:srgbClr val="315357"/>
    </a:custClr>
    <a:custClr name="NetSuite: Ocean 140">
      <a:srgbClr val="2C5266"/>
    </a:custClr>
    <a:custClr name="GBU: Lilac 140">
      <a:srgbClr val="464C68"/>
    </a:custClr>
    <a:custClr name="CX/Marketing: Plum 140">
      <a:srgbClr val="594564"/>
    </a:custClr>
    <a:custClr name="HCM/HR: Rose 140">
      <a:srgbClr val="6C3F49"/>
    </a:custClr>
    <a:custClr name="SCM: Sienna 140">
      <a:srgbClr val="713F25"/>
    </a:custClr>
    <a:custClr name="Brand: Neutral 170">
      <a:srgbClr val="312D2A"/>
    </a:custClr>
    <a:custClr name="Developer: Pebble 170">
      <a:srgbClr val="2B2E32"/>
    </a:custClr>
    <a:custClr name="Database: Slate 170">
      <a:srgbClr val="2A2F2F"/>
    </a:custClr>
    <a:custClr name="Cloud Platform: Pine 170">
      <a:srgbClr val="1E3224"/>
    </a:custClr>
    <a:custClr name="Finance / Operations: Teal 170">
      <a:srgbClr val="1E3133"/>
    </a:custClr>
    <a:custClr name="NetSuite: Ocean 170">
      <a:srgbClr val="1A2F3F"/>
    </a:custClr>
    <a:custClr name="GBU: Lilac 170">
      <a:srgbClr val="2A2D3F"/>
    </a:custClr>
    <a:custClr name="CX/Marketing: Plum 170">
      <a:srgbClr val="36293C"/>
    </a:custClr>
    <a:custClr name="HCM/HR: Rose 170">
      <a:srgbClr val="41242B"/>
    </a:custClr>
    <a:custClr name="SCM: Sienna 170">
      <a:srgbClr val="442616"/>
    </a:custClr>
  </a:custClrLst>
  <a:extLst>
    <a:ext uri="{05A4C25C-085E-4340-85A3-A5531E510DB2}">
      <thm15:themeFamily xmlns:thm15="http://schemas.microsoft.com/office/thememl/2012/main" name="Oracle_Redwood_Modern_v1.2-3.14.22" id="{AAE58655-58AB-1447-B2E8-D9A286F5C6FD}" vid="{E72CF9EB-9B29-F048-9125-D1B50B75B8FA}"/>
    </a:ext>
  </a:extLst>
</a:theme>
</file>

<file path=ppt/theme/theme3.xml><?xml version="1.0" encoding="utf-8"?>
<a:theme xmlns:a="http://schemas.openxmlformats.org/drawingml/2006/main" name="2_Parent Master Pillars">
  <a:themeElements>
    <a:clrScheme name="Oracle Slate 10-21.1">
      <a:dk1>
        <a:srgbClr val="312D2A"/>
      </a:dk1>
      <a:lt1>
        <a:srgbClr val="FCFBFA"/>
      </a:lt1>
      <a:dk2>
        <a:srgbClr val="312D2A"/>
      </a:dk2>
      <a:lt2>
        <a:srgbClr val="FCFBFA"/>
      </a:lt2>
      <a:accent1>
        <a:srgbClr val="EDF6F6"/>
      </a:accent1>
      <a:accent2>
        <a:srgbClr val="D7E5E5"/>
      </a:accent2>
      <a:accent3>
        <a:srgbClr val="A9BBBC"/>
      </a:accent3>
      <a:accent4>
        <a:srgbClr val="8B9D9E"/>
      </a:accent4>
      <a:accent5>
        <a:srgbClr val="606C6D"/>
      </a:accent5>
      <a:accent6>
        <a:srgbClr val="464F4F"/>
      </a:accent6>
      <a:hlink>
        <a:srgbClr val="2C5967"/>
      </a:hlink>
      <a:folHlink>
        <a:srgbClr val="2C5967"/>
      </a:folHlink>
    </a:clrScheme>
    <a:fontScheme name="Oracle Pillars">
      <a:majorFont>
        <a:latin typeface="Georgia"/>
        <a:ea typeface=""/>
        <a:cs typeface=""/>
      </a:majorFont>
      <a:minorFont>
        <a:latin typeface="Oracle Sans Tab"/>
        <a:ea typeface=""/>
        <a:cs typeface=""/>
      </a:minorFont>
    </a:fontScheme>
    <a:fmtScheme name="Flat">
      <a:fillStyleLst>
        <a:solidFill>
          <a:schemeClr val="phClr"/>
        </a:solidFill>
        <a:solidFill>
          <a:schemeClr val="phClr">
            <a:tint val="50000"/>
          </a:schemeClr>
        </a:solidFill>
        <a:solidFill>
          <a:schemeClr val="phClr">
            <a:shade val="65000"/>
          </a:schemeClr>
        </a:solidFill>
      </a:fillStyleLst>
      <a:lnStyleLst>
        <a:ln w="3175" cap="flat" cmpd="sng" algn="ctr">
          <a:solidFill>
            <a:schemeClr val="phClr">
              <a:shade val="65000"/>
            </a:schemeClr>
          </a:solidFill>
          <a:prstDash val="solid"/>
        </a:ln>
        <a:ln w="3175" cap="flat" cmpd="sng" algn="ctr">
          <a:solidFill>
            <a:schemeClr val="phClr"/>
          </a:solidFill>
          <a:prstDash val="solid"/>
        </a:ln>
        <a:ln w="0" cap="flat" cmpd="sng" algn="ctr">
          <a:noFill/>
        </a:ln>
      </a:lnStyleLst>
      <a:effectStyleLst>
        <a:effectStyle>
          <a:effectLst>
            <a:blur/>
          </a:effectLst>
        </a:effectStyle>
        <a:effectStyle>
          <a:effectLst>
            <a:blur/>
          </a:effectLst>
        </a:effectStyle>
        <a:effectStyle>
          <a:effectLst>
            <a:fillOverlay blend="darken">
              <a:solidFill>
                <a:schemeClr val="phClr">
                  <a:shade val="30000"/>
                </a:schemeClr>
              </a:solidFill>
            </a:fillOverlay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1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custClrLst>
    <a:custClr name="Ocean">
      <a:srgbClr val="2C5967"/>
    </a:custClr>
    <a:custClr name="Surf">
      <a:srgbClr val="41817E"/>
    </a:custClr>
    <a:custClr name="Sand">
      <a:srgbClr val="E5DBBE"/>
    </a:custClr>
    <a:custClr name="Pebble">
      <a:srgbClr val="8B8580"/>
    </a:custClr>
    <a:custClr name="Granite">
      <a:srgbClr val="67605B"/>
    </a:custClr>
    <a:custClr name="Oracle Red">
      <a:srgbClr val="C74634"/>
    </a:custClr>
    <a:custClr name="Highlight/hyperlink dark theme">
      <a:srgbClr val="F0CC71"/>
    </a:custClr>
    <a:custClr name="Highlight/numbered list light theme">
      <a:srgbClr val="AE562C"/>
    </a:custClr>
    <a:custClr name="Hyperlink light theme (default)">
      <a:srgbClr val="00688C"/>
    </a:custClr>
    <a:custClr name="Numbered list dark theme">
      <a:srgbClr val="759C6C"/>
    </a:custClr>
    <a:custClr name="Brand: Neutral 30">
      <a:srgbClr val="F1EFED"/>
    </a:custClr>
    <a:custClr name="Developer: Pebble 30">
      <a:srgbClr val="E7F0FD"/>
    </a:custClr>
    <a:custClr name="Database: Slate 30">
      <a:srgbClr val="E7F2F2"/>
    </a:custClr>
    <a:custClr name="Cloud Platform: Pine 30">
      <a:srgbClr val="E0F5E7"/>
    </a:custClr>
    <a:custClr name="Finance / Operations: Teal 30">
      <a:srgbClr val="E8F1F0"/>
    </a:custClr>
    <a:custClr name="NetSuite: Ocean 30">
      <a:srgbClr val="E7F2F5"/>
    </a:custClr>
    <a:custClr name="GBU: Lilac 30">
      <a:srgbClr val="EBEFFE"/>
    </a:custClr>
    <a:custClr name="CX/Marketing: Plum 30">
      <a:srgbClr val="F5ECFB"/>
    </a:custClr>
    <a:custClr name="HCM/HR: Rose 30">
      <a:srgbClr val="FBECEF"/>
    </a:custClr>
    <a:custClr name="SCM: Sienna 30">
      <a:srgbClr val="FCEDD9"/>
    </a:custClr>
    <a:custClr name="Brand: Neutral 70">
      <a:srgbClr val="AEA8A2"/>
    </a:custClr>
    <a:custClr name="Developer: Pebble 70">
      <a:srgbClr val="A2AAB6"/>
    </a:custClr>
    <a:custClr name="Database: Slate 70">
      <a:srgbClr val="99ADAE"/>
    </a:custClr>
    <a:custClr name="Cloud Platform: Pine 70">
      <a:srgbClr val="86B596"/>
    </a:custClr>
    <a:custClr name="Finance / Operations: Teal 70">
      <a:srgbClr val="89B2B0"/>
    </a:custClr>
    <a:custClr name="NetSuite: Ocean 70">
      <a:srgbClr val="81B2C3"/>
    </a:custClr>
    <a:custClr name="GBU: Lilac 70">
      <a:srgbClr val="A0A9C5"/>
    </a:custClr>
    <a:custClr name="CX/Marketing: Plum 70">
      <a:srgbClr val="B7A1C4"/>
    </a:custClr>
    <a:custClr name="HCM/HR: Rose 70">
      <a:srgbClr val="CE9BA7"/>
    </a:custClr>
    <a:custClr name="SCM: Sienna 70">
      <a:srgbClr val="D39F5D"/>
    </a:custClr>
    <a:custClr name="Brand: Neutral 140">
      <a:srgbClr val="514C47"/>
    </a:custClr>
    <a:custClr name="Developer: Pebble 140">
      <a:srgbClr val="494D53"/>
    </a:custClr>
    <a:custClr name="Database: Slate 140">
      <a:srgbClr val="464F4F"/>
    </a:custClr>
    <a:custClr name="Cloud Platform: Pine 140">
      <a:srgbClr val="33553C"/>
    </a:custClr>
    <a:custClr name="Finance / Operations: Teal 140">
      <a:srgbClr val="315357"/>
    </a:custClr>
    <a:custClr name="NetSuite: Ocean 140">
      <a:srgbClr val="2C5266"/>
    </a:custClr>
    <a:custClr name="GBU: Lilac 140">
      <a:srgbClr val="464C68"/>
    </a:custClr>
    <a:custClr name="CX/Marketing: Plum 140">
      <a:srgbClr val="594564"/>
    </a:custClr>
    <a:custClr name="HCM/HR: Rose 140">
      <a:srgbClr val="6C3F49"/>
    </a:custClr>
    <a:custClr name="SCM: Sienna 140">
      <a:srgbClr val="713F25"/>
    </a:custClr>
    <a:custClr name="Brand: Neutral 170">
      <a:srgbClr val="312D2A"/>
    </a:custClr>
    <a:custClr name="Developer: Pebble 170">
      <a:srgbClr val="2B2E32"/>
    </a:custClr>
    <a:custClr name="Database: Slate 170">
      <a:srgbClr val="2A2F2F"/>
    </a:custClr>
    <a:custClr name="Cloud Platform: Pine 170">
      <a:srgbClr val="1E3224"/>
    </a:custClr>
    <a:custClr name="Finance / Operations: Teal 170">
      <a:srgbClr val="1E3133"/>
    </a:custClr>
    <a:custClr name="NetSuite: Ocean 170">
      <a:srgbClr val="1A2F3F"/>
    </a:custClr>
    <a:custClr name="GBU: Lilac 170">
      <a:srgbClr val="2A2D3F"/>
    </a:custClr>
    <a:custClr name="CX/Marketing: Plum 170">
      <a:srgbClr val="36293C"/>
    </a:custClr>
    <a:custClr name="HCM/HR: Rose 170">
      <a:srgbClr val="41242B"/>
    </a:custClr>
    <a:custClr name="SCM: Sienna 170">
      <a:srgbClr val="442616"/>
    </a:custClr>
  </a:custClrLst>
  <a:extLst>
    <a:ext uri="{05A4C25C-085E-4340-85A3-A5531E510DB2}">
      <thm15:themeFamily xmlns:thm15="http://schemas.microsoft.com/office/thememl/2012/main" name="Database_PillarPPT_Slate_v1.3-4.13.22" id="{FD8E1DA1-FC93-4F4A-A572-49D74637BA3C}" vid="{EF9BA844-F707-D349-8582-842929AE3132}"/>
    </a:ext>
  </a:extLst>
</a:theme>
</file>

<file path=ppt/theme/theme4.xml><?xml version="1.0" encoding="utf-8"?>
<a:theme xmlns:a="http://schemas.openxmlformats.org/drawingml/2006/main" name="3_Parent Master Pillars">
  <a:themeElements>
    <a:clrScheme name="Sales Play Tech Pillar FY23">
      <a:dk1>
        <a:srgbClr val="312D2A"/>
      </a:dk1>
      <a:lt1>
        <a:srgbClr val="FCFBFA"/>
      </a:lt1>
      <a:dk2>
        <a:srgbClr val="312D2A"/>
      </a:dk2>
      <a:lt2>
        <a:srgbClr val="FCFBFA"/>
      </a:lt2>
      <a:accent1>
        <a:srgbClr val="99ADAE"/>
      </a:accent1>
      <a:accent2>
        <a:srgbClr val="67605B"/>
      </a:accent2>
      <a:accent3>
        <a:srgbClr val="315357"/>
      </a:accent3>
      <a:accent4>
        <a:srgbClr val="1E3133"/>
      </a:accent4>
      <a:accent5>
        <a:srgbClr val="AE562C"/>
      </a:accent5>
      <a:accent6>
        <a:srgbClr val="D39F5D"/>
      </a:accent6>
      <a:hlink>
        <a:srgbClr val="00688C"/>
      </a:hlink>
      <a:folHlink>
        <a:srgbClr val="00688C"/>
      </a:folHlink>
    </a:clrScheme>
    <a:fontScheme name="Oracle Sans Tabular">
      <a:majorFont>
        <a:latin typeface="Georgia"/>
        <a:ea typeface=""/>
        <a:cs typeface=""/>
      </a:majorFont>
      <a:minorFont>
        <a:latin typeface="Oracle Sans Tab"/>
        <a:ea typeface=""/>
        <a:cs typeface=""/>
      </a:minorFont>
    </a:fontScheme>
    <a:fmtScheme name="Flat">
      <a:fillStyleLst>
        <a:solidFill>
          <a:schemeClr val="phClr"/>
        </a:solidFill>
        <a:solidFill>
          <a:schemeClr val="phClr">
            <a:tint val="50000"/>
          </a:schemeClr>
        </a:solidFill>
        <a:solidFill>
          <a:schemeClr val="phClr">
            <a:shade val="65000"/>
          </a:schemeClr>
        </a:solidFill>
      </a:fillStyleLst>
      <a:lnStyleLst>
        <a:ln w="3175" cap="flat" cmpd="sng" algn="ctr">
          <a:solidFill>
            <a:schemeClr val="phClr">
              <a:shade val="65000"/>
            </a:schemeClr>
          </a:solidFill>
          <a:prstDash val="solid"/>
        </a:ln>
        <a:ln w="3175" cap="flat" cmpd="sng" algn="ctr">
          <a:solidFill>
            <a:schemeClr val="phClr"/>
          </a:solidFill>
          <a:prstDash val="solid"/>
        </a:ln>
        <a:ln w="0" cap="flat" cmpd="sng" algn="ctr">
          <a:noFill/>
        </a:ln>
      </a:lnStyleLst>
      <a:effectStyleLst>
        <a:effectStyle>
          <a:effectLst>
            <a:blur/>
          </a:effectLst>
        </a:effectStyle>
        <a:effectStyle>
          <a:effectLst>
            <a:blur/>
          </a:effectLst>
        </a:effectStyle>
        <a:effectStyle>
          <a:effectLst>
            <a:fillOverlay blend="darken">
              <a:solidFill>
                <a:schemeClr val="phClr">
                  <a:shade val="30000"/>
                </a:schemeClr>
              </a:solidFill>
            </a:fillOverlay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1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custClrLst>
    <a:custClr name="Ocean">
      <a:srgbClr val="2C5967"/>
    </a:custClr>
    <a:custClr name="Surf">
      <a:srgbClr val="41817E"/>
    </a:custClr>
    <a:custClr name="Sand">
      <a:srgbClr val="E5DBBE"/>
    </a:custClr>
    <a:custClr name="Pebble">
      <a:srgbClr val="8B8580"/>
    </a:custClr>
    <a:custClr name="Granite">
      <a:srgbClr val="67605B"/>
    </a:custClr>
    <a:custClr name="Position 6">
      <a:srgbClr val="FFFFFF"/>
    </a:custClr>
    <a:custClr name="Highlight/hyperlink dark theme">
      <a:srgbClr val="F0CC71"/>
    </a:custClr>
    <a:custClr name="Highlight/numbered list light theme">
      <a:srgbClr val="AE562C"/>
    </a:custClr>
    <a:custClr name="Hyperlink light theme (default)">
      <a:srgbClr val="00688C"/>
    </a:custClr>
    <a:custClr name="Numbered list dark theme">
      <a:srgbClr val="759C6C"/>
    </a:custClr>
    <a:custClr name="Brand: Neutral 30">
      <a:srgbClr val="F1EFED"/>
    </a:custClr>
    <a:custClr name="Developer: Pebble 30">
      <a:srgbClr val="E7F0FD"/>
    </a:custClr>
    <a:custClr name="Database: Slate 30">
      <a:srgbClr val="E7F2F2"/>
    </a:custClr>
    <a:custClr name="Cloud Platform: Pine 30">
      <a:srgbClr val="E0F5E7"/>
    </a:custClr>
    <a:custClr name="Finance / Operations: Teal 30">
      <a:srgbClr val="E8F1F0"/>
    </a:custClr>
    <a:custClr name="NetSuite: Ocean 30">
      <a:srgbClr val="E7F2F5"/>
    </a:custClr>
    <a:custClr name="GBU: Lilac 30">
      <a:srgbClr val="EBEFFE"/>
    </a:custClr>
    <a:custClr name="CX/Marketing: Plum 30">
      <a:srgbClr val="F5ECFB"/>
    </a:custClr>
    <a:custClr name="HCM/HR: Rose 30">
      <a:srgbClr val="FBECEF"/>
    </a:custClr>
    <a:custClr name="SCM: Sienna 30">
      <a:srgbClr val="FCEDD9"/>
    </a:custClr>
    <a:custClr name="Brand: Neutral 70">
      <a:srgbClr val="AEA8A2"/>
    </a:custClr>
    <a:custClr name="Developer: Pebble 70">
      <a:srgbClr val="A2AAB6"/>
    </a:custClr>
    <a:custClr name="Database: Slate 70">
      <a:srgbClr val="99ADAE"/>
    </a:custClr>
    <a:custClr name="Cloud Platform: Pine 70">
      <a:srgbClr val="86B596"/>
    </a:custClr>
    <a:custClr name="Finance / Operations: Teal 70">
      <a:srgbClr val="89B2B0"/>
    </a:custClr>
    <a:custClr name="NetSuite: Ocean 70">
      <a:srgbClr val="81B2C3"/>
    </a:custClr>
    <a:custClr name="GBU: Lilac 70">
      <a:srgbClr val="A0A9C5"/>
    </a:custClr>
    <a:custClr name="CX/Marketing: Plum 70">
      <a:srgbClr val="B7A1C4"/>
    </a:custClr>
    <a:custClr name="HCM/HR: Rose 70">
      <a:srgbClr val="CE9BA7"/>
    </a:custClr>
    <a:custClr name="SCM: Sienna 70">
      <a:srgbClr val="D39F5D"/>
    </a:custClr>
    <a:custClr name="Brand: Neutral 140">
      <a:srgbClr val="514C47"/>
    </a:custClr>
    <a:custClr name="Developer: Pebble 140">
      <a:srgbClr val="494D53"/>
    </a:custClr>
    <a:custClr name="Database: Slate 140">
      <a:srgbClr val="464F4F"/>
    </a:custClr>
    <a:custClr name="Cloud Platform: Pine 140">
      <a:srgbClr val="33553C"/>
    </a:custClr>
    <a:custClr name="Finance / Operations: Teal 140">
      <a:srgbClr val="315357"/>
    </a:custClr>
    <a:custClr name="NetSuite: Ocean 140">
      <a:srgbClr val="2C5266"/>
    </a:custClr>
    <a:custClr name="GBU: Lilac 140">
      <a:srgbClr val="464C68"/>
    </a:custClr>
    <a:custClr name="CX/Marketing: Plum 140">
      <a:srgbClr val="594564"/>
    </a:custClr>
    <a:custClr name="HCM/HR: Rose 140">
      <a:srgbClr val="6C3F49"/>
    </a:custClr>
    <a:custClr name="SCM: Sienna 140">
      <a:srgbClr val="713F25"/>
    </a:custClr>
    <a:custClr name="Brand: Neutral 170">
      <a:srgbClr val="312D2A"/>
    </a:custClr>
    <a:custClr name="Developer: Pebble 170">
      <a:srgbClr val="2B2E32"/>
    </a:custClr>
    <a:custClr name="Database: Slate 170">
      <a:srgbClr val="2A2F2F"/>
    </a:custClr>
    <a:custClr name="Cloud Platform: Pine 170">
      <a:srgbClr val="1E3224"/>
    </a:custClr>
    <a:custClr name="Finance / Operations: Teal 170">
      <a:srgbClr val="1E3133"/>
    </a:custClr>
    <a:custClr name="NetSuite: Ocean 170">
      <a:srgbClr val="1A2F3F"/>
    </a:custClr>
    <a:custClr name="GBU: Lilac 170">
      <a:srgbClr val="2A2D3F"/>
    </a:custClr>
    <a:custClr name="CX/Marketing: Plum 170">
      <a:srgbClr val="36293C"/>
    </a:custClr>
    <a:custClr name="HCM/HR: Rose 170">
      <a:srgbClr val="41242B"/>
    </a:custClr>
    <a:custClr name="SCM: Sienna 170">
      <a:srgbClr val="442616"/>
    </a:custClr>
  </a:custClrLst>
  <a:extLst>
    <a:ext uri="{05A4C25C-085E-4340-85A3-A5531E510DB2}">
      <thm15:themeFamily xmlns:thm15="http://schemas.microsoft.com/office/thememl/2012/main" name="FY23 SP. Tech. template.pptx" id="{043B7881-6B69-426C-9CD9-0835D1E90E95}" vid="{DB9EA6EC-4A9C-485C-ABCD-762B5786C40C}"/>
    </a:ext>
  </a:extLst>
</a:theme>
</file>

<file path=ppt/theme/theme5.xml><?xml version="1.0" encoding="utf-8"?>
<a:theme xmlns:a="http://schemas.openxmlformats.org/drawingml/2006/main" name="4_Parent Master Pillars">
  <a:themeElements>
    <a:clrScheme name="Oracle Redwood 08-26-2020">
      <a:dk1>
        <a:srgbClr val="312D2A"/>
      </a:dk1>
      <a:lt1>
        <a:srgbClr val="FCFBFA"/>
      </a:lt1>
      <a:dk2>
        <a:srgbClr val="312D2A"/>
      </a:dk2>
      <a:lt2>
        <a:srgbClr val="FCFBFA"/>
      </a:lt2>
      <a:accent1>
        <a:srgbClr val="C74634"/>
      </a:accent1>
      <a:accent2>
        <a:srgbClr val="FACD62"/>
      </a:accent2>
      <a:accent3>
        <a:srgbClr val="94AFAF"/>
      </a:accent3>
      <a:accent4>
        <a:srgbClr val="2B6242"/>
      </a:accent4>
      <a:accent5>
        <a:srgbClr val="AE562C"/>
      </a:accent5>
      <a:accent6>
        <a:srgbClr val="759C6C"/>
      </a:accent6>
      <a:hlink>
        <a:srgbClr val="00688C"/>
      </a:hlink>
      <a:folHlink>
        <a:srgbClr val="00688C"/>
      </a:folHlink>
    </a:clrScheme>
    <a:fontScheme name="Oracle Sans Tabular">
      <a:majorFont>
        <a:latin typeface="Georgia"/>
        <a:ea typeface=""/>
        <a:cs typeface=""/>
      </a:majorFont>
      <a:minorFont>
        <a:latin typeface="Oracle Sans Tab"/>
        <a:ea typeface=""/>
        <a:cs typeface=""/>
      </a:minorFont>
    </a:fontScheme>
    <a:fmtScheme name="Flat">
      <a:fillStyleLst>
        <a:solidFill>
          <a:schemeClr val="phClr"/>
        </a:solidFill>
        <a:solidFill>
          <a:schemeClr val="phClr">
            <a:tint val="50000"/>
          </a:schemeClr>
        </a:solidFill>
        <a:solidFill>
          <a:schemeClr val="phClr">
            <a:shade val="65000"/>
          </a:schemeClr>
        </a:solidFill>
      </a:fillStyleLst>
      <a:lnStyleLst>
        <a:ln w="3175" cap="flat" cmpd="sng" algn="ctr">
          <a:solidFill>
            <a:schemeClr val="phClr">
              <a:shade val="65000"/>
            </a:schemeClr>
          </a:solidFill>
          <a:prstDash val="solid"/>
        </a:ln>
        <a:ln w="3175" cap="flat" cmpd="sng" algn="ctr">
          <a:solidFill>
            <a:schemeClr val="phClr"/>
          </a:solidFill>
          <a:prstDash val="solid"/>
        </a:ln>
        <a:ln w="0" cap="flat" cmpd="sng" algn="ctr">
          <a:noFill/>
        </a:ln>
      </a:lnStyleLst>
      <a:effectStyleLst>
        <a:effectStyle>
          <a:effectLst>
            <a:blur/>
          </a:effectLst>
        </a:effectStyle>
        <a:effectStyle>
          <a:effectLst>
            <a:blur/>
          </a:effectLst>
        </a:effectStyle>
        <a:effectStyle>
          <a:effectLst>
            <a:fillOverlay blend="darken">
              <a:solidFill>
                <a:schemeClr val="phClr">
                  <a:shade val="30000"/>
                </a:schemeClr>
              </a:solidFill>
            </a:fillOverlay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1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custClrLst>
    <a:custClr name="Ocean">
      <a:srgbClr val="2C5967"/>
    </a:custClr>
    <a:custClr name="Surf">
      <a:srgbClr val="41817E"/>
    </a:custClr>
    <a:custClr name="Sand">
      <a:srgbClr val="E5DBBE"/>
    </a:custClr>
    <a:custClr name="Pebble">
      <a:srgbClr val="8B8580"/>
    </a:custClr>
    <a:custClr name="Granite">
      <a:srgbClr val="67605B"/>
    </a:custClr>
    <a:custClr name="Position 6">
      <a:srgbClr val="FFFFFF"/>
    </a:custClr>
    <a:custClr name="Highlight/hyperlink dark theme">
      <a:srgbClr val="F0CC71"/>
    </a:custClr>
    <a:custClr name="Highlight/numbered list light theme">
      <a:srgbClr val="AE562C"/>
    </a:custClr>
    <a:custClr name="Hyperlink light theme (default)">
      <a:srgbClr val="00688C"/>
    </a:custClr>
    <a:custClr name="Numbered list dark theme">
      <a:srgbClr val="759C6C"/>
    </a:custClr>
    <a:custClr name="Brand: Neutral 30">
      <a:srgbClr val="F1EFED"/>
    </a:custClr>
    <a:custClr name="Developer: Pebble 30">
      <a:srgbClr val="E7F0FD"/>
    </a:custClr>
    <a:custClr name="Database: Slate 30">
      <a:srgbClr val="E7F2F2"/>
    </a:custClr>
    <a:custClr name="Cloud Platform: Pine 30">
      <a:srgbClr val="E0F5E7"/>
    </a:custClr>
    <a:custClr name="Finance / Operations: Teal 30">
      <a:srgbClr val="E8F1F0"/>
    </a:custClr>
    <a:custClr name="NetSuite: Ocean 30">
      <a:srgbClr val="E7F2F5"/>
    </a:custClr>
    <a:custClr name="GBU: Lilac 30">
      <a:srgbClr val="EBEFFE"/>
    </a:custClr>
    <a:custClr name="CX/Marketing: Plum 30">
      <a:srgbClr val="F5ECFB"/>
    </a:custClr>
    <a:custClr name="HCM/HR: Rose 30">
      <a:srgbClr val="FBECEF"/>
    </a:custClr>
    <a:custClr name="SCM: Sienna 30">
      <a:srgbClr val="FCEDD9"/>
    </a:custClr>
    <a:custClr name="Brand: Neutral 70">
      <a:srgbClr val="AEA8A2"/>
    </a:custClr>
    <a:custClr name="Developer: Pebble 70">
      <a:srgbClr val="A2AAB6"/>
    </a:custClr>
    <a:custClr name="Database: Slate 70">
      <a:srgbClr val="99ADAE"/>
    </a:custClr>
    <a:custClr name="Cloud Platform: Pine 70">
      <a:srgbClr val="86B596"/>
    </a:custClr>
    <a:custClr name="Finance / Operations: Teal 70">
      <a:srgbClr val="89B2B0"/>
    </a:custClr>
    <a:custClr name="NetSuite: Ocean 70">
      <a:srgbClr val="81B2C3"/>
    </a:custClr>
    <a:custClr name="GBU: Lilac 70">
      <a:srgbClr val="A0A9C5"/>
    </a:custClr>
    <a:custClr name="CX/Marketing: Plum 70">
      <a:srgbClr val="B7A1C4"/>
    </a:custClr>
    <a:custClr name="HCM/HR: Rose 70">
      <a:srgbClr val="CE9BA7"/>
    </a:custClr>
    <a:custClr name="SCM: Sienna 70">
      <a:srgbClr val="D39F5D"/>
    </a:custClr>
    <a:custClr name="Brand: Neutral 140">
      <a:srgbClr val="514C47"/>
    </a:custClr>
    <a:custClr name="Developer: Pebble 140">
      <a:srgbClr val="494D53"/>
    </a:custClr>
    <a:custClr name="Database: Slate 140">
      <a:srgbClr val="464F4F"/>
    </a:custClr>
    <a:custClr name="Cloud Platform: Pine 140">
      <a:srgbClr val="33553C"/>
    </a:custClr>
    <a:custClr name="Finance / Operations: Teal 140">
      <a:srgbClr val="315357"/>
    </a:custClr>
    <a:custClr name="NetSuite: Ocean 140">
      <a:srgbClr val="2C5266"/>
    </a:custClr>
    <a:custClr name="GBU: Lilac 140">
      <a:srgbClr val="464C68"/>
    </a:custClr>
    <a:custClr name="CX/Marketing: Plum 140">
      <a:srgbClr val="594564"/>
    </a:custClr>
    <a:custClr name="HCM/HR: Rose 140">
      <a:srgbClr val="6C3F49"/>
    </a:custClr>
    <a:custClr name="SCM: Sienna 140">
      <a:srgbClr val="713F25"/>
    </a:custClr>
    <a:custClr name="Brand: Neutral 170">
      <a:srgbClr val="312D2A"/>
    </a:custClr>
    <a:custClr name="Developer: Pebble 170">
      <a:srgbClr val="2B2E32"/>
    </a:custClr>
    <a:custClr name="Database: Slate 170">
      <a:srgbClr val="2A2F2F"/>
    </a:custClr>
    <a:custClr name="Cloud Platform: Pine 170">
      <a:srgbClr val="1E3224"/>
    </a:custClr>
    <a:custClr name="Finance / Operations: Teal 170">
      <a:srgbClr val="1E3133"/>
    </a:custClr>
    <a:custClr name="NetSuite: Ocean 170">
      <a:srgbClr val="1A2F3F"/>
    </a:custClr>
    <a:custClr name="GBU: Lilac 170">
      <a:srgbClr val="2A2D3F"/>
    </a:custClr>
    <a:custClr name="CX/Marketing: Plum 170">
      <a:srgbClr val="36293C"/>
    </a:custClr>
    <a:custClr name="HCM/HR: Rose 170">
      <a:srgbClr val="41242B"/>
    </a:custClr>
    <a:custClr name="SCM: Sienna 170">
      <a:srgbClr val="442616"/>
    </a:custClr>
  </a:custClrLst>
  <a:extLst>
    <a:ext uri="{05A4C25C-085E-4340-85A3-A5531E510DB2}">
      <thm15:themeFamily xmlns:thm15="http://schemas.microsoft.com/office/thememl/2012/main" name="Presentation1" id="{419B4D94-9318-2D45-B47C-6493BB7E08B3}" vid="{077DFD69-7EF4-F04D-858F-09AC8C7F28A2}"/>
    </a:ext>
  </a:extLst>
</a:theme>
</file>

<file path=ppt/theme/theme6.xml><?xml version="1.0" encoding="utf-8"?>
<a:theme xmlns:a="http://schemas.openxmlformats.org/drawingml/2006/main" name="5_Parent Master Pillars">
  <a:themeElements>
    <a:clrScheme name="Sales Play Tech Pillar FY23">
      <a:dk1>
        <a:srgbClr val="312D2A"/>
      </a:dk1>
      <a:lt1>
        <a:srgbClr val="FCFBFA"/>
      </a:lt1>
      <a:dk2>
        <a:srgbClr val="312D2A"/>
      </a:dk2>
      <a:lt2>
        <a:srgbClr val="FCFBFA"/>
      </a:lt2>
      <a:accent1>
        <a:srgbClr val="99ADAE"/>
      </a:accent1>
      <a:accent2>
        <a:srgbClr val="67605B"/>
      </a:accent2>
      <a:accent3>
        <a:srgbClr val="315357"/>
      </a:accent3>
      <a:accent4>
        <a:srgbClr val="1E3133"/>
      </a:accent4>
      <a:accent5>
        <a:srgbClr val="AE562C"/>
      </a:accent5>
      <a:accent6>
        <a:srgbClr val="D39F5D"/>
      </a:accent6>
      <a:hlink>
        <a:srgbClr val="00688C"/>
      </a:hlink>
      <a:folHlink>
        <a:srgbClr val="00688C"/>
      </a:folHlink>
    </a:clrScheme>
    <a:fontScheme name="Oracle Sans Tabular">
      <a:majorFont>
        <a:latin typeface="Georgia"/>
        <a:ea typeface=""/>
        <a:cs typeface=""/>
      </a:majorFont>
      <a:minorFont>
        <a:latin typeface="Oracle Sans Tab"/>
        <a:ea typeface=""/>
        <a:cs typeface=""/>
      </a:minorFont>
    </a:fontScheme>
    <a:fmtScheme name="Flat">
      <a:fillStyleLst>
        <a:solidFill>
          <a:schemeClr val="phClr"/>
        </a:solidFill>
        <a:solidFill>
          <a:schemeClr val="phClr">
            <a:tint val="50000"/>
          </a:schemeClr>
        </a:solidFill>
        <a:solidFill>
          <a:schemeClr val="phClr">
            <a:shade val="65000"/>
          </a:schemeClr>
        </a:solidFill>
      </a:fillStyleLst>
      <a:lnStyleLst>
        <a:ln w="3175" cap="flat" cmpd="sng" algn="ctr">
          <a:solidFill>
            <a:schemeClr val="phClr">
              <a:shade val="65000"/>
            </a:schemeClr>
          </a:solidFill>
          <a:prstDash val="solid"/>
        </a:ln>
        <a:ln w="3175" cap="flat" cmpd="sng" algn="ctr">
          <a:solidFill>
            <a:schemeClr val="phClr"/>
          </a:solidFill>
          <a:prstDash val="solid"/>
        </a:ln>
        <a:ln w="0" cap="flat" cmpd="sng" algn="ctr">
          <a:noFill/>
        </a:ln>
      </a:lnStyleLst>
      <a:effectStyleLst>
        <a:effectStyle>
          <a:effectLst>
            <a:blur/>
          </a:effectLst>
        </a:effectStyle>
        <a:effectStyle>
          <a:effectLst>
            <a:blur/>
          </a:effectLst>
        </a:effectStyle>
        <a:effectStyle>
          <a:effectLst>
            <a:fillOverlay blend="darken">
              <a:solidFill>
                <a:schemeClr val="phClr">
                  <a:shade val="30000"/>
                </a:schemeClr>
              </a:solidFill>
            </a:fillOverlay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1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custClrLst>
    <a:custClr name="Ocean">
      <a:srgbClr val="2C5967"/>
    </a:custClr>
    <a:custClr name="Surf">
      <a:srgbClr val="41817E"/>
    </a:custClr>
    <a:custClr name="Sand">
      <a:srgbClr val="E5DBBE"/>
    </a:custClr>
    <a:custClr name="Pebble">
      <a:srgbClr val="8B8580"/>
    </a:custClr>
    <a:custClr name="Granite">
      <a:srgbClr val="67605B"/>
    </a:custClr>
    <a:custClr name="Position 6">
      <a:srgbClr val="FFFFFF"/>
    </a:custClr>
    <a:custClr name="Highlight/hyperlink dark theme">
      <a:srgbClr val="F0CC71"/>
    </a:custClr>
    <a:custClr name="Highlight/numbered list light theme">
      <a:srgbClr val="AE562C"/>
    </a:custClr>
    <a:custClr name="Hyperlink light theme (default)">
      <a:srgbClr val="00688C"/>
    </a:custClr>
    <a:custClr name="Numbered list dark theme">
      <a:srgbClr val="759C6C"/>
    </a:custClr>
    <a:custClr name="Brand: Neutral 30">
      <a:srgbClr val="F1EFED"/>
    </a:custClr>
    <a:custClr name="Developer: Pebble 30">
      <a:srgbClr val="E7F0FD"/>
    </a:custClr>
    <a:custClr name="Database: Slate 30">
      <a:srgbClr val="E7F2F2"/>
    </a:custClr>
    <a:custClr name="Cloud Platform: Pine 30">
      <a:srgbClr val="E0F5E7"/>
    </a:custClr>
    <a:custClr name="Finance / Operations: Teal 30">
      <a:srgbClr val="E8F1F0"/>
    </a:custClr>
    <a:custClr name="NetSuite: Ocean 30">
      <a:srgbClr val="E7F2F5"/>
    </a:custClr>
    <a:custClr name="GBU: Lilac 30">
      <a:srgbClr val="EBEFFE"/>
    </a:custClr>
    <a:custClr name="CX/Marketing: Plum 30">
      <a:srgbClr val="F5ECFB"/>
    </a:custClr>
    <a:custClr name="HCM/HR: Rose 30">
      <a:srgbClr val="FBECEF"/>
    </a:custClr>
    <a:custClr name="SCM: Sienna 30">
      <a:srgbClr val="FCEDD9"/>
    </a:custClr>
    <a:custClr name="Brand: Neutral 70">
      <a:srgbClr val="AEA8A2"/>
    </a:custClr>
    <a:custClr name="Developer: Pebble 70">
      <a:srgbClr val="A2AAB6"/>
    </a:custClr>
    <a:custClr name="Database: Slate 70">
      <a:srgbClr val="99ADAE"/>
    </a:custClr>
    <a:custClr name="Cloud Platform: Pine 70">
      <a:srgbClr val="86B596"/>
    </a:custClr>
    <a:custClr name="Finance / Operations: Teal 70">
      <a:srgbClr val="89B2B0"/>
    </a:custClr>
    <a:custClr name="NetSuite: Ocean 70">
      <a:srgbClr val="81B2C3"/>
    </a:custClr>
    <a:custClr name="GBU: Lilac 70">
      <a:srgbClr val="A0A9C5"/>
    </a:custClr>
    <a:custClr name="CX/Marketing: Plum 70">
      <a:srgbClr val="B7A1C4"/>
    </a:custClr>
    <a:custClr name="HCM/HR: Rose 70">
      <a:srgbClr val="CE9BA7"/>
    </a:custClr>
    <a:custClr name="SCM: Sienna 70">
      <a:srgbClr val="D39F5D"/>
    </a:custClr>
    <a:custClr name="Brand: Neutral 140">
      <a:srgbClr val="514C47"/>
    </a:custClr>
    <a:custClr name="Developer: Pebble 140">
      <a:srgbClr val="494D53"/>
    </a:custClr>
    <a:custClr name="Database: Slate 140">
      <a:srgbClr val="464F4F"/>
    </a:custClr>
    <a:custClr name="Cloud Platform: Pine 140">
      <a:srgbClr val="33553C"/>
    </a:custClr>
    <a:custClr name="Finance / Operations: Teal 140">
      <a:srgbClr val="315357"/>
    </a:custClr>
    <a:custClr name="NetSuite: Ocean 140">
      <a:srgbClr val="2C5266"/>
    </a:custClr>
    <a:custClr name="GBU: Lilac 140">
      <a:srgbClr val="464C68"/>
    </a:custClr>
    <a:custClr name="CX/Marketing: Plum 140">
      <a:srgbClr val="594564"/>
    </a:custClr>
    <a:custClr name="HCM/HR: Rose 140">
      <a:srgbClr val="6C3F49"/>
    </a:custClr>
    <a:custClr name="SCM: Sienna 140">
      <a:srgbClr val="713F25"/>
    </a:custClr>
    <a:custClr name="Brand: Neutral 170">
      <a:srgbClr val="312D2A"/>
    </a:custClr>
    <a:custClr name="Developer: Pebble 170">
      <a:srgbClr val="2B2E32"/>
    </a:custClr>
    <a:custClr name="Database: Slate 170">
      <a:srgbClr val="2A2F2F"/>
    </a:custClr>
    <a:custClr name="Cloud Platform: Pine 170">
      <a:srgbClr val="1E3224"/>
    </a:custClr>
    <a:custClr name="Finance / Operations: Teal 170">
      <a:srgbClr val="1E3133"/>
    </a:custClr>
    <a:custClr name="NetSuite: Ocean 170">
      <a:srgbClr val="1A2F3F"/>
    </a:custClr>
    <a:custClr name="GBU: Lilac 170">
      <a:srgbClr val="2A2D3F"/>
    </a:custClr>
    <a:custClr name="CX/Marketing: Plum 170">
      <a:srgbClr val="36293C"/>
    </a:custClr>
    <a:custClr name="HCM/HR: Rose 170">
      <a:srgbClr val="41242B"/>
    </a:custClr>
    <a:custClr name="SCM: Sienna 170">
      <a:srgbClr val="442616"/>
    </a:custClr>
  </a:custClrLst>
  <a:extLst>
    <a:ext uri="{05A4C25C-085E-4340-85A3-A5531E510DB2}">
      <thm15:themeFamily xmlns:thm15="http://schemas.microsoft.com/office/thememl/2012/main" name="Oracle_Redwood_Modern_v1.2-3.14.22" id="{AAE58655-58AB-1447-B2E8-D9A286F5C6FD}" vid="{E72CF9EB-9B29-F048-9125-D1B50B75B8FA}"/>
    </a:ext>
  </a:extLst>
</a:theme>
</file>

<file path=ppt/theme/theme7.xml><?xml version="1.0" encoding="utf-8"?>
<a:theme xmlns:a="http://schemas.openxmlformats.org/drawingml/2006/main" name="Office Theme">
  <a:themeElements>
    <a:clrScheme name="Oracle 1.13 original colors">
      <a:dk1>
        <a:srgbClr val="312D2A"/>
      </a:dk1>
      <a:lt1>
        <a:srgbClr val="FCFBFA"/>
      </a:lt1>
      <a:dk2>
        <a:srgbClr val="312D2A"/>
      </a:dk2>
      <a:lt2>
        <a:srgbClr val="FCFBFA"/>
      </a:lt2>
      <a:accent1>
        <a:srgbClr val="C74634"/>
      </a:accent1>
      <a:accent2>
        <a:srgbClr val="FACD62"/>
      </a:accent2>
      <a:accent3>
        <a:srgbClr val="94AFAF"/>
      </a:accent3>
      <a:accent4>
        <a:srgbClr val="2B6242"/>
      </a:accent4>
      <a:accent5>
        <a:srgbClr val="AE562C"/>
      </a:accent5>
      <a:accent6>
        <a:srgbClr val="759C6C"/>
      </a:accent6>
      <a:hlink>
        <a:srgbClr val="2C5967"/>
      </a:hlink>
      <a:folHlink>
        <a:srgbClr val="2C5967"/>
      </a:folHlink>
    </a:clrScheme>
    <a:fontScheme name="Oracle">
      <a:majorFont>
        <a:latin typeface="Georgia"/>
        <a:ea typeface=""/>
        <a:cs typeface=""/>
      </a:majorFont>
      <a:minorFont>
        <a:latin typeface="Oracle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8.xml><?xml version="1.0" encoding="utf-8"?>
<a:theme xmlns:a="http://schemas.openxmlformats.org/drawingml/2006/main" name="Office Theme">
  <a:themeElements>
    <a:clrScheme name="Oracle 1.13 original colors">
      <a:dk1>
        <a:srgbClr val="312D2A"/>
      </a:dk1>
      <a:lt1>
        <a:srgbClr val="FCFBFA"/>
      </a:lt1>
      <a:dk2>
        <a:srgbClr val="312D2A"/>
      </a:dk2>
      <a:lt2>
        <a:srgbClr val="FCFBFA"/>
      </a:lt2>
      <a:accent1>
        <a:srgbClr val="C74634"/>
      </a:accent1>
      <a:accent2>
        <a:srgbClr val="FACD62"/>
      </a:accent2>
      <a:accent3>
        <a:srgbClr val="94AFAF"/>
      </a:accent3>
      <a:accent4>
        <a:srgbClr val="2B6242"/>
      </a:accent4>
      <a:accent5>
        <a:srgbClr val="AE562C"/>
      </a:accent5>
      <a:accent6>
        <a:srgbClr val="759C6C"/>
      </a:accent6>
      <a:hlink>
        <a:srgbClr val="2C5967"/>
      </a:hlink>
      <a:folHlink>
        <a:srgbClr val="2C5967"/>
      </a:folHlink>
    </a:clrScheme>
    <a:fontScheme name="Oracle">
      <a:majorFont>
        <a:latin typeface="Georgia"/>
        <a:ea typeface=""/>
        <a:cs typeface=""/>
      </a:majorFont>
      <a:minorFont>
        <a:latin typeface="Oracle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racle_Redwood_Modern_v1.2-3.14.22 (1)</Template>
  <TotalTime>44901</TotalTime>
  <Words>4666</Words>
  <Application>Microsoft Office PowerPoint</Application>
  <PresentationFormat>Widescreen</PresentationFormat>
  <Paragraphs>1143</Paragraphs>
  <Slides>62</Slides>
  <Notes>57</Notes>
  <HiddenSlides>0</HiddenSlides>
  <MMClips>0</MMClips>
  <ScaleCrop>false</ScaleCrop>
  <HeadingPairs>
    <vt:vector size="8" baseType="variant">
      <vt:variant>
        <vt:lpstr>Fonts Used</vt:lpstr>
      </vt:variant>
      <vt:variant>
        <vt:i4>25</vt:i4>
      </vt:variant>
      <vt:variant>
        <vt:lpstr>Theme</vt:lpstr>
      </vt:variant>
      <vt:variant>
        <vt:i4>6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2</vt:i4>
      </vt:variant>
    </vt:vector>
  </HeadingPairs>
  <TitlesOfParts>
    <vt:vector size="94" baseType="lpstr">
      <vt:lpstr>ＭＳ Ｐゴシック</vt:lpstr>
      <vt:lpstr>ＭＳ Ｐゴシック</vt:lpstr>
      <vt:lpstr>Arial</vt:lpstr>
      <vt:lpstr>Calibri</vt:lpstr>
      <vt:lpstr>Cambria</vt:lpstr>
      <vt:lpstr>Cambria Math</vt:lpstr>
      <vt:lpstr>Courier New</vt:lpstr>
      <vt:lpstr>Gadugi</vt:lpstr>
      <vt:lpstr>Georgia</vt:lpstr>
      <vt:lpstr>Helvetica Neue</vt:lpstr>
      <vt:lpstr>Oracle Sans</vt:lpstr>
      <vt:lpstr>Oracle Sans (Body)</vt:lpstr>
      <vt:lpstr>Oracle Sans Bold</vt:lpstr>
      <vt:lpstr>Oracle Sans Extra Bold</vt:lpstr>
      <vt:lpstr>Oracle Sans Light</vt:lpstr>
      <vt:lpstr>Oracle Sans Semi Bold</vt:lpstr>
      <vt:lpstr>Oracle Sans Tab</vt:lpstr>
      <vt:lpstr>Oracle Sans Tab Extra Bold</vt:lpstr>
      <vt:lpstr>Oracle Sans Tab Light</vt:lpstr>
      <vt:lpstr>OracleSansVF</vt:lpstr>
      <vt:lpstr>Segoe UI Historic</vt:lpstr>
      <vt:lpstr>System Font Regular</vt:lpstr>
      <vt:lpstr>Times New Roman</vt:lpstr>
      <vt:lpstr>Trebuchet MS</vt:lpstr>
      <vt:lpstr>Wingdings</vt:lpstr>
      <vt:lpstr>Parent Master Pillars</vt:lpstr>
      <vt:lpstr>1_Parent Master Pillars</vt:lpstr>
      <vt:lpstr>2_Parent Master Pillars</vt:lpstr>
      <vt:lpstr>3_Parent Master Pillars</vt:lpstr>
      <vt:lpstr>4_Parent Master Pillars</vt:lpstr>
      <vt:lpstr>5_Parent Master Pillars</vt:lpstr>
      <vt:lpstr>think-cell Slide</vt:lpstr>
      <vt:lpstr>Oracle Cloud DBA</vt:lpstr>
      <vt:lpstr>     SQL&gt; select  *  from person where name = ‘Marcel Lamarca’</vt:lpstr>
      <vt:lpstr>PowerPoint Presentation</vt:lpstr>
      <vt:lpstr>PowerPoint Presentation</vt:lpstr>
      <vt:lpstr>Oracle Cloud Infrastructure Global Footprint </vt:lpstr>
      <vt:lpstr>PowerPoint Presentation</vt:lpstr>
      <vt:lpstr>Choice of control and hybrid strategies </vt:lpstr>
      <vt:lpstr>PowerPoint Presentation</vt:lpstr>
      <vt:lpstr>Exadata runs everywhere</vt:lpstr>
      <vt:lpstr>PowerPoint Presentation</vt:lpstr>
      <vt:lpstr>Database Cloud Service | Exadata Understanding Oracle Exadata Cloud Service and Cloud at Customer  </vt:lpstr>
      <vt:lpstr>PowerPoint Presentation</vt:lpstr>
      <vt:lpstr>PowerPoint Presentation</vt:lpstr>
      <vt:lpstr>Exadata Cloud Service Architecture</vt:lpstr>
      <vt:lpstr>Exadata architecture – scale out with intelligent storage</vt:lpstr>
      <vt:lpstr>There are no EF and XT Storage options for Exadata Cloud</vt:lpstr>
      <vt:lpstr>Exadata Cloud X9M Flexible Shapes</vt:lpstr>
      <vt:lpstr>Exadata Cloud at Customer X10M Shapes</vt:lpstr>
      <vt:lpstr>Easily right-size your service by adding compute and storage as needed</vt:lpstr>
      <vt:lpstr>PowerPoint Presentation</vt:lpstr>
      <vt:lpstr>PowerPoint Presentation</vt:lpstr>
      <vt:lpstr>Cloud Automation for Common Lifecycle Tasks</vt:lpstr>
      <vt:lpstr>Exadata Cloud  Command Line Interface (dbaascli)</vt:lpstr>
      <vt:lpstr>PowerPoint Presentation</vt:lpstr>
      <vt:lpstr>Exadata Cloud  Pathing  Pathing dom0, domU, Tooling, Grid and Oracle home, how and how to do</vt:lpstr>
      <vt:lpstr>PowerPoint Presentation</vt:lpstr>
      <vt:lpstr>Oracle Database and Exadata Platform Innovations</vt:lpstr>
      <vt:lpstr>Fastest Cloud In Memory, Smart Scan and HCC </vt:lpstr>
      <vt:lpstr>PowerPoint Presentation</vt:lpstr>
      <vt:lpstr>Oracle Database | No Exadata System </vt:lpstr>
      <vt:lpstr>Exadata Cloud a Smart Scan | Off Load Querying </vt:lpstr>
      <vt:lpstr>Query Execution plan | Traditional Database Vs Exadata System </vt:lpstr>
      <vt:lpstr>Exadata Smart Scan  Why it’s not working? </vt:lpstr>
      <vt:lpstr>PowerPoint Presentation</vt:lpstr>
      <vt:lpstr>Oracle Database automatic backup  </vt:lpstr>
      <vt:lpstr>PowerPoint Presentation</vt:lpstr>
      <vt:lpstr>PowerPoint Presentation</vt:lpstr>
      <vt:lpstr>Recovery Service offloads backup validation</vt:lpstr>
      <vt:lpstr>Oracle Database Zero Data Loss Autonomous Recovery Service</vt:lpstr>
      <vt:lpstr>Recovery Service eliminates weekly full backups </vt:lpstr>
      <vt:lpstr>Recovery Service simplifies database restores</vt:lpstr>
      <vt:lpstr>Recovery Service continuously protects Oracle databases</vt:lpstr>
      <vt:lpstr>Recovery Service offloads backup validation</vt:lpstr>
      <vt:lpstr>Recovery Service is easy to set up and use</vt:lpstr>
      <vt:lpstr>Recovery Service protects against unauthorized access</vt:lpstr>
      <vt:lpstr>Recovery Service provides insights into backup health and operations</vt:lpstr>
      <vt:lpstr>Recovery Service integrates with OCI observability and management</vt:lpstr>
      <vt:lpstr>PowerPoint Presentation</vt:lpstr>
      <vt:lpstr>PowerPoint Presentation</vt:lpstr>
      <vt:lpstr>PowerPoint Presentation</vt:lpstr>
      <vt:lpstr>Oracle NoSQL Database Cloud Servic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Thank you</vt:lpstr>
      <vt:lpstr>PowerPoint Presentation</vt:lpstr>
    </vt:vector>
  </TitlesOfParts>
  <Company>Oracle Corporation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What’s different about this template?</dc:title>
  <dc:creator>Rachel Bennett</dc:creator>
  <cp:lastModifiedBy>Marcel Lamarca</cp:lastModifiedBy>
  <cp:revision>964</cp:revision>
  <cp:lastPrinted>2023-10-26T16:14:45Z</cp:lastPrinted>
  <dcterms:created xsi:type="dcterms:W3CDTF">2022-05-10T17:38:39Z</dcterms:created>
  <dcterms:modified xsi:type="dcterms:W3CDTF">2024-02-20T17:33:1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NXPowerLiteLastOptimized">
    <vt:lpwstr>2231507</vt:lpwstr>
  </property>
  <property fmtid="{D5CDD505-2E9C-101B-9397-08002B2CF9AE}" pid="3" name="NXPowerLiteSettings">
    <vt:lpwstr>C700052003A000</vt:lpwstr>
  </property>
  <property fmtid="{D5CDD505-2E9C-101B-9397-08002B2CF9AE}" pid="4" name="NXPowerLiteVersion">
    <vt:lpwstr>D8.0.11</vt:lpwstr>
  </property>
</Properties>
</file>